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Override5.xml" ContentType="application/vnd.openxmlformats-officedocument.themeOverride+xml"/>
  <Override PartName="/ppt/charts/colors6.xml" ContentType="application/vnd.ms-office.chartcolor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charts/colors2.xml" ContentType="application/vnd.ms-office.chartcolorstyl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charts/chart3.xml" ContentType="application/vnd.openxmlformats-officedocument.drawingml.chart+xml"/>
  <Override PartName="/ppt/charts/style5.xml" ContentType="application/vnd.ms-office.chartstyl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tags/tag3.xml" ContentType="application/vnd.openxmlformats-officedocument.presentationml.tags+xml"/>
  <Override PartName="/ppt/theme/themeOverride4.xml" ContentType="application/vnd.openxmlformats-officedocument.themeOverride+xml"/>
  <Override PartName="/ppt/notesSlides/notesSlide17.xml" ContentType="application/vnd.openxmlformats-officedocument.presentationml.notesSlide+xml"/>
  <Override PartName="/ppt/charts/colors5.xml" ContentType="application/vnd.ms-office.chartcolorstyl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notesSlides/notesSlide15.xml" ContentType="application/vnd.openxmlformats-officedocument.presentationml.notesSlide+xml"/>
  <Override PartName="/ppt/theme/themeOverride2.xml" ContentType="application/vnd.openxmlformats-officedocument.themeOverride+xml"/>
  <Override PartName="/docProps/app.xml" ContentType="application/vnd.openxmlformats-officedocument.extended-properties+xml"/>
  <Override PartName="/ppt/charts/colors3.xml" ContentType="application/vnd.ms-office.chartcolorstyle+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ppt/charts/chart2.xml" ContentType="application/vnd.openxmlformats-officedocument.drawingml.chart+xml"/>
  <Override PartName="/docProps/core.xml" ContentType="application/vnd.openxmlformats-package.core-properties+xml"/>
  <Override PartName="/ppt/charts/style4.xml" ContentType="application/vnd.ms-office.chartstyle+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Default Extension="svg" ContentType="image/svg+xml"/>
  <Override PartName="/ppt/charts/style2.xml" ContentType="application/vnd.ms-office.chartstyle+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theme/themeOverride3.xml" ContentType="application/vnd.openxmlformats-officedocument.themeOverride+xml"/>
  <Override PartName="/ppt/notesSlides/notesSlide18.xml" ContentType="application/vnd.openxmlformats-officedocument.presentationml.notesSlide+xml"/>
  <Override PartName="/ppt/charts/colors4.xml" ContentType="application/vnd.ms-office.chartcolorstyl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customXml/itemProps4.xml" ContentType="application/vnd.openxmlformats-officedocument.customXmlPropertie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charts/chart1.xml" ContentType="application/vnd.openxmlformats-officedocument.drawingml.chart+xml"/>
  <Override PartName="/ppt/charts/style3.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0" r:id="rId6"/>
  </p:sldMasterIdLst>
  <p:notesMasterIdLst>
    <p:notesMasterId r:id="rId42"/>
  </p:notesMasterIdLst>
  <p:sldIdLst>
    <p:sldId id="2342" r:id="rId7"/>
    <p:sldId id="2143" r:id="rId8"/>
    <p:sldId id="2325" r:id="rId9"/>
    <p:sldId id="2326" r:id="rId10"/>
    <p:sldId id="2322" r:id="rId11"/>
    <p:sldId id="2174" r:id="rId12"/>
    <p:sldId id="2159" r:id="rId13"/>
    <p:sldId id="2320" r:id="rId14"/>
    <p:sldId id="2185" r:id="rId15"/>
    <p:sldId id="2167" r:id="rId16"/>
    <p:sldId id="2327" r:id="rId17"/>
    <p:sldId id="2231" r:id="rId18"/>
    <p:sldId id="2230" r:id="rId19"/>
    <p:sldId id="2232" r:id="rId20"/>
    <p:sldId id="2152" r:id="rId21"/>
    <p:sldId id="2171" r:id="rId22"/>
    <p:sldId id="2155" r:id="rId23"/>
    <p:sldId id="2172" r:id="rId24"/>
    <p:sldId id="2180" r:id="rId25"/>
    <p:sldId id="2181" r:id="rId26"/>
    <p:sldId id="2182" r:id="rId27"/>
    <p:sldId id="2183" r:id="rId28"/>
    <p:sldId id="2173" r:id="rId29"/>
    <p:sldId id="2323" r:id="rId30"/>
    <p:sldId id="2324" r:id="rId31"/>
    <p:sldId id="2163" r:id="rId32"/>
    <p:sldId id="2177" r:id="rId33"/>
    <p:sldId id="2178" r:id="rId34"/>
    <p:sldId id="2340" r:id="rId35"/>
    <p:sldId id="2341" r:id="rId36"/>
    <p:sldId id="2328" r:id="rId37"/>
    <p:sldId id="2329" r:id="rId38"/>
    <p:sldId id="2335" r:id="rId39"/>
    <p:sldId id="2149" r:id="rId40"/>
    <p:sldId id="2150" r:id="rId41"/>
  </p:sldIdLst>
  <p:sldSz cx="9144000" cy="6858000" type="screen4x3"/>
  <p:notesSz cx="6808788" cy="9940925"/>
  <p:custDataLst>
    <p:tags r:id="rId4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06E02"/>
    <a:srgbClr val="0C7723"/>
    <a:srgbClr val="339933"/>
    <a:srgbClr val="989898"/>
    <a:srgbClr val="8C8C8C"/>
    <a:srgbClr val="FA9923"/>
    <a:srgbClr val="EE7000"/>
    <a:srgbClr val="006600"/>
    <a:srgbClr val="2E852F"/>
    <a:srgbClr val="49D34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1446" y="-96"/>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microsoft.com/office/2011/relationships/chartColorStyle" Target="colors2.xml"/><Relationship Id="rId2" Type="http://schemas.openxmlformats.org/officeDocument/2006/relationships/oleObject" Target="https://sefa-my.sharepoint.com/personal/gugum_sefa_org_za/Documents/Documents/HC%20Documents/Quarterly%20Reports%202022.23/Copy%20of%20staff%20profile_December%202022_%20Q3.xlsx" TargetMode="External"/><Relationship Id="rId1" Type="http://schemas.openxmlformats.org/officeDocument/2006/relationships/themeOverride" Target="../theme/themeOverride1.xml"/><Relationship Id="rId4" Type="http://schemas.microsoft.com/office/2011/relationships/chartStyle" Target="style2.xml"/></Relationships>
</file>

<file path=ppt/charts/_rels/chart2.xml.rels><?xml version="1.0" encoding="UTF-8" standalone="yes"?>
<Relationships xmlns="http://schemas.openxmlformats.org/package/2006/relationships"><Relationship Id="rId3" Type="http://schemas.microsoft.com/office/2011/relationships/chartColorStyle" Target="colors3.xml"/><Relationship Id="rId2" Type="http://schemas.openxmlformats.org/officeDocument/2006/relationships/oleObject" Target="https://sefa-my.sharepoint.com/personal/gugum_sefa_org_za/Documents/Documents/HC%20Documents/Quarterly%20Reports%202022.23/Copy%20of%20staff%20profile_December%202022_%20Q3.xlsx" TargetMode="External"/><Relationship Id="rId1" Type="http://schemas.openxmlformats.org/officeDocument/2006/relationships/themeOverride" Target="../theme/themeOverride2.xml"/><Relationship Id="rId4" Type="http://schemas.microsoft.com/office/2011/relationships/chartStyle" Target="style3.xml"/></Relationships>
</file>

<file path=ppt/charts/_rels/chart3.xml.rels><?xml version="1.0" encoding="UTF-8" standalone="yes"?>
<Relationships xmlns="http://schemas.openxmlformats.org/package/2006/relationships"><Relationship Id="rId3" Type="http://schemas.microsoft.com/office/2011/relationships/chartColorStyle" Target="colors4.xml"/><Relationship Id="rId2" Type="http://schemas.openxmlformats.org/officeDocument/2006/relationships/oleObject" Target="https://sefa-my.sharepoint.com/personal/gugum_sefa_org_za/Documents/Documents/HC%20Documents/Quarterly%20Reports%202022.23/Copy%20of%20staff%20profile_December%202022_%20Q3.xlsx" TargetMode="External"/><Relationship Id="rId1" Type="http://schemas.openxmlformats.org/officeDocument/2006/relationships/themeOverride" Target="../theme/themeOverride3.xml"/><Relationship Id="rId4" Type="http://schemas.microsoft.com/office/2011/relationships/chartStyle" Target="style4.xml"/></Relationships>
</file>

<file path=ppt/charts/_rels/chart4.xml.rels><?xml version="1.0" encoding="UTF-8" standalone="yes"?>
<Relationships xmlns="http://schemas.openxmlformats.org/package/2006/relationships"><Relationship Id="rId3" Type="http://schemas.microsoft.com/office/2011/relationships/chartColorStyle" Target="colors5.xml"/><Relationship Id="rId2" Type="http://schemas.openxmlformats.org/officeDocument/2006/relationships/oleObject" Target="https://sefa-my.sharepoint.com/personal/gugum_sefa_org_za/Documents/Documents/HC%20Documents/Quarterly%20Reports%202022.23/Copy%20of%20staff%20profile_December%202022_%20Q3.xlsx" TargetMode="External"/><Relationship Id="rId1" Type="http://schemas.openxmlformats.org/officeDocument/2006/relationships/themeOverride" Target="../theme/themeOverride4.xml"/><Relationship Id="rId4" Type="http://schemas.microsoft.com/office/2011/relationships/chartStyle" Target="style5.xml"/></Relationships>
</file>

<file path=ppt/charts/_rels/chart5.xml.rels><?xml version="1.0" encoding="UTF-8" standalone="yes"?>
<Relationships xmlns="http://schemas.openxmlformats.org/package/2006/relationships"><Relationship Id="rId3" Type="http://schemas.microsoft.com/office/2011/relationships/chartColorStyle" Target="colors6.xml"/><Relationship Id="rId2" Type="http://schemas.openxmlformats.org/officeDocument/2006/relationships/oleObject" Target="https://sefa-my.sharepoint.com/personal/gugum_sefa_org_za/Documents/Documents/HC%20Documents/Quarterly%20Reports%202022.23/Copy%20of%20staff%20profile_December%202022_%20Q3.xlsx" TargetMode="External"/><Relationship Id="rId1" Type="http://schemas.openxmlformats.org/officeDocument/2006/relationships/themeOverride" Target="../theme/themeOverride5.xml"/><Relationship Id="rId4"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ZA" sz="1400"/>
              <a:t>Fixed Term vs Permanent Employee Report - Q3</a:t>
            </a:r>
            <a:r>
              <a:rPr lang="en-ZA" sz="1400" baseline="0"/>
              <a:t> </a:t>
            </a:r>
            <a:r>
              <a:rPr lang="en-ZA" sz="1400"/>
              <a:t>FY 2022.23</a:t>
            </a:r>
          </a:p>
        </c:rich>
      </c:tx>
      <c:layout>
        <c:manualLayout>
          <c:xMode val="edge"/>
          <c:yMode val="edge"/>
          <c:x val="0.14370622685135531"/>
          <c:y val="3.3403022215131459E-2"/>
        </c:manualLayout>
      </c:layout>
      <c:spPr>
        <a:noFill/>
        <a:ln>
          <a:noFill/>
        </a:ln>
        <a:effectLst/>
      </c:spPr>
    </c:title>
    <c:plotArea>
      <c:layout/>
      <c:pieChart>
        <c:varyColors val="1"/>
        <c:ser>
          <c:idx val="0"/>
          <c:order val="0"/>
          <c:dPt>
            <c:idx val="0"/>
            <c:spPr>
              <a:solidFill>
                <a:srgbClr val="008000"/>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ECD0-4299-A502-3BAF99D7E842}"/>
              </c:ext>
            </c:extLst>
          </c:dPt>
          <c:dPt>
            <c:idx val="1"/>
            <c:spPr>
              <a:solidFill>
                <a:schemeClr val="accent2">
                  <a:lumMod val="75000"/>
                </a:schemeClr>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ECD0-4299-A502-3BAF99D7E842}"/>
              </c:ext>
            </c:extLst>
          </c:dPt>
          <c:dLbls>
            <c:dLbl>
              <c:idx val="0"/>
              <c:spPr>
                <a:solidFill>
                  <a:srgbClr val="008000"/>
                </a:solid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ECD0-4299-A502-3BAF99D7E842}"/>
                </c:ext>
              </c:extLst>
            </c:dLbl>
            <c:dLbl>
              <c:idx val="1"/>
              <c:spPr>
                <a:solidFill>
                  <a:schemeClr val="accent2">
                    <a:lumMod val="75000"/>
                  </a:schemeClr>
                </a:solid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ECD0-4299-A502-3BAF99D7E842}"/>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ctr"/>
            <c:showVal val="1"/>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Q3 Dashboard'!$A$3:$A$4</c:f>
              <c:strCache>
                <c:ptCount val="2"/>
                <c:pt idx="0">
                  <c:v>FTC</c:v>
                </c:pt>
                <c:pt idx="1">
                  <c:v>PERM</c:v>
                </c:pt>
              </c:strCache>
            </c:strRef>
          </c:cat>
          <c:val>
            <c:numRef>
              <c:f>'Q3 Dashboard'!$B$3:$B$4</c:f>
              <c:numCache>
                <c:formatCode>General</c:formatCode>
                <c:ptCount val="2"/>
                <c:pt idx="0">
                  <c:v>163</c:v>
                </c:pt>
                <c:pt idx="1">
                  <c:v>169</c:v>
                </c:pt>
              </c:numCache>
            </c:numRef>
          </c:val>
          <c:extLst xmlns:c16r2="http://schemas.microsoft.com/office/drawing/2015/06/chart">
            <c:ext xmlns:c16="http://schemas.microsoft.com/office/drawing/2014/chart" uri="{C3380CC4-5D6E-409C-BE32-E72D297353CC}">
              <c16:uniqueId val="{00000004-ECD0-4299-A502-3BAF99D7E842}"/>
            </c:ext>
          </c:extLst>
        </c:ser>
        <c:dLbls>
          <c:showPercent val="1"/>
        </c:dLbls>
        <c:firstSliceAng val="0"/>
      </c:pieChart>
      <c:spPr>
        <a:noFill/>
        <a:ln>
          <a:noFill/>
        </a:ln>
        <a:effectLst/>
      </c:spPr>
    </c:plotArea>
    <c:legend>
      <c:legendPos val="r"/>
      <c:spPr>
        <a:solidFill>
          <a:schemeClr val="lt1">
            <a:lumMod val="95000"/>
            <a:alpha val="39000"/>
          </a:schemeClr>
        </a:solid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rgbClr val="000000"/>
      </a:solidFill>
      <a:round/>
    </a:ln>
    <a:effectLst/>
  </c:spPr>
  <c:txPr>
    <a:bodyPr/>
    <a:lstStyle/>
    <a:p>
      <a:pPr>
        <a:defRPr sz="1400">
          <a:solidFill>
            <a:schemeClr val="tx1"/>
          </a:solidFill>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baseline="0">
                <a:solidFill>
                  <a:schemeClr val="tx1"/>
                </a:solidFill>
                <a:latin typeface="+mn-lt"/>
                <a:ea typeface="+mn-ea"/>
                <a:cs typeface="+mn-cs"/>
              </a:defRPr>
            </a:pPr>
            <a:r>
              <a:rPr lang="en-ZA">
                <a:solidFill>
                  <a:schemeClr val="tx1"/>
                </a:solidFill>
              </a:rPr>
              <a:t>Head Office Vs Regional Offices Report- Q3 FY2022.23</a:t>
            </a:r>
          </a:p>
        </c:rich>
      </c:tx>
      <c:spPr>
        <a:noFill/>
        <a:ln>
          <a:noFill/>
        </a:ln>
        <a:effectLst/>
      </c:spPr>
    </c:title>
    <c:plotArea>
      <c:layout/>
      <c:pieChart>
        <c:varyColors val="1"/>
        <c:ser>
          <c:idx val="0"/>
          <c:order val="0"/>
          <c:spPr>
            <a:solidFill>
              <a:schemeClr val="accent2"/>
            </a:solidFill>
          </c:spPr>
          <c:dPt>
            <c:idx val="0"/>
            <c:spPr>
              <a:solidFill>
                <a:srgbClr val="008000"/>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5AC7-49F1-A1A6-40B20532A869}"/>
              </c:ext>
            </c:extLst>
          </c:dPt>
          <c:dPt>
            <c:idx val="1"/>
            <c:spPr>
              <a:solidFill>
                <a:schemeClr val="accent2">
                  <a:lumMod val="75000"/>
                </a:schemeClr>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5AC7-49F1-A1A6-40B20532A869}"/>
              </c:ext>
            </c:extLst>
          </c:dPt>
          <c:dLbls>
            <c:dLbl>
              <c:idx val="0"/>
              <c:spPr>
                <a:solidFill>
                  <a:srgbClr val="008000"/>
                </a:solid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200" b="1" i="0" u="none" strike="noStrike" kern="1200" baseline="0">
                      <a:solidFill>
                        <a:schemeClr val="lt1"/>
                      </a:solidFill>
                      <a:latin typeface="+mn-lt"/>
                      <a:ea typeface="+mn-ea"/>
                      <a:cs typeface="+mn-cs"/>
                    </a:defRPr>
                  </a:pPr>
                  <a:endParaRPr lang="en-US"/>
                </a:p>
              </c:txPr>
            </c:dLbl>
            <c:spPr>
              <a:solidFill>
                <a:schemeClr val="accent2">
                  <a:lumMod val="75000"/>
                </a:schemeClr>
              </a:solid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2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Q3 Dashboard'!$A$15:$A$16</c:f>
              <c:strCache>
                <c:ptCount val="2"/>
                <c:pt idx="0">
                  <c:v>Head Office</c:v>
                </c:pt>
                <c:pt idx="1">
                  <c:v>Regional Offices</c:v>
                </c:pt>
              </c:strCache>
            </c:strRef>
          </c:cat>
          <c:val>
            <c:numRef>
              <c:f>'Q3 Dashboard'!$B$15:$B$16</c:f>
              <c:numCache>
                <c:formatCode>General</c:formatCode>
                <c:ptCount val="2"/>
                <c:pt idx="0">
                  <c:v>225</c:v>
                </c:pt>
                <c:pt idx="1">
                  <c:v>107</c:v>
                </c:pt>
              </c:numCache>
            </c:numRef>
          </c:val>
          <c:extLst xmlns:c16r2="http://schemas.microsoft.com/office/drawing/2015/06/chart">
            <c:ext xmlns:c16="http://schemas.microsoft.com/office/drawing/2014/chart" uri="{C3380CC4-5D6E-409C-BE32-E72D297353CC}">
              <c16:uniqueId val="{00000004-5AC7-49F1-A1A6-40B20532A869}"/>
            </c:ext>
          </c:extLst>
        </c:ser>
        <c:dLbls>
          <c:showPercent val="1"/>
        </c:dLbls>
        <c:firstSliceAng val="0"/>
      </c:pieChart>
      <c:spPr>
        <a:noFill/>
        <a:ln>
          <a:noFill/>
        </a:ln>
        <a:effectLst/>
      </c:spPr>
    </c:plotArea>
    <c:legend>
      <c:legendPos val="r"/>
      <c:spPr>
        <a:solidFill>
          <a:schemeClr val="lt1">
            <a:lumMod val="95000"/>
            <a:alpha val="39000"/>
          </a:schemeClr>
        </a:solidFill>
        <a:ln>
          <a:noFill/>
        </a:ln>
        <a:effectLst/>
      </c:spPr>
      <c:txPr>
        <a:bodyPr rot="0" spcFirstLastPara="1" vertOverflow="ellipsis" vert="horz" wrap="square" anchor="ctr" anchorCtr="1"/>
        <a:lstStyle/>
        <a:p>
          <a:pPr>
            <a:defRPr sz="12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rgbClr val="000000"/>
      </a:solidFill>
      <a:round/>
    </a:ln>
    <a:effectLst/>
  </c:spPr>
  <c:txPr>
    <a:bodyPr/>
    <a:lstStyle/>
    <a:p>
      <a:pPr>
        <a:defRPr sz="1200"/>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ZA" sz="1400">
                <a:solidFill>
                  <a:schemeClr val="tx1"/>
                </a:solidFill>
              </a:rPr>
              <a:t>sefa Gender Profile- Q3 FY2022.23</a:t>
            </a:r>
          </a:p>
        </c:rich>
      </c:tx>
      <c:layout>
        <c:manualLayout>
          <c:xMode val="edge"/>
          <c:yMode val="edge"/>
          <c:x val="0.21778997829599933"/>
          <c:y val="3.1012383383060328E-2"/>
        </c:manualLayout>
      </c:layout>
      <c:spPr>
        <a:noFill/>
        <a:ln>
          <a:noFill/>
        </a:ln>
        <a:effectLst/>
      </c:spPr>
    </c:title>
    <c:plotArea>
      <c:layout/>
      <c:pieChart>
        <c:varyColors val="1"/>
        <c:ser>
          <c:idx val="0"/>
          <c:order val="0"/>
          <c:dPt>
            <c:idx val="0"/>
            <c:spPr>
              <a:solidFill>
                <a:srgbClr val="006600"/>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1-AC21-4B9A-9AF2-EF1F5B254665}"/>
              </c:ext>
            </c:extLst>
          </c:dPt>
          <c:dPt>
            <c:idx val="1"/>
            <c:spPr>
              <a:solidFill>
                <a:srgbClr val="FF6600"/>
              </a:solidFill>
              <a:ln>
                <a:noFill/>
              </a:ln>
              <a:effectLst>
                <a:outerShdw blurRad="254000" sx="102000" sy="102000" algn="ctr" rotWithShape="0">
                  <a:prstClr val="black">
                    <a:alpha val="20000"/>
                  </a:prstClr>
                </a:outerShdw>
              </a:effectLst>
            </c:spPr>
            <c:extLst xmlns:c16r2="http://schemas.microsoft.com/office/drawing/2015/06/chart">
              <c:ext xmlns:c16="http://schemas.microsoft.com/office/drawing/2014/chart" uri="{C3380CC4-5D6E-409C-BE32-E72D297353CC}">
                <c16:uniqueId val="{00000003-AC21-4B9A-9AF2-EF1F5B254665}"/>
              </c:ext>
            </c:extLst>
          </c:dPt>
          <c:dLbls>
            <c:spPr>
              <a:no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1200" b="1" i="0" u="none" strike="noStrike" kern="1200" baseline="0">
                    <a:solidFill>
                      <a:schemeClr val="lt1"/>
                    </a:solidFill>
                    <a:latin typeface="+mn-lt"/>
                    <a:ea typeface="+mn-ea"/>
                    <a:cs typeface="+mn-cs"/>
                  </a:defRPr>
                </a:pPr>
                <a:endParaRPr lang="en-US"/>
              </a:p>
            </c:txPr>
            <c:dLblPos val="ctr"/>
            <c:showPercent val="1"/>
            <c:showLeaderLines val="1"/>
            <c:leaderLines>
              <c:spPr>
                <a:ln w="9525">
                  <a:solidFill>
                    <a:schemeClr val="dk1">
                      <a:lumMod val="50000"/>
                      <a:lumOff val="50000"/>
                    </a:schemeClr>
                  </a:solidFill>
                </a:ln>
                <a:effectLst/>
              </c:spPr>
            </c:leaderLines>
            <c:extLst xmlns:c16r2="http://schemas.microsoft.com/office/drawing/2015/06/chart">
              <c:ext xmlns:c15="http://schemas.microsoft.com/office/drawing/2012/chart" uri="{CE6537A1-D6FC-4f65-9D91-7224C49458BB}"/>
            </c:extLst>
          </c:dLbls>
          <c:cat>
            <c:strRef>
              <c:f>'Q3 Dashboard'!$A$29:$A$30</c:f>
              <c:strCache>
                <c:ptCount val="2"/>
                <c:pt idx="0">
                  <c:v>Male</c:v>
                </c:pt>
                <c:pt idx="1">
                  <c:v>Female</c:v>
                </c:pt>
              </c:strCache>
            </c:strRef>
          </c:cat>
          <c:val>
            <c:numRef>
              <c:f>'Q3 Dashboard'!$B$29:$B$30</c:f>
              <c:numCache>
                <c:formatCode>General</c:formatCode>
                <c:ptCount val="2"/>
                <c:pt idx="0">
                  <c:v>140</c:v>
                </c:pt>
                <c:pt idx="1">
                  <c:v>192</c:v>
                </c:pt>
              </c:numCache>
            </c:numRef>
          </c:val>
          <c:extLst xmlns:c16r2="http://schemas.microsoft.com/office/drawing/2015/06/chart">
            <c:ext xmlns:c16="http://schemas.microsoft.com/office/drawing/2014/chart" uri="{C3380CC4-5D6E-409C-BE32-E72D297353CC}">
              <c16:uniqueId val="{00000004-AC21-4B9A-9AF2-EF1F5B254665}"/>
            </c:ext>
          </c:extLst>
        </c:ser>
        <c:dLbls>
          <c:showPercent val="1"/>
        </c:dLbls>
        <c:firstSliceAng val="0"/>
      </c:pieChart>
      <c:spPr>
        <a:noFill/>
        <a:ln>
          <a:noFill/>
        </a:ln>
        <a:effectLst/>
      </c:spPr>
    </c:plotArea>
    <c:legend>
      <c:legendPos val="r"/>
      <c:spPr>
        <a:solidFill>
          <a:schemeClr val="lt1">
            <a:lumMod val="95000"/>
            <a:alpha val="39000"/>
          </a:schemeClr>
        </a:solidFill>
        <a:ln>
          <a:noFill/>
        </a:ln>
        <a:effectLst/>
      </c:spPr>
      <c:txPr>
        <a:bodyPr rot="0" spcFirstLastPara="1" vertOverflow="ellipsis" vert="horz" wrap="square" anchor="ctr" anchorCtr="1"/>
        <a:lstStyle/>
        <a:p>
          <a:pPr>
            <a:defRPr sz="1400" b="0" i="0" u="none" strike="noStrike" kern="1200" baseline="0">
              <a:solidFill>
                <a:schemeClr val="dk1">
                  <a:lumMod val="75000"/>
                  <a:lumOff val="25000"/>
                </a:schemeClr>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rgbClr val="000000"/>
      </a:solidFill>
      <a:round/>
    </a:ln>
    <a:effectLst/>
  </c:spPr>
  <c:txPr>
    <a:bodyPr/>
    <a:lstStyle/>
    <a:p>
      <a:pPr>
        <a:defRPr sz="1400"/>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ZA" sz="1400" b="1"/>
              <a:t>sefa Racial Profile- Q3 FY2022.23</a:t>
            </a:r>
          </a:p>
        </c:rich>
      </c:tx>
      <c:spPr>
        <a:noFill/>
        <a:ln>
          <a:noFill/>
        </a:ln>
        <a:effectLst/>
      </c:spPr>
    </c:title>
    <c:plotArea>
      <c:layout>
        <c:manualLayout>
          <c:layoutTarget val="inner"/>
          <c:xMode val="edge"/>
          <c:yMode val="edge"/>
          <c:x val="5.146981627296586E-2"/>
          <c:y val="0.14904206108316845"/>
          <c:w val="0.89019685039370089"/>
          <c:h val="0.73218394575678036"/>
        </c:manualLayout>
      </c:layout>
      <c:barChart>
        <c:barDir val="col"/>
        <c:grouping val="clustered"/>
        <c:ser>
          <c:idx val="0"/>
          <c:order val="0"/>
          <c:spPr>
            <a:solidFill>
              <a:srgbClr val="FF6600"/>
            </a:solidFill>
            <a:ln>
              <a:noFill/>
            </a:ln>
            <a:effectLst/>
          </c:spPr>
          <c:dPt>
            <c:idx val="1"/>
            <c:spPr>
              <a:solidFill>
                <a:srgbClr val="006600"/>
              </a:solidFill>
              <a:ln>
                <a:noFill/>
              </a:ln>
              <a:effectLst/>
            </c:spPr>
            <c:extLst xmlns:c16r2="http://schemas.microsoft.com/office/drawing/2015/06/chart">
              <c:ext xmlns:c16="http://schemas.microsoft.com/office/drawing/2014/chart" uri="{C3380CC4-5D6E-409C-BE32-E72D297353CC}">
                <c16:uniqueId val="{00000001-5DB1-4EA0-AA8D-0569510301DD}"/>
              </c:ext>
            </c:extLst>
          </c:dPt>
          <c:dPt>
            <c:idx val="2"/>
            <c:spPr>
              <a:solidFill>
                <a:srgbClr val="FF0000"/>
              </a:solidFill>
              <a:ln>
                <a:noFill/>
              </a:ln>
              <a:effectLst/>
            </c:spPr>
            <c:extLst xmlns:c16r2="http://schemas.microsoft.com/office/drawing/2015/06/chart">
              <c:ext xmlns:c16="http://schemas.microsoft.com/office/drawing/2014/chart" uri="{C3380CC4-5D6E-409C-BE32-E72D297353CC}">
                <c16:uniqueId val="{00000003-5DB1-4EA0-AA8D-0569510301DD}"/>
              </c:ext>
            </c:extLst>
          </c:dPt>
          <c:dPt>
            <c:idx val="3"/>
            <c:spPr>
              <a:solidFill>
                <a:srgbClr val="FFFF00"/>
              </a:solidFill>
              <a:ln>
                <a:noFill/>
              </a:ln>
              <a:effectLst/>
            </c:spPr>
            <c:extLst xmlns:c16r2="http://schemas.microsoft.com/office/drawing/2015/06/chart">
              <c:ext xmlns:c16="http://schemas.microsoft.com/office/drawing/2014/chart" uri="{C3380CC4-5D6E-409C-BE32-E72D297353CC}">
                <c16:uniqueId val="{00000005-5DB1-4EA0-AA8D-0569510301DD}"/>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showVal val="1"/>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Q3 Dashboard'!$M$28:$M$31</c:f>
              <c:strCache>
                <c:ptCount val="4"/>
                <c:pt idx="0">
                  <c:v>African</c:v>
                </c:pt>
                <c:pt idx="1">
                  <c:v>Coloured</c:v>
                </c:pt>
                <c:pt idx="2">
                  <c:v>Indian</c:v>
                </c:pt>
                <c:pt idx="3">
                  <c:v>White</c:v>
                </c:pt>
              </c:strCache>
            </c:strRef>
          </c:cat>
          <c:val>
            <c:numRef>
              <c:f>'Q3 Dashboard'!$N$28:$N$31</c:f>
              <c:numCache>
                <c:formatCode>General</c:formatCode>
                <c:ptCount val="4"/>
                <c:pt idx="0">
                  <c:v>300</c:v>
                </c:pt>
                <c:pt idx="1">
                  <c:v>11</c:v>
                </c:pt>
                <c:pt idx="2">
                  <c:v>6</c:v>
                </c:pt>
                <c:pt idx="3">
                  <c:v>15</c:v>
                </c:pt>
              </c:numCache>
            </c:numRef>
          </c:val>
          <c:extLst xmlns:c16r2="http://schemas.microsoft.com/office/drawing/2015/06/chart">
            <c:ext xmlns:c16="http://schemas.microsoft.com/office/drawing/2014/chart" uri="{C3380CC4-5D6E-409C-BE32-E72D297353CC}">
              <c16:uniqueId val="{00000006-5DB1-4EA0-AA8D-0569510301DD}"/>
            </c:ext>
          </c:extLst>
        </c:ser>
        <c:dLbls/>
        <c:gapWidth val="219"/>
        <c:overlap val="-27"/>
        <c:axId val="83770752"/>
        <c:axId val="83793024"/>
      </c:barChart>
      <c:catAx>
        <c:axId val="83770752"/>
        <c:scaling>
          <c:orientation val="minMax"/>
        </c:scaling>
        <c:axPos val="b"/>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83793024"/>
        <c:crosses val="autoZero"/>
        <c:auto val="1"/>
        <c:lblAlgn val="ctr"/>
        <c:lblOffset val="100"/>
      </c:catAx>
      <c:valAx>
        <c:axId val="83793024"/>
        <c:scaling>
          <c:orientation val="minMax"/>
        </c:scaling>
        <c:delete val="1"/>
        <c:axPos val="l"/>
        <c:numFmt formatCode="General" sourceLinked="1"/>
        <c:majorTickMark val="none"/>
        <c:tickLblPos val="none"/>
        <c:crossAx val="83770752"/>
        <c:crosses val="autoZero"/>
        <c:crossBetween val="between"/>
      </c:valAx>
      <c:spPr>
        <a:noFill/>
        <a:ln>
          <a:noFill/>
        </a:ln>
        <a:effectLst/>
      </c:spPr>
    </c:plotArea>
    <c:plotVisOnly val="1"/>
    <c:dispBlanksAs val="gap"/>
    <c:extLst xmlns:c16r2="http://schemas.microsoft.com/office/drawing/2015/06/chart">
      <c:ext xmlns:c16r3="http://schemas.microsoft.com/office/drawing/2017/03/chart" uri="{56B9EC1D-385E-4148-901F-78D8002777C0}">
        <c16r3:dataDisplayOptions16>
          <c16r3:dispNaAsBlank val="1"/>
        </c16r3:dataDisplayOptions16>
      </c:ext>
    </c:extLst>
  </c:chart>
  <c:spPr>
    <a:gradFill flip="none" rotWithShape="1">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tileRect/>
    </a:gradFill>
    <a:ln w="9525" cap="flat" cmpd="sng" algn="ctr">
      <a:solidFill>
        <a:srgbClr val="000000"/>
      </a:solidFill>
      <a:round/>
    </a:ln>
    <a:effectLst/>
  </c:spPr>
  <c:txPr>
    <a:bodyPr/>
    <a:lstStyle/>
    <a:p>
      <a:pPr>
        <a:defRPr sz="1600">
          <a:solidFill>
            <a:schemeClr val="tx1"/>
          </a:solidFill>
        </a:defRPr>
      </a:pPr>
      <a:endParaRPr lang="en-US"/>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solidFill>
                <a:latin typeface="+mn-lt"/>
                <a:ea typeface="+mn-ea"/>
                <a:cs typeface="+mn-cs"/>
              </a:defRPr>
            </a:pPr>
            <a:r>
              <a:rPr lang="en-ZA" sz="1400" b="1">
                <a:solidFill>
                  <a:schemeClr val="tx1"/>
                </a:solidFill>
              </a:rPr>
              <a:t>Front End vs Services Business Functions Report </a:t>
            </a:r>
          </a:p>
          <a:p>
            <a:pPr>
              <a:defRPr sz="1400" b="1" i="0" u="none" strike="noStrike" kern="1200" spc="0" baseline="0">
                <a:solidFill>
                  <a:schemeClr val="tx1"/>
                </a:solidFill>
                <a:latin typeface="+mn-lt"/>
                <a:ea typeface="+mn-ea"/>
                <a:cs typeface="+mn-cs"/>
              </a:defRPr>
            </a:pPr>
            <a:r>
              <a:rPr lang="en-ZA" sz="1400" b="1">
                <a:solidFill>
                  <a:schemeClr val="tx1"/>
                </a:solidFill>
              </a:rPr>
              <a:t>Q3 FY2022.23</a:t>
            </a:r>
          </a:p>
        </c:rich>
      </c:tx>
      <c:layout>
        <c:manualLayout>
          <c:xMode val="edge"/>
          <c:yMode val="edge"/>
          <c:x val="0.13220940152883903"/>
          <c:y val="3.0940832763174737E-2"/>
        </c:manualLayout>
      </c:layout>
      <c:spPr>
        <a:noFill/>
        <a:ln>
          <a:noFill/>
        </a:ln>
        <a:effectLst/>
      </c:spPr>
    </c:title>
    <c:plotArea>
      <c:layout/>
      <c:pieChart>
        <c:varyColors val="1"/>
        <c:ser>
          <c:idx val="0"/>
          <c:order val="0"/>
          <c:dPt>
            <c:idx val="0"/>
            <c:spPr>
              <a:solidFill>
                <a:srgbClr val="006600"/>
              </a:solidFill>
              <a:ln w="19050">
                <a:solidFill>
                  <a:schemeClr val="lt1"/>
                </a:solidFill>
              </a:ln>
              <a:effectLst/>
            </c:spPr>
            <c:extLst xmlns:c16r2="http://schemas.microsoft.com/office/drawing/2015/06/chart">
              <c:ext xmlns:c16="http://schemas.microsoft.com/office/drawing/2014/chart" uri="{C3380CC4-5D6E-409C-BE32-E72D297353CC}">
                <c16:uniqueId val="{00000001-5A45-4C70-A032-8C1731B52F54}"/>
              </c:ext>
            </c:extLst>
          </c:dPt>
          <c:dPt>
            <c:idx val="1"/>
            <c:spPr>
              <a:solidFill>
                <a:srgbClr val="FF6600"/>
              </a:solidFill>
              <a:ln w="19050">
                <a:solidFill>
                  <a:schemeClr val="lt1"/>
                </a:solidFill>
              </a:ln>
              <a:effectLst/>
            </c:spPr>
            <c:extLst xmlns:c16r2="http://schemas.microsoft.com/office/drawing/2015/06/chart">
              <c:ext xmlns:c16="http://schemas.microsoft.com/office/drawing/2014/chart" uri="{C3380CC4-5D6E-409C-BE32-E72D297353CC}">
                <c16:uniqueId val="{00000003-5A45-4C70-A032-8C1731B52F54}"/>
              </c:ext>
            </c:extLst>
          </c:dPt>
          <c:dLbls>
            <c:dLbl>
              <c:idx val="0"/>
              <c:layout>
                <c:manualLayout>
                  <c:x val="-0.10670538057742783"/>
                  <c:y val="-8.9327427821522337E-2"/>
                </c:manualLayout>
              </c:layout>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A45-4C70-A032-8C1731B52F54}"/>
                </c:ext>
              </c:extLst>
            </c:dLbl>
            <c:dLbl>
              <c:idx val="1"/>
              <c:layout>
                <c:manualLayout>
                  <c:x val="0.12406474190726162"/>
                  <c:y val="5.1967774861475698E-2"/>
                </c:manualLayout>
              </c:layout>
              <c:showPercent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5A45-4C70-A032-8C1731B52F54}"/>
                </c:ext>
              </c:extLst>
            </c:dLbl>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showPercent val="1"/>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Q3 Dashboard'!$L$2:$L$3</c:f>
              <c:strCache>
                <c:ptCount val="2"/>
                <c:pt idx="0">
                  <c:v>Front End Functions</c:v>
                </c:pt>
                <c:pt idx="1">
                  <c:v> Services Functions</c:v>
                </c:pt>
              </c:strCache>
            </c:strRef>
          </c:cat>
          <c:val>
            <c:numRef>
              <c:f>'Q3 Dashboard'!$M$2:$M$3</c:f>
              <c:numCache>
                <c:formatCode>General</c:formatCode>
                <c:ptCount val="2"/>
                <c:pt idx="0">
                  <c:v>218</c:v>
                </c:pt>
                <c:pt idx="1">
                  <c:v>114</c:v>
                </c:pt>
              </c:numCache>
            </c:numRef>
          </c:val>
          <c:extLst xmlns:c16r2="http://schemas.microsoft.com/office/drawing/2015/06/chart">
            <c:ext xmlns:c16="http://schemas.microsoft.com/office/drawing/2014/chart" uri="{C3380CC4-5D6E-409C-BE32-E72D297353CC}">
              <c16:uniqueId val="{00000004-5A45-4C70-A032-8C1731B52F54}"/>
            </c:ext>
          </c:extLst>
        </c:ser>
        <c:dLbls/>
        <c:firstSliceAng val="0"/>
      </c:pieChart>
      <c:spPr>
        <a:noFill/>
        <a:ln>
          <a:noFill/>
        </a:ln>
        <a:effectLst/>
      </c:spPr>
    </c:plotArea>
    <c:legend>
      <c:legendPos val="b"/>
      <c:overlay val="1"/>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zero"/>
    <c:extLst xmlns:c16r2="http://schemas.microsoft.com/office/drawing/2015/06/chart">
      <c:ext xmlns:c16r3="http://schemas.microsoft.com/office/drawing/2017/03/chart" uri="{56B9EC1D-385E-4148-901F-78D8002777C0}">
        <c16r3:dataDisplayOptions16>
          <c16r3:dispNaAsBlank val="1"/>
        </c16r3:dataDisplayOptions16>
      </c:ext>
    </c:extLst>
  </c:chart>
  <c:spPr>
    <a:gradFill>
      <a:gsLst>
        <a:gs pos="0">
          <a:schemeClr val="accent3">
            <a:lumMod val="0"/>
            <a:lumOff val="100000"/>
          </a:schemeClr>
        </a:gs>
        <a:gs pos="35000">
          <a:schemeClr val="accent3">
            <a:lumMod val="0"/>
            <a:lumOff val="100000"/>
          </a:schemeClr>
        </a:gs>
        <a:gs pos="100000">
          <a:schemeClr val="accent3">
            <a:lumMod val="100000"/>
          </a:schemeClr>
        </a:gs>
      </a:gsLst>
      <a:path path="circle">
        <a:fillToRect l="50000" t="-80000" r="50000" b="180000"/>
      </a:path>
    </a:gradFill>
    <a:ln w="9525" cap="flat" cmpd="sng" algn="ctr">
      <a:solidFill>
        <a:sysClr val="windowText" lastClr="000000"/>
      </a:solidFill>
      <a:round/>
    </a:ln>
    <a:effectLst/>
  </c:spPr>
  <c:txPr>
    <a:bodyPr/>
    <a:lstStyle/>
    <a:p>
      <a:pPr>
        <a:defRPr sz="1200"/>
      </a:pPr>
      <a:endParaRPr lang="en-US"/>
    </a:p>
  </c:txPr>
  <c:externalData r:id="rId2"/>
</c:chartSpac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2.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4BDB90BC-2E2D-42AF-B1CC-E8639963F573}" type="datetimeFigureOut">
              <a:rPr lang="en-ZA" smtClean="0"/>
              <a:pPr/>
              <a:t>2023/03/22</a:t>
            </a:fld>
            <a:endParaRPr lang="en-ZA"/>
          </a:p>
        </p:txBody>
      </p:sp>
      <p:sp>
        <p:nvSpPr>
          <p:cNvPr id="4" name="Slide Image Placeholder 3"/>
          <p:cNvSpPr>
            <a:spLocks noGrp="1" noRot="1" noChangeAspect="1"/>
          </p:cNvSpPr>
          <p:nvPr>
            <p:ph type="sldImg" idx="2"/>
          </p:nvPr>
        </p:nvSpPr>
        <p:spPr>
          <a:xfrm>
            <a:off x="1168400" y="1243013"/>
            <a:ext cx="4471988" cy="33543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7EB3620E-113A-41EF-90B3-32956DD33426}" type="slidenum">
              <a:rPr lang="en-ZA" smtClean="0"/>
              <a:pPr/>
              <a:t>‹#›</a:t>
            </a:fld>
            <a:endParaRPr lang="en-ZA"/>
          </a:p>
        </p:txBody>
      </p:sp>
    </p:spTree>
    <p:extLst>
      <p:ext uri="{BB962C8B-B14F-4D97-AF65-F5344CB8AC3E}">
        <p14:creationId xmlns:p14="http://schemas.microsoft.com/office/powerpoint/2010/main" xmlns="" val="1286393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lgn="just">
              <a:lnSpc>
                <a:spcPct val="115000"/>
              </a:lnSpc>
              <a:buClr>
                <a:srgbClr val="000000"/>
              </a:buClr>
              <a:buFont typeface="+mj-lt"/>
              <a:buNone/>
            </a:pPr>
            <a:r>
              <a:rPr lang="en-US" sz="1800">
                <a:effectLst/>
                <a:latin typeface="Arial" panose="020B0604020202020204" pitchFamily="34" charset="0"/>
                <a:ea typeface="Cambria" panose="02040503050406030204" pitchFamily="18" charset="0"/>
              </a:rPr>
              <a:t>As at 31 December 2022, the portfolio had a total balance of R4.1bn (Including funds of R247million). </a:t>
            </a:r>
          </a:p>
          <a:p>
            <a:pPr marL="742950" lvl="1" indent="-285750" algn="just">
              <a:lnSpc>
                <a:spcPct val="115000"/>
              </a:lnSpc>
              <a:buClr>
                <a:srgbClr val="000000"/>
              </a:buClr>
              <a:buFont typeface="Arial" panose="020B0604020202020204" pitchFamily="34" charset="0"/>
              <a:buChar char="•"/>
            </a:pPr>
            <a:r>
              <a:rPr lang="en-US" sz="1800">
                <a:effectLst/>
                <a:latin typeface="Arial" panose="020B0604020202020204" pitchFamily="34" charset="0"/>
                <a:ea typeface="Cambria" panose="02040503050406030204" pitchFamily="18" charset="0"/>
              </a:rPr>
              <a:t>The total portfolio is made up of R1.4bn WL representing 36% and R2.7bn in DL representing 64%.</a:t>
            </a:r>
            <a:endParaRPr lang="en-ZA" sz="1800">
              <a:effectLst/>
              <a:latin typeface="Times New Roman" panose="02020603050405020304" pitchFamily="18" charset="0"/>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3</a:t>
            </a:fld>
            <a:endParaRPr lang="en-ZA"/>
          </a:p>
        </p:txBody>
      </p:sp>
    </p:spTree>
    <p:extLst>
      <p:ext uri="{BB962C8B-B14F-4D97-AF65-F5344CB8AC3E}">
        <p14:creationId xmlns:p14="http://schemas.microsoft.com/office/powerpoint/2010/main" xmlns="" val="453235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16</a:t>
            </a:fld>
            <a:endParaRPr lang="en-ZA"/>
          </a:p>
        </p:txBody>
      </p:sp>
    </p:spTree>
    <p:extLst>
      <p:ext uri="{BB962C8B-B14F-4D97-AF65-F5344CB8AC3E}">
        <p14:creationId xmlns:p14="http://schemas.microsoft.com/office/powerpoint/2010/main" xmlns="" val="37534673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mj-lt"/>
              <a:buAutoNum type="alphaLcPeriod"/>
            </a:pPr>
            <a:r>
              <a:rPr lang="en-US" sz="1600">
                <a:latin typeface="Arial"/>
                <a:cs typeface="Arial"/>
              </a:rPr>
              <a:t>The underperformance in the jobs facilitated and number of SMMEs indicators were due</a:t>
            </a:r>
          </a:p>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17</a:t>
            </a:fld>
            <a:endParaRPr lang="en-ZA"/>
          </a:p>
        </p:txBody>
      </p:sp>
    </p:spTree>
    <p:extLst>
      <p:ext uri="{BB962C8B-B14F-4D97-AF65-F5344CB8AC3E}">
        <p14:creationId xmlns:p14="http://schemas.microsoft.com/office/powerpoint/2010/main" xmlns="" val="122507172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defTabSz="914400" rtl="0" eaLnBrk="1" fontAlgn="auto" latinLnBrk="0" hangingPunct="1">
              <a:lnSpc>
                <a:spcPct val="100000"/>
              </a:lnSpc>
              <a:spcBef>
                <a:spcPts val="0"/>
              </a:spcBef>
              <a:spcAft>
                <a:spcPts val="0"/>
              </a:spcAft>
              <a:buClrTx/>
              <a:buSzTx/>
              <a:buFont typeface="+mj-lt"/>
              <a:buAutoNum type="alphaLcPeriod"/>
              <a:tabLst/>
              <a:defRPr/>
            </a:pPr>
            <a:r>
              <a:rPr lang="en-ZA" sz="1800">
                <a:effectLst/>
                <a:latin typeface="Arial" panose="020B0604020202020204" pitchFamily="34" charset="0"/>
                <a:ea typeface="Arial" panose="020B0604020202020204" pitchFamily="34" charset="0"/>
              </a:rPr>
              <a:t>The </a:t>
            </a:r>
            <a:r>
              <a:rPr lang="en-ZA" sz="1800">
                <a:effectLst/>
                <a:latin typeface="Arial" panose="020B0604020202020204" pitchFamily="34" charset="0"/>
                <a:ea typeface="Calibri" panose="020F0502020204030204" pitchFamily="34" charset="0"/>
              </a:rPr>
              <a:t>underperformance</a:t>
            </a:r>
            <a:r>
              <a:rPr lang="en-GB" sz="1800">
                <a:effectLst/>
                <a:latin typeface="Arial" panose="020B0604020202020204" pitchFamily="34" charset="0"/>
                <a:ea typeface="Calibri" panose="020F0502020204030204" pitchFamily="34" charset="0"/>
                <a:cs typeface="Arial" panose="020B0604020202020204" pitchFamily="34" charset="0"/>
              </a:rPr>
              <a:t> for the indicator for entrepreneurs with disability is due to the resignation of the Programme Manager responsible for the support programme for entrepreneurs with disability  and has negatively impacted the performance of the programme. </a:t>
            </a:r>
          </a:p>
          <a:p>
            <a:pPr marL="342900" marR="0" lvl="0" indent="-342900" algn="just" defTabSz="914400" rtl="0" eaLnBrk="1" fontAlgn="auto" latinLnBrk="0" hangingPunct="1">
              <a:lnSpc>
                <a:spcPct val="100000"/>
              </a:lnSpc>
              <a:spcBef>
                <a:spcPts val="0"/>
              </a:spcBef>
              <a:spcAft>
                <a:spcPts val="0"/>
              </a:spcAft>
              <a:buClrTx/>
              <a:buSzTx/>
              <a:buFont typeface="+mj-lt"/>
              <a:buAutoNum type="alphaLcPeriod"/>
              <a:tabLst/>
              <a:defRPr/>
            </a:pPr>
            <a:r>
              <a:rPr lang="en-GB" sz="1800">
                <a:effectLst/>
                <a:latin typeface="Arial" panose="020B0604020202020204" pitchFamily="34" charset="0"/>
                <a:ea typeface="Calibri" panose="020F0502020204030204" pitchFamily="34" charset="0"/>
                <a:cs typeface="Arial" panose="020B0604020202020204" pitchFamily="34" charset="0"/>
              </a:rPr>
              <a:t>The recruitment process to appoint the Programme Manager is underway and will be finalised in Q4. </a:t>
            </a:r>
          </a:p>
          <a:p>
            <a:pPr marL="342900" marR="0" lvl="0" indent="-342900" algn="just" defTabSz="914400" rtl="0" eaLnBrk="1" fontAlgn="auto" latinLnBrk="0" hangingPunct="1">
              <a:lnSpc>
                <a:spcPct val="100000"/>
              </a:lnSpc>
              <a:spcBef>
                <a:spcPts val="0"/>
              </a:spcBef>
              <a:spcAft>
                <a:spcPts val="0"/>
              </a:spcAft>
              <a:buClrTx/>
              <a:buSzTx/>
              <a:buFont typeface="+mj-lt"/>
              <a:buAutoNum type="alphaLcPeriod"/>
              <a:tabLst/>
              <a:defRPr/>
            </a:pPr>
            <a:r>
              <a:rPr lang="en-GB" sz="1800">
                <a:effectLst/>
                <a:latin typeface="Arial" panose="020B0604020202020204" pitchFamily="34" charset="0"/>
                <a:ea typeface="Calibri" panose="020F0502020204030204" pitchFamily="34" charset="0"/>
                <a:cs typeface="Arial" panose="020B0604020202020204" pitchFamily="34" charset="0"/>
              </a:rPr>
              <a:t> An interim measure is in place to ensure continuity of the programme.</a:t>
            </a:r>
            <a:endParaRPr lang="en-ZA" sz="1800">
              <a:effectLst/>
              <a:latin typeface="Calibri" panose="020F0502020204030204" pitchFamily="34" charset="0"/>
              <a:ea typeface="Calibri" panose="020F0502020204030204" pitchFamily="34" charset="0"/>
              <a:cs typeface="Arial" panose="020B0604020202020204" pitchFamily="34" charset="0"/>
            </a:endParaRPr>
          </a:p>
          <a:p>
            <a:pPr marL="342900" indent="-342900" algn="just">
              <a:buFont typeface="+mj-lt"/>
              <a:buAutoNum type="alphaLcPeriod"/>
            </a:pPr>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18</a:t>
            </a:fld>
            <a:endParaRPr lang="en-ZA"/>
          </a:p>
        </p:txBody>
      </p:sp>
    </p:spTree>
    <p:extLst>
      <p:ext uri="{BB962C8B-B14F-4D97-AF65-F5344CB8AC3E}">
        <p14:creationId xmlns:p14="http://schemas.microsoft.com/office/powerpoint/2010/main" xmlns="" val="1248912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indent="-342900" algn="just">
              <a:lnSpc>
                <a:spcPct val="90000"/>
              </a:lnSpc>
              <a:spcAft>
                <a:spcPts val="600"/>
              </a:spcAft>
              <a:buFont typeface="Arial" panose="020B0604020202020204" pitchFamily="34" charset="0"/>
              <a:buChar char="•"/>
            </a:pPr>
            <a:endParaRPr lang="en-US" sz="1600">
              <a:cs typeface="Arial" panose="020B0604020202020204"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20</a:t>
            </a:fld>
            <a:endParaRPr lang="en-ZA"/>
          </a:p>
        </p:txBody>
      </p:sp>
    </p:spTree>
    <p:extLst>
      <p:ext uri="{BB962C8B-B14F-4D97-AF65-F5344CB8AC3E}">
        <p14:creationId xmlns:p14="http://schemas.microsoft.com/office/powerpoint/2010/main" xmlns="" val="41047415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2</a:t>
            </a:fld>
            <a:endParaRPr lang="en-ZA"/>
          </a:p>
        </p:txBody>
      </p:sp>
    </p:spTree>
    <p:extLst>
      <p:ext uri="{BB962C8B-B14F-4D97-AF65-F5344CB8AC3E}">
        <p14:creationId xmlns:p14="http://schemas.microsoft.com/office/powerpoint/2010/main" xmlns="" val="11162235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TEF </a:t>
            </a:r>
            <a:r>
              <a:rPr lang="en-ZA" sz="1200">
                <a:latin typeface="Arial" panose="020B0604020202020204" pitchFamily="34" charset="0"/>
                <a:ea typeface="Calibri" panose="020F0502020204030204" pitchFamily="34" charset="0"/>
                <a:cs typeface="Arial" panose="020B0604020202020204" pitchFamily="34" charset="0"/>
              </a:rPr>
              <a:t>allocation</a:t>
            </a:r>
            <a:r>
              <a:rPr lang="en-ZA" sz="1200">
                <a:effectLst/>
                <a:latin typeface="Arial" panose="020B0604020202020204" pitchFamily="34" charset="0"/>
                <a:ea typeface="Calibri" panose="020F0502020204030204" pitchFamily="34" charset="0"/>
                <a:cs typeface="Arial" panose="020B0604020202020204" pitchFamily="34" charset="0"/>
              </a:rPr>
              <a:t> was only received by the IDC from the Department of Trade Industry and Competition (</a:t>
            </a:r>
            <a:r>
              <a:rPr lang="en-ZA" sz="1200" err="1">
                <a:effectLst/>
                <a:latin typeface="Arial" panose="020B0604020202020204" pitchFamily="34" charset="0"/>
                <a:ea typeface="Calibri" panose="020F0502020204030204" pitchFamily="34" charset="0"/>
                <a:cs typeface="Arial" panose="020B0604020202020204" pitchFamily="34" charset="0"/>
              </a:rPr>
              <a:t>dtic</a:t>
            </a:r>
            <a:r>
              <a:rPr lang="en-ZA" sz="1200">
                <a:effectLst/>
                <a:latin typeface="Arial" panose="020B0604020202020204" pitchFamily="34" charset="0"/>
                <a:ea typeface="Calibri" panose="020F0502020204030204" pitchFamily="34" charset="0"/>
                <a:cs typeface="Arial" panose="020B0604020202020204" pitchFamily="34" charset="0"/>
              </a:rPr>
              <a:t>) just after the end of the first quarter</a:t>
            </a:r>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3</a:t>
            </a:fld>
            <a:endParaRPr lang="en-ZA"/>
          </a:p>
        </p:txBody>
      </p:sp>
    </p:spTree>
    <p:extLst>
      <p:ext uri="{BB962C8B-B14F-4D97-AF65-F5344CB8AC3E}">
        <p14:creationId xmlns:p14="http://schemas.microsoft.com/office/powerpoint/2010/main" xmlns="" val="34461293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buClr>
                <a:schemeClr val="tx2"/>
              </a:buClr>
              <a:buFont typeface="Wingdings" panose="05000000000000000000" pitchFamily="2" charset="2"/>
              <a:buChar char="n"/>
            </a:pPr>
            <a:endParaRPr lang="en-US" sz="1200" b="0" kern="1200">
              <a:solidFill>
                <a:schemeClr val="tx1"/>
              </a:solidFill>
              <a:effectLst/>
            </a:endParaRPr>
          </a:p>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7</a:t>
            </a:fld>
            <a:endParaRPr lang="en-ZA"/>
          </a:p>
        </p:txBody>
      </p:sp>
    </p:spTree>
    <p:extLst>
      <p:ext uri="{BB962C8B-B14F-4D97-AF65-F5344CB8AC3E}">
        <p14:creationId xmlns:p14="http://schemas.microsoft.com/office/powerpoint/2010/main" xmlns="" val="1361124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buClr>
                <a:schemeClr val="tx2"/>
              </a:buClr>
              <a:buFont typeface="Wingdings" panose="05000000000000000000" pitchFamily="2" charset="2"/>
              <a:buChar char="n"/>
            </a:pPr>
            <a:endParaRPr lang="en-US" sz="1200" b="0" kern="1200">
              <a:solidFill>
                <a:schemeClr val="tx1"/>
              </a:solidFill>
              <a:effectLst/>
            </a:endParaRPr>
          </a:p>
          <a:p>
            <a:pPr marL="285750" lvl="0" indent="-285750" fontAlgn="base">
              <a:buFont typeface="Arial" panose="020B0604020202020204" pitchFamily="34" charset="0"/>
              <a:buChar char="•"/>
            </a:pPr>
            <a:r>
              <a:rPr lang="en-US" sz="1200" b="0" kern="1200">
                <a:solidFill>
                  <a:schemeClr val="tx1"/>
                </a:solidFill>
                <a:effectLst/>
              </a:rPr>
              <a:t> </a:t>
            </a:r>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8</a:t>
            </a:fld>
            <a:endParaRPr lang="en-ZA"/>
          </a:p>
        </p:txBody>
      </p:sp>
    </p:spTree>
    <p:extLst>
      <p:ext uri="{BB962C8B-B14F-4D97-AF65-F5344CB8AC3E}">
        <p14:creationId xmlns:p14="http://schemas.microsoft.com/office/powerpoint/2010/main" xmlns="" val="2205290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9</a:t>
            </a:fld>
            <a:endParaRPr lang="en-ZA"/>
          </a:p>
        </p:txBody>
      </p:sp>
    </p:spTree>
    <p:extLst>
      <p:ext uri="{BB962C8B-B14F-4D97-AF65-F5344CB8AC3E}">
        <p14:creationId xmlns:p14="http://schemas.microsoft.com/office/powerpoint/2010/main" xmlns="" val="28679699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30</a:t>
            </a:fld>
            <a:endParaRPr lang="en-ZA"/>
          </a:p>
        </p:txBody>
      </p:sp>
    </p:spTree>
    <p:extLst>
      <p:ext uri="{BB962C8B-B14F-4D97-AF65-F5344CB8AC3E}">
        <p14:creationId xmlns:p14="http://schemas.microsoft.com/office/powerpoint/2010/main" xmlns="" val="24481082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7</a:t>
            </a:fld>
            <a:endParaRPr lang="en-ZA"/>
          </a:p>
        </p:txBody>
      </p:sp>
    </p:spTree>
    <p:extLst>
      <p:ext uri="{BB962C8B-B14F-4D97-AF65-F5344CB8AC3E}">
        <p14:creationId xmlns:p14="http://schemas.microsoft.com/office/powerpoint/2010/main" xmlns="" val="2660554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31</a:t>
            </a:fld>
            <a:endParaRPr lang="en-ZA"/>
          </a:p>
        </p:txBody>
      </p:sp>
    </p:spTree>
    <p:extLst>
      <p:ext uri="{BB962C8B-B14F-4D97-AF65-F5344CB8AC3E}">
        <p14:creationId xmlns:p14="http://schemas.microsoft.com/office/powerpoint/2010/main" xmlns="" val="1322585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32</a:t>
            </a:fld>
            <a:endParaRPr lang="en-ZA"/>
          </a:p>
        </p:txBody>
      </p:sp>
    </p:spTree>
    <p:extLst>
      <p:ext uri="{BB962C8B-B14F-4D97-AF65-F5344CB8AC3E}">
        <p14:creationId xmlns:p14="http://schemas.microsoft.com/office/powerpoint/2010/main" xmlns="" val="29027733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33</a:t>
            </a:fld>
            <a:endParaRPr lang="en-ZA"/>
          </a:p>
        </p:txBody>
      </p:sp>
    </p:spTree>
    <p:extLst>
      <p:ext uri="{BB962C8B-B14F-4D97-AF65-F5344CB8AC3E}">
        <p14:creationId xmlns:p14="http://schemas.microsoft.com/office/powerpoint/2010/main" xmlns="" val="5011337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8</a:t>
            </a:fld>
            <a:endParaRPr lang="en-ZA"/>
          </a:p>
        </p:txBody>
      </p:sp>
    </p:spTree>
    <p:extLst>
      <p:ext uri="{BB962C8B-B14F-4D97-AF65-F5344CB8AC3E}">
        <p14:creationId xmlns:p14="http://schemas.microsoft.com/office/powerpoint/2010/main" xmlns="" val="15344894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9</a:t>
            </a:fld>
            <a:endParaRPr lang="en-ZA"/>
          </a:p>
        </p:txBody>
      </p:sp>
    </p:spTree>
    <p:extLst>
      <p:ext uri="{BB962C8B-B14F-4D97-AF65-F5344CB8AC3E}">
        <p14:creationId xmlns:p14="http://schemas.microsoft.com/office/powerpoint/2010/main" xmlns="" val="4048499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800" b="1">
                <a:effectLst/>
                <a:latin typeface="Gill Sans MT" panose="020B0502020104020203" pitchFamily="34" charset="0"/>
                <a:ea typeface="Gill Sans MT" panose="020B0502020104020203" pitchFamily="34" charset="0"/>
                <a:cs typeface="Gill Sans MT" panose="020B0502020104020203" pitchFamily="34" charset="0"/>
              </a:rPr>
              <a:t>Catch-up plan- Approvals</a:t>
            </a:r>
          </a:p>
          <a:p>
            <a:pPr algn="just">
              <a:lnSpc>
                <a:spcPct val="107000"/>
              </a:lnSpc>
              <a:spcAft>
                <a:spcPts val="800"/>
              </a:spcAft>
            </a:pPr>
            <a:r>
              <a:rPr lang="en-ZA" sz="1800">
                <a:effectLst/>
                <a:latin typeface="Arial" panose="020B0604020202020204" pitchFamily="34" charset="0"/>
                <a:ea typeface="Calibri" panose="020F0502020204030204" pitchFamily="34" charset="0"/>
              </a:rPr>
              <a:t>The WL SME loan programme is considering the conversion of a deal pipeline to the value of R885 million. </a:t>
            </a:r>
          </a:p>
          <a:p>
            <a:pPr algn="just">
              <a:lnSpc>
                <a:spcPct val="107000"/>
              </a:lnSpc>
              <a:spcAft>
                <a:spcPts val="800"/>
              </a:spcAft>
            </a:pPr>
            <a:r>
              <a:rPr lang="en-ZA" sz="1800">
                <a:effectLst/>
                <a:latin typeface="Arial" panose="020B0604020202020204" pitchFamily="34" charset="0"/>
                <a:ea typeface="Calibri" panose="020F0502020204030204" pitchFamily="34" charset="0"/>
              </a:rPr>
              <a:t>This pipeline is at various stages of the approval business process stage. </a:t>
            </a:r>
            <a:endParaRPr lang="en-ZA" sz="1800">
              <a:effectLst/>
              <a:latin typeface="Gill Sans MT" panose="020B0502020104020203" pitchFamily="34" charset="0"/>
              <a:ea typeface="Gill Sans MT" panose="020B0502020104020203" pitchFamily="34" charset="0"/>
              <a:cs typeface="Gill Sans MT" panose="020B0502020104020203" pitchFamily="34" charset="0"/>
            </a:endParaRPr>
          </a:p>
          <a:p>
            <a:endParaRPr lang="en-ZA" sz="1800">
              <a:effectLst/>
              <a:latin typeface="Gill Sans MT" panose="020B0502020104020203" pitchFamily="34" charset="0"/>
              <a:ea typeface="Gill Sans MT" panose="020B0502020104020203" pitchFamily="34" charset="0"/>
              <a:cs typeface="Gill Sans MT" panose="020B0502020104020203"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11</a:t>
            </a:fld>
            <a:endParaRPr lang="en-ZA"/>
          </a:p>
        </p:txBody>
      </p:sp>
    </p:spTree>
    <p:extLst>
      <p:ext uri="{BB962C8B-B14F-4D97-AF65-F5344CB8AC3E}">
        <p14:creationId xmlns:p14="http://schemas.microsoft.com/office/powerpoint/2010/main" xmlns="" val="15748398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800" b="1">
                <a:effectLst/>
                <a:latin typeface="Gill Sans MT" panose="020B0502020104020203" pitchFamily="34" charset="0"/>
                <a:ea typeface="Gill Sans MT" panose="020B0502020104020203" pitchFamily="34" charset="0"/>
                <a:cs typeface="Gill Sans MT" panose="020B0502020104020203" pitchFamily="34" charset="0"/>
              </a:rPr>
              <a:t>Catch-up plan- Approvals</a:t>
            </a:r>
          </a:p>
          <a:p>
            <a:pPr algn="just">
              <a:lnSpc>
                <a:spcPct val="107000"/>
              </a:lnSpc>
              <a:spcAft>
                <a:spcPts val="800"/>
              </a:spcAft>
            </a:pPr>
            <a:r>
              <a:rPr lang="en-ZA" sz="1800">
                <a:effectLst/>
                <a:latin typeface="Arial" panose="020B0604020202020204" pitchFamily="34" charset="0"/>
                <a:ea typeface="Calibri" panose="020F0502020204030204" pitchFamily="34" charset="0"/>
              </a:rPr>
              <a:t>The WL SME loan programme is considering the conversion of a deal pipeline to the value of R885 million. </a:t>
            </a:r>
          </a:p>
          <a:p>
            <a:pPr algn="just">
              <a:lnSpc>
                <a:spcPct val="107000"/>
              </a:lnSpc>
              <a:spcAft>
                <a:spcPts val="800"/>
              </a:spcAft>
            </a:pPr>
            <a:r>
              <a:rPr lang="en-ZA" sz="1800">
                <a:effectLst/>
                <a:latin typeface="Arial" panose="020B0604020202020204" pitchFamily="34" charset="0"/>
                <a:ea typeface="Calibri" panose="020F0502020204030204" pitchFamily="34" charset="0"/>
              </a:rPr>
              <a:t>This pipeline is at various stages of the approval business process stage. </a:t>
            </a:r>
            <a:endParaRPr lang="en-ZA" sz="1800">
              <a:effectLst/>
              <a:latin typeface="Gill Sans MT" panose="020B0502020104020203" pitchFamily="34" charset="0"/>
              <a:ea typeface="Gill Sans MT" panose="020B0502020104020203" pitchFamily="34" charset="0"/>
              <a:cs typeface="Gill Sans MT" panose="020B0502020104020203" pitchFamily="34" charset="0"/>
            </a:endParaRPr>
          </a:p>
          <a:p>
            <a:endParaRPr lang="en-ZA" sz="1800">
              <a:effectLst/>
              <a:latin typeface="Gill Sans MT" panose="020B0502020104020203" pitchFamily="34" charset="0"/>
              <a:ea typeface="Gill Sans MT" panose="020B0502020104020203" pitchFamily="34" charset="0"/>
              <a:cs typeface="Gill Sans MT" panose="020B0502020104020203"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12</a:t>
            </a:fld>
            <a:endParaRPr lang="en-ZA"/>
          </a:p>
        </p:txBody>
      </p:sp>
    </p:spTree>
    <p:extLst>
      <p:ext uri="{BB962C8B-B14F-4D97-AF65-F5344CB8AC3E}">
        <p14:creationId xmlns:p14="http://schemas.microsoft.com/office/powerpoint/2010/main" xmlns="" val="27781910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800" b="1">
                <a:effectLst/>
                <a:latin typeface="Gill Sans MT" panose="020B0502020104020203" pitchFamily="34" charset="0"/>
                <a:ea typeface="Gill Sans MT" panose="020B0502020104020203" pitchFamily="34" charset="0"/>
                <a:cs typeface="Gill Sans MT" panose="020B0502020104020203" pitchFamily="34" charset="0"/>
              </a:rPr>
              <a:t>Catch-up plan- Approvals</a:t>
            </a:r>
          </a:p>
          <a:p>
            <a:pPr algn="just">
              <a:lnSpc>
                <a:spcPct val="107000"/>
              </a:lnSpc>
              <a:spcAft>
                <a:spcPts val="800"/>
              </a:spcAft>
            </a:pPr>
            <a:r>
              <a:rPr lang="en-ZA" sz="1800">
                <a:effectLst/>
                <a:latin typeface="Arial" panose="020B0604020202020204" pitchFamily="34" charset="0"/>
                <a:ea typeface="Calibri" panose="020F0502020204030204" pitchFamily="34" charset="0"/>
              </a:rPr>
              <a:t>The WL SME loan programme is considering the conversion of a deal pipeline to the value of R885 million. </a:t>
            </a:r>
          </a:p>
          <a:p>
            <a:pPr algn="just">
              <a:lnSpc>
                <a:spcPct val="107000"/>
              </a:lnSpc>
              <a:spcAft>
                <a:spcPts val="800"/>
              </a:spcAft>
            </a:pPr>
            <a:r>
              <a:rPr lang="en-ZA" sz="1800">
                <a:effectLst/>
                <a:latin typeface="Arial" panose="020B0604020202020204" pitchFamily="34" charset="0"/>
                <a:ea typeface="Calibri" panose="020F0502020204030204" pitchFamily="34" charset="0"/>
              </a:rPr>
              <a:t>This pipeline is at various stages of the approval business process stage. </a:t>
            </a:r>
            <a:endParaRPr lang="en-ZA" sz="1800">
              <a:effectLst/>
              <a:latin typeface="Gill Sans MT" panose="020B0502020104020203" pitchFamily="34" charset="0"/>
              <a:ea typeface="Gill Sans MT" panose="020B0502020104020203" pitchFamily="34" charset="0"/>
              <a:cs typeface="Gill Sans MT" panose="020B0502020104020203" pitchFamily="34" charset="0"/>
            </a:endParaRPr>
          </a:p>
          <a:p>
            <a:endParaRPr lang="en-ZA" sz="1800">
              <a:effectLst/>
              <a:latin typeface="Gill Sans MT" panose="020B0502020104020203" pitchFamily="34" charset="0"/>
              <a:ea typeface="Gill Sans MT" panose="020B0502020104020203" pitchFamily="34" charset="0"/>
              <a:cs typeface="Gill Sans MT" panose="020B0502020104020203"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13</a:t>
            </a:fld>
            <a:endParaRPr lang="en-ZA"/>
          </a:p>
        </p:txBody>
      </p:sp>
    </p:spTree>
    <p:extLst>
      <p:ext uri="{BB962C8B-B14F-4D97-AF65-F5344CB8AC3E}">
        <p14:creationId xmlns:p14="http://schemas.microsoft.com/office/powerpoint/2010/main" xmlns="" val="23102659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800" b="1">
                <a:effectLst/>
                <a:latin typeface="Gill Sans MT" panose="020B0502020104020203" pitchFamily="34" charset="0"/>
                <a:ea typeface="Gill Sans MT" panose="020B0502020104020203" pitchFamily="34" charset="0"/>
                <a:cs typeface="Gill Sans MT" panose="020B0502020104020203" pitchFamily="34" charset="0"/>
              </a:rPr>
              <a:t>Catch-up plan- Disbursements</a:t>
            </a:r>
          </a:p>
          <a:p>
            <a:endParaRPr lang="en-ZA" sz="1800">
              <a:effectLst/>
              <a:latin typeface="Gill Sans MT" panose="020B0502020104020203" pitchFamily="34" charset="0"/>
              <a:ea typeface="Gill Sans MT" panose="020B0502020104020203" pitchFamily="34" charset="0"/>
              <a:cs typeface="Gill Sans MT" panose="020B0502020104020203"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14</a:t>
            </a:fld>
            <a:endParaRPr lang="en-ZA"/>
          </a:p>
        </p:txBody>
      </p:sp>
    </p:spTree>
    <p:extLst>
      <p:ext uri="{BB962C8B-B14F-4D97-AF65-F5344CB8AC3E}">
        <p14:creationId xmlns:p14="http://schemas.microsoft.com/office/powerpoint/2010/main" xmlns="" val="4130059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baseline="30000">
                <a:effectLst/>
                <a:latin typeface="Arial" panose="020B0604020202020204" pitchFamily="34" charset="0"/>
                <a:ea typeface="Calibri" panose="020F0502020204030204" pitchFamily="34" charset="0"/>
                <a:cs typeface="Arial" panose="020B0604020202020204" pitchFamily="34" charset="0"/>
              </a:rPr>
              <a:t>By the close of the reporting date, some of the intermediaries development impact data was still outstanding in the system. This will be effected in the fourth quarter and the necessary reporting reconciliation for Q3 will be implemented. </a:t>
            </a:r>
          </a:p>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15</a:t>
            </a:fld>
            <a:endParaRPr lang="en-ZA"/>
          </a:p>
        </p:txBody>
      </p:sp>
    </p:spTree>
    <p:extLst>
      <p:ext uri="{BB962C8B-B14F-4D97-AF65-F5344CB8AC3E}">
        <p14:creationId xmlns:p14="http://schemas.microsoft.com/office/powerpoint/2010/main" xmlns="" val="27417759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Click to edit Master title style</a:t>
            </a:r>
          </a:p>
        </p:txBody>
      </p:sp>
      <p:sp>
        <p:nvSpPr>
          <p:cNvPr id="3" name="Subtitle 2"/>
          <p:cNvSpPr>
            <a:spLocks noGrp="1"/>
          </p:cNvSpPr>
          <p:nvPr>
            <p:ph type="subTitle" idx="1"/>
          </p:nvPr>
        </p:nvSpPr>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2"/>
          </p:nvPr>
        </p:nvSpPr>
        <p:spPr/>
        <p:txBody>
          <a:bodyPr/>
          <a:lstStyle/>
          <a:p>
            <a:fld id="{B8C47D98-8886-459E-9119-54BFCE4462D9}" type="datetime1">
              <a:rPr lang="en-US" smtClean="0"/>
              <a:pPr/>
              <a:t>3/22/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E8A39D93-11D6-4E4F-A288-3B5DF2A32128}" type="datetime1">
              <a:rPr lang="en-US" smtClean="0"/>
              <a:pPr/>
              <a:t>3/22/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E9F01199-337A-4687-B127-677B9C250546}" type="datetime1">
              <a:rPr lang="en-US" smtClean="0"/>
              <a:pPr/>
              <a:t>3/22/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420283"/>
            <a:ext cx="3886200" cy="980017"/>
          </a:xfrm>
        </p:spPr>
        <p:txBody>
          <a:bodyPr/>
          <a:lstStyle/>
          <a:p>
            <a:r>
              <a:rPr lang="en-US"/>
              <a:t>Click to edit Master title style</a:t>
            </a:r>
          </a:p>
        </p:txBody>
      </p:sp>
      <p:sp>
        <p:nvSpPr>
          <p:cNvPr id="3" name="Subtitle 2"/>
          <p:cNvSpPr>
            <a:spLocks noGrp="1"/>
          </p:cNvSpPr>
          <p:nvPr>
            <p:ph type="subTitle" idx="1"/>
          </p:nvPr>
        </p:nvSpPr>
        <p:spPr>
          <a:xfrm>
            <a:off x="685800" y="2590800"/>
            <a:ext cx="3200400" cy="1168400"/>
          </a:xfrm>
        </p:spPr>
        <p:txBody>
          <a:bodyPr/>
          <a:lstStyle>
            <a:lvl1pPr marL="0" indent="0" algn="ctr">
              <a:buNone/>
              <a:defRPr>
                <a:solidFill>
                  <a:schemeClr val="tx1">
                    <a:tint val="75000"/>
                  </a:schemeClr>
                </a:solidFill>
              </a:defRPr>
            </a:lvl1pPr>
            <a:lvl2pPr marL="228600" indent="0" algn="ctr">
              <a:buNone/>
              <a:defRPr>
                <a:solidFill>
                  <a:schemeClr val="tx1">
                    <a:tint val="75000"/>
                  </a:schemeClr>
                </a:solidFill>
              </a:defRPr>
            </a:lvl2pPr>
            <a:lvl3pPr marL="457200" indent="0" algn="ctr">
              <a:buNone/>
              <a:defRPr>
                <a:solidFill>
                  <a:schemeClr val="tx1">
                    <a:tint val="75000"/>
                  </a:schemeClr>
                </a:solidFill>
              </a:defRPr>
            </a:lvl3pPr>
            <a:lvl4pPr marL="685800" indent="0" algn="ctr">
              <a:buNone/>
              <a:defRPr>
                <a:solidFill>
                  <a:schemeClr val="tx1">
                    <a:tint val="75000"/>
                  </a:schemeClr>
                </a:solidFill>
              </a:defRPr>
            </a:lvl4pPr>
            <a:lvl5pPr marL="914400" indent="0" algn="ctr">
              <a:buNone/>
              <a:defRPr>
                <a:solidFill>
                  <a:schemeClr val="tx1">
                    <a:tint val="75000"/>
                  </a:schemeClr>
                </a:solidFill>
              </a:defRPr>
            </a:lvl5pPr>
            <a:lvl6pPr marL="1143000" indent="0" algn="ctr">
              <a:buNone/>
              <a:defRPr>
                <a:solidFill>
                  <a:schemeClr val="tx1">
                    <a:tint val="75000"/>
                  </a:schemeClr>
                </a:solidFill>
              </a:defRPr>
            </a:lvl6pPr>
            <a:lvl7pPr marL="1371600" indent="0" algn="ctr">
              <a:buNone/>
              <a:defRPr>
                <a:solidFill>
                  <a:schemeClr val="tx1">
                    <a:tint val="75000"/>
                  </a:schemeClr>
                </a:solidFill>
              </a:defRPr>
            </a:lvl7pPr>
            <a:lvl8pPr marL="1600200" indent="0" algn="ctr">
              <a:buNone/>
              <a:defRPr>
                <a:solidFill>
                  <a:schemeClr val="tx1">
                    <a:tint val="75000"/>
                  </a:schemeClr>
                </a:solidFill>
              </a:defRPr>
            </a:lvl8pPr>
            <a:lvl9pPr marL="18288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3/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3358606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374076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61157" y="2937934"/>
            <a:ext cx="3886200" cy="908050"/>
          </a:xfrm>
        </p:spPr>
        <p:txBody>
          <a:bodyPr anchor="t"/>
          <a:lstStyle>
            <a:lvl1pPr algn="l">
              <a:defRPr sz="2000" b="1" cap="all"/>
            </a:lvl1pPr>
          </a:lstStyle>
          <a:p>
            <a:r>
              <a:rPr lang="en-US"/>
              <a:t>Click to edit Master title style</a:t>
            </a:r>
          </a:p>
        </p:txBody>
      </p:sp>
      <p:sp>
        <p:nvSpPr>
          <p:cNvPr id="3" name="Text Placeholder 2"/>
          <p:cNvSpPr>
            <a:spLocks noGrp="1"/>
          </p:cNvSpPr>
          <p:nvPr>
            <p:ph type="body" idx="1"/>
          </p:nvPr>
        </p:nvSpPr>
        <p:spPr>
          <a:xfrm>
            <a:off x="361157" y="1937809"/>
            <a:ext cx="3886200" cy="1000125"/>
          </a:xfrm>
        </p:spPr>
        <p:txBody>
          <a:bodyPr anchor="b"/>
          <a:lstStyle>
            <a:lvl1pPr marL="0" indent="0">
              <a:buNone/>
              <a:defRPr sz="1000">
                <a:solidFill>
                  <a:schemeClr val="tx1">
                    <a:tint val="75000"/>
                  </a:schemeClr>
                </a:solidFill>
              </a:defRPr>
            </a:lvl1pPr>
            <a:lvl2pPr marL="228600" indent="0">
              <a:buNone/>
              <a:defRPr sz="900">
                <a:solidFill>
                  <a:schemeClr val="tx1">
                    <a:tint val="75000"/>
                  </a:schemeClr>
                </a:solidFill>
              </a:defRPr>
            </a:lvl2pPr>
            <a:lvl3pPr marL="457200" indent="0">
              <a:buNone/>
              <a:defRPr sz="800">
                <a:solidFill>
                  <a:schemeClr val="tx1">
                    <a:tint val="75000"/>
                  </a:schemeClr>
                </a:solidFill>
              </a:defRPr>
            </a:lvl3pPr>
            <a:lvl4pPr marL="685800" indent="0">
              <a:buNone/>
              <a:defRPr sz="700">
                <a:solidFill>
                  <a:schemeClr val="tx1">
                    <a:tint val="75000"/>
                  </a:schemeClr>
                </a:solidFill>
              </a:defRPr>
            </a:lvl4pPr>
            <a:lvl5pPr marL="914400" indent="0">
              <a:buNone/>
              <a:defRPr sz="700">
                <a:solidFill>
                  <a:schemeClr val="tx1">
                    <a:tint val="75000"/>
                  </a:schemeClr>
                </a:solidFill>
              </a:defRPr>
            </a:lvl5pPr>
            <a:lvl6pPr marL="1143000" indent="0">
              <a:buNone/>
              <a:defRPr sz="700">
                <a:solidFill>
                  <a:schemeClr val="tx1">
                    <a:tint val="75000"/>
                  </a:schemeClr>
                </a:solidFill>
              </a:defRPr>
            </a:lvl6pPr>
            <a:lvl7pPr marL="1371600" indent="0">
              <a:buNone/>
              <a:defRPr sz="700">
                <a:solidFill>
                  <a:schemeClr val="tx1">
                    <a:tint val="75000"/>
                  </a:schemeClr>
                </a:solidFill>
              </a:defRPr>
            </a:lvl7pPr>
            <a:lvl8pPr marL="1600200" indent="0">
              <a:buNone/>
              <a:defRPr sz="700">
                <a:solidFill>
                  <a:schemeClr val="tx1">
                    <a:tint val="75000"/>
                  </a:schemeClr>
                </a:solidFill>
              </a:defRPr>
            </a:lvl8pPr>
            <a:lvl9pPr marL="1828800" indent="0">
              <a:buNone/>
              <a:defRPr sz="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3030192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8600" y="1066800"/>
            <a:ext cx="2019300" cy="3017309"/>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324100" y="1066800"/>
            <a:ext cx="2019300" cy="3017309"/>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3/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612709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28600" y="1023409"/>
            <a:ext cx="2020094" cy="426508"/>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4" name="Content Placeholder 3"/>
          <p:cNvSpPr>
            <a:spLocks noGrp="1"/>
          </p:cNvSpPr>
          <p:nvPr>
            <p:ph sz="half" idx="2"/>
          </p:nvPr>
        </p:nvSpPr>
        <p:spPr>
          <a:xfrm>
            <a:off x="228600" y="1449917"/>
            <a:ext cx="2020094" cy="2634192"/>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322513" y="1023409"/>
            <a:ext cx="2020888" cy="426508"/>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6" name="Content Placeholder 5"/>
          <p:cNvSpPr>
            <a:spLocks noGrp="1"/>
          </p:cNvSpPr>
          <p:nvPr>
            <p:ph sz="quarter" idx="4"/>
          </p:nvPr>
        </p:nvSpPr>
        <p:spPr>
          <a:xfrm>
            <a:off x="2322513" y="1449917"/>
            <a:ext cx="2020888" cy="2634192"/>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3/22/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6217142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3/22/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2848241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22/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2678023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8600" y="182033"/>
            <a:ext cx="1504157" cy="774700"/>
          </a:xfrm>
        </p:spPr>
        <p:txBody>
          <a:bodyPr anchor="b"/>
          <a:lstStyle>
            <a:lvl1pPr algn="l">
              <a:defRPr sz="1000" b="1"/>
            </a:lvl1pPr>
          </a:lstStyle>
          <a:p>
            <a:r>
              <a:rPr lang="en-US"/>
              <a:t>Click to edit Master title style</a:t>
            </a:r>
          </a:p>
        </p:txBody>
      </p:sp>
      <p:sp>
        <p:nvSpPr>
          <p:cNvPr id="3" name="Content Placeholder 2"/>
          <p:cNvSpPr>
            <a:spLocks noGrp="1"/>
          </p:cNvSpPr>
          <p:nvPr>
            <p:ph idx="1"/>
          </p:nvPr>
        </p:nvSpPr>
        <p:spPr>
          <a:xfrm>
            <a:off x="1787525" y="182034"/>
            <a:ext cx="2555875" cy="3902075"/>
          </a:xfrm>
        </p:spPr>
        <p:txBody>
          <a:bodyPr/>
          <a:lstStyle>
            <a:lvl1pPr>
              <a:defRPr sz="1600"/>
            </a:lvl1pPr>
            <a:lvl2pPr>
              <a:defRPr sz="1400"/>
            </a:lvl2pPr>
            <a:lvl3pPr>
              <a:defRPr sz="1200"/>
            </a:lvl3pPr>
            <a:lvl4pPr>
              <a:defRPr sz="1000"/>
            </a:lvl4pPr>
            <a:lvl5pPr>
              <a:defRPr sz="1000"/>
            </a:lvl5pPr>
            <a:lvl6pPr>
              <a:defRPr sz="1000"/>
            </a:lvl6pPr>
            <a:lvl7pPr>
              <a:defRPr sz="1000"/>
            </a:lvl7pPr>
            <a:lvl8pPr>
              <a:defRPr sz="1000"/>
            </a:lvl8pPr>
            <a:lvl9pP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28600" y="956734"/>
            <a:ext cx="1504157" cy="3127375"/>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137283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34D8ADEF-2952-4B30-ACE2-7ECDE4B114C7}" type="datetime1">
              <a:rPr lang="en-US" smtClean="0"/>
              <a:pPr/>
              <a:t>3/22/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96144" y="3200400"/>
            <a:ext cx="2743200" cy="377825"/>
          </a:xfrm>
        </p:spPr>
        <p:txBody>
          <a:bodyPr anchor="b"/>
          <a:lstStyle>
            <a:lvl1pPr algn="l">
              <a:defRPr sz="1000" b="1"/>
            </a:lvl1pPr>
          </a:lstStyle>
          <a:p>
            <a:r>
              <a:rPr lang="en-US"/>
              <a:t>Click to edit Master title style</a:t>
            </a:r>
          </a:p>
        </p:txBody>
      </p:sp>
      <p:sp>
        <p:nvSpPr>
          <p:cNvPr id="3" name="Picture Placeholder 2"/>
          <p:cNvSpPr>
            <a:spLocks noGrp="1"/>
          </p:cNvSpPr>
          <p:nvPr>
            <p:ph type="pic" idx="1"/>
          </p:nvPr>
        </p:nvSpPr>
        <p:spPr>
          <a:xfrm>
            <a:off x="896144" y="408517"/>
            <a:ext cx="2743200" cy="2743200"/>
          </a:xfrm>
        </p:spPr>
        <p:txBody>
          <a:bodyPr/>
          <a:lstStyle>
            <a:lvl1pPr marL="0" indent="0">
              <a:buNone/>
              <a:defRPr sz="1600"/>
            </a:lvl1pPr>
            <a:lvl2pPr marL="228600" indent="0">
              <a:buNone/>
              <a:defRPr sz="1400"/>
            </a:lvl2pPr>
            <a:lvl3pPr marL="457200" indent="0">
              <a:buNone/>
              <a:defRPr sz="1200"/>
            </a:lvl3pPr>
            <a:lvl4pPr marL="685800" indent="0">
              <a:buNone/>
              <a:defRPr sz="1000"/>
            </a:lvl4pPr>
            <a:lvl5pPr marL="914400" indent="0">
              <a:buNone/>
              <a:defRPr sz="1000"/>
            </a:lvl5pPr>
            <a:lvl6pPr marL="1143000" indent="0">
              <a:buNone/>
              <a:defRPr sz="1000"/>
            </a:lvl6pPr>
            <a:lvl7pPr marL="1371600" indent="0">
              <a:buNone/>
              <a:defRPr sz="1000"/>
            </a:lvl7pPr>
            <a:lvl8pPr marL="1600200" indent="0">
              <a:buNone/>
              <a:defRPr sz="1000"/>
            </a:lvl8pPr>
            <a:lvl9pPr marL="1828800" indent="0">
              <a:buNone/>
              <a:defRPr sz="1000"/>
            </a:lvl9pPr>
          </a:lstStyle>
          <a:p>
            <a:endParaRPr lang="en-US"/>
          </a:p>
        </p:txBody>
      </p:sp>
      <p:sp>
        <p:nvSpPr>
          <p:cNvPr id="4" name="Text Placeholder 3"/>
          <p:cNvSpPr>
            <a:spLocks noGrp="1"/>
          </p:cNvSpPr>
          <p:nvPr>
            <p:ph type="body" sz="half" idx="2"/>
          </p:nvPr>
        </p:nvSpPr>
        <p:spPr>
          <a:xfrm>
            <a:off x="896144" y="3578225"/>
            <a:ext cx="2743200" cy="536575"/>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22/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4235037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20908662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314700" y="183092"/>
            <a:ext cx="10287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183092"/>
            <a:ext cx="30099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3/22/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8853963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a:t>Click to edit Master text styles</a:t>
            </a:r>
          </a:p>
        </p:txBody>
      </p:sp>
      <p:sp>
        <p:nvSpPr>
          <p:cNvPr id="4" name="Date Placeholder 3"/>
          <p:cNvSpPr>
            <a:spLocks noGrp="1"/>
          </p:cNvSpPr>
          <p:nvPr>
            <p:ph type="dt" sz="half" idx="2"/>
          </p:nvPr>
        </p:nvSpPr>
        <p:spPr/>
        <p:txBody>
          <a:bodyPr/>
          <a:lstStyle/>
          <a:p>
            <a:fld id="{BE0332C7-307D-43C0-A520-F66C97A17555}" type="datetime1">
              <a:rPr lang="en-US" smtClean="0"/>
              <a:pPr/>
              <a:t>3/22/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3"/>
          </p:nvPr>
        </p:nvSpPr>
        <p:spPr/>
        <p:txBody>
          <a:bodyPr/>
          <a:lstStyle/>
          <a:p>
            <a:fld id="{95627441-DCD9-41C8-8A1C-B277177C47EA}" type="datetime1">
              <a:rPr lang="en-US" smtClean="0"/>
              <a:pPr/>
              <a:t>3/22/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4" name="Content Placeholder 3"/>
          <p:cNvSpPr>
            <a:spLocks noGrp="1"/>
          </p:cNvSpPr>
          <p:nvPr>
            <p:ph sz="half" idx="2"/>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6" name="Content Placeholder 5"/>
          <p:cNvSpPr>
            <a:spLocks noGrp="1"/>
          </p:cNvSpPr>
          <p:nvPr>
            <p:ph sz="quarter" idx="4"/>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5"/>
          </p:nvPr>
        </p:nvSpPr>
        <p:spPr/>
        <p:txBody>
          <a:bodyPr/>
          <a:lstStyle/>
          <a:p>
            <a:fld id="{27068371-31DF-4BCA-BCED-E485BDA20747}" type="datetime1">
              <a:rPr lang="en-US" smtClean="0"/>
              <a:pPr/>
              <a:t>3/22/2023</a:t>
            </a:fld>
            <a:endParaRPr lang="en-US"/>
          </a:p>
        </p:txBody>
      </p:sp>
      <p:sp>
        <p:nvSpPr>
          <p:cNvPr id="8" name="Footer Placeholder 7"/>
          <p:cNvSpPr>
            <a:spLocks noGrp="1"/>
          </p:cNvSpPr>
          <p:nvPr>
            <p:ph type="ftr" sz="quarter" idx="6"/>
          </p:nvPr>
        </p:nvSpPr>
        <p:spPr/>
        <p:txBody>
          <a:bodyPr/>
          <a:lstStyle/>
          <a:p>
            <a:endParaRPr lang="en-US"/>
          </a:p>
        </p:txBody>
      </p:sp>
      <p:sp>
        <p:nvSpPr>
          <p:cNvPr id="9" name="Slide Number Placeholder 8"/>
          <p:cNvSpPr>
            <a:spLocks noGrp="1"/>
          </p:cNvSpPr>
          <p:nvPr>
            <p:ph type="sldNum" sz="quarter" idx="7"/>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
          </p:nvPr>
        </p:nvSpPr>
        <p:spPr/>
        <p:txBody>
          <a:bodyPr/>
          <a:lstStyle/>
          <a:p>
            <a:fld id="{6FBD9C6B-6E93-4FD6-ADA9-7FFCB3EC3BCC}" type="datetime1">
              <a:rPr lang="en-US" smtClean="0"/>
              <a:pPr/>
              <a:t>3/22/2023</a:t>
            </a:fld>
            <a:endParaRPr lang="en-US"/>
          </a:p>
        </p:txBody>
      </p:sp>
      <p:sp>
        <p:nvSpPr>
          <p:cNvPr id="4" name="Footer Placeholder 3"/>
          <p:cNvSpPr>
            <a:spLocks noGrp="1"/>
          </p:cNvSpPr>
          <p:nvPr>
            <p:ph type="ftr" sz="quarter" idx="2"/>
          </p:nvPr>
        </p:nvSpPr>
        <p:spPr/>
        <p:txBody>
          <a:bodyPr/>
          <a:lstStyle/>
          <a:p>
            <a:endParaRPr lang="en-US"/>
          </a:p>
        </p:txBody>
      </p:sp>
      <p:sp>
        <p:nvSpPr>
          <p:cNvPr id="5" name="Slide Number Placeholder 4"/>
          <p:cNvSpPr>
            <a:spLocks noGrp="1"/>
          </p:cNvSpPr>
          <p:nvPr>
            <p:ph type="sldNum" sz="quarter" idx="3"/>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D10503CE-9D28-4A86-A83B-4535A818AD2B}" type="datetime1">
              <a:rPr lang="en-US" smtClean="0"/>
              <a:pPr/>
              <a:t>3/22/2023</a:t>
            </a:fld>
            <a:endParaRPr lang="en-US"/>
          </a:p>
        </p:txBody>
      </p:sp>
      <p:sp>
        <p:nvSpPr>
          <p:cNvPr id="3" name="Footer Placeholder 2"/>
          <p:cNvSpPr>
            <a:spLocks noGrp="1"/>
          </p:cNvSpPr>
          <p:nvPr>
            <p:ph type="ftr" sz="quarter" idx="1"/>
          </p:nvPr>
        </p:nvSpPr>
        <p:spPr/>
        <p:txBody>
          <a:bodyPr/>
          <a:lstStyle/>
          <a:p>
            <a:endParaRPr lang="en-US"/>
          </a:p>
        </p:txBody>
      </p:sp>
      <p:sp>
        <p:nvSpPr>
          <p:cNvPr id="4" name="Slide Number Placeholder 3"/>
          <p:cNvSpPr>
            <a:spLocks noGrp="1"/>
          </p:cNvSpPr>
          <p:nvPr>
            <p:ph type="sldNum" sz="quarter" idx="2"/>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38B56F81-1181-4F38-9B5F-00DE1D38EC93}" type="datetime1">
              <a:rPr lang="en-US" smtClean="0"/>
              <a:pPr/>
              <a:t>3/22/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23F98DAA-2BA3-433B-B66A-6E565A0CF64C}" type="datetime1">
              <a:rPr lang="en-US" smtClean="0"/>
              <a:pPr/>
              <a:t>3/22/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pPr/>
              <a:t>‹#›</a:t>
            </a:fld>
            <a:endParaRPr 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AABF4D-7AE5-47B1-BF9D-0820A62FA2BD}" type="datetime1">
              <a:rPr lang="en-US" smtClean="0"/>
              <a:pPr/>
              <a:t>3/22/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AE1883-0942-4AA3-9DB2-9C7C3A0314B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183092"/>
            <a:ext cx="41148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28600" y="1066800"/>
            <a:ext cx="41148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28600" y="4237567"/>
            <a:ext cx="1066800" cy="243417"/>
          </a:xfrm>
          <a:prstGeom prst="rect">
            <a:avLst/>
          </a:prstGeom>
        </p:spPr>
        <p:txBody>
          <a:bodyPr vert="horz" lIns="91440" tIns="45720" rIns="91440" bIns="45720" rtlCol="0" anchor="ctr"/>
          <a:lstStyle>
            <a:lvl1pPr algn="l">
              <a:defRPr sz="600">
                <a:solidFill>
                  <a:schemeClr val="tx1">
                    <a:tint val="75000"/>
                  </a:schemeClr>
                </a:solidFill>
              </a:defRPr>
            </a:lvl1pPr>
          </a:lstStyle>
          <a:p>
            <a:fld id="{1D8BD707-D9CF-40AE-B4C6-C98DA3205C09}" type="datetimeFigureOut">
              <a:rPr lang="en-US" smtClean="0"/>
              <a:pPr/>
              <a:t>3/22/2023</a:t>
            </a:fld>
            <a:endParaRPr lang="en-US"/>
          </a:p>
        </p:txBody>
      </p:sp>
      <p:sp>
        <p:nvSpPr>
          <p:cNvPr id="5" name="Footer Placeholder 4"/>
          <p:cNvSpPr>
            <a:spLocks noGrp="1"/>
          </p:cNvSpPr>
          <p:nvPr>
            <p:ph type="ftr" sz="quarter" idx="3"/>
          </p:nvPr>
        </p:nvSpPr>
        <p:spPr>
          <a:xfrm>
            <a:off x="1562100" y="4237567"/>
            <a:ext cx="1447800" cy="243417"/>
          </a:xfrm>
          <a:prstGeom prst="rect">
            <a:avLst/>
          </a:prstGeom>
        </p:spPr>
        <p:txBody>
          <a:bodyPr vert="horz" lIns="91440" tIns="45720" rIns="91440" bIns="45720" rtlCol="0" anchor="ctr"/>
          <a:lstStyle>
            <a:lvl1pPr algn="ctr">
              <a:defRPr sz="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276600" y="4237567"/>
            <a:ext cx="1066800" cy="243417"/>
          </a:xfrm>
          <a:prstGeom prst="rect">
            <a:avLst/>
          </a:prstGeom>
        </p:spPr>
        <p:txBody>
          <a:bodyPr vert="horz" lIns="91440" tIns="45720" rIns="91440" bIns="45720" rtlCol="0" anchor="ctr"/>
          <a:lstStyle>
            <a:lvl1pPr algn="r">
              <a:defRPr sz="6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759511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Layout" Target="../slideLayouts/slideLayout18.xml"/><Relationship Id="rId6" Type="http://schemas.openxmlformats.org/officeDocument/2006/relationships/image" Target="../media/image5.jpeg"/><Relationship Id="rId5" Type="http://schemas.openxmlformats.org/officeDocument/2006/relationships/image" Target="../media/image4.jpeg"/><Relationship Id="rId10" Type="http://schemas.openxmlformats.org/officeDocument/2006/relationships/image" Target="../media/image9.png"/><Relationship Id="rId4" Type="http://schemas.openxmlformats.org/officeDocument/2006/relationships/image" Target="../media/image3.jpe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2.png"/><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20.png"/><Relationship Id="rId5" Type="http://schemas.openxmlformats.org/officeDocument/2006/relationships/image" Target="../media/image12.png"/><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18.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notesSlide" Target="../notesSlides/notesSlide12.xml"/><Relationship Id="rId26" Type="http://schemas.openxmlformats.org/officeDocument/2006/relationships/image" Target="../media/image10.png"/><Relationship Id="rId3" Type="http://schemas.openxmlformats.org/officeDocument/2006/relationships/tags" Target="../tags/tag5.xml"/><Relationship Id="rId21" Type="http://schemas.openxmlformats.org/officeDocument/2006/relationships/image" Target="../media/image23.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slideLayout" Target="../slideLayouts/slideLayout7.xml"/><Relationship Id="rId25" Type="http://schemas.openxmlformats.org/officeDocument/2006/relationships/image" Target="../media/image27.svg"/><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image" Target="../media/image22.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26.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image" Target="../media/image25.png"/><Relationship Id="rId28" Type="http://schemas.openxmlformats.org/officeDocument/2006/relationships/image" Target="../media/image12.png"/><Relationship Id="rId10" Type="http://schemas.openxmlformats.org/officeDocument/2006/relationships/tags" Target="../tags/tag12.xml"/><Relationship Id="rId19" Type="http://schemas.openxmlformats.org/officeDocument/2006/relationships/image" Target="../media/image21.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image" Target="../media/image24.png"/><Relationship Id="rId27" Type="http://schemas.openxmlformats.org/officeDocument/2006/relationships/image" Target="../media/image11.jpeg"/></Relationships>
</file>

<file path=ppt/slides/_rel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27.png"/><Relationship Id="rId5" Type="http://schemas.openxmlformats.org/officeDocument/2006/relationships/image" Target="../media/image12.png"/><Relationship Id="rId4" Type="http://schemas.openxmlformats.org/officeDocument/2006/relationships/image" Target="../media/image11.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7.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3.jpeg"/><Relationship Id="rId7" Type="http://schemas.openxmlformats.org/officeDocument/2006/relationships/image" Target="../media/image16.sv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11.jpeg"/><Relationship Id="rId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14.png"/><Relationship Id="rId9"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1.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2.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image" Target="../media/image29.jpeg"/><Relationship Id="rId1" Type="http://schemas.openxmlformats.org/officeDocument/2006/relationships/slideLayout" Target="../slideLayouts/slideLayout7.xml"/><Relationship Id="rId6" Type="http://schemas.openxmlformats.org/officeDocument/2006/relationships/image" Target="../media/image33.jpeg"/><Relationship Id="rId11" Type="http://schemas.openxmlformats.org/officeDocument/2006/relationships/image" Target="../media/image8.png"/><Relationship Id="rId5" Type="http://schemas.openxmlformats.org/officeDocument/2006/relationships/image" Target="../media/image32.jpeg"/><Relationship Id="rId10" Type="http://schemas.openxmlformats.org/officeDocument/2006/relationships/image" Target="../media/image12.png"/><Relationship Id="rId4" Type="http://schemas.openxmlformats.org/officeDocument/2006/relationships/image" Target="../media/image31.jpeg"/><Relationship Id="rId9" Type="http://schemas.openxmlformats.org/officeDocument/2006/relationships/image" Target="../media/image11.jpeg"/></Relationships>
</file>

<file path=ppt/slides/_rels/slide35.xml.rels><?xml version="1.0" encoding="UTF-8" standalone="yes"?>
<Relationships xmlns="http://schemas.openxmlformats.org/package/2006/relationships"><Relationship Id="rId8" Type="http://schemas.openxmlformats.org/officeDocument/2006/relationships/hyperlink" Target="http://www.sefa.org.za/" TargetMode="External"/><Relationship Id="rId3" Type="http://schemas.openxmlformats.org/officeDocument/2006/relationships/hyperlink" Target="mailto:info@dsbd.gov.za" TargetMode="External"/><Relationship Id="rId7" Type="http://schemas.openxmlformats.org/officeDocument/2006/relationships/hyperlink" Target="mailto:helpline@sefa.org.za" TargetMode="External"/><Relationship Id="rId2" Type="http://schemas.openxmlformats.org/officeDocument/2006/relationships/image" Target="../media/image35.jpeg"/><Relationship Id="rId1" Type="http://schemas.openxmlformats.org/officeDocument/2006/relationships/slideLayout" Target="../slideLayouts/slideLayout7.xml"/><Relationship Id="rId6" Type="http://schemas.openxmlformats.org/officeDocument/2006/relationships/hyperlink" Target="http://www.seda.org.za/" TargetMode="External"/><Relationship Id="rId11" Type="http://schemas.openxmlformats.org/officeDocument/2006/relationships/image" Target="../media/image12.png"/><Relationship Id="rId5" Type="http://schemas.openxmlformats.org/officeDocument/2006/relationships/hyperlink" Target="mailto:info@seda.gov.za" TargetMode="External"/><Relationship Id="rId10" Type="http://schemas.openxmlformats.org/officeDocument/2006/relationships/image" Target="../media/image11.jpeg"/><Relationship Id="rId4" Type="http://schemas.openxmlformats.org/officeDocument/2006/relationships/hyperlink" Target="http://www.dsbd.gov.za/" TargetMode="External"/><Relationship Id="rId9" Type="http://schemas.openxmlformats.org/officeDocument/2006/relationships/image" Target="../media/image1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3"/>
          <p:cNvGrpSpPr/>
          <p:nvPr/>
        </p:nvGrpSpPr>
        <p:grpSpPr>
          <a:xfrm>
            <a:off x="1" y="4681794"/>
            <a:ext cx="9144000" cy="843389"/>
            <a:chOff x="0" y="0"/>
            <a:chExt cx="2866604" cy="819341"/>
          </a:xfrm>
          <a:solidFill>
            <a:srgbClr val="FD6B00"/>
          </a:solidFill>
        </p:grpSpPr>
        <p:sp>
          <p:nvSpPr>
            <p:cNvPr id="14" name="Freeform 14"/>
            <p:cNvSpPr/>
            <p:nvPr/>
          </p:nvSpPr>
          <p:spPr>
            <a:xfrm>
              <a:off x="0" y="0"/>
              <a:ext cx="2866604" cy="819341"/>
            </a:xfrm>
            <a:custGeom>
              <a:avLst/>
              <a:gdLst/>
              <a:ahLst/>
              <a:cxnLst/>
              <a:rect l="l" t="t" r="r" b="b"/>
              <a:pathLst>
                <a:path w="2866604" h="819341">
                  <a:moveTo>
                    <a:pt x="0" y="0"/>
                  </a:moveTo>
                  <a:lnTo>
                    <a:pt x="2866604" y="0"/>
                  </a:lnTo>
                  <a:lnTo>
                    <a:pt x="2866604" y="819341"/>
                  </a:lnTo>
                  <a:lnTo>
                    <a:pt x="0" y="819341"/>
                  </a:lnTo>
                  <a:close/>
                </a:path>
              </a:pathLst>
            </a:custGeom>
            <a:grpFill/>
            <a:ln w="28575">
              <a:solidFill>
                <a:schemeClr val="bg1"/>
              </a:solidFill>
            </a:ln>
          </p:spPr>
        </p:sp>
      </p:grpSp>
      <p:pic>
        <p:nvPicPr>
          <p:cNvPr id="3" name="Picture 3"/>
          <p:cNvPicPr>
            <a:picLocks noChangeAspect="1"/>
          </p:cNvPicPr>
          <p:nvPr/>
        </p:nvPicPr>
        <p:blipFill>
          <a:blip r:embed="rId2" cstate="print"/>
          <a:srcRect l="2300" r="2300"/>
          <a:stretch>
            <a:fillRect/>
          </a:stretch>
        </p:blipFill>
        <p:spPr>
          <a:xfrm>
            <a:off x="55360" y="2116538"/>
            <a:ext cx="1800197" cy="1350148"/>
          </a:xfrm>
          <a:prstGeom prst="rect">
            <a:avLst/>
          </a:prstGeom>
          <a:ln w="28575">
            <a:solidFill>
              <a:schemeClr val="bg1"/>
            </a:solidFill>
          </a:ln>
        </p:spPr>
      </p:pic>
      <p:pic>
        <p:nvPicPr>
          <p:cNvPr id="4" name="Picture 4"/>
          <p:cNvPicPr>
            <a:picLocks noChangeAspect="1"/>
          </p:cNvPicPr>
          <p:nvPr/>
        </p:nvPicPr>
        <p:blipFill>
          <a:blip r:embed="rId3" cstate="print"/>
          <a:srcRect l="26165" r="26165"/>
          <a:stretch>
            <a:fillRect/>
          </a:stretch>
        </p:blipFill>
        <p:spPr>
          <a:xfrm>
            <a:off x="2846909" y="2133508"/>
            <a:ext cx="905853" cy="1358780"/>
          </a:xfrm>
          <a:prstGeom prst="rect">
            <a:avLst/>
          </a:prstGeom>
          <a:ln w="28575">
            <a:solidFill>
              <a:schemeClr val="bg1"/>
            </a:solidFill>
          </a:ln>
        </p:spPr>
      </p:pic>
      <p:pic>
        <p:nvPicPr>
          <p:cNvPr id="5" name="Picture 5"/>
          <p:cNvPicPr>
            <a:picLocks noChangeAspect="1"/>
          </p:cNvPicPr>
          <p:nvPr/>
        </p:nvPicPr>
        <p:blipFill>
          <a:blip r:embed="rId4" cstate="print"/>
          <a:srcRect l="29876" r="29876"/>
          <a:stretch>
            <a:fillRect/>
          </a:stretch>
        </p:blipFill>
        <p:spPr>
          <a:xfrm>
            <a:off x="1898307" y="2127851"/>
            <a:ext cx="905853" cy="1358780"/>
          </a:xfrm>
          <a:prstGeom prst="rect">
            <a:avLst/>
          </a:prstGeom>
          <a:ln w="28575">
            <a:solidFill>
              <a:schemeClr val="bg1"/>
            </a:solidFill>
          </a:ln>
        </p:spPr>
      </p:pic>
      <p:grpSp>
        <p:nvGrpSpPr>
          <p:cNvPr id="9" name="Group 9"/>
          <p:cNvGrpSpPr/>
          <p:nvPr/>
        </p:nvGrpSpPr>
        <p:grpSpPr>
          <a:xfrm>
            <a:off x="0" y="3458532"/>
            <a:ext cx="9144000" cy="1211070"/>
            <a:chOff x="0" y="0"/>
            <a:chExt cx="2866604" cy="819341"/>
          </a:xfrm>
          <a:solidFill>
            <a:srgbClr val="0C7723"/>
          </a:solidFill>
        </p:grpSpPr>
        <p:sp>
          <p:nvSpPr>
            <p:cNvPr id="10" name="Freeform 10"/>
            <p:cNvSpPr/>
            <p:nvPr/>
          </p:nvSpPr>
          <p:spPr>
            <a:xfrm>
              <a:off x="0" y="0"/>
              <a:ext cx="2866604" cy="819341"/>
            </a:xfrm>
            <a:custGeom>
              <a:avLst/>
              <a:gdLst/>
              <a:ahLst/>
              <a:cxnLst/>
              <a:rect l="l" t="t" r="r" b="b"/>
              <a:pathLst>
                <a:path w="2866604" h="819341">
                  <a:moveTo>
                    <a:pt x="0" y="0"/>
                  </a:moveTo>
                  <a:lnTo>
                    <a:pt x="2866604" y="0"/>
                  </a:lnTo>
                  <a:lnTo>
                    <a:pt x="2866604" y="819341"/>
                  </a:lnTo>
                  <a:lnTo>
                    <a:pt x="0" y="819341"/>
                  </a:lnTo>
                  <a:close/>
                </a:path>
              </a:pathLst>
            </a:custGeom>
            <a:grpFill/>
            <a:ln w="28575">
              <a:solidFill>
                <a:schemeClr val="bg1"/>
              </a:solidFill>
            </a:ln>
          </p:spPr>
        </p:sp>
      </p:grpSp>
      <p:pic>
        <p:nvPicPr>
          <p:cNvPr id="7" name="Picture 7"/>
          <p:cNvPicPr>
            <a:picLocks noChangeAspect="1"/>
          </p:cNvPicPr>
          <p:nvPr/>
        </p:nvPicPr>
        <p:blipFill>
          <a:blip r:embed="rId5" cstate="print"/>
          <a:srcRect t="15015" b="15015"/>
          <a:stretch>
            <a:fillRect/>
          </a:stretch>
        </p:blipFill>
        <p:spPr>
          <a:xfrm>
            <a:off x="43168" y="36576"/>
            <a:ext cx="1823605" cy="2051555"/>
          </a:xfrm>
          <a:prstGeom prst="rect">
            <a:avLst/>
          </a:prstGeom>
          <a:ln w="28575">
            <a:solidFill>
              <a:schemeClr val="bg1"/>
            </a:solidFill>
          </a:ln>
        </p:spPr>
      </p:pic>
      <p:pic>
        <p:nvPicPr>
          <p:cNvPr id="8" name="Picture 8"/>
          <p:cNvPicPr>
            <a:picLocks noChangeAspect="1"/>
          </p:cNvPicPr>
          <p:nvPr/>
        </p:nvPicPr>
        <p:blipFill>
          <a:blip r:embed="rId6" cstate="print"/>
          <a:srcRect l="18160" r="18160"/>
          <a:stretch>
            <a:fillRect/>
          </a:stretch>
        </p:blipFill>
        <p:spPr>
          <a:xfrm>
            <a:off x="1906689" y="36172"/>
            <a:ext cx="1823604" cy="2051555"/>
          </a:xfrm>
          <a:prstGeom prst="rect">
            <a:avLst/>
          </a:prstGeom>
          <a:ln w="28575">
            <a:solidFill>
              <a:schemeClr val="bg1"/>
            </a:solidFill>
          </a:ln>
        </p:spPr>
      </p:pic>
      <p:sp>
        <p:nvSpPr>
          <p:cNvPr id="12" name="TextBox 12"/>
          <p:cNvSpPr txBox="1"/>
          <p:nvPr/>
        </p:nvSpPr>
        <p:spPr>
          <a:xfrm>
            <a:off x="199049" y="5160895"/>
            <a:ext cx="4912597" cy="261610"/>
          </a:xfrm>
          <a:prstGeom prst="rect">
            <a:avLst/>
          </a:prstGeom>
        </p:spPr>
        <p:txBody>
          <a:bodyPr wrap="square" lIns="0" tIns="0" rIns="0" bIns="0" rtlCol="0" anchor="t">
            <a:spAutoFit/>
          </a:bodyPr>
          <a:lstStyle/>
          <a:p>
            <a:pPr marL="0" marR="0" lvl="0" indent="0" algn="l" defTabSz="457200" rtl="0" eaLnBrk="1" fontAlgn="auto" latinLnBrk="0" hangingPunct="1">
              <a:spcBef>
                <a:spcPts val="0"/>
              </a:spcBef>
              <a:spcAft>
                <a:spcPts val="0"/>
              </a:spcAft>
              <a:buClrTx/>
              <a:buSzTx/>
              <a:buFontTx/>
              <a:buNone/>
              <a:tabLst/>
              <a:defRPr/>
            </a:pPr>
            <a:r>
              <a:rPr lang="en-US" sz="1700" b="1">
                <a:solidFill>
                  <a:srgbClr val="FFFFFF"/>
                </a:solidFill>
                <a:latin typeface="Arialle"/>
              </a:rPr>
              <a:t>Mr MD Matshamba</a:t>
            </a:r>
            <a:endParaRPr kumimoji="0" lang="en-US" sz="1700" b="0" i="0" u="none" strike="noStrike" kern="1200" cap="none" spc="0" normalizeH="0" baseline="0" noProof="0">
              <a:ln>
                <a:noFill/>
              </a:ln>
              <a:solidFill>
                <a:srgbClr val="FFFFFF"/>
              </a:solidFill>
              <a:effectLst/>
              <a:uLnTx/>
              <a:uFillTx/>
              <a:latin typeface="Arialle"/>
              <a:ea typeface="+mn-ea"/>
              <a:cs typeface="+mn-cs"/>
            </a:endParaRPr>
          </a:p>
        </p:txBody>
      </p:sp>
      <p:sp>
        <p:nvSpPr>
          <p:cNvPr id="17" name="TextBox 12">
            <a:extLst>
              <a:ext uri="{FF2B5EF4-FFF2-40B4-BE49-F238E27FC236}">
                <a16:creationId xmlns:a16="http://schemas.microsoft.com/office/drawing/2014/main" xmlns="" id="{91643E4B-C40F-4025-9500-2B8B99EEC9B0}"/>
              </a:ext>
            </a:extLst>
          </p:cNvPr>
          <p:cNvSpPr txBox="1"/>
          <p:nvPr/>
        </p:nvSpPr>
        <p:spPr>
          <a:xfrm>
            <a:off x="2574061" y="3438371"/>
            <a:ext cx="4488505" cy="1517531"/>
          </a:xfrm>
          <a:prstGeom prst="rect">
            <a:avLst/>
          </a:prstGeom>
        </p:spPr>
        <p:txBody>
          <a:bodyPr wrap="square" lIns="0" tIns="0" rIns="0" bIns="0" rtlCol="0" anchor="t">
            <a:spAutoFit/>
          </a:bodyPr>
          <a:lstStyle/>
          <a:p>
            <a:pPr marL="0" marR="0" lvl="0" indent="0" algn="ctr" defTabSz="457200" rtl="0" eaLnBrk="1" fontAlgn="auto" latinLnBrk="0" hangingPunct="1">
              <a:lnSpc>
                <a:spcPts val="4667"/>
              </a:lnSpc>
              <a:spcBef>
                <a:spcPct val="0"/>
              </a:spcBef>
              <a:spcAft>
                <a:spcPts val="0"/>
              </a:spcAft>
              <a:buClrTx/>
              <a:buSzTx/>
              <a:buFontTx/>
              <a:buNone/>
              <a:tabLst/>
              <a:defRPr/>
            </a:pPr>
            <a:r>
              <a:rPr kumimoji="0" lang="en-US" sz="2400" b="1" i="0" u="none" strike="noStrike" kern="1200" cap="none" spc="0" normalizeH="0" baseline="0" noProof="0" err="1">
                <a:ln>
                  <a:noFill/>
                </a:ln>
                <a:solidFill>
                  <a:schemeClr val="bg1"/>
                </a:solidFill>
                <a:effectLst/>
                <a:uLnTx/>
                <a:uFillTx/>
                <a:ea typeface="+mn-ea"/>
                <a:cs typeface="Arial" panose="020B0604020202020204" pitchFamily="34" charset="0"/>
              </a:rPr>
              <a:t>sefa’s</a:t>
            </a:r>
            <a:r>
              <a:rPr kumimoji="0" lang="en-US" sz="2400" b="1" i="0" u="none" strike="noStrike" kern="1200" cap="none" spc="0" normalizeH="0" baseline="0" noProof="0">
                <a:ln>
                  <a:noFill/>
                </a:ln>
                <a:solidFill>
                  <a:schemeClr val="bg1"/>
                </a:solidFill>
                <a:effectLst/>
                <a:uLnTx/>
                <a:uFillTx/>
                <a:ea typeface="+mn-ea"/>
                <a:cs typeface="Arial" panose="020B0604020202020204" pitchFamily="34" charset="0"/>
              </a:rPr>
              <a:t> Q3 Performance Report</a:t>
            </a:r>
          </a:p>
          <a:p>
            <a:pPr marL="0" marR="0" lvl="0" indent="0" algn="ctr" defTabSz="457200" rtl="0" eaLnBrk="1" fontAlgn="auto" latinLnBrk="0" hangingPunct="1">
              <a:lnSpc>
                <a:spcPts val="4667"/>
              </a:lnSpc>
              <a:spcBef>
                <a:spcPct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Arial" panose="020B0604020202020204" pitchFamily="34" charset="0"/>
              </a:rPr>
              <a:t>Financial Year 2022/23</a:t>
            </a:r>
          </a:p>
          <a:p>
            <a:pPr marL="0" marR="0" lvl="0" indent="0" algn="l" defTabSz="457200" rtl="0" eaLnBrk="1" fontAlgn="auto" latinLnBrk="0" hangingPunct="1">
              <a:lnSpc>
                <a:spcPts val="2380"/>
              </a:lnSpc>
              <a:spcBef>
                <a:spcPts val="0"/>
              </a:spcBef>
              <a:spcAft>
                <a:spcPts val="0"/>
              </a:spcAft>
              <a:buClrTx/>
              <a:buSzTx/>
              <a:buFontTx/>
              <a:buNone/>
              <a:tabLst/>
              <a:defRPr/>
            </a:pPr>
            <a:r>
              <a:rPr kumimoji="0" lang="en-US" sz="2400" b="1" i="0" u="none" strike="noStrike" kern="1200" cap="none" spc="0" normalizeH="0" baseline="0" noProof="0">
                <a:ln>
                  <a:noFill/>
                </a:ln>
                <a:solidFill>
                  <a:schemeClr val="bg1"/>
                </a:solidFill>
                <a:effectLst/>
                <a:uLnTx/>
                <a:uFillTx/>
                <a:ea typeface="+mn-ea"/>
                <a:cs typeface="+mn-cs"/>
              </a:rPr>
              <a:t> </a:t>
            </a:r>
            <a:endParaRPr kumimoji="0" lang="en-US" sz="2400" i="0" u="none" strike="noStrike" kern="1200" cap="none" spc="0" normalizeH="0" baseline="0" noProof="0">
              <a:ln>
                <a:noFill/>
              </a:ln>
              <a:solidFill>
                <a:schemeClr val="bg1"/>
              </a:solidFill>
              <a:effectLst/>
              <a:uLnTx/>
              <a:uFillTx/>
              <a:ea typeface="+mn-ea"/>
              <a:cs typeface="+mn-cs"/>
            </a:endParaRPr>
          </a:p>
        </p:txBody>
      </p:sp>
      <p:grpSp>
        <p:nvGrpSpPr>
          <p:cNvPr id="18" name="Group 17">
            <a:extLst>
              <a:ext uri="{FF2B5EF4-FFF2-40B4-BE49-F238E27FC236}">
                <a16:creationId xmlns:a16="http://schemas.microsoft.com/office/drawing/2014/main" xmlns="" id="{22D8510F-4963-47B1-8416-63CA80669E89}"/>
              </a:ext>
            </a:extLst>
          </p:cNvPr>
          <p:cNvGrpSpPr/>
          <p:nvPr/>
        </p:nvGrpSpPr>
        <p:grpSpPr>
          <a:xfrm>
            <a:off x="67717" y="5168043"/>
            <a:ext cx="5558384" cy="2135867"/>
            <a:chOff x="49195" y="5263190"/>
            <a:chExt cx="5558384" cy="2135867"/>
          </a:xfrm>
        </p:grpSpPr>
        <p:pic>
          <p:nvPicPr>
            <p:cNvPr id="19" name="Picture 12">
              <a:extLst>
                <a:ext uri="{FF2B5EF4-FFF2-40B4-BE49-F238E27FC236}">
                  <a16:creationId xmlns:a16="http://schemas.microsoft.com/office/drawing/2014/main" xmlns="" id="{E79F8870-6409-43AD-9B9C-18B495951C24}"/>
                </a:ext>
              </a:extLst>
            </p:cNvPr>
            <p:cNvPicPr>
              <a:picLocks noChangeAspect="1"/>
            </p:cNvPicPr>
            <p:nvPr/>
          </p:nvPicPr>
          <p:blipFill>
            <a:blip r:embed="rId7" cstate="print"/>
            <a:srcRect l="4701" r="4701"/>
            <a:stretch>
              <a:fillRect/>
            </a:stretch>
          </p:blipFill>
          <p:spPr>
            <a:xfrm>
              <a:off x="49195" y="5263190"/>
              <a:ext cx="1935014" cy="2135867"/>
            </a:xfrm>
            <a:prstGeom prst="rect">
              <a:avLst/>
            </a:prstGeom>
          </p:spPr>
        </p:pic>
        <p:pic>
          <p:nvPicPr>
            <p:cNvPr id="20" name="Picture 19" descr="Logo&#10;&#10;Description automatically generated">
              <a:extLst>
                <a:ext uri="{FF2B5EF4-FFF2-40B4-BE49-F238E27FC236}">
                  <a16:creationId xmlns:a16="http://schemas.microsoft.com/office/drawing/2014/main" xmlns="" id="{B924B4A3-D4B3-4F70-8EF6-C23F3EFF0EFD}"/>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3729346" y="6069521"/>
              <a:ext cx="1878233" cy="775573"/>
            </a:xfrm>
            <a:prstGeom prst="rect">
              <a:avLst/>
            </a:prstGeom>
          </p:spPr>
        </p:pic>
      </p:grpSp>
      <p:sp>
        <p:nvSpPr>
          <p:cNvPr id="22" name="TextBox 11">
            <a:extLst>
              <a:ext uri="{FF2B5EF4-FFF2-40B4-BE49-F238E27FC236}">
                <a16:creationId xmlns:a16="http://schemas.microsoft.com/office/drawing/2014/main" xmlns="" id="{E1436D55-2C15-C6DB-3A39-CB1F9E769B4E}"/>
              </a:ext>
            </a:extLst>
          </p:cNvPr>
          <p:cNvSpPr txBox="1"/>
          <p:nvPr/>
        </p:nvSpPr>
        <p:spPr>
          <a:xfrm>
            <a:off x="3771331" y="193247"/>
            <a:ext cx="3421010" cy="1200329"/>
          </a:xfrm>
          <a:prstGeom prst="rect">
            <a:avLst/>
          </a:prstGeom>
          <a:noFill/>
        </p:spPr>
        <p:txBody>
          <a:bodyPr wrap="square" lIns="0" tIns="0" rIns="0" bIns="0" rtlCol="0" anchor="t">
            <a:spAutoFit/>
          </a:bodyPr>
          <a:lstStyle/>
          <a:p>
            <a:pPr defTabSz="457200">
              <a:spcBef>
                <a:spcPct val="0"/>
              </a:spcBef>
              <a:defRPr/>
            </a:pPr>
            <a:r>
              <a:rPr kumimoji="0" lang="en-US" sz="2600" i="0" u="none" strike="noStrike" kern="1200" cap="none" spc="0" normalizeH="0" baseline="0" noProof="0">
                <a:ln>
                  <a:noFill/>
                </a:ln>
                <a:effectLst/>
                <a:uLnTx/>
                <a:uFillTx/>
                <a:latin typeface="Arial"/>
                <a:cs typeface="Arial"/>
              </a:rPr>
              <a:t>Presentation to the</a:t>
            </a:r>
            <a:r>
              <a:rPr lang="en-US" sz="2600">
                <a:latin typeface="Arial"/>
                <a:cs typeface="Arial"/>
              </a:rPr>
              <a:t>  Minister of Small Business Development</a:t>
            </a:r>
            <a:endParaRPr lang="en-US" sz="2600" i="0" u="none" strike="noStrike" kern="1200" cap="none" spc="0" normalizeH="0" baseline="0" noProof="0">
              <a:ln>
                <a:noFill/>
              </a:ln>
              <a:effectLst/>
              <a:uLnTx/>
              <a:uFillTx/>
              <a:latin typeface="Arial"/>
              <a:cs typeface="Arial"/>
            </a:endParaRPr>
          </a:p>
        </p:txBody>
      </p:sp>
      <p:sp>
        <p:nvSpPr>
          <p:cNvPr id="6" name="TextBox 5">
            <a:extLst>
              <a:ext uri="{FF2B5EF4-FFF2-40B4-BE49-F238E27FC236}">
                <a16:creationId xmlns:a16="http://schemas.microsoft.com/office/drawing/2014/main" xmlns="" id="{24906682-D52E-EBCE-4EE1-268FB3E8F937}"/>
              </a:ext>
            </a:extLst>
          </p:cNvPr>
          <p:cNvSpPr txBox="1"/>
          <p:nvPr/>
        </p:nvSpPr>
        <p:spPr>
          <a:xfrm>
            <a:off x="6051480" y="5168043"/>
            <a:ext cx="3048570" cy="369332"/>
          </a:xfrm>
          <a:prstGeom prst="rect">
            <a:avLst/>
          </a:prstGeom>
          <a:noFill/>
        </p:spPr>
        <p:txBody>
          <a:bodyPr wrap="square" lIns="91440" tIns="45720" rIns="91440" bIns="45720" rtlCol="0" anchor="t">
            <a:spAutoFit/>
          </a:bodyPr>
          <a:lstStyle/>
          <a:p>
            <a:pPr algn="r"/>
            <a:r>
              <a:rPr lang="en-US" b="1">
                <a:solidFill>
                  <a:srgbClr val="FFFFFF"/>
                </a:solidFill>
                <a:latin typeface="Arialle"/>
              </a:rPr>
              <a:t>Date:  17 March 2023</a:t>
            </a:r>
            <a:endParaRPr lang="en-GB">
              <a:solidFill>
                <a:srgbClr val="FFFFFF"/>
              </a:solidFill>
            </a:endParaRPr>
          </a:p>
        </p:txBody>
      </p:sp>
      <p:pic>
        <p:nvPicPr>
          <p:cNvPr id="15" name="Picture 14" descr="A picture containing logo&#10;&#10;Description automatically generated">
            <a:extLst>
              <a:ext uri="{FF2B5EF4-FFF2-40B4-BE49-F238E27FC236}">
                <a16:creationId xmlns:a16="http://schemas.microsoft.com/office/drawing/2014/main" xmlns="" id="{2B7F8B42-B9DC-1D03-3C89-B34C17507D35}"/>
              </a:ext>
            </a:extLst>
          </p:cNvPr>
          <p:cNvPicPr>
            <a:picLocks noChangeAspect="1"/>
          </p:cNvPicPr>
          <p:nvPr/>
        </p:nvPicPr>
        <p:blipFill rotWithShape="1">
          <a:blip r:embed="rId9" cstate="print">
            <a:extLst>
              <a:ext uri="{28A0092B-C50C-407E-A947-70E740481C1C}">
                <a14:useLocalDpi xmlns:a14="http://schemas.microsoft.com/office/drawing/2010/main" xmlns="" val="0"/>
              </a:ext>
            </a:extLst>
          </a:blip>
          <a:srcRect l="35046" b="35897"/>
          <a:stretch/>
        </p:blipFill>
        <p:spPr>
          <a:xfrm rot="10800000">
            <a:off x="6948707" y="25758"/>
            <a:ext cx="2169535" cy="2051554"/>
          </a:xfrm>
          <a:prstGeom prst="rect">
            <a:avLst/>
          </a:prstGeom>
        </p:spPr>
      </p:pic>
      <p:pic>
        <p:nvPicPr>
          <p:cNvPr id="25" name="Picture 24" descr="Logo&#10;&#10;Description automatically generated">
            <a:extLst>
              <a:ext uri="{FF2B5EF4-FFF2-40B4-BE49-F238E27FC236}">
                <a16:creationId xmlns:a16="http://schemas.microsoft.com/office/drawing/2014/main" xmlns="" id="{20E20B7F-7C27-09A0-ED79-64BBE60B7DB4}"/>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7167414" y="5790069"/>
            <a:ext cx="1698549" cy="878369"/>
          </a:xfrm>
          <a:prstGeom prst="rect">
            <a:avLst/>
          </a:prstGeom>
        </p:spPr>
      </p:pic>
    </p:spTree>
    <p:extLst>
      <p:ext uri="{BB962C8B-B14F-4D97-AF65-F5344CB8AC3E}">
        <p14:creationId xmlns:p14="http://schemas.microsoft.com/office/powerpoint/2010/main" xmlns="" val="41177993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0</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cont.)</a:t>
            </a:r>
            <a:endParaRPr lang="en-ZA" sz="360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9DD0236D-0398-200D-CE38-2A402F555699}"/>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D6B5E21C-F1B2-A483-D83A-09017436DDB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C7806168-4D1C-21D4-8C21-8CC5003F344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3" name="Straight Connector 12">
            <a:extLst>
              <a:ext uri="{FF2B5EF4-FFF2-40B4-BE49-F238E27FC236}">
                <a16:creationId xmlns:a16="http://schemas.microsoft.com/office/drawing/2014/main" xmlns="" id="{C281008B-A919-0E28-C146-BD05639A0BAB}"/>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aphicFrame>
        <p:nvGraphicFramePr>
          <p:cNvPr id="9" name="Table 8">
            <a:extLst>
              <a:ext uri="{FF2B5EF4-FFF2-40B4-BE49-F238E27FC236}">
                <a16:creationId xmlns:a16="http://schemas.microsoft.com/office/drawing/2014/main" xmlns="" id="{B5F7CBA2-8888-1DA2-7722-BC72D2E4A969}"/>
              </a:ext>
            </a:extLst>
          </p:cNvPr>
          <p:cNvGraphicFramePr>
            <a:graphicFrameLocks noGrp="1"/>
          </p:cNvGraphicFramePr>
          <p:nvPr>
            <p:extLst>
              <p:ext uri="{D42A27DB-BD31-4B8C-83A1-F6EECF244321}">
                <p14:modId xmlns:p14="http://schemas.microsoft.com/office/powerpoint/2010/main" xmlns="" val="3637395764"/>
              </p:ext>
            </p:extLst>
          </p:nvPr>
        </p:nvGraphicFramePr>
        <p:xfrm>
          <a:off x="179512" y="881634"/>
          <a:ext cx="8814585" cy="4184840"/>
        </p:xfrm>
        <a:graphic>
          <a:graphicData uri="http://schemas.openxmlformats.org/drawingml/2006/table">
            <a:tbl>
              <a:tblPr/>
              <a:tblGrid>
                <a:gridCol w="1108421">
                  <a:extLst>
                    <a:ext uri="{9D8B030D-6E8A-4147-A177-3AD203B41FA5}">
                      <a16:colId xmlns:a16="http://schemas.microsoft.com/office/drawing/2014/main" xmlns="" val="2431401788"/>
                    </a:ext>
                  </a:extLst>
                </a:gridCol>
                <a:gridCol w="870651">
                  <a:extLst>
                    <a:ext uri="{9D8B030D-6E8A-4147-A177-3AD203B41FA5}">
                      <a16:colId xmlns:a16="http://schemas.microsoft.com/office/drawing/2014/main" xmlns="" val="3765670043"/>
                    </a:ext>
                  </a:extLst>
                </a:gridCol>
                <a:gridCol w="633635">
                  <a:extLst>
                    <a:ext uri="{9D8B030D-6E8A-4147-A177-3AD203B41FA5}">
                      <a16:colId xmlns:a16="http://schemas.microsoft.com/office/drawing/2014/main" xmlns="" val="2702611524"/>
                    </a:ext>
                  </a:extLst>
                </a:gridCol>
                <a:gridCol w="639981">
                  <a:extLst>
                    <a:ext uri="{9D8B030D-6E8A-4147-A177-3AD203B41FA5}">
                      <a16:colId xmlns:a16="http://schemas.microsoft.com/office/drawing/2014/main" xmlns="" val="1793475838"/>
                    </a:ext>
                  </a:extLst>
                </a:gridCol>
                <a:gridCol w="587199">
                  <a:extLst>
                    <a:ext uri="{9D8B030D-6E8A-4147-A177-3AD203B41FA5}">
                      <a16:colId xmlns:a16="http://schemas.microsoft.com/office/drawing/2014/main" xmlns="" val="3179328266"/>
                    </a:ext>
                  </a:extLst>
                </a:gridCol>
                <a:gridCol w="580601">
                  <a:extLst>
                    <a:ext uri="{9D8B030D-6E8A-4147-A177-3AD203B41FA5}">
                      <a16:colId xmlns:a16="http://schemas.microsoft.com/office/drawing/2014/main" xmlns="" val="1712471445"/>
                    </a:ext>
                  </a:extLst>
                </a:gridCol>
                <a:gridCol w="382669">
                  <a:extLst>
                    <a:ext uri="{9D8B030D-6E8A-4147-A177-3AD203B41FA5}">
                      <a16:colId xmlns:a16="http://schemas.microsoft.com/office/drawing/2014/main" xmlns="" val="1913427223"/>
                    </a:ext>
                  </a:extLst>
                </a:gridCol>
                <a:gridCol w="547613">
                  <a:extLst>
                    <a:ext uri="{9D8B030D-6E8A-4147-A177-3AD203B41FA5}">
                      <a16:colId xmlns:a16="http://schemas.microsoft.com/office/drawing/2014/main" xmlns="" val="138449432"/>
                    </a:ext>
                  </a:extLst>
                </a:gridCol>
                <a:gridCol w="547613">
                  <a:extLst>
                    <a:ext uri="{9D8B030D-6E8A-4147-A177-3AD203B41FA5}">
                      <a16:colId xmlns:a16="http://schemas.microsoft.com/office/drawing/2014/main" xmlns="" val="342662681"/>
                    </a:ext>
                  </a:extLst>
                </a:gridCol>
                <a:gridCol w="547613">
                  <a:extLst>
                    <a:ext uri="{9D8B030D-6E8A-4147-A177-3AD203B41FA5}">
                      <a16:colId xmlns:a16="http://schemas.microsoft.com/office/drawing/2014/main" xmlns="" val="2911595652"/>
                    </a:ext>
                  </a:extLst>
                </a:gridCol>
                <a:gridCol w="547613">
                  <a:extLst>
                    <a:ext uri="{9D8B030D-6E8A-4147-A177-3AD203B41FA5}">
                      <a16:colId xmlns:a16="http://schemas.microsoft.com/office/drawing/2014/main" xmlns="" val="1885392358"/>
                    </a:ext>
                  </a:extLst>
                </a:gridCol>
                <a:gridCol w="606992">
                  <a:extLst>
                    <a:ext uri="{9D8B030D-6E8A-4147-A177-3AD203B41FA5}">
                      <a16:colId xmlns:a16="http://schemas.microsoft.com/office/drawing/2014/main" xmlns="" val="2199988925"/>
                    </a:ext>
                  </a:extLst>
                </a:gridCol>
                <a:gridCol w="606992">
                  <a:extLst>
                    <a:ext uri="{9D8B030D-6E8A-4147-A177-3AD203B41FA5}">
                      <a16:colId xmlns:a16="http://schemas.microsoft.com/office/drawing/2014/main" xmlns="" val="3322354829"/>
                    </a:ext>
                  </a:extLst>
                </a:gridCol>
                <a:gridCol w="606992">
                  <a:extLst>
                    <a:ext uri="{9D8B030D-6E8A-4147-A177-3AD203B41FA5}">
                      <a16:colId xmlns:a16="http://schemas.microsoft.com/office/drawing/2014/main" xmlns="" val="4107645421"/>
                    </a:ext>
                  </a:extLst>
                </a:gridCol>
              </a:tblGrid>
              <a:tr h="270160">
                <a:tc gridSpan="14">
                  <a:txBody>
                    <a:bodyPr/>
                    <a:lstStyle/>
                    <a:p>
                      <a:pPr algn="ctr" fontAlgn="b"/>
                      <a:r>
                        <a:rPr lang="en-US" sz="900" b="1" i="0" u="none" strike="noStrike">
                          <a:solidFill>
                            <a:srgbClr val="000000"/>
                          </a:solidFill>
                          <a:effectLst/>
                          <a:latin typeface="Arial" panose="020B0604020202020204" pitchFamily="34" charset="0"/>
                        </a:rPr>
                        <a:t>PEOPLE, LEARNING AND GROWTH PERSPECTIVE</a:t>
                      </a:r>
                    </a:p>
                  </a:txBody>
                  <a:tcPr marL="3082" marR="3082" marT="3082" marB="22192"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846077122"/>
                  </a:ext>
                </a:extLst>
              </a:tr>
              <a:tr h="270160">
                <a:tc>
                  <a:txBody>
                    <a:bodyPr/>
                    <a:lstStyle/>
                    <a:p>
                      <a:pPr algn="ctr" fontAlgn="b"/>
                      <a:endParaRPr lang="en-ZA" sz="900" b="1" i="0" u="none" strike="noStrike">
                        <a:solidFill>
                          <a:srgbClr val="000000"/>
                        </a:solidFill>
                        <a:effectLst/>
                        <a:latin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endParaRPr lang="en-ZA" sz="900" b="1" i="0" u="none" strike="noStrike">
                        <a:solidFill>
                          <a:srgbClr val="000000"/>
                        </a:solidFill>
                        <a:effectLst/>
                        <a:latin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gridSpan="3">
                  <a:txBody>
                    <a:bodyPr/>
                    <a:lstStyle/>
                    <a:p>
                      <a:pPr algn="ctr" fontAlgn="b"/>
                      <a:r>
                        <a:rPr lang="en-ZA" sz="900" b="1" i="0" u="none" strike="noStrike">
                          <a:solidFill>
                            <a:srgbClr val="000000"/>
                          </a:solidFill>
                          <a:effectLst/>
                          <a:latin typeface="Arial" panose="020B0604020202020204" pitchFamily="34" charset="0"/>
                        </a:rPr>
                        <a:t>Q1</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b"/>
                      <a:r>
                        <a:rPr lang="en-ZA" sz="900" b="1" i="0" u="none" strike="noStrike">
                          <a:solidFill>
                            <a:srgbClr val="000000"/>
                          </a:solidFill>
                          <a:effectLst/>
                          <a:latin typeface="Arial" panose="020B0604020202020204" pitchFamily="34" charset="0"/>
                        </a:rPr>
                        <a:t>Q2</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b"/>
                      <a:r>
                        <a:rPr lang="en-ZA" sz="900" b="1" i="0" u="none" strike="noStrike">
                          <a:solidFill>
                            <a:srgbClr val="000000"/>
                          </a:solidFill>
                          <a:effectLst/>
                          <a:latin typeface="Arial" panose="020B0604020202020204" pitchFamily="34" charset="0"/>
                        </a:rPr>
                        <a:t>Q3</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b"/>
                      <a:r>
                        <a:rPr lang="en-ZA" sz="900" b="1" i="0" u="none" strike="noStrike">
                          <a:solidFill>
                            <a:srgbClr val="000000"/>
                          </a:solidFill>
                          <a:effectLst/>
                          <a:latin typeface="Arial" panose="020B0604020202020204" pitchFamily="34" charset="0"/>
                        </a:rPr>
                        <a:t>YTD (Q1-Q3)</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233252152"/>
                  </a:ext>
                </a:extLst>
              </a:tr>
              <a:tr h="311456">
                <a:tc>
                  <a:txBody>
                    <a:bodyPr/>
                    <a:lstStyle/>
                    <a:p>
                      <a:pPr algn="ctr" fontAlgn="b"/>
                      <a:endParaRPr lang="en-ZA" sz="900" b="1" i="0" u="none" strike="noStrike">
                        <a:solidFill>
                          <a:srgbClr val="000000"/>
                        </a:solidFill>
                        <a:effectLst/>
                        <a:latin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YTD 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YTD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b"/>
                      <a:r>
                        <a:rPr lang="en-ZA" sz="900" b="1" i="0" u="none" strike="noStrike">
                          <a:solidFill>
                            <a:srgbClr val="000000"/>
                          </a:solidFill>
                          <a:effectLst/>
                          <a:latin typeface="Arial" panose="020B0604020202020204" pitchFamily="34" charset="0"/>
                        </a:rPr>
                        <a:t>YTD %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xmlns="" val="648480766"/>
                  </a:ext>
                </a:extLst>
              </a:tr>
              <a:tr h="739227">
                <a:tc>
                  <a:txBody>
                    <a:bodyPr/>
                    <a:lstStyle/>
                    <a:p>
                      <a:pPr algn="l" fontAlgn="t"/>
                      <a:r>
                        <a:rPr lang="en-ZA" sz="900" b="0" i="0" u="none" strike="noStrike">
                          <a:solidFill>
                            <a:srgbClr val="000000"/>
                          </a:solidFill>
                          <a:effectLst/>
                          <a:latin typeface="Arial" panose="020B0604020202020204" pitchFamily="34" charset="0"/>
                        </a:rPr>
                        <a:t>Number of publications produced</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Six sector and value chain analysis report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1 Sector and value chain</a:t>
                      </a:r>
                      <a:br>
                        <a:rPr lang="en-US" sz="900" b="0" i="0" u="none" strike="noStrike">
                          <a:solidFill>
                            <a:srgbClr val="000000"/>
                          </a:solidFill>
                          <a:effectLst/>
                          <a:latin typeface="Arial" panose="020B0604020202020204" pitchFamily="34" charset="0"/>
                        </a:rPr>
                      </a:br>
                      <a:r>
                        <a:rPr lang="en-US" sz="900" b="0" i="0" u="none" strike="noStrike">
                          <a:solidFill>
                            <a:srgbClr val="000000"/>
                          </a:solidFill>
                          <a:effectLst/>
                          <a:latin typeface="Arial" panose="020B0604020202020204" pitchFamily="34" charset="0"/>
                        </a:rPr>
                        <a:t>analysis repor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1</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1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2 Sector and value chain</a:t>
                      </a:r>
                      <a:br>
                        <a:rPr lang="en-US" sz="900" b="0" i="0" u="none" strike="noStrike">
                          <a:solidFill>
                            <a:srgbClr val="000000"/>
                          </a:solidFill>
                          <a:effectLst/>
                          <a:latin typeface="Arial" panose="020B0604020202020204" pitchFamily="34" charset="0"/>
                        </a:rPr>
                      </a:br>
                      <a:r>
                        <a:rPr lang="en-US" sz="900" b="0" i="0" u="none" strike="noStrike">
                          <a:solidFill>
                            <a:srgbClr val="000000"/>
                          </a:solidFill>
                          <a:effectLst/>
                          <a:latin typeface="Arial" panose="020B0604020202020204" pitchFamily="34" charset="0"/>
                        </a:rPr>
                        <a:t>analysis repor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3</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15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2 Sector and value chain</a:t>
                      </a:r>
                      <a:br>
                        <a:rPr lang="en-US" sz="900" b="0" i="0" u="none" strike="noStrike">
                          <a:solidFill>
                            <a:srgbClr val="000000"/>
                          </a:solidFill>
                          <a:effectLst/>
                          <a:latin typeface="Arial" panose="020B0604020202020204" pitchFamily="34" charset="0"/>
                        </a:rPr>
                      </a:br>
                      <a:r>
                        <a:rPr lang="en-US" sz="900" b="0" i="0" u="none" strike="noStrike">
                          <a:solidFill>
                            <a:srgbClr val="000000"/>
                          </a:solidFill>
                          <a:effectLst/>
                          <a:latin typeface="Arial" panose="020B0604020202020204" pitchFamily="34" charset="0"/>
                        </a:rPr>
                        <a:t>analysis repor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900" b="0" i="0" u="none" strike="noStrike">
                          <a:solidFill>
                            <a:srgbClr val="000000"/>
                          </a:solidFill>
                          <a:effectLst/>
                          <a:latin typeface="Arial" panose="020B0604020202020204" pitchFamily="34" charset="0"/>
                        </a:rPr>
                        <a:t>3</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900" b="0" i="0" u="none" strike="noStrike">
                          <a:solidFill>
                            <a:srgbClr val="000000"/>
                          </a:solidFill>
                          <a:effectLst/>
                          <a:latin typeface="Arial" panose="020B0604020202020204" pitchFamily="34" charset="0"/>
                        </a:rPr>
                        <a:t>15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l" fontAlgn="t"/>
                      <a:r>
                        <a:rPr lang="en-ZA" sz="900" b="0" i="0" u="none" strike="noStrike">
                          <a:solidFill>
                            <a:srgbClr val="000000"/>
                          </a:solidFill>
                          <a:effectLst/>
                          <a:latin typeface="Arial" panose="020B0604020202020204" pitchFamily="34" charset="0"/>
                        </a:rPr>
                        <a:t>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7</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1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42412219"/>
                  </a:ext>
                </a:extLst>
              </a:tr>
              <a:tr h="689307">
                <a:tc>
                  <a:txBody>
                    <a:bodyPr/>
                    <a:lstStyle/>
                    <a:p>
                      <a:pPr algn="l" fontAlgn="t"/>
                      <a:endParaRPr lang="en-ZA" sz="900" b="0" i="0" u="none" strike="noStrike">
                        <a:solidFill>
                          <a:srgbClr val="000000"/>
                        </a:solidFill>
                        <a:effectLst/>
                        <a:latin typeface="Arial" panose="020B0604020202020204" pitchFamily="34" charset="0"/>
                      </a:endParaRP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Bi-annual business conditions survey</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t"/>
                      <a:r>
                        <a:rPr lang="en-ZA" sz="900" b="0" i="0" u="none" strike="noStrike">
                          <a:solidFill>
                            <a:srgbClr val="000000"/>
                          </a:solidFill>
                          <a:effectLst/>
                          <a:latin typeface="Arial" panose="020B0604020202020204" pitchFamily="34" charset="0"/>
                        </a:rPr>
                        <a:t>Bi-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a:txBody>
                    <a:bodyPr/>
                    <a:lstStyle/>
                    <a:p>
                      <a:pPr algn="ctr" fontAlgn="t"/>
                      <a:r>
                        <a:rPr lang="en-ZA" sz="900" b="0" i="0" u="none" strike="noStrike">
                          <a:solidFill>
                            <a:srgbClr val="000000"/>
                          </a:solidFill>
                          <a:effectLst/>
                          <a:latin typeface="Arial" panose="020B0604020202020204" pitchFamily="34" charset="0"/>
                        </a:rPr>
                        <a:t>1</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1</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1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l" fontAlgn="t"/>
                      <a:r>
                        <a:rPr lang="en-ZA" sz="900" b="0" i="0" u="none" strike="noStrike">
                          <a:solidFill>
                            <a:srgbClr val="000000"/>
                          </a:solidFill>
                          <a:effectLst/>
                          <a:latin typeface="Arial" panose="020B0604020202020204" pitchFamily="34" charset="0"/>
                        </a:rPr>
                        <a:t>Bi-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hMerge="1">
                  <a:txBody>
                    <a:bodyPr/>
                    <a:lstStyle/>
                    <a:p>
                      <a:endParaRPr lang="en-ZA"/>
                    </a:p>
                  </a:txBody>
                  <a:tcPr/>
                </a:tc>
                <a:tc hMerge="1">
                  <a:txBody>
                    <a:bodyPr/>
                    <a:lstStyle/>
                    <a:p>
                      <a:endParaRPr lang="en-ZA"/>
                    </a:p>
                  </a:txBody>
                  <a:tcPr/>
                </a:tc>
                <a:tc>
                  <a:txBody>
                    <a:bodyPr/>
                    <a:lstStyle/>
                    <a:p>
                      <a:pPr algn="l" fontAlgn="t"/>
                      <a:r>
                        <a:rPr lang="en-ZA" sz="900" b="0" i="0" u="none" strike="noStrike">
                          <a:solidFill>
                            <a:srgbClr val="000000"/>
                          </a:solidFill>
                          <a:effectLst/>
                          <a:latin typeface="Arial" panose="020B0604020202020204" pitchFamily="34" charset="0"/>
                        </a:rPr>
                        <a:t>1</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1</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1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90125913"/>
                  </a:ext>
                </a:extLst>
              </a:tr>
              <a:tr h="543229">
                <a:tc>
                  <a:txBody>
                    <a:bodyPr/>
                    <a:lstStyle/>
                    <a:p>
                      <a:pPr algn="l" fontAlgn="t"/>
                      <a:r>
                        <a:rPr lang="en-ZA" sz="900" b="0" i="0" u="none" strike="noStrike">
                          <a:solidFill>
                            <a:srgbClr val="000000"/>
                          </a:solidFill>
                          <a:effectLst/>
                          <a:latin typeface="Arial" panose="020B0604020202020204" pitchFamily="34" charset="0"/>
                        </a:rPr>
                        <a:t>Employee Engagement Index (EEI)</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65% employee engagement index</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2">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544406596"/>
                  </a:ext>
                </a:extLst>
              </a:tr>
              <a:tr h="888270">
                <a:tc>
                  <a:txBody>
                    <a:bodyPr/>
                    <a:lstStyle/>
                    <a:p>
                      <a:pPr algn="l" fontAlgn="t"/>
                      <a:r>
                        <a:rPr lang="en-US" sz="900" b="0" i="0" u="none" strike="noStrike">
                          <a:solidFill>
                            <a:srgbClr val="000000"/>
                          </a:solidFill>
                          <a:effectLst/>
                          <a:latin typeface="Arial" panose="020B0604020202020204" pitchFamily="34" charset="0"/>
                        </a:rPr>
                        <a:t>Percentage of staff that scores 3.5 or more in the annual performance assess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55% staff that scores 3.5 or more in the 2021/22 annual performance assess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2">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862911124"/>
                  </a:ext>
                </a:extLst>
              </a:tr>
              <a:tr h="473031">
                <a:tc>
                  <a:txBody>
                    <a:bodyPr/>
                    <a:lstStyle/>
                    <a:p>
                      <a:pPr algn="l" fontAlgn="t"/>
                      <a:r>
                        <a:rPr lang="en-ZA" sz="900" b="0" i="0" u="none" strike="noStrike">
                          <a:solidFill>
                            <a:srgbClr val="000000"/>
                          </a:solidFill>
                          <a:effectLst/>
                          <a:latin typeface="Arial" panose="020B0604020202020204" pitchFamily="34" charset="0"/>
                        </a:rPr>
                        <a:t>Productivity Index</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Establishment of productivity baseline</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2">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4228807763"/>
                  </a:ext>
                </a:extLst>
              </a:tr>
            </a:tbl>
          </a:graphicData>
        </a:graphic>
      </p:graphicFrame>
    </p:spTree>
    <p:extLst>
      <p:ext uri="{BB962C8B-B14F-4D97-AF65-F5344CB8AC3E}">
        <p14:creationId xmlns:p14="http://schemas.microsoft.com/office/powerpoint/2010/main" xmlns="" val="87249832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1</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8799596"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Commentary on Organisational Scorecard</a:t>
            </a:r>
            <a:endParaRPr lang="en-ZA" sz="360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A1FED4E2-D84D-F15E-4D4D-0E0905C3619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06EF64DB-94AB-6CC4-9CB5-AEB8BE6DB9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BFFEB97B-5716-FA26-B9D4-9EF8F6D34B9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19F55234-E79B-75E1-3126-BA24D7C6C0D5}"/>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aphicFrame>
        <p:nvGraphicFramePr>
          <p:cNvPr id="9" name="Table 10">
            <a:extLst>
              <a:ext uri="{FF2B5EF4-FFF2-40B4-BE49-F238E27FC236}">
                <a16:creationId xmlns:a16="http://schemas.microsoft.com/office/drawing/2014/main" xmlns="" id="{4F5E9E9C-AF3A-91AA-732F-E54B403F4C1D}"/>
              </a:ext>
            </a:extLst>
          </p:cNvPr>
          <p:cNvGraphicFramePr>
            <a:graphicFrameLocks noGrp="1"/>
          </p:cNvGraphicFramePr>
          <p:nvPr/>
        </p:nvGraphicFramePr>
        <p:xfrm>
          <a:off x="157085" y="1432771"/>
          <a:ext cx="8732956" cy="4291040"/>
        </p:xfrm>
        <a:graphic>
          <a:graphicData uri="http://schemas.openxmlformats.org/drawingml/2006/table">
            <a:tbl>
              <a:tblPr firstRow="1" bandRow="1">
                <a:tableStyleId>{F5AB1C69-6EDB-4FF4-983F-18BD219EF322}</a:tableStyleId>
              </a:tblPr>
              <a:tblGrid>
                <a:gridCol w="1911422">
                  <a:extLst>
                    <a:ext uri="{9D8B030D-6E8A-4147-A177-3AD203B41FA5}">
                      <a16:colId xmlns:a16="http://schemas.microsoft.com/office/drawing/2014/main" xmlns="" val="2755738945"/>
                    </a:ext>
                  </a:extLst>
                </a:gridCol>
                <a:gridCol w="4589318">
                  <a:extLst>
                    <a:ext uri="{9D8B030D-6E8A-4147-A177-3AD203B41FA5}">
                      <a16:colId xmlns:a16="http://schemas.microsoft.com/office/drawing/2014/main" xmlns="" val="3592814365"/>
                    </a:ext>
                  </a:extLst>
                </a:gridCol>
                <a:gridCol w="2232216">
                  <a:extLst>
                    <a:ext uri="{9D8B030D-6E8A-4147-A177-3AD203B41FA5}">
                      <a16:colId xmlns:a16="http://schemas.microsoft.com/office/drawing/2014/main" xmlns="" val="1272794211"/>
                    </a:ext>
                  </a:extLst>
                </a:gridCol>
              </a:tblGrid>
              <a:tr h="450259">
                <a:tc>
                  <a:txBody>
                    <a:bodyPr/>
                    <a:lstStyle/>
                    <a:p>
                      <a:r>
                        <a:rPr lang="en-ZA"/>
                        <a:t>Channe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a:t>Approvals</a:t>
                      </a:r>
                    </a:p>
                  </a:txBody>
                  <a:tcPr/>
                </a:tc>
                <a:tc>
                  <a:txBody>
                    <a:bodyPr/>
                    <a:lstStyle/>
                    <a:p>
                      <a:pPr algn="ctr"/>
                      <a:r>
                        <a:rPr lang="en-ZA"/>
                        <a:t>Collections</a:t>
                      </a:r>
                    </a:p>
                  </a:txBody>
                  <a:tcPr/>
                </a:tc>
                <a:extLst>
                  <a:ext uri="{0D108BD9-81ED-4DB2-BD59-A6C34878D82A}">
                    <a16:rowId xmlns:a16="http://schemas.microsoft.com/office/drawing/2014/main" xmlns="" val="3310927944"/>
                  </a:ext>
                </a:extLst>
              </a:tr>
              <a:tr h="1463341">
                <a:tc>
                  <a:txBody>
                    <a:bodyPr/>
                    <a:lstStyle/>
                    <a:p>
                      <a:r>
                        <a:rPr lang="en-ZA" b="1"/>
                        <a:t>SME WL, Microfinance</a:t>
                      </a:r>
                    </a:p>
                    <a:p>
                      <a:endParaRPr lang="en-ZA" b="1"/>
                    </a:p>
                  </a:txBody>
                  <a:tcPr/>
                </a:tc>
                <a:tc>
                  <a:txBody>
                    <a:bodyPr/>
                    <a:lstStyle/>
                    <a:p>
                      <a:r>
                        <a:rPr lang="en-ZA"/>
                        <a:t>Quality of transactions received, namely, the </a:t>
                      </a:r>
                      <a:r>
                        <a:rPr lang="en-US"/>
                        <a:t>commercial viability and non-alignment to </a:t>
                      </a:r>
                      <a:r>
                        <a:rPr lang="en-US" b="1"/>
                        <a:t>sefa</a:t>
                      </a:r>
                      <a:r>
                        <a:rPr lang="en-US"/>
                        <a:t>’s mandate</a:t>
                      </a:r>
                      <a:endParaRPr lang="en-ZA"/>
                    </a:p>
                    <a:p>
                      <a:endParaRPr lang="en-ZA"/>
                    </a:p>
                  </a:txBody>
                  <a:tcPr/>
                </a:tc>
                <a:tc rowSpan="3">
                  <a:txBody>
                    <a:bodyPr/>
                    <a:lstStyle/>
                    <a:p>
                      <a:pPr algn="l"/>
                      <a:r>
                        <a:rPr lang="en-US"/>
                        <a:t>The rate of collections is reflective of the difficulties that SMMEs are facing whilst trying to meet their monthly loan obligations</a:t>
                      </a:r>
                      <a:endParaRPr lang="en-ZA"/>
                    </a:p>
                  </a:txBody>
                  <a:tcPr anchor="ctr"/>
                </a:tc>
                <a:extLst>
                  <a:ext uri="{0D108BD9-81ED-4DB2-BD59-A6C34878D82A}">
                    <a16:rowId xmlns:a16="http://schemas.microsoft.com/office/drawing/2014/main" xmlns="" val="3272624485"/>
                  </a:ext>
                </a:extLst>
              </a:tr>
              <a:tr h="11256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b="1"/>
                        <a:t>KCG</a:t>
                      </a:r>
                    </a:p>
                    <a:p>
                      <a:endParaRPr lang="en-ZA" b="1"/>
                    </a:p>
                  </a:txBody>
                  <a:tcPr/>
                </a:tc>
                <a:tc>
                  <a:txBody>
                    <a:bodyPr/>
                    <a:lstStyle/>
                    <a:p>
                      <a:r>
                        <a:rPr lang="en-US"/>
                        <a:t>Long turnaround times by financial institutions and unwillingness of partner institutions operating outside of NCR to apply for NCR license.</a:t>
                      </a:r>
                      <a:endParaRPr lang="en-ZA"/>
                    </a:p>
                  </a:txBody>
                  <a:tcPr/>
                </a:tc>
                <a:tc vMerge="1">
                  <a:txBody>
                    <a:bodyPr/>
                    <a:lstStyle/>
                    <a:p>
                      <a:endParaRPr lang="en-ZA"/>
                    </a:p>
                  </a:txBody>
                  <a:tcPr/>
                </a:tc>
                <a:extLst>
                  <a:ext uri="{0D108BD9-81ED-4DB2-BD59-A6C34878D82A}">
                    <a16:rowId xmlns:a16="http://schemas.microsoft.com/office/drawing/2014/main" xmlns="" val="2140748254"/>
                  </a:ext>
                </a:extLst>
              </a:tr>
              <a:tr h="1125647">
                <a:tc>
                  <a:txBody>
                    <a:bodyPr/>
                    <a:lstStyle/>
                    <a:p>
                      <a:r>
                        <a:rPr lang="en-ZA" b="1"/>
                        <a:t>Direct Lending</a:t>
                      </a:r>
                    </a:p>
                  </a:txBody>
                  <a:tcPr/>
                </a:tc>
                <a:tc>
                  <a:txBody>
                    <a:bodyPr/>
                    <a:lstStyle/>
                    <a:p>
                      <a:r>
                        <a:rPr lang="en-US"/>
                        <a:t>Cashflow challenges in the normal DL programme and re-engineered the focus on TREP applications.</a:t>
                      </a:r>
                    </a:p>
                    <a:p>
                      <a:endParaRPr lang="en-ZA"/>
                    </a:p>
                  </a:txBody>
                  <a:tcPr/>
                </a:tc>
                <a:tc vMerge="1">
                  <a:txBody>
                    <a:bodyPr/>
                    <a:lstStyle/>
                    <a:p>
                      <a:endParaRPr lang="en-ZA"/>
                    </a:p>
                  </a:txBody>
                  <a:tcPr/>
                </a:tc>
                <a:extLst>
                  <a:ext uri="{0D108BD9-81ED-4DB2-BD59-A6C34878D82A}">
                    <a16:rowId xmlns:a16="http://schemas.microsoft.com/office/drawing/2014/main" xmlns="" val="3589336531"/>
                  </a:ext>
                </a:extLst>
              </a:tr>
            </a:tbl>
          </a:graphicData>
        </a:graphic>
      </p:graphicFrame>
      <p:sp>
        <p:nvSpPr>
          <p:cNvPr id="12" name="TextBox 11">
            <a:extLst>
              <a:ext uri="{FF2B5EF4-FFF2-40B4-BE49-F238E27FC236}">
                <a16:creationId xmlns:a16="http://schemas.microsoft.com/office/drawing/2014/main" xmlns="" id="{9E17A9D9-EE9A-412E-B355-CA8438BD2393}"/>
              </a:ext>
            </a:extLst>
          </p:cNvPr>
          <p:cNvSpPr txBox="1"/>
          <p:nvPr/>
        </p:nvSpPr>
        <p:spPr>
          <a:xfrm>
            <a:off x="179512" y="1050047"/>
            <a:ext cx="8964488" cy="369332"/>
          </a:xfrm>
          <a:prstGeom prst="rect">
            <a:avLst/>
          </a:prstGeom>
          <a:noFill/>
        </p:spPr>
        <p:txBody>
          <a:bodyPr wrap="square">
            <a:spAutoFit/>
          </a:bodyPr>
          <a:lstStyle/>
          <a:p>
            <a:r>
              <a:rPr lang="en-US">
                <a:latin typeface="Arial" panose="020B0604020202020204" pitchFamily="34" charset="0"/>
                <a:cs typeface="Arial" panose="020B0604020202020204" pitchFamily="34" charset="0"/>
              </a:rPr>
              <a:t>The underperformance in approvals on each channel was mainly driven by:</a:t>
            </a:r>
            <a:endParaRPr lang="en-ZA"/>
          </a:p>
        </p:txBody>
      </p:sp>
    </p:spTree>
    <p:extLst>
      <p:ext uri="{BB962C8B-B14F-4D97-AF65-F5344CB8AC3E}">
        <p14:creationId xmlns:p14="http://schemas.microsoft.com/office/powerpoint/2010/main" xmlns="" val="3534860702"/>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2</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Loan Book Approvals </a:t>
            </a:r>
            <a:endParaRPr lang="en-ZA" sz="360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A1FED4E2-D84D-F15E-4D4D-0E0905C3619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06EF64DB-94AB-6CC4-9CB5-AEB8BE6DB9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BFFEB97B-5716-FA26-B9D4-9EF8F6D34B9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19F55234-E79B-75E1-3126-BA24D7C6C0D5}"/>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xmlns="" id="{0534E22E-9251-A6F0-A8AB-DA55DE0326D1}"/>
              </a:ext>
            </a:extLst>
          </p:cNvPr>
          <p:cNvGrpSpPr/>
          <p:nvPr/>
        </p:nvGrpSpPr>
        <p:grpSpPr>
          <a:xfrm>
            <a:off x="303686" y="881635"/>
            <a:ext cx="6867183" cy="4527989"/>
            <a:chOff x="303686" y="881635"/>
            <a:chExt cx="6867183" cy="4527989"/>
          </a:xfrm>
        </p:grpSpPr>
        <p:pic>
          <p:nvPicPr>
            <p:cNvPr id="9" name="Picture 8">
              <a:extLst>
                <a:ext uri="{FF2B5EF4-FFF2-40B4-BE49-F238E27FC236}">
                  <a16:creationId xmlns:a16="http://schemas.microsoft.com/office/drawing/2014/main" xmlns="" id="{452BBE18-61BF-43CD-8718-467C0C518547}"/>
                </a:ext>
              </a:extLst>
            </p:cNvPr>
            <p:cNvPicPr>
              <a:picLocks noChangeAspect="1"/>
            </p:cNvPicPr>
            <p:nvPr/>
          </p:nvPicPr>
          <p:blipFill>
            <a:blip r:embed="rId6" cstate="print"/>
            <a:stretch>
              <a:fillRect/>
            </a:stretch>
          </p:blipFill>
          <p:spPr>
            <a:xfrm>
              <a:off x="303686" y="881636"/>
              <a:ext cx="6867183" cy="4527988"/>
            </a:xfrm>
            <a:prstGeom prst="rect">
              <a:avLst/>
            </a:prstGeom>
          </p:spPr>
        </p:pic>
        <p:sp>
          <p:nvSpPr>
            <p:cNvPr id="10" name="TextBox 9">
              <a:extLst>
                <a:ext uri="{FF2B5EF4-FFF2-40B4-BE49-F238E27FC236}">
                  <a16:creationId xmlns:a16="http://schemas.microsoft.com/office/drawing/2014/main" xmlns="" id="{5F9CCDDC-8F40-93A0-99A7-C2FA60045AD2}"/>
                </a:ext>
              </a:extLst>
            </p:cNvPr>
            <p:cNvSpPr txBox="1"/>
            <p:nvPr/>
          </p:nvSpPr>
          <p:spPr>
            <a:xfrm>
              <a:off x="3513224" y="881635"/>
              <a:ext cx="1534904" cy="307777"/>
            </a:xfrm>
            <a:prstGeom prst="rect">
              <a:avLst/>
            </a:prstGeom>
            <a:noFill/>
          </p:spPr>
          <p:txBody>
            <a:bodyPr wrap="square" rtlCol="0">
              <a:spAutoFit/>
            </a:bodyPr>
            <a:lstStyle/>
            <a:p>
              <a:r>
                <a:rPr lang="en-US" sz="1400" b="1">
                  <a:latin typeface="Arial" panose="020B0604020202020204" pitchFamily="34" charset="0"/>
                  <a:cs typeface="Arial" panose="020B0604020202020204" pitchFamily="34" charset="0"/>
                </a:rPr>
                <a:t>YTD</a:t>
              </a:r>
              <a:endParaRPr lang="en-ZA" sz="1400" b="1">
                <a:latin typeface="Arial" panose="020B0604020202020204" pitchFamily="34" charset="0"/>
                <a:cs typeface="Arial" panose="020B0604020202020204" pitchFamily="34" charset="0"/>
              </a:endParaRPr>
            </a:p>
          </p:txBody>
        </p:sp>
      </p:grpSp>
      <p:sp>
        <p:nvSpPr>
          <p:cNvPr id="15" name="AutoShape 6">
            <a:extLst>
              <a:ext uri="{FF2B5EF4-FFF2-40B4-BE49-F238E27FC236}">
                <a16:creationId xmlns:a16="http://schemas.microsoft.com/office/drawing/2014/main" xmlns="" id="{CBAE3C21-6267-2E3B-E318-6B9D295D384E}"/>
              </a:ext>
            </a:extLst>
          </p:cNvPr>
          <p:cNvSpPr>
            <a:spLocks noChangeArrowheads="1"/>
          </p:cNvSpPr>
          <p:nvPr/>
        </p:nvSpPr>
        <p:spPr bwMode="auto">
          <a:xfrm rot="1154065">
            <a:off x="6804879" y="2067053"/>
            <a:ext cx="1161358" cy="912757"/>
          </a:xfrm>
          <a:prstGeom prst="wedgeEllipseCallout">
            <a:avLst>
              <a:gd name="adj1" fmla="val -40816"/>
              <a:gd name="adj2" fmla="val 70396"/>
            </a:avLst>
          </a:prstGeom>
          <a:solidFill>
            <a:srgbClr val="FD6B00"/>
          </a:solidFill>
          <a:ln>
            <a:noFill/>
          </a:ln>
          <a:effectLst>
            <a:outerShdw blurRad="50800" dist="38100" dir="2700000" algn="tl" rotWithShape="0">
              <a:prstClr val="black">
                <a:alpha val="40000"/>
              </a:prstClr>
            </a:outerShdw>
          </a:effectLst>
        </p:spPr>
        <p:txBody>
          <a:bodyPr anchorCtr="1"/>
          <a:lstStyle/>
          <a:p>
            <a:pPr algn="ctr">
              <a:spcBef>
                <a:spcPct val="20000"/>
              </a:spcBef>
              <a:buClrTx/>
              <a:buSzTx/>
              <a:buFontTx/>
              <a:buNone/>
            </a:pPr>
            <a:r>
              <a:rPr lang="en-US" altLang="en-US" sz="1200" i="1">
                <a:solidFill>
                  <a:schemeClr val="bg1"/>
                </a:solidFill>
              </a:rPr>
              <a:t>37% of  quarterly target. </a:t>
            </a:r>
            <a:endParaRPr lang="en-GB" altLang="en-US" sz="1200">
              <a:solidFill>
                <a:schemeClr val="bg1"/>
              </a:solidFill>
              <a:latin typeface="Verdana" panose="020B0604030504040204" pitchFamily="34" charset="0"/>
            </a:endParaRPr>
          </a:p>
        </p:txBody>
      </p:sp>
    </p:spTree>
    <p:extLst>
      <p:ext uri="{BB962C8B-B14F-4D97-AF65-F5344CB8AC3E}">
        <p14:creationId xmlns:p14="http://schemas.microsoft.com/office/powerpoint/2010/main" xmlns="" val="42349173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3</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89644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Loan Book Approvals Commentary </a:t>
            </a:r>
            <a:endParaRPr lang="en-ZA" sz="3600">
              <a:solidFill>
                <a:prstClr val="white"/>
              </a:solidFill>
              <a:latin typeface="Arial" panose="020B0604020202020204" pitchFamily="34" charset="0"/>
              <a:cs typeface="Arial" panose="020B0604020202020204" pitchFamily="34" charset="0"/>
            </a:endParaRPr>
          </a:p>
        </p:txBody>
      </p:sp>
      <p:sp>
        <p:nvSpPr>
          <p:cNvPr id="18" name="AutoShape 3">
            <a:extLst>
              <a:ext uri="{FF2B5EF4-FFF2-40B4-BE49-F238E27FC236}">
                <a16:creationId xmlns:a16="http://schemas.microsoft.com/office/drawing/2014/main" xmlns="" id="{1D9FDC5D-4CA3-44C5-9581-CBA060111B3E}"/>
              </a:ext>
            </a:extLst>
          </p:cNvPr>
          <p:cNvSpPr>
            <a:spLocks noChangeArrowheads="1"/>
          </p:cNvSpPr>
          <p:nvPr/>
        </p:nvSpPr>
        <p:spPr bwMode="auto">
          <a:xfrm>
            <a:off x="354207" y="1164319"/>
            <a:ext cx="8393775" cy="3364215"/>
          </a:xfrm>
          <a:prstGeom prst="roundRect">
            <a:avLst>
              <a:gd name="adj" fmla="val 9509"/>
            </a:avLst>
          </a:prstGeom>
          <a:noFill/>
          <a:ln>
            <a:noFill/>
          </a:ln>
          <a:effectLst/>
        </p:spPr>
        <p:txBody>
          <a:bodyPr anchorCtr="1"/>
          <a:lstStyle/>
          <a:p>
            <a:pPr>
              <a:spcBef>
                <a:spcPct val="20000"/>
              </a:spcBef>
              <a:buClrTx/>
              <a:buSzTx/>
              <a:buFontTx/>
              <a:buNone/>
            </a:pPr>
            <a:r>
              <a:rPr lang="en-US" altLang="en-US" sz="1600" b="1" dirty="0">
                <a:latin typeface="Arial" panose="020B0604020202020204" pitchFamily="34" charset="0"/>
                <a:cs typeface="Arial" panose="020B0604020202020204" pitchFamily="34" charset="0"/>
              </a:rPr>
              <a:t>The total loan book approvals for Q3 at R249 million against a target of R670 million, represented 37% of the quarterly target. </a:t>
            </a:r>
          </a:p>
          <a:p>
            <a:pPr>
              <a:spcBef>
                <a:spcPct val="20000"/>
              </a:spcBef>
              <a:buClrTx/>
              <a:buSzTx/>
              <a:buFontTx/>
              <a:buNone/>
            </a:pPr>
            <a:endParaRPr lang="en-US" altLang="en-US" sz="1600" b="1"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altLang="en-US" sz="1600" b="1" u="none" strike="noStrike" kern="1200" cap="none" spc="0" normalizeH="0" baseline="0" noProof="0" dirty="0">
                <a:ln>
                  <a:noFill/>
                </a:ln>
                <a:effectLst/>
                <a:uLnTx/>
                <a:uFillTx/>
                <a:latin typeface="Arial" panose="020B0604020202020204" pitchFamily="34" charset="0"/>
                <a:cs typeface="Arial" panose="020B0604020202020204" pitchFamily="34" charset="0"/>
              </a:rPr>
              <a:t>R1.3 million </a:t>
            </a:r>
            <a:r>
              <a:rPr kumimoji="0" lang="en-US" altLang="en-US" sz="1600" b="0" u="none" strike="noStrike" kern="1200" cap="none" spc="0" normalizeH="0" baseline="0" noProof="0" dirty="0">
                <a:ln>
                  <a:noFill/>
                </a:ln>
                <a:effectLst/>
                <a:uLnTx/>
                <a:uFillTx/>
                <a:latin typeface="Arial" panose="020B0604020202020204" pitchFamily="34" charset="0"/>
                <a:cs typeface="Arial" panose="020B0604020202020204" pitchFamily="34" charset="0"/>
              </a:rPr>
              <a:t>Khula Credit Guarantee (KCG – 2% of quarterly target)</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altLang="en-US" sz="1600" b="1" dirty="0">
                <a:latin typeface="Arial" panose="020B0604020202020204" pitchFamily="34" charset="0"/>
                <a:cs typeface="Arial" panose="020B0604020202020204" pitchFamily="34" charset="0"/>
              </a:rPr>
              <a:t>R12.3 million </a:t>
            </a:r>
            <a:r>
              <a:rPr lang="en-US" altLang="en-US" sz="1600" dirty="0">
                <a:latin typeface="Arial" panose="020B0604020202020204" pitchFamily="34" charset="0"/>
                <a:cs typeface="Arial" panose="020B0604020202020204" pitchFamily="34" charset="0"/>
              </a:rPr>
              <a:t>Microfinance (Microfinance -21% </a:t>
            </a:r>
            <a:r>
              <a:rPr kumimoji="0" lang="en-US" altLang="en-US" sz="1600" b="0" u="none" strike="noStrike" kern="1200" cap="none" spc="0" normalizeH="0" baseline="0" noProof="0" dirty="0">
                <a:ln>
                  <a:noFill/>
                </a:ln>
                <a:effectLst/>
                <a:uLnTx/>
                <a:uFillTx/>
                <a:latin typeface="Arial" panose="020B0604020202020204" pitchFamily="34" charset="0"/>
                <a:cs typeface="Arial" panose="020B0604020202020204" pitchFamily="34" charset="0"/>
              </a:rPr>
              <a:t>of quarterly target</a:t>
            </a:r>
            <a:r>
              <a:rPr lang="en-US" altLang="en-US" sz="1600" dirty="0">
                <a:latin typeface="Arial" panose="020B0604020202020204" pitchFamily="34" charset="0"/>
                <a:cs typeface="Arial" panose="020B0604020202020204" pitchFamily="34" charset="0"/>
              </a:rPr>
              <a:t>)</a:t>
            </a:r>
            <a:endParaRPr kumimoji="0" lang="en-US" altLang="en-US" sz="1600" b="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altLang="en-US" sz="1600" b="1" u="none" strike="noStrike" kern="1200" cap="none" spc="0" normalizeH="0" baseline="0" noProof="0" dirty="0">
                <a:ln>
                  <a:noFill/>
                </a:ln>
                <a:effectLst/>
                <a:uLnTx/>
                <a:uFillTx/>
                <a:latin typeface="Arial" panose="020B0604020202020204" pitchFamily="34" charset="0"/>
                <a:cs typeface="Arial" panose="020B0604020202020204" pitchFamily="34" charset="0"/>
              </a:rPr>
              <a:t>R235,7 million </a:t>
            </a:r>
            <a:r>
              <a:rPr kumimoji="0" lang="en-US" altLang="en-US" sz="1600" b="0" u="none" strike="noStrike" kern="1200" cap="none" spc="0" normalizeH="0" baseline="0" noProof="0" dirty="0">
                <a:ln>
                  <a:noFill/>
                </a:ln>
                <a:effectLst/>
                <a:uLnTx/>
                <a:uFillTx/>
                <a:latin typeface="Arial" panose="020B0604020202020204" pitchFamily="34" charset="0"/>
                <a:cs typeface="Arial" panose="020B0604020202020204" pitchFamily="34" charset="0"/>
              </a:rPr>
              <a:t>Direct Lending (DL- 59% of quarterly target)</a:t>
            </a:r>
          </a:p>
          <a:p>
            <a:pPr marL="628650" lvl="1" indent="-171450">
              <a:spcBef>
                <a:spcPct val="20000"/>
              </a:spcBef>
              <a:buFont typeface="Arial" panose="020B0604020202020204" pitchFamily="34" charset="0"/>
              <a:buChar char="•"/>
              <a:defRPr/>
            </a:pPr>
            <a:r>
              <a:rPr lang="en-US" altLang="en-US" sz="1600" dirty="0">
                <a:latin typeface="Arial" panose="020B0604020202020204" pitchFamily="34" charset="0"/>
                <a:cs typeface="Arial" panose="020B0604020202020204" pitchFamily="34" charset="0"/>
              </a:rPr>
              <a:t>The approvals comprise of Economic Recovery Program (R159m), DL (R63,5m), Youth Challenge Fund (YCF) (R7m), and Purchase Order Funding (R5,9m). </a:t>
            </a:r>
          </a:p>
          <a:p>
            <a:pPr lvl="1">
              <a:spcBef>
                <a:spcPct val="20000"/>
              </a:spcBef>
              <a:defRPr/>
            </a:pPr>
            <a:endParaRPr lang="en-US" altLang="en-US" sz="1600" dirty="0">
              <a:latin typeface="Arial" panose="020B0604020202020204" pitchFamily="34" charset="0"/>
              <a:cs typeface="Arial" panose="020B0604020202020204" pitchFamily="34" charset="0"/>
            </a:endParaRPr>
          </a:p>
          <a:p>
            <a:pPr marL="171450" indent="-171450">
              <a:spcBef>
                <a:spcPct val="20000"/>
              </a:spcBef>
              <a:buFont typeface="Arial" panose="020B0604020202020204" pitchFamily="34" charset="0"/>
              <a:buChar char="•"/>
              <a:defRPr/>
            </a:pPr>
            <a:r>
              <a:rPr lang="en-US" altLang="en-US" sz="1600" dirty="0">
                <a:latin typeface="Arial" panose="020B0604020202020204" pitchFamily="34" charset="0"/>
                <a:cs typeface="Arial" panose="020B0604020202020204" pitchFamily="34" charset="0"/>
              </a:rPr>
              <a:t>The approvals performance in Q3 FY2023 declined when compared to Q2 FY2023 due to under performance in the WL SME and KCG loan programmes.</a:t>
            </a:r>
          </a:p>
          <a:p>
            <a:pPr marL="171450" indent="-171450">
              <a:spcBef>
                <a:spcPct val="20000"/>
              </a:spcBef>
              <a:buFont typeface="Arial" panose="020B0604020202020204" pitchFamily="34" charset="0"/>
              <a:buChar char="•"/>
              <a:defRPr/>
            </a:pPr>
            <a:endParaRPr lang="en-US" altLang="en-US" sz="1600"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altLang="en-US" sz="1600" b="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gn="ctr">
              <a:spcBef>
                <a:spcPct val="20000"/>
              </a:spcBef>
              <a:buClrTx/>
              <a:buSzTx/>
              <a:buFontTx/>
              <a:buNone/>
            </a:pPr>
            <a:endParaRPr lang="en-GB" altLang="en-US" sz="1600" b="0" dirty="0">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A1FED4E2-D84D-F15E-4D4D-0E0905C3619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06EF64DB-94AB-6CC4-9CB5-AEB8BE6DB9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BFFEB97B-5716-FA26-B9D4-9EF8F6D34B9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19F55234-E79B-75E1-3126-BA24D7C6C0D5}"/>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31319733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4</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Loan Book Disbursements </a:t>
            </a:r>
            <a:endParaRPr lang="en-ZA" sz="360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A1FED4E2-D84D-F15E-4D4D-0E0905C3619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06EF64DB-94AB-6CC4-9CB5-AEB8BE6DB9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BFFEB97B-5716-FA26-B9D4-9EF8F6D34B9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19F55234-E79B-75E1-3126-BA24D7C6C0D5}"/>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xmlns="" id="{26B76795-6D67-7CFD-7DDD-C1AE0F65184B}"/>
              </a:ext>
            </a:extLst>
          </p:cNvPr>
          <p:cNvGrpSpPr/>
          <p:nvPr/>
        </p:nvGrpSpPr>
        <p:grpSpPr>
          <a:xfrm>
            <a:off x="319372" y="1090181"/>
            <a:ext cx="7587294" cy="4267710"/>
            <a:chOff x="319372" y="1090181"/>
            <a:chExt cx="7587294" cy="4267710"/>
          </a:xfrm>
        </p:grpSpPr>
        <p:pic>
          <p:nvPicPr>
            <p:cNvPr id="9" name="Picture 8">
              <a:extLst>
                <a:ext uri="{FF2B5EF4-FFF2-40B4-BE49-F238E27FC236}">
                  <a16:creationId xmlns:a16="http://schemas.microsoft.com/office/drawing/2014/main" xmlns="" id="{6F0B6C38-31FF-4899-520B-91227D39E329}"/>
                </a:ext>
              </a:extLst>
            </p:cNvPr>
            <p:cNvPicPr>
              <a:picLocks noChangeAspect="1"/>
            </p:cNvPicPr>
            <p:nvPr/>
          </p:nvPicPr>
          <p:blipFill>
            <a:blip r:embed="rId6" cstate="print"/>
            <a:stretch>
              <a:fillRect/>
            </a:stretch>
          </p:blipFill>
          <p:spPr>
            <a:xfrm>
              <a:off x="319372" y="1118660"/>
              <a:ext cx="7587294" cy="4239231"/>
            </a:xfrm>
            <a:prstGeom prst="rect">
              <a:avLst/>
            </a:prstGeom>
          </p:spPr>
        </p:pic>
        <p:sp>
          <p:nvSpPr>
            <p:cNvPr id="12" name="TextBox 11">
              <a:extLst>
                <a:ext uri="{FF2B5EF4-FFF2-40B4-BE49-F238E27FC236}">
                  <a16:creationId xmlns:a16="http://schemas.microsoft.com/office/drawing/2014/main" xmlns="" id="{8E0DF8F0-C79C-AA0B-7B5D-C81B369FCAB0}"/>
                </a:ext>
              </a:extLst>
            </p:cNvPr>
            <p:cNvSpPr txBox="1"/>
            <p:nvPr/>
          </p:nvSpPr>
          <p:spPr>
            <a:xfrm>
              <a:off x="3818022" y="1090181"/>
              <a:ext cx="1534904" cy="307777"/>
            </a:xfrm>
            <a:prstGeom prst="rect">
              <a:avLst/>
            </a:prstGeom>
            <a:noFill/>
          </p:spPr>
          <p:txBody>
            <a:bodyPr wrap="square" rtlCol="0">
              <a:spAutoFit/>
            </a:bodyPr>
            <a:lstStyle/>
            <a:p>
              <a:r>
                <a:rPr lang="en-US" sz="1400" b="1">
                  <a:latin typeface="Arial" panose="020B0604020202020204" pitchFamily="34" charset="0"/>
                  <a:cs typeface="Arial" panose="020B0604020202020204" pitchFamily="34" charset="0"/>
                </a:rPr>
                <a:t>YTD</a:t>
              </a:r>
              <a:endParaRPr lang="en-ZA" sz="1400" b="1">
                <a:latin typeface="Arial" panose="020B0604020202020204" pitchFamily="34" charset="0"/>
                <a:cs typeface="Arial" panose="020B0604020202020204" pitchFamily="34" charset="0"/>
              </a:endParaRPr>
            </a:p>
          </p:txBody>
        </p:sp>
      </p:grpSp>
      <p:sp>
        <p:nvSpPr>
          <p:cNvPr id="11" name="AutoShape 6">
            <a:extLst>
              <a:ext uri="{FF2B5EF4-FFF2-40B4-BE49-F238E27FC236}">
                <a16:creationId xmlns:a16="http://schemas.microsoft.com/office/drawing/2014/main" xmlns="" id="{DA367BB2-6D45-C9D0-AD34-2159E622951A}"/>
              </a:ext>
            </a:extLst>
          </p:cNvPr>
          <p:cNvSpPr>
            <a:spLocks noChangeArrowheads="1"/>
          </p:cNvSpPr>
          <p:nvPr/>
        </p:nvSpPr>
        <p:spPr bwMode="auto">
          <a:xfrm rot="1644529">
            <a:off x="7378810" y="1170058"/>
            <a:ext cx="1251932" cy="904791"/>
          </a:xfrm>
          <a:prstGeom prst="wedgeEllipseCallout">
            <a:avLst>
              <a:gd name="adj1" fmla="val -282"/>
              <a:gd name="adj2" fmla="val 79838"/>
            </a:avLst>
          </a:prstGeom>
          <a:solidFill>
            <a:srgbClr val="FD6B00"/>
          </a:solidFill>
          <a:ln>
            <a:noFill/>
          </a:ln>
          <a:effectLst>
            <a:outerShdw blurRad="50800" dist="38100" dir="2700000" algn="tl" rotWithShape="0">
              <a:prstClr val="black">
                <a:alpha val="40000"/>
              </a:prstClr>
            </a:outerShdw>
          </a:effectLst>
        </p:spPr>
        <p:txBody>
          <a:bodyPr anchorCtr="1"/>
          <a:lstStyle/>
          <a:p>
            <a:pPr algn="ctr">
              <a:spcBef>
                <a:spcPct val="20000"/>
              </a:spcBef>
              <a:buClrTx/>
              <a:buSzTx/>
              <a:buFontTx/>
              <a:buNone/>
            </a:pPr>
            <a:r>
              <a:rPr lang="en-US" altLang="en-US" sz="1200" b="1" i="1">
                <a:solidFill>
                  <a:schemeClr val="bg1"/>
                </a:solidFill>
                <a:latin typeface="+mn-ea"/>
              </a:rPr>
              <a:t>91% of  quarterly target. </a:t>
            </a:r>
            <a:endParaRPr lang="en-GB" altLang="en-US" sz="1200" b="1">
              <a:solidFill>
                <a:schemeClr val="bg1"/>
              </a:solidFill>
              <a:latin typeface="+mn-ea"/>
            </a:endParaRPr>
          </a:p>
        </p:txBody>
      </p:sp>
    </p:spTree>
    <p:extLst>
      <p:ext uri="{BB962C8B-B14F-4D97-AF65-F5344CB8AC3E}">
        <p14:creationId xmlns:p14="http://schemas.microsoft.com/office/powerpoint/2010/main" xmlns="" val="147892775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utoShape 3">
            <a:extLst>
              <a:ext uri="{FF2B5EF4-FFF2-40B4-BE49-F238E27FC236}">
                <a16:creationId xmlns:a16="http://schemas.microsoft.com/office/drawing/2014/main" xmlns="" id="{570DB8A1-B2BB-40F2-8BCC-DF209BFA41B2}"/>
              </a:ext>
            </a:extLst>
          </p:cNvPr>
          <p:cNvSpPr>
            <a:spLocks noChangeArrowheads="1"/>
          </p:cNvSpPr>
          <p:nvPr/>
        </p:nvSpPr>
        <p:spPr bwMode="auto">
          <a:xfrm>
            <a:off x="311366" y="1036108"/>
            <a:ext cx="8521267" cy="4030366"/>
          </a:xfrm>
          <a:prstGeom prst="roundRect">
            <a:avLst>
              <a:gd name="adj" fmla="val 9509"/>
            </a:avLst>
          </a:prstGeom>
          <a:noFill/>
          <a:ln>
            <a:noFill/>
          </a:ln>
          <a:effectLst/>
        </p:spPr>
        <p:txBody>
          <a:bodyPr anchorCtr="1"/>
          <a:lstStyle/>
          <a:p>
            <a:pPr>
              <a:spcBef>
                <a:spcPct val="20000"/>
              </a:spcBef>
              <a:buClrTx/>
              <a:buSzTx/>
              <a:buFontTx/>
              <a:buNone/>
            </a:pPr>
            <a:r>
              <a:rPr lang="en-US" altLang="en-US" sz="1600" b="1" i="1">
                <a:latin typeface="Arial" panose="020B0604020202020204" pitchFamily="34" charset="0"/>
                <a:cs typeface="Arial" panose="020B0604020202020204" pitchFamily="34" charset="0"/>
              </a:rPr>
              <a:t>The total loan book disbursements for Q3 were R550 million against the quarterly target of R601 million, representing 91% of the quarterly target.</a:t>
            </a:r>
          </a:p>
          <a:p>
            <a:pPr>
              <a:spcBef>
                <a:spcPct val="20000"/>
              </a:spcBef>
              <a:buClrTx/>
              <a:buSzTx/>
              <a:buFontTx/>
              <a:buNone/>
            </a:pPr>
            <a:r>
              <a:rPr lang="en-US" altLang="en-US" sz="1600" b="1" i="1">
                <a:latin typeface="Arial" panose="020B0604020202020204" pitchFamily="34" charset="0"/>
                <a:cs typeface="Arial" panose="020B0604020202020204" pitchFamily="34" charset="0"/>
              </a:rPr>
              <a:t> </a:t>
            </a:r>
          </a:p>
          <a:p>
            <a:pPr marL="171450" indent="-171450">
              <a:spcBef>
                <a:spcPct val="20000"/>
              </a:spcBef>
              <a:buClrTx/>
              <a:buSzTx/>
              <a:buFont typeface="Arial" panose="020B0604020202020204" pitchFamily="34" charset="0"/>
              <a:buChar char="•"/>
            </a:pPr>
            <a:r>
              <a:rPr lang="en-US" altLang="en-US" sz="1600" i="1">
                <a:latin typeface="Arial" panose="020B0604020202020204" pitchFamily="34" charset="0"/>
                <a:cs typeface="Arial" panose="020B0604020202020204" pitchFamily="34" charset="0"/>
              </a:rPr>
              <a:t>DL disbursements were </a:t>
            </a:r>
            <a:r>
              <a:rPr lang="en-US" altLang="en-US" sz="1600" b="1" i="1">
                <a:latin typeface="Arial" panose="020B0604020202020204" pitchFamily="34" charset="0"/>
                <a:cs typeface="Arial" panose="020B0604020202020204" pitchFamily="34" charset="0"/>
              </a:rPr>
              <a:t>R215 million </a:t>
            </a:r>
            <a:r>
              <a:rPr lang="en-US" altLang="en-US" sz="1600" i="1">
                <a:latin typeface="Arial" panose="020B0604020202020204" pitchFamily="34" charset="0"/>
                <a:cs typeface="Arial" panose="020B0604020202020204" pitchFamily="34" charset="0"/>
              </a:rPr>
              <a:t>(72% of quarterly target)</a:t>
            </a:r>
          </a:p>
          <a:p>
            <a:pPr marL="171450" indent="-171450">
              <a:spcBef>
                <a:spcPct val="20000"/>
              </a:spcBef>
              <a:buClrTx/>
              <a:buSzTx/>
              <a:buFont typeface="Arial" panose="020B0604020202020204" pitchFamily="34" charset="0"/>
              <a:buChar char="•"/>
            </a:pPr>
            <a:r>
              <a:rPr lang="en-US" altLang="en-US" sz="1600" i="1">
                <a:latin typeface="Arial" panose="020B0604020202020204" pitchFamily="34" charset="0"/>
                <a:cs typeface="Arial" panose="020B0604020202020204" pitchFamily="34" charset="0"/>
              </a:rPr>
              <a:t>WL loan program disbursed </a:t>
            </a:r>
            <a:r>
              <a:rPr lang="en-US" altLang="en-US" sz="1600" b="1" i="1">
                <a:latin typeface="Arial" panose="020B0604020202020204" pitchFamily="34" charset="0"/>
                <a:cs typeface="Arial" panose="020B0604020202020204" pitchFamily="34" charset="0"/>
              </a:rPr>
              <a:t>R335 million. </a:t>
            </a:r>
          </a:p>
          <a:p>
            <a:pPr marL="628650" lvl="1" indent="-171450">
              <a:spcBef>
                <a:spcPct val="20000"/>
              </a:spcBef>
              <a:buFont typeface="Arial" panose="020B0604020202020204" pitchFamily="34" charset="0"/>
              <a:buChar char="•"/>
            </a:pPr>
            <a:r>
              <a:rPr lang="en-GB" altLang="en-US" sz="1600" b="0">
                <a:latin typeface="Arial" panose="020B0604020202020204" pitchFamily="34" charset="0"/>
                <a:cs typeface="Arial" panose="020B0604020202020204" pitchFamily="34" charset="0"/>
              </a:rPr>
              <a:t> </a:t>
            </a:r>
            <a:r>
              <a:rPr lang="en-US" altLang="en-US" sz="1600" b="0">
                <a:latin typeface="Arial" panose="020B0604020202020204" pitchFamily="34" charset="0"/>
                <a:cs typeface="Arial" panose="020B0604020202020204" pitchFamily="34" charset="0"/>
              </a:rPr>
              <a:t>WL SME disbursed </a:t>
            </a:r>
            <a:r>
              <a:rPr lang="en-US" altLang="en-US" sz="1600" b="1">
                <a:latin typeface="Arial" panose="020B0604020202020204" pitchFamily="34" charset="0"/>
                <a:cs typeface="Arial" panose="020B0604020202020204" pitchFamily="34" charset="0"/>
              </a:rPr>
              <a:t>R138.5 million </a:t>
            </a:r>
            <a:r>
              <a:rPr lang="en-US" altLang="en-US" sz="1600" b="0">
                <a:latin typeface="Arial" panose="020B0604020202020204" pitchFamily="34" charset="0"/>
                <a:cs typeface="Arial" panose="020B0604020202020204" pitchFamily="34" charset="0"/>
              </a:rPr>
              <a:t>(</a:t>
            </a:r>
            <a:r>
              <a:rPr lang="en-US" altLang="en-US" sz="1600">
                <a:latin typeface="Arial" panose="020B0604020202020204" pitchFamily="34" charset="0"/>
                <a:cs typeface="Arial" panose="020B0604020202020204" pitchFamily="34" charset="0"/>
              </a:rPr>
              <a:t>153</a:t>
            </a:r>
            <a:r>
              <a:rPr lang="en-US" altLang="en-US" sz="1600" b="0">
                <a:latin typeface="Arial" panose="020B0604020202020204" pitchFamily="34" charset="0"/>
                <a:cs typeface="Arial" panose="020B0604020202020204" pitchFamily="34" charset="0"/>
              </a:rPr>
              <a:t>% of quarterly target)</a:t>
            </a:r>
          </a:p>
          <a:p>
            <a:pPr marL="628650" lvl="1" indent="-171450">
              <a:spcBef>
                <a:spcPct val="20000"/>
              </a:spcBef>
              <a:buFont typeface="Arial" panose="020B0604020202020204" pitchFamily="34" charset="0"/>
              <a:buChar char="•"/>
            </a:pPr>
            <a:r>
              <a:rPr lang="en-US" altLang="en-US" sz="1600" b="0">
                <a:latin typeface="Arial" panose="020B0604020202020204" pitchFamily="34" charset="0"/>
                <a:cs typeface="Arial" panose="020B0604020202020204" pitchFamily="34" charset="0"/>
              </a:rPr>
              <a:t>Microfinance disbursed </a:t>
            </a:r>
            <a:r>
              <a:rPr lang="en-US" altLang="en-US" sz="1600" b="1">
                <a:latin typeface="Arial" panose="020B0604020202020204" pitchFamily="34" charset="0"/>
                <a:cs typeface="Arial" panose="020B0604020202020204" pitchFamily="34" charset="0"/>
              </a:rPr>
              <a:t>R101 million </a:t>
            </a:r>
            <a:r>
              <a:rPr lang="en-US" altLang="en-US" sz="1600" b="0">
                <a:latin typeface="Arial" panose="020B0604020202020204" pitchFamily="34" charset="0"/>
                <a:cs typeface="Arial" panose="020B0604020202020204" pitchFamily="34" charset="0"/>
              </a:rPr>
              <a:t>(94% of quarterly target)</a:t>
            </a:r>
          </a:p>
          <a:p>
            <a:pPr marL="628650" lvl="1" indent="-171450">
              <a:spcBef>
                <a:spcPct val="20000"/>
              </a:spcBef>
              <a:buFont typeface="Arial" panose="020B0604020202020204" pitchFamily="34" charset="0"/>
              <a:buChar char="•"/>
            </a:pPr>
            <a:r>
              <a:rPr lang="en-US" altLang="en-US" sz="1600" b="0">
                <a:latin typeface="Arial" panose="020B0604020202020204" pitchFamily="34" charset="0"/>
                <a:cs typeface="Arial" panose="020B0604020202020204" pitchFamily="34" charset="0"/>
              </a:rPr>
              <a:t>KCG taken ups amounted to </a:t>
            </a:r>
            <a:r>
              <a:rPr lang="en-US" altLang="en-US" sz="1600" b="1">
                <a:latin typeface="Arial" panose="020B0604020202020204" pitchFamily="34" charset="0"/>
                <a:cs typeface="Arial" panose="020B0604020202020204" pitchFamily="34" charset="0"/>
              </a:rPr>
              <a:t>R95 million. </a:t>
            </a:r>
            <a:r>
              <a:rPr lang="en-US" altLang="en-US" sz="1600" b="0">
                <a:latin typeface="Arial" panose="020B0604020202020204" pitchFamily="34" charset="0"/>
                <a:cs typeface="Arial" panose="020B0604020202020204" pitchFamily="34" charset="0"/>
              </a:rPr>
              <a:t>(</a:t>
            </a:r>
            <a:r>
              <a:rPr lang="en-US" altLang="en-US" sz="1600">
                <a:latin typeface="Arial" panose="020B0604020202020204" pitchFamily="34" charset="0"/>
                <a:cs typeface="Arial" panose="020B0604020202020204" pitchFamily="34" charset="0"/>
              </a:rPr>
              <a:t>108</a:t>
            </a:r>
            <a:r>
              <a:rPr lang="en-US" altLang="en-US" sz="1600" b="0">
                <a:latin typeface="Arial" panose="020B0604020202020204" pitchFamily="34" charset="0"/>
                <a:cs typeface="Arial" panose="020B0604020202020204" pitchFamily="34" charset="0"/>
              </a:rPr>
              <a:t>% of quarterly target)</a:t>
            </a:r>
          </a:p>
          <a:p>
            <a:pPr>
              <a:spcBef>
                <a:spcPct val="20000"/>
              </a:spcBef>
              <a:buClrTx/>
              <a:buSzTx/>
              <a:buFontTx/>
              <a:buNone/>
            </a:pPr>
            <a:r>
              <a:rPr lang="en-US" altLang="en-US" sz="1600" b="0">
                <a:latin typeface="Arial" panose="020B0604020202020204" pitchFamily="34" charset="0"/>
                <a:cs typeface="Arial" panose="020B0604020202020204" pitchFamily="34" charset="0"/>
              </a:rPr>
              <a:t>The disbursements were driven by Direct Lending </a:t>
            </a:r>
            <a:r>
              <a:rPr lang="en-US" altLang="en-US" sz="1600" b="1">
                <a:latin typeface="Arial" panose="020B0604020202020204" pitchFamily="34" charset="0"/>
                <a:cs typeface="Arial" panose="020B0604020202020204" pitchFamily="34" charset="0"/>
              </a:rPr>
              <a:t>R79.7 million</a:t>
            </a:r>
            <a:r>
              <a:rPr lang="en-US" altLang="en-US" sz="1600" b="0">
                <a:latin typeface="Arial" panose="020B0604020202020204" pitchFamily="34" charset="0"/>
                <a:cs typeface="Arial" panose="020B0604020202020204" pitchFamily="34" charset="0"/>
              </a:rPr>
              <a:t>, Economic Recovery Programmes </a:t>
            </a:r>
            <a:r>
              <a:rPr lang="en-US" altLang="en-US" sz="1600" b="1">
                <a:latin typeface="Arial" panose="020B0604020202020204" pitchFamily="34" charset="0"/>
                <a:cs typeface="Arial" panose="020B0604020202020204" pitchFamily="34" charset="0"/>
              </a:rPr>
              <a:t>R113.5 million</a:t>
            </a:r>
            <a:r>
              <a:rPr lang="en-US" altLang="en-US" sz="1600" b="0">
                <a:latin typeface="Arial" panose="020B0604020202020204" pitchFamily="34" charset="0"/>
                <a:cs typeface="Arial" panose="020B0604020202020204" pitchFamily="34" charset="0"/>
              </a:rPr>
              <a:t>, WL SME </a:t>
            </a:r>
            <a:r>
              <a:rPr lang="en-US" altLang="en-US" sz="1600" b="1">
                <a:latin typeface="Arial" panose="020B0604020202020204" pitchFamily="34" charset="0"/>
                <a:cs typeface="Arial" panose="020B0604020202020204" pitchFamily="34" charset="0"/>
              </a:rPr>
              <a:t>R138.5 million</a:t>
            </a:r>
            <a:r>
              <a:rPr lang="en-US" altLang="en-US" sz="1600" b="0">
                <a:latin typeface="Arial" panose="020B0604020202020204" pitchFamily="34" charset="0"/>
                <a:cs typeface="Arial" panose="020B0604020202020204" pitchFamily="34" charset="0"/>
              </a:rPr>
              <a:t> and Khula Credit Guarantee </a:t>
            </a:r>
            <a:r>
              <a:rPr lang="en-US" altLang="en-US" sz="1600" b="1">
                <a:latin typeface="Arial" panose="020B0604020202020204" pitchFamily="34" charset="0"/>
                <a:cs typeface="Arial" panose="020B0604020202020204" pitchFamily="34" charset="0"/>
              </a:rPr>
              <a:t>R95 million.   </a:t>
            </a:r>
          </a:p>
          <a:p>
            <a:pPr>
              <a:spcBef>
                <a:spcPct val="20000"/>
              </a:spcBef>
              <a:buClrTx/>
              <a:buSzTx/>
              <a:buFontTx/>
              <a:buNone/>
            </a:pPr>
            <a:r>
              <a:rPr lang="en-US" altLang="en-US" sz="1600" b="0">
                <a:latin typeface="Arial" panose="020B0604020202020204" pitchFamily="34" charset="0"/>
                <a:cs typeface="Arial" panose="020B0604020202020204" pitchFamily="34" charset="0"/>
              </a:rPr>
              <a:t>.</a:t>
            </a:r>
          </a:p>
          <a:p>
            <a:pPr>
              <a:spcBef>
                <a:spcPct val="20000"/>
              </a:spcBef>
              <a:buClrTx/>
              <a:buSzTx/>
              <a:buFontTx/>
              <a:buNone/>
            </a:pPr>
            <a:r>
              <a:rPr lang="en-GB" altLang="en-US" sz="1600" b="0">
                <a:latin typeface="Arial" panose="020B0604020202020204" pitchFamily="34" charset="0"/>
                <a:cs typeface="Arial" panose="020B0604020202020204" pitchFamily="34" charset="0"/>
              </a:rPr>
              <a:t> </a:t>
            </a:r>
          </a:p>
          <a:p>
            <a:pPr algn="ctr">
              <a:spcBef>
                <a:spcPct val="20000"/>
              </a:spcBef>
              <a:buClrTx/>
              <a:buSzTx/>
              <a:buFontTx/>
              <a:buNone/>
            </a:pPr>
            <a:endParaRPr lang="en-GB" altLang="en-US" sz="1600" b="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5</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28702"/>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69082" y="70185"/>
            <a:ext cx="8663551"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Loan Book Disbursements Commentary</a:t>
            </a:r>
            <a:endParaRPr lang="en-ZA" sz="360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76D8B460-D3E4-42B1-AA01-1EFFECB9F8EC}"/>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E90B6166-3C05-A1CC-7224-8722589D6980}"/>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64E1DB04-1FB6-2EAF-A4EF-5F5F43807F3D}"/>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B41681A0-7099-9561-61BB-3A8CE73F4E93}"/>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13367527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6</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204056" y="88060"/>
            <a:ext cx="87358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Development Impact:  SMMEs Financed</a:t>
            </a:r>
          </a:p>
        </p:txBody>
      </p:sp>
      <p:sp>
        <p:nvSpPr>
          <p:cNvPr id="46" name="Text Box 35">
            <a:extLst>
              <a:ext uri="{FF2B5EF4-FFF2-40B4-BE49-F238E27FC236}">
                <a16:creationId xmlns:a16="http://schemas.microsoft.com/office/drawing/2014/main" xmlns="" id="{B83DC720-EC3B-47B5-87AE-054BBCE43567}"/>
              </a:ext>
            </a:extLst>
          </p:cNvPr>
          <p:cNvSpPr txBox="1">
            <a:spLocks noChangeArrowheads="1"/>
          </p:cNvSpPr>
          <p:nvPr>
            <p:custDataLst>
              <p:tags r:id="rId1"/>
            </p:custDataLst>
          </p:nvPr>
        </p:nvSpPr>
        <p:spPr bwMode="gray">
          <a:xfrm>
            <a:off x="1910992" y="2349554"/>
            <a:ext cx="6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lgn="l" defTabSz="185738">
              <a:defRPr sz="2400">
                <a:solidFill>
                  <a:schemeClr val="tx1"/>
                </a:solidFill>
                <a:latin typeface="Times New Roman" panose="02020603050405020304" pitchFamily="18" charset="0"/>
              </a:defRPr>
            </a:lvl1pPr>
            <a:lvl2pPr algn="l" defTabSz="185738">
              <a:defRPr sz="2400">
                <a:solidFill>
                  <a:schemeClr val="tx1"/>
                </a:solidFill>
                <a:latin typeface="Times New Roman" panose="02020603050405020304" pitchFamily="18" charset="0"/>
              </a:defRPr>
            </a:lvl2pPr>
            <a:lvl3pPr algn="l" defTabSz="185738">
              <a:defRPr sz="2400">
                <a:solidFill>
                  <a:schemeClr val="tx1"/>
                </a:solidFill>
                <a:latin typeface="Times New Roman" panose="02020603050405020304" pitchFamily="18" charset="0"/>
              </a:defRPr>
            </a:lvl3pPr>
            <a:lvl4pPr algn="l" defTabSz="185738">
              <a:defRPr sz="2400">
                <a:solidFill>
                  <a:schemeClr val="tx1"/>
                </a:solidFill>
                <a:latin typeface="Times New Roman" panose="02020603050405020304" pitchFamily="18" charset="0"/>
              </a:defRPr>
            </a:lvl4pPr>
            <a:lvl5pPr algn="l" defTabSz="185738">
              <a:defRPr sz="2400">
                <a:solidFill>
                  <a:schemeClr val="tx1"/>
                </a:solidFill>
                <a:latin typeface="Times New Roman" panose="02020603050405020304" pitchFamily="18" charset="0"/>
              </a:defRPr>
            </a:lvl5pPr>
            <a:lvl6pPr defTabSz="185738" fontAlgn="base">
              <a:spcBef>
                <a:spcPct val="0"/>
              </a:spcBef>
              <a:spcAft>
                <a:spcPct val="0"/>
              </a:spcAft>
              <a:defRPr sz="2400">
                <a:solidFill>
                  <a:schemeClr val="tx1"/>
                </a:solidFill>
                <a:latin typeface="Times New Roman" panose="02020603050405020304" pitchFamily="18" charset="0"/>
              </a:defRPr>
            </a:lvl6pPr>
            <a:lvl7pPr defTabSz="185738" fontAlgn="base">
              <a:spcBef>
                <a:spcPct val="0"/>
              </a:spcBef>
              <a:spcAft>
                <a:spcPct val="0"/>
              </a:spcAft>
              <a:defRPr sz="2400">
                <a:solidFill>
                  <a:schemeClr val="tx1"/>
                </a:solidFill>
                <a:latin typeface="Times New Roman" panose="02020603050405020304" pitchFamily="18" charset="0"/>
              </a:defRPr>
            </a:lvl7pPr>
            <a:lvl8pPr defTabSz="185738" fontAlgn="base">
              <a:spcBef>
                <a:spcPct val="0"/>
              </a:spcBef>
              <a:spcAft>
                <a:spcPct val="0"/>
              </a:spcAft>
              <a:defRPr sz="2400">
                <a:solidFill>
                  <a:schemeClr val="tx1"/>
                </a:solidFill>
                <a:latin typeface="Times New Roman" panose="02020603050405020304" pitchFamily="18" charset="0"/>
              </a:defRPr>
            </a:lvl8pPr>
            <a:lvl9pPr defTabSz="185738" fontAlgn="base">
              <a:spcBef>
                <a:spcPct val="0"/>
              </a:spcBef>
              <a:spcAft>
                <a:spcPct val="0"/>
              </a:spcAft>
              <a:defRPr sz="2400">
                <a:solidFill>
                  <a:schemeClr val="tx1"/>
                </a:solidFill>
                <a:latin typeface="Times New Roman" panose="02020603050405020304" pitchFamily="18" charset="0"/>
              </a:defRPr>
            </a:lvl9pPr>
          </a:lstStyle>
          <a:p>
            <a:pPr algn="ctr">
              <a:buClr>
                <a:schemeClr val="tx1"/>
              </a:buClr>
              <a:buSzPct val="80000"/>
              <a:buFont typeface="Wingdings" panose="05000000000000000000" pitchFamily="2" charset="2"/>
              <a:buNone/>
            </a:pPr>
            <a:endParaRPr lang="en-US" altLang="en-US" sz="1000">
              <a:solidFill>
                <a:schemeClr val="hlink"/>
              </a:solidFill>
              <a:latin typeface="Arial Black" panose="020B0A04020102020204" pitchFamily="34" charset="0"/>
            </a:endParaRPr>
          </a:p>
        </p:txBody>
      </p:sp>
      <p:sp>
        <p:nvSpPr>
          <p:cNvPr id="58" name="Rectangle 4">
            <a:extLst>
              <a:ext uri="{FF2B5EF4-FFF2-40B4-BE49-F238E27FC236}">
                <a16:creationId xmlns:a16="http://schemas.microsoft.com/office/drawing/2014/main" xmlns="" id="{81814793-8D80-40CA-93E5-A98C610B5ACC}"/>
              </a:ext>
            </a:extLst>
          </p:cNvPr>
          <p:cNvSpPr>
            <a:spLocks noChangeArrowheads="1"/>
          </p:cNvSpPr>
          <p:nvPr/>
        </p:nvSpPr>
        <p:spPr bwMode="gray">
          <a:xfrm>
            <a:off x="2224982" y="1722165"/>
            <a:ext cx="5920475" cy="2657992"/>
          </a:xfrm>
          <a:prstGeom prst="roundRect">
            <a:avLst>
              <a:gd name="adj" fmla="val 6256"/>
            </a:avLst>
          </a:prstGeom>
          <a:solidFill>
            <a:srgbClr val="FD6B00"/>
          </a:solidFill>
          <a:ln>
            <a:noFill/>
          </a:ln>
          <a:effectLst>
            <a:outerShdw blurRad="50800" dist="76200" dir="2700000" algn="tl" rotWithShape="0">
              <a:prstClr val="black">
                <a:alpha val="55000"/>
              </a:prstClr>
            </a:outerShdw>
          </a:effectLst>
        </p:spPr>
        <p:txBody>
          <a:bodyPr wrap="none" anchor="ctr"/>
          <a:lstStyle/>
          <a:p>
            <a:pPr algn="ctr"/>
            <a:endParaRPr lang="en-US" altLang="en-US" sz="1600">
              <a:solidFill>
                <a:srgbClr val="FD6B00"/>
              </a:solidFill>
            </a:endParaRPr>
          </a:p>
        </p:txBody>
      </p:sp>
      <p:sp>
        <p:nvSpPr>
          <p:cNvPr id="63" name="Rectangle 9">
            <a:extLst>
              <a:ext uri="{FF2B5EF4-FFF2-40B4-BE49-F238E27FC236}">
                <a16:creationId xmlns:a16="http://schemas.microsoft.com/office/drawing/2014/main" xmlns="" id="{9AEA0064-CC11-4387-AC66-26B6B8FA8EF6}"/>
              </a:ext>
            </a:extLst>
          </p:cNvPr>
          <p:cNvSpPr>
            <a:spLocks noChangeArrowheads="1"/>
          </p:cNvSpPr>
          <p:nvPr/>
        </p:nvSpPr>
        <p:spPr bwMode="gray">
          <a:xfrm>
            <a:off x="554375" y="3167636"/>
            <a:ext cx="1558924" cy="724691"/>
          </a:xfrm>
          <a:prstGeom prst="roundRect">
            <a:avLst/>
          </a:prstGeom>
          <a:solidFill>
            <a:srgbClr val="FD6B00"/>
          </a:solidFill>
          <a:ln w="12700">
            <a:noFill/>
            <a:miter lim="800000"/>
            <a:headEnd/>
            <a:tailEnd/>
          </a:ln>
          <a:effectLst>
            <a:outerShdw blurRad="50800" dist="88900" dir="2700000" algn="tl" rotWithShape="0">
              <a:prstClr val="black">
                <a:alpha val="55000"/>
              </a:prstClr>
            </a:outerShdw>
          </a:effectLst>
        </p:spPr>
        <p:txBody>
          <a:bodyPr wrap="none" anchor="ctr"/>
          <a:lstStyle/>
          <a:p>
            <a:pPr algn="ctr">
              <a:lnSpc>
                <a:spcPct val="90000"/>
              </a:lnSpc>
            </a:pPr>
            <a:r>
              <a:rPr lang="en-US" altLang="en-US" b="1">
                <a:solidFill>
                  <a:schemeClr val="bg1"/>
                </a:solidFill>
                <a:latin typeface="Arial" panose="020B0604020202020204" pitchFamily="34" charset="0"/>
                <a:cs typeface="Arial" panose="020B0604020202020204" pitchFamily="34" charset="0"/>
              </a:rPr>
              <a:t>Achieved</a:t>
            </a:r>
          </a:p>
        </p:txBody>
      </p:sp>
      <p:sp>
        <p:nvSpPr>
          <p:cNvPr id="65" name="Rectangle 11">
            <a:extLst>
              <a:ext uri="{FF2B5EF4-FFF2-40B4-BE49-F238E27FC236}">
                <a16:creationId xmlns:a16="http://schemas.microsoft.com/office/drawing/2014/main" xmlns="" id="{8BD0E2AB-5C63-4393-963B-8F3A8F014784}"/>
              </a:ext>
            </a:extLst>
          </p:cNvPr>
          <p:cNvSpPr>
            <a:spLocks noChangeArrowheads="1"/>
          </p:cNvSpPr>
          <p:nvPr/>
        </p:nvSpPr>
        <p:spPr bwMode="gray">
          <a:xfrm>
            <a:off x="567000" y="1873321"/>
            <a:ext cx="1560514" cy="764703"/>
          </a:xfrm>
          <a:prstGeom prst="roundRect">
            <a:avLst/>
          </a:prstGeom>
          <a:solidFill>
            <a:srgbClr val="FD6B00"/>
          </a:solidFill>
          <a:ln w="12700">
            <a:noFill/>
            <a:miter lim="800000"/>
            <a:headEnd/>
            <a:tailEnd/>
          </a:ln>
          <a:effectLst>
            <a:outerShdw blurRad="50800" dist="76200" dir="2700000" algn="tl" rotWithShape="0">
              <a:prstClr val="black">
                <a:alpha val="55000"/>
              </a:prstClr>
            </a:outerShdw>
          </a:effectLst>
        </p:spPr>
        <p:txBody>
          <a:bodyPr wrap="none" anchor="ctr"/>
          <a:lstStyle/>
          <a:p>
            <a:pPr algn="ctr">
              <a:lnSpc>
                <a:spcPct val="90000"/>
              </a:lnSpc>
            </a:pPr>
            <a:r>
              <a:rPr lang="en-US" altLang="en-US" sz="1600" b="1">
                <a:solidFill>
                  <a:schemeClr val="bg1"/>
                </a:solidFill>
                <a:latin typeface="Arial" panose="020B0604020202020204" pitchFamily="34" charset="0"/>
                <a:cs typeface="Arial" panose="020B0604020202020204" pitchFamily="34" charset="0"/>
              </a:rPr>
              <a:t>Targets</a:t>
            </a:r>
          </a:p>
        </p:txBody>
      </p:sp>
      <p:sp>
        <p:nvSpPr>
          <p:cNvPr id="67" name="Rectangle 13">
            <a:extLst>
              <a:ext uri="{FF2B5EF4-FFF2-40B4-BE49-F238E27FC236}">
                <a16:creationId xmlns:a16="http://schemas.microsoft.com/office/drawing/2014/main" xmlns="" id="{3DA155A7-69BA-48C1-8AED-E1D8D050DBEC}"/>
              </a:ext>
            </a:extLst>
          </p:cNvPr>
          <p:cNvSpPr>
            <a:spLocks noChangeArrowheads="1"/>
          </p:cNvSpPr>
          <p:nvPr/>
        </p:nvSpPr>
        <p:spPr bwMode="gray">
          <a:xfrm>
            <a:off x="2555239" y="1027602"/>
            <a:ext cx="1744290" cy="584200"/>
          </a:xfrm>
          <a:prstGeom prst="roundRect">
            <a:avLst/>
          </a:prstGeom>
          <a:solidFill>
            <a:srgbClr val="0C7723"/>
          </a:solidFill>
          <a:ln>
            <a:noFill/>
          </a:ln>
          <a:effectLst>
            <a:outerShdw blurRad="50800" dist="76200" dir="2700000" algn="tl" rotWithShape="0">
              <a:prstClr val="black">
                <a:alpha val="55000"/>
              </a:prstClr>
            </a:outerShdw>
          </a:effectLst>
        </p:spPr>
        <p:txBody>
          <a:bodyPr wrap="none" lIns="91440" tIns="45720" rIns="91440" bIns="45720" anchor="ctr"/>
          <a:lstStyle/>
          <a:p>
            <a:pPr algn="ctr"/>
            <a:r>
              <a:rPr lang="en-US" altLang="en-US" sz="1600">
                <a:solidFill>
                  <a:schemeClr val="bg1"/>
                </a:solidFill>
                <a:latin typeface="Arial"/>
                <a:cs typeface="Arial"/>
              </a:rPr>
              <a:t>Q2FY2022/23</a:t>
            </a:r>
            <a:endParaRPr lang="en-US" altLang="en-US" sz="1600">
              <a:solidFill>
                <a:schemeClr val="bg1"/>
              </a:solidFill>
              <a:latin typeface="Arial" panose="020B0604020202020204" pitchFamily="34" charset="0"/>
              <a:cs typeface="Arial" panose="020B0604020202020204" pitchFamily="34" charset="0"/>
            </a:endParaRPr>
          </a:p>
        </p:txBody>
      </p:sp>
      <p:sp>
        <p:nvSpPr>
          <p:cNvPr id="68" name="Rectangle 14">
            <a:extLst>
              <a:ext uri="{FF2B5EF4-FFF2-40B4-BE49-F238E27FC236}">
                <a16:creationId xmlns:a16="http://schemas.microsoft.com/office/drawing/2014/main" xmlns="" id="{78A389F0-987C-4540-B574-97590C79CD88}"/>
              </a:ext>
            </a:extLst>
          </p:cNvPr>
          <p:cNvSpPr>
            <a:spLocks noChangeArrowheads="1"/>
          </p:cNvSpPr>
          <p:nvPr/>
        </p:nvSpPr>
        <p:spPr bwMode="gray">
          <a:xfrm>
            <a:off x="5925486" y="1020766"/>
            <a:ext cx="1744291" cy="584200"/>
          </a:xfrm>
          <a:prstGeom prst="roundRect">
            <a:avLst/>
          </a:prstGeom>
          <a:solidFill>
            <a:srgbClr val="0C7723"/>
          </a:solidFill>
          <a:ln>
            <a:noFill/>
          </a:ln>
          <a:effectLst>
            <a:outerShdw blurRad="50800" dist="76200" dir="2700000" algn="tl" rotWithShape="0">
              <a:prstClr val="black">
                <a:alpha val="55000"/>
              </a:prstClr>
            </a:outerShdw>
          </a:effectLst>
        </p:spPr>
        <p:txBody>
          <a:bodyPr wrap="none" anchor="ctr"/>
          <a:lstStyle/>
          <a:p>
            <a:pPr algn="ctr"/>
            <a:r>
              <a:rPr lang="en-US" altLang="en-US" sz="1600">
                <a:solidFill>
                  <a:schemeClr val="bg1"/>
                </a:solidFill>
                <a:latin typeface="Arial" panose="020B0604020202020204" pitchFamily="34" charset="0"/>
                <a:cs typeface="Arial" panose="020B0604020202020204" pitchFamily="34" charset="0"/>
              </a:rPr>
              <a:t>Q3 FY2022/23</a:t>
            </a:r>
          </a:p>
        </p:txBody>
      </p:sp>
      <p:sp>
        <p:nvSpPr>
          <p:cNvPr id="71" name="Oval 17">
            <a:extLst>
              <a:ext uri="{FF2B5EF4-FFF2-40B4-BE49-F238E27FC236}">
                <a16:creationId xmlns:a16="http://schemas.microsoft.com/office/drawing/2014/main" xmlns="" id="{95590E0C-FD79-4DA8-A466-BDD2B1C3657D}"/>
              </a:ext>
            </a:extLst>
          </p:cNvPr>
          <p:cNvSpPr>
            <a:spLocks noChangeArrowheads="1"/>
          </p:cNvSpPr>
          <p:nvPr/>
        </p:nvSpPr>
        <p:spPr bwMode="gray">
          <a:xfrm>
            <a:off x="2732062" y="2674060"/>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72" name="Rectangle 18">
            <a:extLst>
              <a:ext uri="{FF2B5EF4-FFF2-40B4-BE49-F238E27FC236}">
                <a16:creationId xmlns:a16="http://schemas.microsoft.com/office/drawing/2014/main" xmlns="" id="{85FF8C5B-E96F-4ECF-B071-194BA6D14CF9}"/>
              </a:ext>
            </a:extLst>
          </p:cNvPr>
          <p:cNvSpPr>
            <a:spLocks noChangeArrowheads="1"/>
          </p:cNvSpPr>
          <p:nvPr/>
        </p:nvSpPr>
        <p:spPr bwMode="gray">
          <a:xfrm>
            <a:off x="2798388" y="1996316"/>
            <a:ext cx="1104902" cy="474609"/>
          </a:xfrm>
          <a:prstGeom prst="rect">
            <a:avLst/>
          </a:prstGeom>
          <a:noFill/>
          <a:ln>
            <a:noFill/>
          </a:ln>
          <a:effectLst/>
        </p:spPr>
        <p:txBody>
          <a:bodyPr wrap="none" lIns="54000" rIns="54000" anchor="ctr"/>
          <a:lstStyle/>
          <a:p>
            <a:pPr algn="ctr">
              <a:lnSpc>
                <a:spcPct val="95000"/>
              </a:lnSpc>
            </a:pPr>
            <a:r>
              <a:rPr lang="en-US" altLang="en-US" sz="2000" b="1">
                <a:solidFill>
                  <a:schemeClr val="bg1"/>
                </a:solidFill>
                <a:latin typeface="Arial" panose="020B0604020202020204" pitchFamily="34" charset="0"/>
                <a:cs typeface="Arial" panose="020B0604020202020204" pitchFamily="34" charset="0"/>
              </a:rPr>
              <a:t>25 449</a:t>
            </a:r>
          </a:p>
        </p:txBody>
      </p:sp>
      <p:sp>
        <p:nvSpPr>
          <p:cNvPr id="76" name="Rectangle 22">
            <a:extLst>
              <a:ext uri="{FF2B5EF4-FFF2-40B4-BE49-F238E27FC236}">
                <a16:creationId xmlns:a16="http://schemas.microsoft.com/office/drawing/2014/main" xmlns="" id="{DA0511A2-B46F-4109-A452-FD70510838AB}"/>
              </a:ext>
            </a:extLst>
          </p:cNvPr>
          <p:cNvSpPr>
            <a:spLocks noChangeArrowheads="1"/>
          </p:cNvSpPr>
          <p:nvPr/>
        </p:nvSpPr>
        <p:spPr bwMode="gray">
          <a:xfrm>
            <a:off x="6188543" y="1996315"/>
            <a:ext cx="1177927" cy="474610"/>
          </a:xfrm>
          <a:prstGeom prst="rect">
            <a:avLst/>
          </a:prstGeom>
          <a:noFill/>
          <a:ln>
            <a:noFill/>
          </a:ln>
          <a:effectLst/>
        </p:spPr>
        <p:txBody>
          <a:bodyPr wrap="none" lIns="54000" rIns="54000" anchor="ctr"/>
          <a:lstStyle/>
          <a:p>
            <a:pPr algn="ctr">
              <a:lnSpc>
                <a:spcPct val="95000"/>
              </a:lnSpc>
            </a:pPr>
            <a:r>
              <a:rPr lang="en-US" altLang="en-US" sz="2000" b="1">
                <a:solidFill>
                  <a:schemeClr val="bg1"/>
                </a:solidFill>
                <a:latin typeface="Arial" panose="020B0604020202020204" pitchFamily="34" charset="0"/>
                <a:cs typeface="Arial" panose="020B0604020202020204" pitchFamily="34" charset="0"/>
              </a:rPr>
              <a:t>25 449</a:t>
            </a:r>
          </a:p>
        </p:txBody>
      </p:sp>
      <p:sp>
        <p:nvSpPr>
          <p:cNvPr id="77" name="Line 23">
            <a:extLst>
              <a:ext uri="{FF2B5EF4-FFF2-40B4-BE49-F238E27FC236}">
                <a16:creationId xmlns:a16="http://schemas.microsoft.com/office/drawing/2014/main" xmlns="" id="{484ED796-6E22-4005-B8A3-E4FFCC42E493}"/>
              </a:ext>
            </a:extLst>
          </p:cNvPr>
          <p:cNvSpPr>
            <a:spLocks noChangeShapeType="1"/>
          </p:cNvSpPr>
          <p:nvPr/>
        </p:nvSpPr>
        <p:spPr bwMode="gray">
          <a:xfrm flipH="1">
            <a:off x="6772027" y="2454904"/>
            <a:ext cx="10959" cy="1023482"/>
          </a:xfrm>
          <a:prstGeom prst="line">
            <a:avLst/>
          </a:prstGeom>
          <a:noFill/>
          <a:ln w="254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sp>
        <p:nvSpPr>
          <p:cNvPr id="97" name="Rectangle 43">
            <a:extLst>
              <a:ext uri="{FF2B5EF4-FFF2-40B4-BE49-F238E27FC236}">
                <a16:creationId xmlns:a16="http://schemas.microsoft.com/office/drawing/2014/main" xmlns="" id="{AF946CA7-E46A-477F-8F48-2EF60C945E01}"/>
              </a:ext>
            </a:extLst>
          </p:cNvPr>
          <p:cNvSpPr>
            <a:spLocks noChangeArrowheads="1"/>
          </p:cNvSpPr>
          <p:nvPr/>
        </p:nvSpPr>
        <p:spPr bwMode="gray">
          <a:xfrm>
            <a:off x="2761876" y="3504584"/>
            <a:ext cx="1177926" cy="522383"/>
          </a:xfrm>
          <a:prstGeom prst="rect">
            <a:avLst/>
          </a:prstGeom>
          <a:noFill/>
          <a:ln>
            <a:noFill/>
          </a:ln>
          <a:effectLst/>
        </p:spPr>
        <p:txBody>
          <a:bodyPr wrap="none"/>
          <a:lstStyle/>
          <a:p>
            <a:pPr algn="ctr">
              <a:lnSpc>
                <a:spcPct val="85000"/>
              </a:lnSpc>
            </a:pPr>
            <a:r>
              <a:rPr lang="en-US" altLang="en-US" sz="2000">
                <a:solidFill>
                  <a:schemeClr val="bg1"/>
                </a:solidFill>
                <a:latin typeface="Arial" panose="020B0604020202020204" pitchFamily="34" charset="0"/>
                <a:cs typeface="Arial" panose="020B0604020202020204" pitchFamily="34" charset="0"/>
              </a:rPr>
              <a:t>5 842</a:t>
            </a:r>
          </a:p>
        </p:txBody>
      </p:sp>
      <p:sp>
        <p:nvSpPr>
          <p:cNvPr id="98" name="Rectangle 44">
            <a:extLst>
              <a:ext uri="{FF2B5EF4-FFF2-40B4-BE49-F238E27FC236}">
                <a16:creationId xmlns:a16="http://schemas.microsoft.com/office/drawing/2014/main" xmlns="" id="{A2ED92BC-D7C4-4EC1-BF79-F36F547210E9}"/>
              </a:ext>
            </a:extLst>
          </p:cNvPr>
          <p:cNvSpPr>
            <a:spLocks noChangeArrowheads="1"/>
          </p:cNvSpPr>
          <p:nvPr/>
        </p:nvSpPr>
        <p:spPr bwMode="gray">
          <a:xfrm>
            <a:off x="6213720" y="3508002"/>
            <a:ext cx="1127572" cy="474610"/>
          </a:xfrm>
          <a:prstGeom prst="rect">
            <a:avLst/>
          </a:prstGeom>
          <a:noFill/>
          <a:ln>
            <a:noFill/>
          </a:ln>
          <a:effectLst/>
        </p:spPr>
        <p:txBody>
          <a:bodyPr wrap="none"/>
          <a:lstStyle/>
          <a:p>
            <a:pPr algn="ctr">
              <a:lnSpc>
                <a:spcPct val="85000"/>
              </a:lnSpc>
            </a:pPr>
            <a:r>
              <a:rPr lang="en-US" altLang="en-US" sz="2000">
                <a:solidFill>
                  <a:schemeClr val="bg1"/>
                </a:solidFill>
                <a:latin typeface="Arial" panose="020B0604020202020204" pitchFamily="34" charset="0"/>
                <a:cs typeface="Arial" panose="020B0604020202020204" pitchFamily="34" charset="0"/>
              </a:rPr>
              <a:t>23 842</a:t>
            </a:r>
          </a:p>
        </p:txBody>
      </p:sp>
      <p:sp>
        <p:nvSpPr>
          <p:cNvPr id="104" name="Rectangle 50">
            <a:extLst>
              <a:ext uri="{FF2B5EF4-FFF2-40B4-BE49-F238E27FC236}">
                <a16:creationId xmlns:a16="http://schemas.microsoft.com/office/drawing/2014/main" xmlns="" id="{E9B30AA0-17DB-40A7-B7F1-8CE1EBB64F30}"/>
              </a:ext>
            </a:extLst>
          </p:cNvPr>
          <p:cNvSpPr>
            <a:spLocks noChangeArrowheads="1"/>
          </p:cNvSpPr>
          <p:nvPr/>
        </p:nvSpPr>
        <p:spPr bwMode="gray">
          <a:xfrm>
            <a:off x="2941264" y="3892327"/>
            <a:ext cx="819150" cy="291613"/>
          </a:xfrm>
          <a:prstGeom prst="rect">
            <a:avLst/>
          </a:prstGeom>
          <a:noFill/>
          <a:ln>
            <a:noFill/>
          </a:ln>
          <a:effectLst/>
          <a:extLst>
            <a:ext uri="{909E8E84-426E-40DD-AFC4-6F175D3DCCD1}">
              <a14:hiddenFill xmlns:a14="http://schemas.microsoft.com/office/drawing/2010/main" xmlns="">
                <a:solidFill>
                  <a:srgbClr val="5782A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algn="ctr">
              <a:lnSpc>
                <a:spcPct val="85000"/>
              </a:lnSpc>
            </a:pPr>
            <a:r>
              <a:rPr lang="en-US" altLang="en-US">
                <a:solidFill>
                  <a:schemeClr val="bg1"/>
                </a:solidFill>
                <a:latin typeface="Arial" panose="020B0604020202020204" pitchFamily="34" charset="0"/>
                <a:cs typeface="Arial" panose="020B0604020202020204" pitchFamily="34" charset="0"/>
              </a:rPr>
              <a:t>23%</a:t>
            </a:r>
            <a:endParaRPr lang="en-US" altLang="en-US" b="0">
              <a:solidFill>
                <a:schemeClr val="bg1"/>
              </a:solidFill>
              <a:latin typeface="Arial" panose="020B0604020202020204" pitchFamily="34" charset="0"/>
              <a:cs typeface="Arial" panose="020B0604020202020204" pitchFamily="34" charset="0"/>
            </a:endParaRPr>
          </a:p>
        </p:txBody>
      </p:sp>
      <p:grpSp>
        <p:nvGrpSpPr>
          <p:cNvPr id="106" name="Group 52">
            <a:extLst>
              <a:ext uri="{FF2B5EF4-FFF2-40B4-BE49-F238E27FC236}">
                <a16:creationId xmlns:a16="http://schemas.microsoft.com/office/drawing/2014/main" xmlns="" id="{CBE5A894-325F-4ECA-BFDF-C5EB76903E5E}"/>
              </a:ext>
            </a:extLst>
          </p:cNvPr>
          <p:cNvGrpSpPr>
            <a:grpSpLocks/>
          </p:cNvGrpSpPr>
          <p:nvPr/>
        </p:nvGrpSpPr>
        <p:grpSpPr bwMode="auto">
          <a:xfrm>
            <a:off x="2912160" y="2765316"/>
            <a:ext cx="200025" cy="366713"/>
            <a:chOff x="1041" y="2045"/>
            <a:chExt cx="126" cy="231"/>
          </a:xfrm>
          <a:solidFill>
            <a:srgbClr val="0C7723"/>
          </a:solidFill>
        </p:grpSpPr>
        <p:sp>
          <p:nvSpPr>
            <p:cNvPr id="107" name="Oval 53">
              <a:extLst>
                <a:ext uri="{FF2B5EF4-FFF2-40B4-BE49-F238E27FC236}">
                  <a16:creationId xmlns:a16="http://schemas.microsoft.com/office/drawing/2014/main" xmlns="" id="{C2DE04A6-6861-4F7A-B5E6-D028D1202C2D}"/>
                </a:ext>
              </a:extLst>
            </p:cNvPr>
            <p:cNvSpPr>
              <a:spLocks noChangeArrowheads="1"/>
            </p:cNvSpPr>
            <p:nvPr/>
          </p:nvSpPr>
          <p:spPr bwMode="gray">
            <a:xfrm>
              <a:off x="1080" y="2045"/>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08" name="AutoShape 54">
              <a:extLst>
                <a:ext uri="{FF2B5EF4-FFF2-40B4-BE49-F238E27FC236}">
                  <a16:creationId xmlns:a16="http://schemas.microsoft.com/office/drawing/2014/main" xmlns="" id="{4B94FA56-C528-4455-93DD-0C55954675AB}"/>
                </a:ext>
              </a:extLst>
            </p:cNvPr>
            <p:cNvSpPr>
              <a:spLocks noChangeArrowheads="1"/>
            </p:cNvSpPr>
            <p:nvPr/>
          </p:nvSpPr>
          <p:spPr bwMode="gray">
            <a:xfrm>
              <a:off x="1041" y="2104"/>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09" name="AutoShape 55">
              <a:extLst>
                <a:ext uri="{FF2B5EF4-FFF2-40B4-BE49-F238E27FC236}">
                  <a16:creationId xmlns:a16="http://schemas.microsoft.com/office/drawing/2014/main" xmlns="" id="{61943B21-0AC8-4C9F-8CC4-19540897040D}"/>
                </a:ext>
              </a:extLst>
            </p:cNvPr>
            <p:cNvSpPr>
              <a:spLocks noChangeArrowheads="1"/>
            </p:cNvSpPr>
            <p:nvPr/>
          </p:nvSpPr>
          <p:spPr bwMode="gray">
            <a:xfrm>
              <a:off x="1074" y="2110"/>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0" name="AutoShape 56">
              <a:extLst>
                <a:ext uri="{FF2B5EF4-FFF2-40B4-BE49-F238E27FC236}">
                  <a16:creationId xmlns:a16="http://schemas.microsoft.com/office/drawing/2014/main" xmlns="" id="{D8904196-7CEB-41F3-B532-BAB9486BD377}"/>
                </a:ext>
              </a:extLst>
            </p:cNvPr>
            <p:cNvSpPr>
              <a:spLocks noChangeArrowheads="1"/>
            </p:cNvSpPr>
            <p:nvPr/>
          </p:nvSpPr>
          <p:spPr bwMode="gray">
            <a:xfrm>
              <a:off x="1074" y="2113"/>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1" name="AutoShape 57">
              <a:extLst>
                <a:ext uri="{FF2B5EF4-FFF2-40B4-BE49-F238E27FC236}">
                  <a16:creationId xmlns:a16="http://schemas.microsoft.com/office/drawing/2014/main" xmlns="" id="{922EF463-7DAD-43AF-A4F7-0633CAA86A1E}"/>
                </a:ext>
              </a:extLst>
            </p:cNvPr>
            <p:cNvSpPr>
              <a:spLocks noChangeArrowheads="1"/>
            </p:cNvSpPr>
            <p:nvPr/>
          </p:nvSpPr>
          <p:spPr bwMode="gray">
            <a:xfrm>
              <a:off x="1044" y="2099"/>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2" name="AutoShape 58">
              <a:extLst>
                <a:ext uri="{FF2B5EF4-FFF2-40B4-BE49-F238E27FC236}">
                  <a16:creationId xmlns:a16="http://schemas.microsoft.com/office/drawing/2014/main" xmlns="" id="{5C2614C2-F9E9-47A3-AC51-D3DA8DF1219F}"/>
                </a:ext>
              </a:extLst>
            </p:cNvPr>
            <p:cNvSpPr>
              <a:spLocks noChangeArrowheads="1"/>
            </p:cNvSpPr>
            <p:nvPr/>
          </p:nvSpPr>
          <p:spPr bwMode="gray">
            <a:xfrm>
              <a:off x="1108" y="2110"/>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3" name="AutoShape 59">
              <a:extLst>
                <a:ext uri="{FF2B5EF4-FFF2-40B4-BE49-F238E27FC236}">
                  <a16:creationId xmlns:a16="http://schemas.microsoft.com/office/drawing/2014/main" xmlns="" id="{5602CE8B-8DD3-4723-9EAB-AB83FD7A38C5}"/>
                </a:ext>
              </a:extLst>
            </p:cNvPr>
            <p:cNvSpPr>
              <a:spLocks noChangeArrowheads="1"/>
            </p:cNvSpPr>
            <p:nvPr/>
          </p:nvSpPr>
          <p:spPr bwMode="gray">
            <a:xfrm>
              <a:off x="1139" y="2104"/>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nvGrpSpPr>
          <p:cNvPr id="4" name="Group 3">
            <a:extLst>
              <a:ext uri="{FF2B5EF4-FFF2-40B4-BE49-F238E27FC236}">
                <a16:creationId xmlns:a16="http://schemas.microsoft.com/office/drawing/2014/main" xmlns="" id="{F0F936EB-E136-4A75-93E4-A02A85733634}"/>
              </a:ext>
            </a:extLst>
          </p:cNvPr>
          <p:cNvGrpSpPr/>
          <p:nvPr/>
        </p:nvGrpSpPr>
        <p:grpSpPr>
          <a:xfrm>
            <a:off x="6120483" y="2723899"/>
            <a:ext cx="558800" cy="558800"/>
            <a:chOff x="3552825" y="2407235"/>
            <a:chExt cx="558800" cy="558800"/>
          </a:xfrm>
        </p:grpSpPr>
        <p:sp>
          <p:nvSpPr>
            <p:cNvPr id="75" name="Oval 21">
              <a:extLst>
                <a:ext uri="{FF2B5EF4-FFF2-40B4-BE49-F238E27FC236}">
                  <a16:creationId xmlns:a16="http://schemas.microsoft.com/office/drawing/2014/main" xmlns="" id="{F08F7226-A168-42EB-AAA5-FB32730FA146}"/>
                </a:ext>
              </a:extLst>
            </p:cNvPr>
            <p:cNvSpPr>
              <a:spLocks noChangeArrowheads="1"/>
            </p:cNvSpPr>
            <p:nvPr/>
          </p:nvSpPr>
          <p:spPr bwMode="gray">
            <a:xfrm>
              <a:off x="3552825" y="2407235"/>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122" name="Group 68">
              <a:extLst>
                <a:ext uri="{FF2B5EF4-FFF2-40B4-BE49-F238E27FC236}">
                  <a16:creationId xmlns:a16="http://schemas.microsoft.com/office/drawing/2014/main" xmlns="" id="{5DAF2DD4-32AD-4B2E-BB49-11720BF107D5}"/>
                </a:ext>
              </a:extLst>
            </p:cNvPr>
            <p:cNvGrpSpPr>
              <a:grpSpLocks/>
            </p:cNvGrpSpPr>
            <p:nvPr/>
          </p:nvGrpSpPr>
          <p:grpSpPr bwMode="auto">
            <a:xfrm>
              <a:off x="3732213" y="2488197"/>
              <a:ext cx="200025" cy="366713"/>
              <a:chOff x="1041" y="2045"/>
              <a:chExt cx="126" cy="231"/>
            </a:xfrm>
          </p:grpSpPr>
          <p:sp>
            <p:nvSpPr>
              <p:cNvPr id="123" name="Oval 69">
                <a:extLst>
                  <a:ext uri="{FF2B5EF4-FFF2-40B4-BE49-F238E27FC236}">
                    <a16:creationId xmlns:a16="http://schemas.microsoft.com/office/drawing/2014/main" xmlns="" id="{43C21FD8-C532-41F4-8913-A9FB582C82A9}"/>
                  </a:ext>
                </a:extLst>
              </p:cNvPr>
              <p:cNvSpPr>
                <a:spLocks noChangeArrowheads="1"/>
              </p:cNvSpPr>
              <p:nvPr/>
            </p:nvSpPr>
            <p:spPr bwMode="gray">
              <a:xfrm>
                <a:off x="1080" y="204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4" name="AutoShape 70">
                <a:extLst>
                  <a:ext uri="{FF2B5EF4-FFF2-40B4-BE49-F238E27FC236}">
                    <a16:creationId xmlns:a16="http://schemas.microsoft.com/office/drawing/2014/main" xmlns="" id="{95DDFBCE-74BA-4C91-9ABC-7277489FF601}"/>
                  </a:ext>
                </a:extLst>
              </p:cNvPr>
              <p:cNvSpPr>
                <a:spLocks noChangeArrowheads="1"/>
              </p:cNvSpPr>
              <p:nvPr/>
            </p:nvSpPr>
            <p:spPr bwMode="gray">
              <a:xfrm>
                <a:off x="1041" y="210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5" name="AutoShape 71">
                <a:extLst>
                  <a:ext uri="{FF2B5EF4-FFF2-40B4-BE49-F238E27FC236}">
                    <a16:creationId xmlns:a16="http://schemas.microsoft.com/office/drawing/2014/main" xmlns="" id="{493B403D-0271-4C51-8B4E-202B873950C5}"/>
                  </a:ext>
                </a:extLst>
              </p:cNvPr>
              <p:cNvSpPr>
                <a:spLocks noChangeArrowheads="1"/>
              </p:cNvSpPr>
              <p:nvPr/>
            </p:nvSpPr>
            <p:spPr bwMode="gray">
              <a:xfrm>
                <a:off x="1074"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6" name="AutoShape 72">
                <a:extLst>
                  <a:ext uri="{FF2B5EF4-FFF2-40B4-BE49-F238E27FC236}">
                    <a16:creationId xmlns:a16="http://schemas.microsoft.com/office/drawing/2014/main" xmlns="" id="{49505268-9260-44F7-8001-5EC53062ED60}"/>
                  </a:ext>
                </a:extLst>
              </p:cNvPr>
              <p:cNvSpPr>
                <a:spLocks noChangeArrowheads="1"/>
              </p:cNvSpPr>
              <p:nvPr/>
            </p:nvSpPr>
            <p:spPr bwMode="gray">
              <a:xfrm>
                <a:off x="1074" y="211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7" name="AutoShape 73">
                <a:extLst>
                  <a:ext uri="{FF2B5EF4-FFF2-40B4-BE49-F238E27FC236}">
                    <a16:creationId xmlns:a16="http://schemas.microsoft.com/office/drawing/2014/main" xmlns="" id="{B2D4523C-E7AD-44B4-9BA0-162B30E390BB}"/>
                  </a:ext>
                </a:extLst>
              </p:cNvPr>
              <p:cNvSpPr>
                <a:spLocks noChangeArrowheads="1"/>
              </p:cNvSpPr>
              <p:nvPr/>
            </p:nvSpPr>
            <p:spPr bwMode="gray">
              <a:xfrm>
                <a:off x="1044" y="209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8" name="AutoShape 74">
                <a:extLst>
                  <a:ext uri="{FF2B5EF4-FFF2-40B4-BE49-F238E27FC236}">
                    <a16:creationId xmlns:a16="http://schemas.microsoft.com/office/drawing/2014/main" xmlns="" id="{20309AB8-64DD-436D-9492-ACFB8D8C839F}"/>
                  </a:ext>
                </a:extLst>
              </p:cNvPr>
              <p:cNvSpPr>
                <a:spLocks noChangeArrowheads="1"/>
              </p:cNvSpPr>
              <p:nvPr/>
            </p:nvSpPr>
            <p:spPr bwMode="gray">
              <a:xfrm>
                <a:off x="1108"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9" name="AutoShape 75">
                <a:extLst>
                  <a:ext uri="{FF2B5EF4-FFF2-40B4-BE49-F238E27FC236}">
                    <a16:creationId xmlns:a16="http://schemas.microsoft.com/office/drawing/2014/main" xmlns="" id="{22A7F0F2-DE78-4E1A-AFD0-16AD60E00BCC}"/>
                  </a:ext>
                </a:extLst>
              </p:cNvPr>
              <p:cNvSpPr>
                <a:spLocks noChangeArrowheads="1"/>
              </p:cNvSpPr>
              <p:nvPr/>
            </p:nvSpPr>
            <p:spPr bwMode="gray">
              <a:xfrm>
                <a:off x="1139" y="210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6" name="Group 5">
            <a:extLst>
              <a:ext uri="{FF2B5EF4-FFF2-40B4-BE49-F238E27FC236}">
                <a16:creationId xmlns:a16="http://schemas.microsoft.com/office/drawing/2014/main" xmlns="" id="{78E1CE11-D76D-4175-A57E-3DCEDD854459}"/>
              </a:ext>
            </a:extLst>
          </p:cNvPr>
          <p:cNvGrpSpPr/>
          <p:nvPr/>
        </p:nvGrpSpPr>
        <p:grpSpPr>
          <a:xfrm>
            <a:off x="6867086" y="2723899"/>
            <a:ext cx="558800" cy="558800"/>
            <a:chOff x="4992688" y="2407235"/>
            <a:chExt cx="558800" cy="558800"/>
          </a:xfrm>
        </p:grpSpPr>
        <p:sp>
          <p:nvSpPr>
            <p:cNvPr id="81" name="Oval 27">
              <a:extLst>
                <a:ext uri="{FF2B5EF4-FFF2-40B4-BE49-F238E27FC236}">
                  <a16:creationId xmlns:a16="http://schemas.microsoft.com/office/drawing/2014/main" xmlns="" id="{A905D99E-CD6A-4533-92A2-7197C59F152D}"/>
                </a:ext>
              </a:extLst>
            </p:cNvPr>
            <p:cNvSpPr>
              <a:spLocks noChangeArrowheads="1"/>
            </p:cNvSpPr>
            <p:nvPr/>
          </p:nvSpPr>
          <p:spPr bwMode="gray">
            <a:xfrm>
              <a:off x="4992688" y="2407235"/>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138" name="Group 84">
              <a:extLst>
                <a:ext uri="{FF2B5EF4-FFF2-40B4-BE49-F238E27FC236}">
                  <a16:creationId xmlns:a16="http://schemas.microsoft.com/office/drawing/2014/main" xmlns="" id="{0FA49F6F-0184-4240-A917-2453FA267D75}"/>
                </a:ext>
              </a:extLst>
            </p:cNvPr>
            <p:cNvGrpSpPr>
              <a:grpSpLocks/>
            </p:cNvGrpSpPr>
            <p:nvPr/>
          </p:nvGrpSpPr>
          <p:grpSpPr bwMode="auto">
            <a:xfrm>
              <a:off x="5172075" y="2488197"/>
              <a:ext cx="200025" cy="366713"/>
              <a:chOff x="1041" y="2045"/>
              <a:chExt cx="126" cy="231"/>
            </a:xfrm>
          </p:grpSpPr>
          <p:sp>
            <p:nvSpPr>
              <p:cNvPr id="139" name="Oval 85">
                <a:extLst>
                  <a:ext uri="{FF2B5EF4-FFF2-40B4-BE49-F238E27FC236}">
                    <a16:creationId xmlns:a16="http://schemas.microsoft.com/office/drawing/2014/main" xmlns="" id="{180E41B4-95DB-4832-A1FC-A019ED8FF472}"/>
                  </a:ext>
                </a:extLst>
              </p:cNvPr>
              <p:cNvSpPr>
                <a:spLocks noChangeArrowheads="1"/>
              </p:cNvSpPr>
              <p:nvPr/>
            </p:nvSpPr>
            <p:spPr bwMode="gray">
              <a:xfrm>
                <a:off x="1080" y="204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0" name="AutoShape 86">
                <a:extLst>
                  <a:ext uri="{FF2B5EF4-FFF2-40B4-BE49-F238E27FC236}">
                    <a16:creationId xmlns:a16="http://schemas.microsoft.com/office/drawing/2014/main" xmlns="" id="{FAD8F2F9-7017-4D64-9809-727D276D38ED}"/>
                  </a:ext>
                </a:extLst>
              </p:cNvPr>
              <p:cNvSpPr>
                <a:spLocks noChangeArrowheads="1"/>
              </p:cNvSpPr>
              <p:nvPr/>
            </p:nvSpPr>
            <p:spPr bwMode="gray">
              <a:xfrm>
                <a:off x="1041" y="210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1" name="AutoShape 87">
                <a:extLst>
                  <a:ext uri="{FF2B5EF4-FFF2-40B4-BE49-F238E27FC236}">
                    <a16:creationId xmlns:a16="http://schemas.microsoft.com/office/drawing/2014/main" xmlns="" id="{5ACE66D8-13D7-42BA-9A1B-72371A861235}"/>
                  </a:ext>
                </a:extLst>
              </p:cNvPr>
              <p:cNvSpPr>
                <a:spLocks noChangeArrowheads="1"/>
              </p:cNvSpPr>
              <p:nvPr/>
            </p:nvSpPr>
            <p:spPr bwMode="gray">
              <a:xfrm>
                <a:off x="1074"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2" name="AutoShape 88">
                <a:extLst>
                  <a:ext uri="{FF2B5EF4-FFF2-40B4-BE49-F238E27FC236}">
                    <a16:creationId xmlns:a16="http://schemas.microsoft.com/office/drawing/2014/main" xmlns="" id="{E826F4D7-8EFC-4F5F-A937-5FC0333EBBE1}"/>
                  </a:ext>
                </a:extLst>
              </p:cNvPr>
              <p:cNvSpPr>
                <a:spLocks noChangeArrowheads="1"/>
              </p:cNvSpPr>
              <p:nvPr/>
            </p:nvSpPr>
            <p:spPr bwMode="gray">
              <a:xfrm>
                <a:off x="1074" y="211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3" name="AutoShape 89">
                <a:extLst>
                  <a:ext uri="{FF2B5EF4-FFF2-40B4-BE49-F238E27FC236}">
                    <a16:creationId xmlns:a16="http://schemas.microsoft.com/office/drawing/2014/main" xmlns="" id="{DA6F3972-AC00-434D-9822-F40BD0F8F06E}"/>
                  </a:ext>
                </a:extLst>
              </p:cNvPr>
              <p:cNvSpPr>
                <a:spLocks noChangeArrowheads="1"/>
              </p:cNvSpPr>
              <p:nvPr/>
            </p:nvSpPr>
            <p:spPr bwMode="gray">
              <a:xfrm>
                <a:off x="1044" y="209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4" name="AutoShape 90">
                <a:extLst>
                  <a:ext uri="{FF2B5EF4-FFF2-40B4-BE49-F238E27FC236}">
                    <a16:creationId xmlns:a16="http://schemas.microsoft.com/office/drawing/2014/main" xmlns="" id="{237D4F7C-E20E-459D-A518-246DCB52B612}"/>
                  </a:ext>
                </a:extLst>
              </p:cNvPr>
              <p:cNvSpPr>
                <a:spLocks noChangeArrowheads="1"/>
              </p:cNvSpPr>
              <p:nvPr/>
            </p:nvSpPr>
            <p:spPr bwMode="gray">
              <a:xfrm>
                <a:off x="1108"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5" name="AutoShape 91">
                <a:extLst>
                  <a:ext uri="{FF2B5EF4-FFF2-40B4-BE49-F238E27FC236}">
                    <a16:creationId xmlns:a16="http://schemas.microsoft.com/office/drawing/2014/main" xmlns="" id="{F0075989-39E9-404D-B410-3EF26DE7A48A}"/>
                  </a:ext>
                </a:extLst>
              </p:cNvPr>
              <p:cNvSpPr>
                <a:spLocks noChangeArrowheads="1"/>
              </p:cNvSpPr>
              <p:nvPr/>
            </p:nvSpPr>
            <p:spPr bwMode="gray">
              <a:xfrm>
                <a:off x="1139" y="210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sp>
        <p:nvSpPr>
          <p:cNvPr id="170" name="Rectangle 50">
            <a:extLst>
              <a:ext uri="{FF2B5EF4-FFF2-40B4-BE49-F238E27FC236}">
                <a16:creationId xmlns:a16="http://schemas.microsoft.com/office/drawing/2014/main" xmlns="" id="{AB6C416F-3B9E-417A-981C-512D5F3692AE}"/>
              </a:ext>
            </a:extLst>
          </p:cNvPr>
          <p:cNvSpPr>
            <a:spLocks noChangeArrowheads="1"/>
          </p:cNvSpPr>
          <p:nvPr/>
        </p:nvSpPr>
        <p:spPr bwMode="gray">
          <a:xfrm>
            <a:off x="6367931" y="3892327"/>
            <a:ext cx="819150" cy="291613"/>
          </a:xfrm>
          <a:prstGeom prst="rect">
            <a:avLst/>
          </a:prstGeom>
          <a:noFill/>
          <a:ln>
            <a:noFill/>
          </a:ln>
          <a:effectLst/>
          <a:extLst>
            <a:ext uri="{909E8E84-426E-40DD-AFC4-6F175D3DCCD1}">
              <a14:hiddenFill xmlns:a14="http://schemas.microsoft.com/office/drawing/2010/main" xmlns="">
                <a:solidFill>
                  <a:srgbClr val="5782A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algn="ctr">
              <a:lnSpc>
                <a:spcPct val="85000"/>
              </a:lnSpc>
            </a:pPr>
            <a:r>
              <a:rPr lang="en-US" altLang="en-US">
                <a:solidFill>
                  <a:schemeClr val="bg1"/>
                </a:solidFill>
                <a:latin typeface="Arial" panose="020B0604020202020204" pitchFamily="34" charset="0"/>
                <a:cs typeface="Arial" panose="020B0604020202020204" pitchFamily="34" charset="0"/>
              </a:rPr>
              <a:t>94%</a:t>
            </a:r>
            <a:endParaRPr lang="en-US" altLang="en-US" b="0">
              <a:solidFill>
                <a:schemeClr val="bg1"/>
              </a:solidFill>
              <a:latin typeface="Arial" panose="020B0604020202020204" pitchFamily="34" charset="0"/>
              <a:cs typeface="Arial" panose="020B0604020202020204" pitchFamily="34" charset="0"/>
            </a:endParaRPr>
          </a:p>
        </p:txBody>
      </p:sp>
      <p:sp>
        <p:nvSpPr>
          <p:cNvPr id="171" name="Rectangle 50">
            <a:extLst>
              <a:ext uri="{FF2B5EF4-FFF2-40B4-BE49-F238E27FC236}">
                <a16:creationId xmlns:a16="http://schemas.microsoft.com/office/drawing/2014/main" xmlns="" id="{1BEE53EC-EE51-4B73-AE0F-987214108619}"/>
              </a:ext>
            </a:extLst>
          </p:cNvPr>
          <p:cNvSpPr>
            <a:spLocks noChangeArrowheads="1"/>
          </p:cNvSpPr>
          <p:nvPr/>
        </p:nvSpPr>
        <p:spPr bwMode="gray">
          <a:xfrm>
            <a:off x="4625633" y="2638024"/>
            <a:ext cx="819150" cy="291613"/>
          </a:xfrm>
          <a:prstGeom prst="rect">
            <a:avLst/>
          </a:prstGeom>
          <a:noFill/>
          <a:ln>
            <a:noFill/>
          </a:ln>
          <a:effectLst/>
          <a:extLst>
            <a:ext uri="{909E8E84-426E-40DD-AFC4-6F175D3DCCD1}">
              <a14:hiddenFill xmlns:a14="http://schemas.microsoft.com/office/drawing/2010/main" xmlns="">
                <a:solidFill>
                  <a:srgbClr val="5782A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algn="ctr">
              <a:lnSpc>
                <a:spcPct val="85000"/>
              </a:lnSpc>
            </a:pPr>
            <a:endParaRPr lang="en-US" altLang="en-US" b="0">
              <a:solidFill>
                <a:schemeClr val="bg1"/>
              </a:solidFill>
              <a:latin typeface="Arial" panose="020B0604020202020204" pitchFamily="34" charset="0"/>
              <a:cs typeface="Arial" panose="020B0604020202020204" pitchFamily="34" charset="0"/>
            </a:endParaRPr>
          </a:p>
        </p:txBody>
      </p:sp>
      <p:sp>
        <p:nvSpPr>
          <p:cNvPr id="74" name="Rectangle 13">
            <a:extLst>
              <a:ext uri="{FF2B5EF4-FFF2-40B4-BE49-F238E27FC236}">
                <a16:creationId xmlns:a16="http://schemas.microsoft.com/office/drawing/2014/main" xmlns="" id="{2EEBBFB4-4F25-4D00-9EAD-B14FD0815257}"/>
              </a:ext>
            </a:extLst>
          </p:cNvPr>
          <p:cNvSpPr>
            <a:spLocks noChangeArrowheads="1"/>
          </p:cNvSpPr>
          <p:nvPr/>
        </p:nvSpPr>
        <p:spPr bwMode="gray">
          <a:xfrm>
            <a:off x="89990" y="4412267"/>
            <a:ext cx="9054010" cy="1400501"/>
          </a:xfrm>
          <a:prstGeom prst="roundRect">
            <a:avLst/>
          </a:prstGeom>
          <a:noFill/>
          <a:ln>
            <a:noFill/>
          </a:ln>
          <a:effectLst/>
          <a:scene3d>
            <a:camera prst="orthographicFront"/>
            <a:lightRig rig="threePt" dir="t"/>
          </a:scene3d>
          <a:sp3d>
            <a:bevelT w="0"/>
          </a:sp3d>
        </p:spPr>
        <p:txBody>
          <a:bodyPr wrap="none" lIns="91440" tIns="45720" rIns="91440" bIns="45720" anchor="ctr"/>
          <a:lstStyle/>
          <a:p>
            <a:pPr lvl="0" algn="just"/>
            <a:r>
              <a:rPr lang="en-US" sz="1500">
                <a:latin typeface="Arial" panose="020B0604020202020204" pitchFamily="34" charset="0"/>
                <a:cs typeface="Arial" panose="020B0604020202020204" pitchFamily="34" charset="0"/>
              </a:rPr>
              <a:t>The number of SMMEs and co-operatives financed represent 94% of the quarterly target achieved. </a:t>
            </a:r>
          </a:p>
          <a:p>
            <a:pPr algn="just"/>
            <a:r>
              <a:rPr lang="en-ZA" sz="1500">
                <a:latin typeface="Arial" panose="020B0604020202020204" pitchFamily="34" charset="0"/>
                <a:cs typeface="Arial" panose="020B0604020202020204" pitchFamily="34" charset="0"/>
              </a:rPr>
              <a:t>The majority of SMMEs facilitated were contributed by the Microfinance sector.</a:t>
            </a:r>
          </a:p>
          <a:p>
            <a:pPr marL="285750" indent="-285750" algn="just">
              <a:buFont typeface="Arial" panose="020B0604020202020204" pitchFamily="34" charset="0"/>
              <a:buChar char="•"/>
            </a:pPr>
            <a:r>
              <a:rPr lang="en-ZA" sz="1500">
                <a:latin typeface="Arial"/>
                <a:cs typeface="Arial"/>
              </a:rPr>
              <a:t> </a:t>
            </a:r>
            <a:r>
              <a:rPr lang="en-US" sz="1500">
                <a:latin typeface="Arial"/>
                <a:cs typeface="Arial"/>
              </a:rPr>
              <a:t>The  SMMEs funded comprised of DL (161), WL SME (165), Microfinance (23 358 or 97.9% of total) </a:t>
            </a:r>
          </a:p>
          <a:p>
            <a:pPr algn="just"/>
            <a:r>
              <a:rPr lang="en-US" sz="1500">
                <a:latin typeface="Arial"/>
                <a:cs typeface="Arial"/>
              </a:rPr>
              <a:t>       and KCG (158)</a:t>
            </a:r>
            <a:r>
              <a:rPr lang="en-ZA" sz="1500">
                <a:latin typeface="Arial"/>
                <a:cs typeface="Arial"/>
              </a:rPr>
              <a:t>.</a:t>
            </a:r>
          </a:p>
        </p:txBody>
      </p:sp>
      <p:sp>
        <p:nvSpPr>
          <p:cNvPr id="78" name="Line 23">
            <a:extLst>
              <a:ext uri="{FF2B5EF4-FFF2-40B4-BE49-F238E27FC236}">
                <a16:creationId xmlns:a16="http://schemas.microsoft.com/office/drawing/2014/main" xmlns="" id="{CE31796F-AD3F-FDE2-4225-28923EE3DEE2}"/>
              </a:ext>
            </a:extLst>
          </p:cNvPr>
          <p:cNvSpPr>
            <a:spLocks noChangeShapeType="1"/>
          </p:cNvSpPr>
          <p:nvPr/>
        </p:nvSpPr>
        <p:spPr bwMode="gray">
          <a:xfrm flipH="1">
            <a:off x="3345360" y="2449820"/>
            <a:ext cx="10959" cy="1023482"/>
          </a:xfrm>
          <a:prstGeom prst="line">
            <a:avLst/>
          </a:prstGeom>
          <a:noFill/>
          <a:ln w="254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grpSp>
        <p:nvGrpSpPr>
          <p:cNvPr id="79" name="Group 78">
            <a:extLst>
              <a:ext uri="{FF2B5EF4-FFF2-40B4-BE49-F238E27FC236}">
                <a16:creationId xmlns:a16="http://schemas.microsoft.com/office/drawing/2014/main" xmlns="" id="{585D333C-71CD-DCFF-81B0-C1FAF035021C}"/>
              </a:ext>
            </a:extLst>
          </p:cNvPr>
          <p:cNvGrpSpPr/>
          <p:nvPr/>
        </p:nvGrpSpPr>
        <p:grpSpPr>
          <a:xfrm>
            <a:off x="3425035" y="2674060"/>
            <a:ext cx="558800" cy="558800"/>
            <a:chOff x="4995525" y="2398739"/>
            <a:chExt cx="558800" cy="558800"/>
          </a:xfrm>
        </p:grpSpPr>
        <p:sp>
          <p:nvSpPr>
            <p:cNvPr id="80" name="Oval 27">
              <a:extLst>
                <a:ext uri="{FF2B5EF4-FFF2-40B4-BE49-F238E27FC236}">
                  <a16:creationId xmlns:a16="http://schemas.microsoft.com/office/drawing/2014/main" xmlns="" id="{3CA6C18D-5258-7A5D-E771-583C4F489B9A}"/>
                </a:ext>
              </a:extLst>
            </p:cNvPr>
            <p:cNvSpPr>
              <a:spLocks noChangeArrowheads="1"/>
            </p:cNvSpPr>
            <p:nvPr/>
          </p:nvSpPr>
          <p:spPr bwMode="gray">
            <a:xfrm>
              <a:off x="4995525" y="2398739"/>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84" name="Group 84">
              <a:extLst>
                <a:ext uri="{FF2B5EF4-FFF2-40B4-BE49-F238E27FC236}">
                  <a16:creationId xmlns:a16="http://schemas.microsoft.com/office/drawing/2014/main" xmlns="" id="{8A823A45-30B5-A2DF-6FAF-3AAAC41701AA}"/>
                </a:ext>
              </a:extLst>
            </p:cNvPr>
            <p:cNvGrpSpPr>
              <a:grpSpLocks/>
            </p:cNvGrpSpPr>
            <p:nvPr/>
          </p:nvGrpSpPr>
          <p:grpSpPr bwMode="auto">
            <a:xfrm>
              <a:off x="5172075" y="2488197"/>
              <a:ext cx="200025" cy="366713"/>
              <a:chOff x="1041" y="2045"/>
              <a:chExt cx="126" cy="231"/>
            </a:xfrm>
          </p:grpSpPr>
          <p:sp>
            <p:nvSpPr>
              <p:cNvPr id="85" name="Oval 85">
                <a:extLst>
                  <a:ext uri="{FF2B5EF4-FFF2-40B4-BE49-F238E27FC236}">
                    <a16:creationId xmlns:a16="http://schemas.microsoft.com/office/drawing/2014/main" xmlns="" id="{9C4E8C4F-5AA2-24BD-A96C-C587EB3261CD}"/>
                  </a:ext>
                </a:extLst>
              </p:cNvPr>
              <p:cNvSpPr>
                <a:spLocks noChangeArrowheads="1"/>
              </p:cNvSpPr>
              <p:nvPr/>
            </p:nvSpPr>
            <p:spPr bwMode="gray">
              <a:xfrm>
                <a:off x="1080" y="204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86" name="AutoShape 86">
                <a:extLst>
                  <a:ext uri="{FF2B5EF4-FFF2-40B4-BE49-F238E27FC236}">
                    <a16:creationId xmlns:a16="http://schemas.microsoft.com/office/drawing/2014/main" xmlns="" id="{9AC68080-A8DD-3B91-7DAA-EF3629414949}"/>
                  </a:ext>
                </a:extLst>
              </p:cNvPr>
              <p:cNvSpPr>
                <a:spLocks noChangeArrowheads="1"/>
              </p:cNvSpPr>
              <p:nvPr/>
            </p:nvSpPr>
            <p:spPr bwMode="gray">
              <a:xfrm>
                <a:off x="1041" y="210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87" name="AutoShape 87">
                <a:extLst>
                  <a:ext uri="{FF2B5EF4-FFF2-40B4-BE49-F238E27FC236}">
                    <a16:creationId xmlns:a16="http://schemas.microsoft.com/office/drawing/2014/main" xmlns="" id="{012DE833-1530-830B-118B-E314B51ED958}"/>
                  </a:ext>
                </a:extLst>
              </p:cNvPr>
              <p:cNvSpPr>
                <a:spLocks noChangeArrowheads="1"/>
              </p:cNvSpPr>
              <p:nvPr/>
            </p:nvSpPr>
            <p:spPr bwMode="gray">
              <a:xfrm>
                <a:off x="1074"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2" name="AutoShape 88">
                <a:extLst>
                  <a:ext uri="{FF2B5EF4-FFF2-40B4-BE49-F238E27FC236}">
                    <a16:creationId xmlns:a16="http://schemas.microsoft.com/office/drawing/2014/main" xmlns="" id="{2406824B-6EA5-EFB9-7FC6-F7A3929B7B63}"/>
                  </a:ext>
                </a:extLst>
              </p:cNvPr>
              <p:cNvSpPr>
                <a:spLocks noChangeArrowheads="1"/>
              </p:cNvSpPr>
              <p:nvPr/>
            </p:nvSpPr>
            <p:spPr bwMode="gray">
              <a:xfrm>
                <a:off x="1074" y="211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3" name="AutoShape 89">
                <a:extLst>
                  <a:ext uri="{FF2B5EF4-FFF2-40B4-BE49-F238E27FC236}">
                    <a16:creationId xmlns:a16="http://schemas.microsoft.com/office/drawing/2014/main" xmlns="" id="{27081E99-1F3A-B465-4168-B34005432349}"/>
                  </a:ext>
                </a:extLst>
              </p:cNvPr>
              <p:cNvSpPr>
                <a:spLocks noChangeArrowheads="1"/>
              </p:cNvSpPr>
              <p:nvPr/>
            </p:nvSpPr>
            <p:spPr bwMode="gray">
              <a:xfrm>
                <a:off x="1044" y="209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4" name="AutoShape 90">
                <a:extLst>
                  <a:ext uri="{FF2B5EF4-FFF2-40B4-BE49-F238E27FC236}">
                    <a16:creationId xmlns:a16="http://schemas.microsoft.com/office/drawing/2014/main" xmlns="" id="{B0A3D8AA-E90B-869D-360B-1A16DE4247AA}"/>
                  </a:ext>
                </a:extLst>
              </p:cNvPr>
              <p:cNvSpPr>
                <a:spLocks noChangeArrowheads="1"/>
              </p:cNvSpPr>
              <p:nvPr/>
            </p:nvSpPr>
            <p:spPr bwMode="gray">
              <a:xfrm>
                <a:off x="1108"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6" name="AutoShape 91">
                <a:extLst>
                  <a:ext uri="{FF2B5EF4-FFF2-40B4-BE49-F238E27FC236}">
                    <a16:creationId xmlns:a16="http://schemas.microsoft.com/office/drawing/2014/main" xmlns="" id="{B1C645B7-F521-43F3-DD4B-40641CD0D7B1}"/>
                  </a:ext>
                </a:extLst>
              </p:cNvPr>
              <p:cNvSpPr>
                <a:spLocks noChangeArrowheads="1"/>
              </p:cNvSpPr>
              <p:nvPr/>
            </p:nvSpPr>
            <p:spPr bwMode="gray">
              <a:xfrm>
                <a:off x="1139" y="210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sp>
        <p:nvSpPr>
          <p:cNvPr id="100" name="Freeform 5">
            <a:extLst>
              <a:ext uri="{FF2B5EF4-FFF2-40B4-BE49-F238E27FC236}">
                <a16:creationId xmlns:a16="http://schemas.microsoft.com/office/drawing/2014/main" xmlns="" id="{8D5CE2F4-F489-7921-A64F-FC067C31F6C5}"/>
              </a:ext>
            </a:extLst>
          </p:cNvPr>
          <p:cNvSpPr>
            <a:spLocks/>
          </p:cNvSpPr>
          <p:nvPr/>
        </p:nvSpPr>
        <p:spPr bwMode="auto">
          <a:xfrm flipV="1">
            <a:off x="7642979" y="2610262"/>
            <a:ext cx="467251" cy="773922"/>
          </a:xfrm>
          <a:custGeom>
            <a:avLst/>
            <a:gdLst>
              <a:gd name="T0" fmla="*/ 810 w 1041"/>
              <a:gd name="T1" fmla="*/ 0 h 929"/>
              <a:gd name="T2" fmla="*/ 810 w 1041"/>
              <a:gd name="T3" fmla="*/ 714 h 929"/>
              <a:gd name="T4" fmla="*/ 1040 w 1041"/>
              <a:gd name="T5" fmla="*/ 714 h 929"/>
              <a:gd name="T6" fmla="*/ 524 w 1041"/>
              <a:gd name="T7" fmla="*/ 928 h 929"/>
              <a:gd name="T8" fmla="*/ 0 w 1041"/>
              <a:gd name="T9" fmla="*/ 714 h 929"/>
              <a:gd name="T10" fmla="*/ 230 w 1041"/>
              <a:gd name="T11" fmla="*/ 714 h 929"/>
              <a:gd name="T12" fmla="*/ 230 w 1041"/>
              <a:gd name="T13" fmla="*/ 0 h 929"/>
              <a:gd name="T14" fmla="*/ 810 w 1041"/>
              <a:gd name="T15" fmla="*/ 0 h 9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1" h="929">
                <a:moveTo>
                  <a:pt x="810" y="0"/>
                </a:moveTo>
                <a:lnTo>
                  <a:pt x="810" y="714"/>
                </a:lnTo>
                <a:lnTo>
                  <a:pt x="1040" y="714"/>
                </a:lnTo>
                <a:lnTo>
                  <a:pt x="524" y="928"/>
                </a:lnTo>
                <a:lnTo>
                  <a:pt x="0" y="714"/>
                </a:lnTo>
                <a:lnTo>
                  <a:pt x="230" y="714"/>
                </a:lnTo>
                <a:lnTo>
                  <a:pt x="230" y="0"/>
                </a:lnTo>
                <a:lnTo>
                  <a:pt x="810" y="0"/>
                </a:lnTo>
              </a:path>
            </a:pathLst>
          </a:custGeom>
          <a:solidFill>
            <a:srgbClr val="0C7723"/>
          </a:solidFill>
          <a:ln w="6350" cap="rnd" cmpd="sng">
            <a:noFill/>
            <a:prstDash val="solid"/>
            <a:round/>
            <a:headEnd type="none" w="med" len="med"/>
            <a:tailEnd type="none" w="med" len="med"/>
          </a:ln>
          <a:effectLst/>
        </p:spPr>
        <p:txBody>
          <a:bodyPr/>
          <a:lstStyle/>
          <a:p>
            <a:endParaRPr lang="en-ZA"/>
          </a:p>
        </p:txBody>
      </p:sp>
      <p:pic>
        <p:nvPicPr>
          <p:cNvPr id="3" name="Picture 12">
            <a:extLst>
              <a:ext uri="{FF2B5EF4-FFF2-40B4-BE49-F238E27FC236}">
                <a16:creationId xmlns:a16="http://schemas.microsoft.com/office/drawing/2014/main" xmlns="" id="{5401C588-9827-9FF4-4672-9398C41FAE86}"/>
              </a:ext>
            </a:extLst>
          </p:cNvPr>
          <p:cNvPicPr>
            <a:picLocks noChangeAspect="1"/>
          </p:cNvPicPr>
          <p:nvPr/>
        </p:nvPicPr>
        <p:blipFill>
          <a:blip r:embed="rId4"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D8EFDE24-7A9D-E1A7-8288-0BAC9EE4B53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3" name="Picture 12" descr="Logo&#10;&#10;Description automatically generated">
            <a:extLst>
              <a:ext uri="{FF2B5EF4-FFF2-40B4-BE49-F238E27FC236}">
                <a16:creationId xmlns:a16="http://schemas.microsoft.com/office/drawing/2014/main" xmlns="" id="{0CF0E317-769D-E9A1-87A0-8C978AF16382}"/>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4" name="Straight Connector 13">
            <a:extLst>
              <a:ext uri="{FF2B5EF4-FFF2-40B4-BE49-F238E27FC236}">
                <a16:creationId xmlns:a16="http://schemas.microsoft.com/office/drawing/2014/main" xmlns="" id="{DC712A94-A22E-FB9C-4CCA-AAC0B042447B}"/>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61CDD43C-1670-0C02-3B98-8E79E9DAE5CD}"/>
              </a:ext>
            </a:extLst>
          </p:cNvPr>
          <p:cNvCxnSpPr>
            <a:cxnSpLocks/>
          </p:cNvCxnSpPr>
          <p:nvPr/>
        </p:nvCxnSpPr>
        <p:spPr>
          <a:xfrm>
            <a:off x="2627950" y="3834452"/>
            <a:ext cx="511453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44951639"/>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7</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3" name="TextBox 12">
            <a:extLst>
              <a:ext uri="{FF2B5EF4-FFF2-40B4-BE49-F238E27FC236}">
                <a16:creationId xmlns:a16="http://schemas.microsoft.com/office/drawing/2014/main" xmlns="" id="{7D044223-BAF5-4FC8-A57B-16D7FAD88647}"/>
              </a:ext>
            </a:extLst>
          </p:cNvPr>
          <p:cNvSpPr txBox="1"/>
          <p:nvPr/>
        </p:nvSpPr>
        <p:spPr>
          <a:xfrm>
            <a:off x="204056" y="88060"/>
            <a:ext cx="87358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Development Impact:  Jobs Facilitated</a:t>
            </a:r>
          </a:p>
        </p:txBody>
      </p:sp>
      <p:sp>
        <p:nvSpPr>
          <p:cNvPr id="91" name="Rectangle 2">
            <a:extLst>
              <a:ext uri="{FF2B5EF4-FFF2-40B4-BE49-F238E27FC236}">
                <a16:creationId xmlns:a16="http://schemas.microsoft.com/office/drawing/2014/main" xmlns="" id="{911F526F-AE86-4B3A-A9EE-E49145CF095E}"/>
              </a:ext>
            </a:extLst>
          </p:cNvPr>
          <p:cNvSpPr>
            <a:spLocks noChangeArrowheads="1"/>
          </p:cNvSpPr>
          <p:nvPr/>
        </p:nvSpPr>
        <p:spPr bwMode="gray">
          <a:xfrm>
            <a:off x="1831547" y="1682820"/>
            <a:ext cx="1649412"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0" rIns="90000" bIns="0" anchor="ctr"/>
          <a:lstStyle/>
          <a:p>
            <a:pPr eaLnBrk="0" hangingPunct="0">
              <a:lnSpc>
                <a:spcPct val="90000"/>
              </a:lnSpc>
            </a:pPr>
            <a:r>
              <a:rPr lang="en-US" altLang="en-US" sz="1400" b="1">
                <a:solidFill>
                  <a:srgbClr val="0C7723"/>
                </a:solidFill>
                <a:latin typeface="Arial" panose="020B0604020202020204" pitchFamily="34" charset="0"/>
                <a:cs typeface="Arial" panose="020B0604020202020204" pitchFamily="34" charset="0"/>
              </a:rPr>
              <a:t>Targets</a:t>
            </a:r>
            <a:endParaRPr lang="en-US" altLang="en-US" sz="1200" b="1">
              <a:solidFill>
                <a:srgbClr val="0C7723"/>
              </a:solidFill>
              <a:latin typeface="Arial" panose="020B0604020202020204" pitchFamily="34" charset="0"/>
              <a:cs typeface="Arial" panose="020B0604020202020204" pitchFamily="34" charset="0"/>
            </a:endParaRPr>
          </a:p>
        </p:txBody>
      </p:sp>
      <p:sp>
        <p:nvSpPr>
          <p:cNvPr id="92" name="Rectangle 3">
            <a:extLst>
              <a:ext uri="{FF2B5EF4-FFF2-40B4-BE49-F238E27FC236}">
                <a16:creationId xmlns:a16="http://schemas.microsoft.com/office/drawing/2014/main" xmlns="" id="{8A3397F7-6B8C-4B14-8E2A-943388C0D88E}"/>
              </a:ext>
            </a:extLst>
          </p:cNvPr>
          <p:cNvSpPr>
            <a:spLocks noChangeArrowheads="1"/>
          </p:cNvSpPr>
          <p:nvPr/>
        </p:nvSpPr>
        <p:spPr bwMode="gray">
          <a:xfrm>
            <a:off x="1831547" y="2394020"/>
            <a:ext cx="1649412"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0" rIns="90000" bIns="0" anchor="ctr"/>
          <a:lstStyle/>
          <a:p>
            <a:pPr eaLnBrk="0" hangingPunct="0">
              <a:lnSpc>
                <a:spcPct val="90000"/>
              </a:lnSpc>
            </a:pPr>
            <a:r>
              <a:rPr lang="en-US" altLang="en-US" sz="1400" b="1">
                <a:solidFill>
                  <a:srgbClr val="0C7723"/>
                </a:solidFill>
                <a:latin typeface="Arial" panose="020B0604020202020204" pitchFamily="34" charset="0"/>
                <a:cs typeface="Arial" panose="020B0604020202020204" pitchFamily="34" charset="0"/>
              </a:rPr>
              <a:t>Achieved</a:t>
            </a:r>
          </a:p>
        </p:txBody>
      </p:sp>
      <p:sp>
        <p:nvSpPr>
          <p:cNvPr id="93" name="Rectangle 4">
            <a:extLst>
              <a:ext uri="{FF2B5EF4-FFF2-40B4-BE49-F238E27FC236}">
                <a16:creationId xmlns:a16="http://schemas.microsoft.com/office/drawing/2014/main" xmlns="" id="{EDA7C405-765F-4AE8-A2C6-C830B41E97BA}"/>
              </a:ext>
            </a:extLst>
          </p:cNvPr>
          <p:cNvSpPr>
            <a:spLocks noChangeArrowheads="1"/>
          </p:cNvSpPr>
          <p:nvPr/>
        </p:nvSpPr>
        <p:spPr bwMode="gray">
          <a:xfrm>
            <a:off x="1831547" y="3103632"/>
            <a:ext cx="1649412"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0" rIns="90000" bIns="0" anchor="ctr"/>
          <a:lstStyle/>
          <a:p>
            <a:pPr eaLnBrk="0" hangingPunct="0">
              <a:lnSpc>
                <a:spcPct val="90000"/>
              </a:lnSpc>
            </a:pPr>
            <a:r>
              <a:rPr lang="en-US" altLang="en-US" sz="1400" b="1">
                <a:solidFill>
                  <a:srgbClr val="0C7723"/>
                </a:solidFill>
                <a:latin typeface="Arial" panose="020B0604020202020204" pitchFamily="34" charset="0"/>
                <a:cs typeface="Arial" panose="020B0604020202020204" pitchFamily="34" charset="0"/>
              </a:rPr>
              <a:t>% Achieved</a:t>
            </a:r>
          </a:p>
        </p:txBody>
      </p:sp>
      <p:sp>
        <p:nvSpPr>
          <p:cNvPr id="96" name="Text Box 7">
            <a:extLst>
              <a:ext uri="{FF2B5EF4-FFF2-40B4-BE49-F238E27FC236}">
                <a16:creationId xmlns:a16="http://schemas.microsoft.com/office/drawing/2014/main" xmlns="" id="{967D4962-8339-4EDD-91E5-51D8F0DC94F6}"/>
              </a:ext>
            </a:extLst>
          </p:cNvPr>
          <p:cNvSpPr txBox="1">
            <a:spLocks noChangeArrowheads="1"/>
          </p:cNvSpPr>
          <p:nvPr/>
        </p:nvSpPr>
        <p:spPr bwMode="gray">
          <a:xfrm>
            <a:off x="4703334" y="1682820"/>
            <a:ext cx="1138238"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a:solidFill>
                  <a:srgbClr val="FD6B00"/>
                </a:solidFill>
                <a:latin typeface="Arial" panose="020B0604020202020204" pitchFamily="34" charset="0"/>
                <a:cs typeface="Arial" panose="020B0604020202020204" pitchFamily="34" charset="0"/>
              </a:rPr>
              <a:t>31 491</a:t>
            </a:r>
          </a:p>
        </p:txBody>
      </p:sp>
      <p:sp>
        <p:nvSpPr>
          <p:cNvPr id="97" name="Text Box 8">
            <a:extLst>
              <a:ext uri="{FF2B5EF4-FFF2-40B4-BE49-F238E27FC236}">
                <a16:creationId xmlns:a16="http://schemas.microsoft.com/office/drawing/2014/main" xmlns="" id="{5D8EDED4-C4C8-4040-BBAA-53C6B43668F9}"/>
              </a:ext>
            </a:extLst>
          </p:cNvPr>
          <p:cNvSpPr txBox="1">
            <a:spLocks noChangeArrowheads="1"/>
          </p:cNvSpPr>
          <p:nvPr/>
        </p:nvSpPr>
        <p:spPr bwMode="gray">
          <a:xfrm>
            <a:off x="4703334" y="2394020"/>
            <a:ext cx="1138238"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a:solidFill>
                  <a:srgbClr val="FD6B00"/>
                </a:solidFill>
                <a:latin typeface="Arial" panose="020B0604020202020204" pitchFamily="34" charset="0"/>
                <a:cs typeface="Arial" panose="020B0604020202020204" pitchFamily="34" charset="0"/>
              </a:rPr>
              <a:t>28 153</a:t>
            </a:r>
          </a:p>
        </p:txBody>
      </p:sp>
      <p:sp>
        <p:nvSpPr>
          <p:cNvPr id="98" name="Text Box 9">
            <a:extLst>
              <a:ext uri="{FF2B5EF4-FFF2-40B4-BE49-F238E27FC236}">
                <a16:creationId xmlns:a16="http://schemas.microsoft.com/office/drawing/2014/main" xmlns="" id="{9C0251DE-E447-4B50-BE56-0F3BE08CA525}"/>
              </a:ext>
            </a:extLst>
          </p:cNvPr>
          <p:cNvSpPr txBox="1">
            <a:spLocks noChangeArrowheads="1"/>
          </p:cNvSpPr>
          <p:nvPr/>
        </p:nvSpPr>
        <p:spPr bwMode="gray">
          <a:xfrm>
            <a:off x="4703334" y="3103632"/>
            <a:ext cx="1138238"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a:solidFill>
                  <a:srgbClr val="FD6B00"/>
                </a:solidFill>
                <a:latin typeface="Arial" panose="020B0604020202020204" pitchFamily="34" charset="0"/>
                <a:cs typeface="Arial" panose="020B0604020202020204" pitchFamily="34" charset="0"/>
              </a:rPr>
              <a:t>89%</a:t>
            </a:r>
          </a:p>
        </p:txBody>
      </p:sp>
      <p:sp>
        <p:nvSpPr>
          <p:cNvPr id="101" name="Text Box 12">
            <a:extLst>
              <a:ext uri="{FF2B5EF4-FFF2-40B4-BE49-F238E27FC236}">
                <a16:creationId xmlns:a16="http://schemas.microsoft.com/office/drawing/2014/main" xmlns="" id="{4BF80C34-2E7E-432D-A027-D42AB8A49151}"/>
              </a:ext>
            </a:extLst>
          </p:cNvPr>
          <p:cNvSpPr txBox="1">
            <a:spLocks noChangeArrowheads="1"/>
          </p:cNvSpPr>
          <p:nvPr/>
        </p:nvSpPr>
        <p:spPr bwMode="gray">
          <a:xfrm>
            <a:off x="4703334" y="957332"/>
            <a:ext cx="1138238" cy="698500"/>
          </a:xfrm>
          <a:prstGeom prst="round2SameRect">
            <a:avLst/>
          </a:prstGeom>
          <a:solidFill>
            <a:srgbClr val="FD6B00"/>
          </a:solidFill>
          <a:ln>
            <a:noFill/>
          </a:ln>
          <a:effectLst/>
        </p:spPr>
        <p:txBody>
          <a:bodyPr lIns="0" rIns="0" anchor="ctr"/>
          <a:lstStyle/>
          <a:p>
            <a:pPr algn="ctr" eaLnBrk="0" hangingPunct="0">
              <a:lnSpc>
                <a:spcPct val="90000"/>
              </a:lnSpc>
            </a:pPr>
            <a:r>
              <a:rPr lang="en-US" altLang="en-US" sz="1200" b="1">
                <a:solidFill>
                  <a:schemeClr val="bg1"/>
                </a:solidFill>
                <a:latin typeface="Arial" panose="020B0604020202020204" pitchFamily="34" charset="0"/>
                <a:cs typeface="Arial" panose="020B0604020202020204" pitchFamily="34" charset="0"/>
              </a:rPr>
              <a:t>Q3FY2022/23</a:t>
            </a:r>
          </a:p>
        </p:txBody>
      </p:sp>
      <p:sp>
        <p:nvSpPr>
          <p:cNvPr id="108" name="Text Box 19">
            <a:extLst>
              <a:ext uri="{FF2B5EF4-FFF2-40B4-BE49-F238E27FC236}">
                <a16:creationId xmlns:a16="http://schemas.microsoft.com/office/drawing/2014/main" xmlns="" id="{0F698A41-AA5A-473D-BC2D-691A07D3898B}"/>
              </a:ext>
            </a:extLst>
          </p:cNvPr>
          <p:cNvSpPr txBox="1">
            <a:spLocks noChangeArrowheads="1"/>
          </p:cNvSpPr>
          <p:nvPr/>
        </p:nvSpPr>
        <p:spPr bwMode="gray">
          <a:xfrm>
            <a:off x="3520647" y="1682820"/>
            <a:ext cx="1138237"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a:solidFill>
                  <a:srgbClr val="FD6B00"/>
                </a:solidFill>
                <a:latin typeface="Arial" panose="020B0604020202020204" pitchFamily="34" charset="0"/>
                <a:cs typeface="Arial" panose="020B0604020202020204" pitchFamily="34" charset="0"/>
              </a:rPr>
              <a:t>31 491</a:t>
            </a:r>
          </a:p>
        </p:txBody>
      </p:sp>
      <p:sp>
        <p:nvSpPr>
          <p:cNvPr id="109" name="Text Box 20">
            <a:extLst>
              <a:ext uri="{FF2B5EF4-FFF2-40B4-BE49-F238E27FC236}">
                <a16:creationId xmlns:a16="http://schemas.microsoft.com/office/drawing/2014/main" xmlns="" id="{61C3E9AF-8073-44C1-A3AF-F0EDFEC422F4}"/>
              </a:ext>
            </a:extLst>
          </p:cNvPr>
          <p:cNvSpPr txBox="1">
            <a:spLocks noChangeArrowheads="1"/>
          </p:cNvSpPr>
          <p:nvPr/>
        </p:nvSpPr>
        <p:spPr bwMode="gray">
          <a:xfrm>
            <a:off x="3520647" y="2394020"/>
            <a:ext cx="1138237"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a:solidFill>
                  <a:srgbClr val="FD6B00"/>
                </a:solidFill>
                <a:latin typeface="Arial" panose="020B0604020202020204" pitchFamily="34" charset="0"/>
                <a:cs typeface="Arial" panose="020B0604020202020204" pitchFamily="34" charset="0"/>
              </a:rPr>
              <a:t>15 177</a:t>
            </a:r>
          </a:p>
        </p:txBody>
      </p:sp>
      <p:sp>
        <p:nvSpPr>
          <p:cNvPr id="110" name="Text Box 21">
            <a:extLst>
              <a:ext uri="{FF2B5EF4-FFF2-40B4-BE49-F238E27FC236}">
                <a16:creationId xmlns:a16="http://schemas.microsoft.com/office/drawing/2014/main" xmlns="" id="{D555CBDF-E428-474A-864C-A318EE722F7E}"/>
              </a:ext>
            </a:extLst>
          </p:cNvPr>
          <p:cNvSpPr txBox="1">
            <a:spLocks noChangeArrowheads="1"/>
          </p:cNvSpPr>
          <p:nvPr/>
        </p:nvSpPr>
        <p:spPr bwMode="gray">
          <a:xfrm>
            <a:off x="3520647" y="3103632"/>
            <a:ext cx="1138237"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a:solidFill>
                  <a:srgbClr val="FD6B00"/>
                </a:solidFill>
                <a:latin typeface="Arial" panose="020B0604020202020204" pitchFamily="34" charset="0"/>
                <a:cs typeface="Arial" panose="020B0604020202020204" pitchFamily="34" charset="0"/>
              </a:rPr>
              <a:t>49%</a:t>
            </a:r>
          </a:p>
        </p:txBody>
      </p:sp>
      <p:sp>
        <p:nvSpPr>
          <p:cNvPr id="113" name="Text Box 24">
            <a:extLst>
              <a:ext uri="{FF2B5EF4-FFF2-40B4-BE49-F238E27FC236}">
                <a16:creationId xmlns:a16="http://schemas.microsoft.com/office/drawing/2014/main" xmlns="" id="{0045C25B-DC5C-4759-841E-27BB16E86BF3}"/>
              </a:ext>
            </a:extLst>
          </p:cNvPr>
          <p:cNvSpPr txBox="1">
            <a:spLocks noChangeArrowheads="1"/>
          </p:cNvSpPr>
          <p:nvPr/>
        </p:nvSpPr>
        <p:spPr bwMode="gray">
          <a:xfrm>
            <a:off x="3520647" y="957332"/>
            <a:ext cx="1138237" cy="698500"/>
          </a:xfrm>
          <a:prstGeom prst="round2SameRect">
            <a:avLst/>
          </a:prstGeom>
          <a:solidFill>
            <a:srgbClr val="FD6B00"/>
          </a:solidFill>
          <a:ln>
            <a:noFill/>
          </a:ln>
          <a:effectLst/>
        </p:spPr>
        <p:txBody>
          <a:bodyPr wrap="none" lIns="126000" tIns="45720" rIns="91440" bIns="45720" anchor="ctr"/>
          <a:lstStyle/>
          <a:p>
            <a:pPr algn="ctr" eaLnBrk="0" hangingPunct="0">
              <a:lnSpc>
                <a:spcPct val="90000"/>
              </a:lnSpc>
            </a:pPr>
            <a:r>
              <a:rPr lang="en-US" altLang="en-US" sz="1200" b="1">
                <a:solidFill>
                  <a:schemeClr val="bg1"/>
                </a:solidFill>
                <a:latin typeface="Arial"/>
                <a:cs typeface="Arial"/>
              </a:rPr>
              <a:t>Q2FY2022/23</a:t>
            </a:r>
            <a:endParaRPr lang="en-US" altLang="en-US" sz="1200" b="1">
              <a:solidFill>
                <a:schemeClr val="bg1"/>
              </a:solidFill>
              <a:latin typeface="Arial" panose="020B0604020202020204" pitchFamily="34" charset="0"/>
              <a:cs typeface="Arial" panose="020B0604020202020204" pitchFamily="34" charset="0"/>
            </a:endParaRPr>
          </a:p>
        </p:txBody>
      </p:sp>
      <p:sp>
        <p:nvSpPr>
          <p:cNvPr id="114" name="Text Box 25">
            <a:extLst>
              <a:ext uri="{FF2B5EF4-FFF2-40B4-BE49-F238E27FC236}">
                <a16:creationId xmlns:a16="http://schemas.microsoft.com/office/drawing/2014/main" xmlns="" id="{1B08063B-6EBC-4C2D-AC72-107597B6CA05}"/>
              </a:ext>
            </a:extLst>
          </p:cNvPr>
          <p:cNvSpPr txBox="1">
            <a:spLocks noChangeArrowheads="1"/>
          </p:cNvSpPr>
          <p:nvPr/>
        </p:nvSpPr>
        <p:spPr bwMode="gray">
          <a:xfrm>
            <a:off x="5882847" y="1682820"/>
            <a:ext cx="1139825"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endParaRPr lang="en-US" altLang="en-US" b="1">
              <a:solidFill>
                <a:srgbClr val="283C6E"/>
              </a:solidFill>
            </a:endParaRPr>
          </a:p>
        </p:txBody>
      </p:sp>
      <p:sp>
        <p:nvSpPr>
          <p:cNvPr id="115" name="Text Box 26">
            <a:extLst>
              <a:ext uri="{FF2B5EF4-FFF2-40B4-BE49-F238E27FC236}">
                <a16:creationId xmlns:a16="http://schemas.microsoft.com/office/drawing/2014/main" xmlns="" id="{0B7C4A8A-9287-4CD2-934A-651537E1A672}"/>
              </a:ext>
            </a:extLst>
          </p:cNvPr>
          <p:cNvSpPr txBox="1">
            <a:spLocks noChangeArrowheads="1"/>
          </p:cNvSpPr>
          <p:nvPr/>
        </p:nvSpPr>
        <p:spPr bwMode="gray">
          <a:xfrm>
            <a:off x="5882847" y="2394020"/>
            <a:ext cx="1139825"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endParaRPr lang="en-US" altLang="en-US" b="1">
              <a:solidFill>
                <a:srgbClr val="283C6E"/>
              </a:solidFill>
            </a:endParaRPr>
          </a:p>
        </p:txBody>
      </p:sp>
      <p:sp>
        <p:nvSpPr>
          <p:cNvPr id="116" name="Text Box 27">
            <a:extLst>
              <a:ext uri="{FF2B5EF4-FFF2-40B4-BE49-F238E27FC236}">
                <a16:creationId xmlns:a16="http://schemas.microsoft.com/office/drawing/2014/main" xmlns="" id="{36475A6A-A9E0-48F8-9632-4BAC872EDD70}"/>
              </a:ext>
            </a:extLst>
          </p:cNvPr>
          <p:cNvSpPr txBox="1">
            <a:spLocks noChangeArrowheads="1"/>
          </p:cNvSpPr>
          <p:nvPr/>
        </p:nvSpPr>
        <p:spPr bwMode="gray">
          <a:xfrm>
            <a:off x="5882847" y="3103632"/>
            <a:ext cx="1139825"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a:solidFill>
                  <a:srgbClr val="FD6B00"/>
                </a:solidFill>
                <a:latin typeface="Arial"/>
                <a:cs typeface="Arial"/>
              </a:rPr>
              <a:t>85%</a:t>
            </a:r>
          </a:p>
        </p:txBody>
      </p:sp>
      <p:sp>
        <p:nvSpPr>
          <p:cNvPr id="119" name="Text Box 30">
            <a:extLst>
              <a:ext uri="{FF2B5EF4-FFF2-40B4-BE49-F238E27FC236}">
                <a16:creationId xmlns:a16="http://schemas.microsoft.com/office/drawing/2014/main" xmlns="" id="{048E91DA-A892-4467-8890-C7E096F5CA36}"/>
              </a:ext>
            </a:extLst>
          </p:cNvPr>
          <p:cNvSpPr txBox="1">
            <a:spLocks noChangeArrowheads="1"/>
          </p:cNvSpPr>
          <p:nvPr/>
        </p:nvSpPr>
        <p:spPr bwMode="gray">
          <a:xfrm>
            <a:off x="5882847" y="957332"/>
            <a:ext cx="1139825" cy="698500"/>
          </a:xfrm>
          <a:prstGeom prst="round2SameRect">
            <a:avLst/>
          </a:prstGeom>
          <a:solidFill>
            <a:srgbClr val="FD6B00"/>
          </a:solidFill>
          <a:ln>
            <a:noFill/>
          </a:ln>
          <a:effectLst/>
        </p:spPr>
        <p:txBody>
          <a:bodyPr wrap="none" lIns="126000" anchor="ctr"/>
          <a:lstStyle/>
          <a:p>
            <a:pPr algn="ctr" eaLnBrk="0" hangingPunct="0">
              <a:lnSpc>
                <a:spcPct val="90000"/>
              </a:lnSpc>
            </a:pPr>
            <a:r>
              <a:rPr lang="en-US" altLang="en-US" sz="1200" b="1">
                <a:solidFill>
                  <a:schemeClr val="bg1"/>
                </a:solidFill>
                <a:latin typeface="Arial" panose="020B0604020202020204" pitchFamily="34" charset="0"/>
                <a:cs typeface="Arial" panose="020B0604020202020204" pitchFamily="34" charset="0"/>
              </a:rPr>
              <a:t>%change</a:t>
            </a:r>
          </a:p>
        </p:txBody>
      </p:sp>
      <p:sp>
        <p:nvSpPr>
          <p:cNvPr id="134" name="Rectangle 45">
            <a:extLst>
              <a:ext uri="{FF2B5EF4-FFF2-40B4-BE49-F238E27FC236}">
                <a16:creationId xmlns:a16="http://schemas.microsoft.com/office/drawing/2014/main" xmlns="" id="{3DCFE7BB-564A-425D-875A-88ABF201F922}"/>
              </a:ext>
            </a:extLst>
          </p:cNvPr>
          <p:cNvSpPr>
            <a:spLocks noChangeArrowheads="1"/>
          </p:cNvSpPr>
          <p:nvPr/>
        </p:nvSpPr>
        <p:spPr bwMode="gray">
          <a:xfrm rot="16200000">
            <a:off x="514004" y="2471731"/>
            <a:ext cx="2098674" cy="517678"/>
          </a:xfrm>
          <a:prstGeom prst="round2SameRect">
            <a:avLst/>
          </a:prstGeom>
          <a:solidFill>
            <a:srgbClr val="FD6B00"/>
          </a:solidFill>
          <a:ln>
            <a:noFill/>
          </a:ln>
          <a:effectLst/>
        </p:spPr>
        <p:txBody>
          <a:bodyPr wrap="none" anchor="ctr"/>
          <a:lstStyle/>
          <a:p>
            <a:pPr algn="ctr">
              <a:buFont typeface="Wingdings" panose="05000000000000000000" pitchFamily="2" charset="2"/>
              <a:buNone/>
            </a:pPr>
            <a:endParaRPr lang="en-US" altLang="en-US" sz="1400"/>
          </a:p>
        </p:txBody>
      </p:sp>
      <p:grpSp>
        <p:nvGrpSpPr>
          <p:cNvPr id="181" name="Group 180">
            <a:extLst>
              <a:ext uri="{FF2B5EF4-FFF2-40B4-BE49-F238E27FC236}">
                <a16:creationId xmlns:a16="http://schemas.microsoft.com/office/drawing/2014/main" xmlns="" id="{FAA6CCE3-114B-42E4-8EA4-40F1AE74FA17}"/>
              </a:ext>
            </a:extLst>
          </p:cNvPr>
          <p:cNvGrpSpPr/>
          <p:nvPr/>
        </p:nvGrpSpPr>
        <p:grpSpPr>
          <a:xfrm>
            <a:off x="1305459" y="3566092"/>
            <a:ext cx="6404601" cy="1053740"/>
            <a:chOff x="1533410" y="2677775"/>
            <a:chExt cx="6586538" cy="1155700"/>
          </a:xfrm>
        </p:grpSpPr>
        <p:sp>
          <p:nvSpPr>
            <p:cNvPr id="182" name="AutoShape 42">
              <a:extLst>
                <a:ext uri="{FF2B5EF4-FFF2-40B4-BE49-F238E27FC236}">
                  <a16:creationId xmlns:a16="http://schemas.microsoft.com/office/drawing/2014/main" xmlns="" id="{2477A8F9-221C-41CC-BDBD-FE5C8BBAF89C}"/>
                </a:ext>
              </a:extLst>
            </p:cNvPr>
            <p:cNvSpPr>
              <a:spLocks noChangeArrowheads="1"/>
            </p:cNvSpPr>
            <p:nvPr/>
          </p:nvSpPr>
          <p:spPr bwMode="gray">
            <a:xfrm>
              <a:off x="1533410" y="2677775"/>
              <a:ext cx="6586538" cy="1155700"/>
            </a:xfrm>
            <a:prstGeom prst="rightArrow">
              <a:avLst>
                <a:gd name="adj1" fmla="val 54398"/>
                <a:gd name="adj2" fmla="val 60369"/>
              </a:avLst>
            </a:prstGeom>
            <a:solidFill>
              <a:srgbClr val="FD6B00"/>
            </a:solidFill>
            <a:ln>
              <a:noFill/>
            </a:ln>
            <a:effectLst/>
          </p:spPr>
          <p:txBody>
            <a:bodyPr wrap="none" anchor="ctr"/>
            <a:lstStyle/>
            <a:p>
              <a:pPr algn="ctr"/>
              <a:endParaRPr lang="en-US" altLang="en-US" sz="1600"/>
            </a:p>
          </p:txBody>
        </p:sp>
        <p:grpSp>
          <p:nvGrpSpPr>
            <p:cNvPr id="183" name="Group 182">
              <a:extLst>
                <a:ext uri="{FF2B5EF4-FFF2-40B4-BE49-F238E27FC236}">
                  <a16:creationId xmlns:a16="http://schemas.microsoft.com/office/drawing/2014/main" xmlns="" id="{5EF16835-193C-415B-BD92-114E1A4E111A}"/>
                </a:ext>
              </a:extLst>
            </p:cNvPr>
            <p:cNvGrpSpPr/>
            <p:nvPr/>
          </p:nvGrpSpPr>
          <p:grpSpPr>
            <a:xfrm>
              <a:off x="2921182" y="2976480"/>
              <a:ext cx="558800" cy="558801"/>
              <a:chOff x="3303975" y="2412261"/>
              <a:chExt cx="558800" cy="558801"/>
            </a:xfrm>
          </p:grpSpPr>
          <p:sp>
            <p:nvSpPr>
              <p:cNvPr id="274" name="Oval 19">
                <a:extLst>
                  <a:ext uri="{FF2B5EF4-FFF2-40B4-BE49-F238E27FC236}">
                    <a16:creationId xmlns:a16="http://schemas.microsoft.com/office/drawing/2014/main" xmlns="" id="{76832E75-58DA-4683-9174-4ED290777E93}"/>
                  </a:ext>
                </a:extLst>
              </p:cNvPr>
              <p:cNvSpPr>
                <a:spLocks noChangeArrowheads="1"/>
              </p:cNvSpPr>
              <p:nvPr/>
            </p:nvSpPr>
            <p:spPr bwMode="gray">
              <a:xfrm>
                <a:off x="3303975" y="2412261"/>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75" name="Group 60">
                <a:extLst>
                  <a:ext uri="{FF2B5EF4-FFF2-40B4-BE49-F238E27FC236}">
                    <a16:creationId xmlns:a16="http://schemas.microsoft.com/office/drawing/2014/main" xmlns="" id="{4327515D-4077-4AB5-BD46-89997506B509}"/>
                  </a:ext>
                </a:extLst>
              </p:cNvPr>
              <p:cNvGrpSpPr>
                <a:grpSpLocks/>
              </p:cNvGrpSpPr>
              <p:nvPr/>
            </p:nvGrpSpPr>
            <p:grpSpPr bwMode="auto">
              <a:xfrm>
                <a:off x="3484558" y="2496134"/>
                <a:ext cx="200026" cy="366713"/>
                <a:chOff x="1331" y="2050"/>
                <a:chExt cx="126" cy="231"/>
              </a:xfrm>
            </p:grpSpPr>
            <p:sp>
              <p:nvSpPr>
                <p:cNvPr id="276" name="Oval 61">
                  <a:extLst>
                    <a:ext uri="{FF2B5EF4-FFF2-40B4-BE49-F238E27FC236}">
                      <a16:creationId xmlns:a16="http://schemas.microsoft.com/office/drawing/2014/main" xmlns="" id="{BF6EBCDC-4504-4FE5-9D0E-03BDD7DDDEEF}"/>
                    </a:ext>
                  </a:extLst>
                </p:cNvPr>
                <p:cNvSpPr>
                  <a:spLocks noChangeArrowheads="1"/>
                </p:cNvSpPr>
                <p:nvPr/>
              </p:nvSpPr>
              <p:spPr bwMode="gray">
                <a:xfrm>
                  <a:off x="1370" y="2050"/>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7" name="AutoShape 62">
                  <a:extLst>
                    <a:ext uri="{FF2B5EF4-FFF2-40B4-BE49-F238E27FC236}">
                      <a16:creationId xmlns:a16="http://schemas.microsoft.com/office/drawing/2014/main" xmlns="" id="{7AFD5043-5109-4D8D-89F6-84776E50BA3D}"/>
                    </a:ext>
                  </a:extLst>
                </p:cNvPr>
                <p:cNvSpPr>
                  <a:spLocks noChangeArrowheads="1"/>
                </p:cNvSpPr>
                <p:nvPr/>
              </p:nvSpPr>
              <p:spPr bwMode="gray">
                <a:xfrm>
                  <a:off x="1331" y="2109"/>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8" name="AutoShape 63">
                  <a:extLst>
                    <a:ext uri="{FF2B5EF4-FFF2-40B4-BE49-F238E27FC236}">
                      <a16:creationId xmlns:a16="http://schemas.microsoft.com/office/drawing/2014/main" xmlns="" id="{A7A5F47B-283C-45E4-9C70-0CF9CC5AE99C}"/>
                    </a:ext>
                  </a:extLst>
                </p:cNvPr>
                <p:cNvSpPr>
                  <a:spLocks noChangeArrowheads="1"/>
                </p:cNvSpPr>
                <p:nvPr/>
              </p:nvSpPr>
              <p:spPr bwMode="gray">
                <a:xfrm>
                  <a:off x="1364" y="2115"/>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9" name="AutoShape 64">
                  <a:extLst>
                    <a:ext uri="{FF2B5EF4-FFF2-40B4-BE49-F238E27FC236}">
                      <a16:creationId xmlns:a16="http://schemas.microsoft.com/office/drawing/2014/main" xmlns="" id="{2687AF27-CBFF-4EE7-8F9B-4F083EB88805}"/>
                    </a:ext>
                  </a:extLst>
                </p:cNvPr>
                <p:cNvSpPr>
                  <a:spLocks noChangeArrowheads="1"/>
                </p:cNvSpPr>
                <p:nvPr/>
              </p:nvSpPr>
              <p:spPr bwMode="gray">
                <a:xfrm>
                  <a:off x="1364" y="2118"/>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80" name="AutoShape 65">
                  <a:extLst>
                    <a:ext uri="{FF2B5EF4-FFF2-40B4-BE49-F238E27FC236}">
                      <a16:creationId xmlns:a16="http://schemas.microsoft.com/office/drawing/2014/main" xmlns="" id="{96823E03-8A04-4619-9930-8B4869C45248}"/>
                    </a:ext>
                  </a:extLst>
                </p:cNvPr>
                <p:cNvSpPr>
                  <a:spLocks noChangeArrowheads="1"/>
                </p:cNvSpPr>
                <p:nvPr/>
              </p:nvSpPr>
              <p:spPr bwMode="gray">
                <a:xfrm>
                  <a:off x="1334" y="2104"/>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81" name="AutoShape 66">
                  <a:extLst>
                    <a:ext uri="{FF2B5EF4-FFF2-40B4-BE49-F238E27FC236}">
                      <a16:creationId xmlns:a16="http://schemas.microsoft.com/office/drawing/2014/main" xmlns="" id="{59353010-EBB6-47E6-8B7F-E1624AF01C04}"/>
                    </a:ext>
                  </a:extLst>
                </p:cNvPr>
                <p:cNvSpPr>
                  <a:spLocks noChangeArrowheads="1"/>
                </p:cNvSpPr>
                <p:nvPr/>
              </p:nvSpPr>
              <p:spPr bwMode="gray">
                <a:xfrm>
                  <a:off x="1398" y="2115"/>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82" name="AutoShape 67">
                  <a:extLst>
                    <a:ext uri="{FF2B5EF4-FFF2-40B4-BE49-F238E27FC236}">
                      <a16:creationId xmlns:a16="http://schemas.microsoft.com/office/drawing/2014/main" xmlns="" id="{3005F71F-68C3-42B2-99D1-48DC85DEA687}"/>
                    </a:ext>
                  </a:extLst>
                </p:cNvPr>
                <p:cNvSpPr>
                  <a:spLocks noChangeArrowheads="1"/>
                </p:cNvSpPr>
                <p:nvPr/>
              </p:nvSpPr>
              <p:spPr bwMode="gray">
                <a:xfrm>
                  <a:off x="1429" y="2109"/>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4" name="Group 183">
              <a:extLst>
                <a:ext uri="{FF2B5EF4-FFF2-40B4-BE49-F238E27FC236}">
                  <a16:creationId xmlns:a16="http://schemas.microsoft.com/office/drawing/2014/main" xmlns="" id="{59487EA1-F4A0-4FB5-B009-AD9E151D4FB3}"/>
                </a:ext>
              </a:extLst>
            </p:cNvPr>
            <p:cNvGrpSpPr/>
            <p:nvPr/>
          </p:nvGrpSpPr>
          <p:grpSpPr>
            <a:xfrm>
              <a:off x="3446797" y="2957513"/>
              <a:ext cx="613318" cy="596738"/>
              <a:chOff x="4680714" y="2382793"/>
              <a:chExt cx="558801" cy="558800"/>
            </a:xfrm>
          </p:grpSpPr>
          <p:sp>
            <p:nvSpPr>
              <p:cNvPr id="265" name="Oval 24">
                <a:extLst>
                  <a:ext uri="{FF2B5EF4-FFF2-40B4-BE49-F238E27FC236}">
                    <a16:creationId xmlns:a16="http://schemas.microsoft.com/office/drawing/2014/main" xmlns="" id="{D6C8F3C8-0D1C-45E3-8FF1-62474A852263}"/>
                  </a:ext>
                </a:extLst>
              </p:cNvPr>
              <p:cNvSpPr>
                <a:spLocks noChangeArrowheads="1"/>
              </p:cNvSpPr>
              <p:nvPr/>
            </p:nvSpPr>
            <p:spPr bwMode="gray">
              <a:xfrm>
                <a:off x="4680714" y="2382793"/>
                <a:ext cx="558801"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66" name="Group 76">
                <a:extLst>
                  <a:ext uri="{FF2B5EF4-FFF2-40B4-BE49-F238E27FC236}">
                    <a16:creationId xmlns:a16="http://schemas.microsoft.com/office/drawing/2014/main" xmlns="" id="{1568BECA-BA55-4F69-BD9C-D15AD8179986}"/>
                  </a:ext>
                </a:extLst>
              </p:cNvPr>
              <p:cNvGrpSpPr>
                <a:grpSpLocks/>
              </p:cNvGrpSpPr>
              <p:nvPr/>
            </p:nvGrpSpPr>
            <p:grpSpPr bwMode="auto">
              <a:xfrm>
                <a:off x="4851521" y="2481848"/>
                <a:ext cx="200037" cy="366713"/>
                <a:chOff x="1298" y="2041"/>
                <a:chExt cx="126" cy="231"/>
              </a:xfrm>
            </p:grpSpPr>
            <p:sp>
              <p:nvSpPr>
                <p:cNvPr id="267" name="Oval 77">
                  <a:extLst>
                    <a:ext uri="{FF2B5EF4-FFF2-40B4-BE49-F238E27FC236}">
                      <a16:creationId xmlns:a16="http://schemas.microsoft.com/office/drawing/2014/main" xmlns="" id="{A91A159F-0197-4468-9D1E-3C8E413A6BB6}"/>
                    </a:ext>
                  </a:extLst>
                </p:cNvPr>
                <p:cNvSpPr>
                  <a:spLocks noChangeArrowheads="1"/>
                </p:cNvSpPr>
                <p:nvPr/>
              </p:nvSpPr>
              <p:spPr bwMode="gray">
                <a:xfrm>
                  <a:off x="1337" y="2041"/>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8" name="AutoShape 78">
                  <a:extLst>
                    <a:ext uri="{FF2B5EF4-FFF2-40B4-BE49-F238E27FC236}">
                      <a16:creationId xmlns:a16="http://schemas.microsoft.com/office/drawing/2014/main" xmlns="" id="{D59FDCAC-BE04-435D-98C9-C25680F18A72}"/>
                    </a:ext>
                  </a:extLst>
                </p:cNvPr>
                <p:cNvSpPr>
                  <a:spLocks noChangeArrowheads="1"/>
                </p:cNvSpPr>
                <p:nvPr/>
              </p:nvSpPr>
              <p:spPr bwMode="gray">
                <a:xfrm>
                  <a:off x="1298" y="2100"/>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9" name="AutoShape 79">
                  <a:extLst>
                    <a:ext uri="{FF2B5EF4-FFF2-40B4-BE49-F238E27FC236}">
                      <a16:creationId xmlns:a16="http://schemas.microsoft.com/office/drawing/2014/main" xmlns="" id="{53DC9541-9B08-4EE7-9207-34B7EC439796}"/>
                    </a:ext>
                  </a:extLst>
                </p:cNvPr>
                <p:cNvSpPr>
                  <a:spLocks noChangeArrowheads="1"/>
                </p:cNvSpPr>
                <p:nvPr/>
              </p:nvSpPr>
              <p:spPr bwMode="gray">
                <a:xfrm>
                  <a:off x="1331" y="2106"/>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0" name="AutoShape 80">
                  <a:extLst>
                    <a:ext uri="{FF2B5EF4-FFF2-40B4-BE49-F238E27FC236}">
                      <a16:creationId xmlns:a16="http://schemas.microsoft.com/office/drawing/2014/main" xmlns="" id="{382B87B6-F14F-466B-8821-B7B1213AB576}"/>
                    </a:ext>
                  </a:extLst>
                </p:cNvPr>
                <p:cNvSpPr>
                  <a:spLocks noChangeArrowheads="1"/>
                </p:cNvSpPr>
                <p:nvPr/>
              </p:nvSpPr>
              <p:spPr bwMode="gray">
                <a:xfrm>
                  <a:off x="1331" y="2109"/>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1" name="AutoShape 81">
                  <a:extLst>
                    <a:ext uri="{FF2B5EF4-FFF2-40B4-BE49-F238E27FC236}">
                      <a16:creationId xmlns:a16="http://schemas.microsoft.com/office/drawing/2014/main" xmlns="" id="{602F9849-0015-4040-96A7-65C61BEDAC9F}"/>
                    </a:ext>
                  </a:extLst>
                </p:cNvPr>
                <p:cNvSpPr>
                  <a:spLocks noChangeArrowheads="1"/>
                </p:cNvSpPr>
                <p:nvPr/>
              </p:nvSpPr>
              <p:spPr bwMode="gray">
                <a:xfrm>
                  <a:off x="1301" y="2095"/>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2" name="AutoShape 82">
                  <a:extLst>
                    <a:ext uri="{FF2B5EF4-FFF2-40B4-BE49-F238E27FC236}">
                      <a16:creationId xmlns:a16="http://schemas.microsoft.com/office/drawing/2014/main" xmlns="" id="{3F0AE45B-F16E-4211-B5E4-E3024CB0335C}"/>
                    </a:ext>
                  </a:extLst>
                </p:cNvPr>
                <p:cNvSpPr>
                  <a:spLocks noChangeArrowheads="1"/>
                </p:cNvSpPr>
                <p:nvPr/>
              </p:nvSpPr>
              <p:spPr bwMode="gray">
                <a:xfrm>
                  <a:off x="1365" y="2106"/>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3" name="AutoShape 83">
                  <a:extLst>
                    <a:ext uri="{FF2B5EF4-FFF2-40B4-BE49-F238E27FC236}">
                      <a16:creationId xmlns:a16="http://schemas.microsoft.com/office/drawing/2014/main" xmlns="" id="{EF92D37B-6C42-4FD9-9181-DB751222469C}"/>
                    </a:ext>
                  </a:extLst>
                </p:cNvPr>
                <p:cNvSpPr>
                  <a:spLocks noChangeArrowheads="1"/>
                </p:cNvSpPr>
                <p:nvPr/>
              </p:nvSpPr>
              <p:spPr bwMode="gray">
                <a:xfrm>
                  <a:off x="1396" y="2100"/>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5" name="Group 184">
              <a:extLst>
                <a:ext uri="{FF2B5EF4-FFF2-40B4-BE49-F238E27FC236}">
                  <a16:creationId xmlns:a16="http://schemas.microsoft.com/office/drawing/2014/main" xmlns="" id="{B944F0D0-50B6-4301-9CFF-9358DC653BCD}"/>
                </a:ext>
              </a:extLst>
            </p:cNvPr>
            <p:cNvGrpSpPr/>
            <p:nvPr/>
          </p:nvGrpSpPr>
          <p:grpSpPr>
            <a:xfrm>
              <a:off x="4026926" y="2976480"/>
              <a:ext cx="558800" cy="558801"/>
              <a:chOff x="6134157" y="2364713"/>
              <a:chExt cx="558800" cy="558801"/>
            </a:xfrm>
          </p:grpSpPr>
          <p:sp>
            <p:nvSpPr>
              <p:cNvPr id="256" name="Oval 30">
                <a:extLst>
                  <a:ext uri="{FF2B5EF4-FFF2-40B4-BE49-F238E27FC236}">
                    <a16:creationId xmlns:a16="http://schemas.microsoft.com/office/drawing/2014/main" xmlns="" id="{EE8CB82E-6585-4292-80B9-7EC8FE22311E}"/>
                  </a:ext>
                </a:extLst>
              </p:cNvPr>
              <p:cNvSpPr>
                <a:spLocks noChangeArrowheads="1"/>
              </p:cNvSpPr>
              <p:nvPr/>
            </p:nvSpPr>
            <p:spPr bwMode="gray">
              <a:xfrm>
                <a:off x="6134157" y="2364713"/>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57" name="Group 92">
                <a:extLst>
                  <a:ext uri="{FF2B5EF4-FFF2-40B4-BE49-F238E27FC236}">
                    <a16:creationId xmlns:a16="http://schemas.microsoft.com/office/drawing/2014/main" xmlns="" id="{CA616892-9A6D-4231-B8C6-967CE6FD954D}"/>
                  </a:ext>
                </a:extLst>
              </p:cNvPr>
              <p:cNvGrpSpPr>
                <a:grpSpLocks/>
              </p:cNvGrpSpPr>
              <p:nvPr/>
            </p:nvGrpSpPr>
            <p:grpSpPr bwMode="auto">
              <a:xfrm>
                <a:off x="6313483" y="2462800"/>
                <a:ext cx="200026" cy="366713"/>
                <a:chOff x="1309" y="2029"/>
                <a:chExt cx="126" cy="231"/>
              </a:xfrm>
            </p:grpSpPr>
            <p:sp>
              <p:nvSpPr>
                <p:cNvPr id="258" name="Oval 93">
                  <a:extLst>
                    <a:ext uri="{FF2B5EF4-FFF2-40B4-BE49-F238E27FC236}">
                      <a16:creationId xmlns:a16="http://schemas.microsoft.com/office/drawing/2014/main" xmlns="" id="{84E8A8A3-63DF-468E-B76F-4EA407AA2849}"/>
                    </a:ext>
                  </a:extLst>
                </p:cNvPr>
                <p:cNvSpPr>
                  <a:spLocks noChangeArrowheads="1"/>
                </p:cNvSpPr>
                <p:nvPr/>
              </p:nvSpPr>
              <p:spPr bwMode="gray">
                <a:xfrm>
                  <a:off x="1348" y="2029"/>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9" name="AutoShape 94">
                  <a:extLst>
                    <a:ext uri="{FF2B5EF4-FFF2-40B4-BE49-F238E27FC236}">
                      <a16:creationId xmlns:a16="http://schemas.microsoft.com/office/drawing/2014/main" xmlns="" id="{C9B94842-A9E1-4FEF-AC3C-F103C9821591}"/>
                    </a:ext>
                  </a:extLst>
                </p:cNvPr>
                <p:cNvSpPr>
                  <a:spLocks noChangeArrowheads="1"/>
                </p:cNvSpPr>
                <p:nvPr/>
              </p:nvSpPr>
              <p:spPr bwMode="gray">
                <a:xfrm>
                  <a:off x="1309" y="2088"/>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0" name="AutoShape 95">
                  <a:extLst>
                    <a:ext uri="{FF2B5EF4-FFF2-40B4-BE49-F238E27FC236}">
                      <a16:creationId xmlns:a16="http://schemas.microsoft.com/office/drawing/2014/main" xmlns="" id="{0F57FA89-CF83-4C85-B06E-A8B4D6A82619}"/>
                    </a:ext>
                  </a:extLst>
                </p:cNvPr>
                <p:cNvSpPr>
                  <a:spLocks noChangeArrowheads="1"/>
                </p:cNvSpPr>
                <p:nvPr/>
              </p:nvSpPr>
              <p:spPr bwMode="gray">
                <a:xfrm>
                  <a:off x="1342"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1" name="AutoShape 96">
                  <a:extLst>
                    <a:ext uri="{FF2B5EF4-FFF2-40B4-BE49-F238E27FC236}">
                      <a16:creationId xmlns:a16="http://schemas.microsoft.com/office/drawing/2014/main" xmlns="" id="{5226DAF0-2228-4C36-85AB-C5B6D267E79E}"/>
                    </a:ext>
                  </a:extLst>
                </p:cNvPr>
                <p:cNvSpPr>
                  <a:spLocks noChangeArrowheads="1"/>
                </p:cNvSpPr>
                <p:nvPr/>
              </p:nvSpPr>
              <p:spPr bwMode="gray">
                <a:xfrm>
                  <a:off x="1342" y="2097"/>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2" name="AutoShape 97">
                  <a:extLst>
                    <a:ext uri="{FF2B5EF4-FFF2-40B4-BE49-F238E27FC236}">
                      <a16:creationId xmlns:a16="http://schemas.microsoft.com/office/drawing/2014/main" xmlns="" id="{FDC91787-532C-42FC-89C3-F698621D8095}"/>
                    </a:ext>
                  </a:extLst>
                </p:cNvPr>
                <p:cNvSpPr>
                  <a:spLocks noChangeArrowheads="1"/>
                </p:cNvSpPr>
                <p:nvPr/>
              </p:nvSpPr>
              <p:spPr bwMode="gray">
                <a:xfrm>
                  <a:off x="1312" y="2083"/>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3" name="AutoShape 98">
                  <a:extLst>
                    <a:ext uri="{FF2B5EF4-FFF2-40B4-BE49-F238E27FC236}">
                      <a16:creationId xmlns:a16="http://schemas.microsoft.com/office/drawing/2014/main" xmlns="" id="{EAB68D49-5A5C-4F38-AACC-5C360D10A332}"/>
                    </a:ext>
                  </a:extLst>
                </p:cNvPr>
                <p:cNvSpPr>
                  <a:spLocks noChangeArrowheads="1"/>
                </p:cNvSpPr>
                <p:nvPr/>
              </p:nvSpPr>
              <p:spPr bwMode="gray">
                <a:xfrm>
                  <a:off x="1376"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4" name="AutoShape 99">
                  <a:extLst>
                    <a:ext uri="{FF2B5EF4-FFF2-40B4-BE49-F238E27FC236}">
                      <a16:creationId xmlns:a16="http://schemas.microsoft.com/office/drawing/2014/main" xmlns="" id="{493B25BA-0FA9-4A48-8CD3-A8F45A70C2A1}"/>
                    </a:ext>
                  </a:extLst>
                </p:cNvPr>
                <p:cNvSpPr>
                  <a:spLocks noChangeArrowheads="1"/>
                </p:cNvSpPr>
                <p:nvPr/>
              </p:nvSpPr>
              <p:spPr bwMode="gray">
                <a:xfrm>
                  <a:off x="1407" y="2088"/>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6" name="Group 185">
              <a:extLst>
                <a:ext uri="{FF2B5EF4-FFF2-40B4-BE49-F238E27FC236}">
                  <a16:creationId xmlns:a16="http://schemas.microsoft.com/office/drawing/2014/main" xmlns="" id="{19952F51-A4A9-4703-8864-F68899D7625E}"/>
                </a:ext>
              </a:extLst>
            </p:cNvPr>
            <p:cNvGrpSpPr/>
            <p:nvPr/>
          </p:nvGrpSpPr>
          <p:grpSpPr>
            <a:xfrm>
              <a:off x="4552540" y="2976481"/>
              <a:ext cx="558800" cy="558801"/>
              <a:chOff x="6839660" y="2360571"/>
              <a:chExt cx="558800" cy="558801"/>
            </a:xfrm>
          </p:grpSpPr>
          <p:sp>
            <p:nvSpPr>
              <p:cNvPr id="247" name="Oval 32">
                <a:extLst>
                  <a:ext uri="{FF2B5EF4-FFF2-40B4-BE49-F238E27FC236}">
                    <a16:creationId xmlns:a16="http://schemas.microsoft.com/office/drawing/2014/main" xmlns="" id="{DD0FB2F0-0B6D-40B8-B232-B1ABBC9DAABF}"/>
                  </a:ext>
                </a:extLst>
              </p:cNvPr>
              <p:cNvSpPr>
                <a:spLocks noChangeArrowheads="1"/>
              </p:cNvSpPr>
              <p:nvPr/>
            </p:nvSpPr>
            <p:spPr bwMode="gray">
              <a:xfrm>
                <a:off x="6839660" y="2360571"/>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48" name="Group 100">
                <a:extLst>
                  <a:ext uri="{FF2B5EF4-FFF2-40B4-BE49-F238E27FC236}">
                    <a16:creationId xmlns:a16="http://schemas.microsoft.com/office/drawing/2014/main" xmlns="" id="{FBD2FD74-A613-4671-B9CB-F7CA0358D517}"/>
                  </a:ext>
                </a:extLst>
              </p:cNvPr>
              <p:cNvGrpSpPr>
                <a:grpSpLocks/>
              </p:cNvGrpSpPr>
              <p:nvPr/>
            </p:nvGrpSpPr>
            <p:grpSpPr bwMode="auto">
              <a:xfrm>
                <a:off x="7016746" y="2462800"/>
                <a:ext cx="200026" cy="366713"/>
                <a:chOff x="1295" y="2029"/>
                <a:chExt cx="126" cy="231"/>
              </a:xfrm>
            </p:grpSpPr>
            <p:sp>
              <p:nvSpPr>
                <p:cNvPr id="249" name="Oval 101">
                  <a:extLst>
                    <a:ext uri="{FF2B5EF4-FFF2-40B4-BE49-F238E27FC236}">
                      <a16:creationId xmlns:a16="http://schemas.microsoft.com/office/drawing/2014/main" xmlns="" id="{13BAA279-6C68-48EE-B8C7-372490CD8CBE}"/>
                    </a:ext>
                  </a:extLst>
                </p:cNvPr>
                <p:cNvSpPr>
                  <a:spLocks noChangeArrowheads="1"/>
                </p:cNvSpPr>
                <p:nvPr/>
              </p:nvSpPr>
              <p:spPr bwMode="gray">
                <a:xfrm>
                  <a:off x="1334" y="2029"/>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0" name="AutoShape 102">
                  <a:extLst>
                    <a:ext uri="{FF2B5EF4-FFF2-40B4-BE49-F238E27FC236}">
                      <a16:creationId xmlns:a16="http://schemas.microsoft.com/office/drawing/2014/main" xmlns="" id="{3CA5C772-79D6-4707-81F2-5CC1F7F34BD7}"/>
                    </a:ext>
                  </a:extLst>
                </p:cNvPr>
                <p:cNvSpPr>
                  <a:spLocks noChangeArrowheads="1"/>
                </p:cNvSpPr>
                <p:nvPr/>
              </p:nvSpPr>
              <p:spPr bwMode="gray">
                <a:xfrm>
                  <a:off x="1295" y="2088"/>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1" name="AutoShape 103">
                  <a:extLst>
                    <a:ext uri="{FF2B5EF4-FFF2-40B4-BE49-F238E27FC236}">
                      <a16:creationId xmlns:a16="http://schemas.microsoft.com/office/drawing/2014/main" xmlns="" id="{41D0EC08-15D2-4D62-83D1-94E82548B5A5}"/>
                    </a:ext>
                  </a:extLst>
                </p:cNvPr>
                <p:cNvSpPr>
                  <a:spLocks noChangeArrowheads="1"/>
                </p:cNvSpPr>
                <p:nvPr/>
              </p:nvSpPr>
              <p:spPr bwMode="gray">
                <a:xfrm>
                  <a:off x="1328"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2" name="AutoShape 104">
                  <a:extLst>
                    <a:ext uri="{FF2B5EF4-FFF2-40B4-BE49-F238E27FC236}">
                      <a16:creationId xmlns:a16="http://schemas.microsoft.com/office/drawing/2014/main" xmlns="" id="{6B64660E-323D-4E12-BBAC-546097443282}"/>
                    </a:ext>
                  </a:extLst>
                </p:cNvPr>
                <p:cNvSpPr>
                  <a:spLocks noChangeArrowheads="1"/>
                </p:cNvSpPr>
                <p:nvPr/>
              </p:nvSpPr>
              <p:spPr bwMode="gray">
                <a:xfrm>
                  <a:off x="1328" y="2097"/>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3" name="AutoShape 105">
                  <a:extLst>
                    <a:ext uri="{FF2B5EF4-FFF2-40B4-BE49-F238E27FC236}">
                      <a16:creationId xmlns:a16="http://schemas.microsoft.com/office/drawing/2014/main" xmlns="" id="{E7894A55-6262-440D-ABFA-9DCAA8AD2BCA}"/>
                    </a:ext>
                  </a:extLst>
                </p:cNvPr>
                <p:cNvSpPr>
                  <a:spLocks noChangeArrowheads="1"/>
                </p:cNvSpPr>
                <p:nvPr/>
              </p:nvSpPr>
              <p:spPr bwMode="gray">
                <a:xfrm>
                  <a:off x="1298" y="2083"/>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4" name="AutoShape 106">
                  <a:extLst>
                    <a:ext uri="{FF2B5EF4-FFF2-40B4-BE49-F238E27FC236}">
                      <a16:creationId xmlns:a16="http://schemas.microsoft.com/office/drawing/2014/main" xmlns="" id="{0B9D6053-F146-49C0-92B2-80C7A7877785}"/>
                    </a:ext>
                  </a:extLst>
                </p:cNvPr>
                <p:cNvSpPr>
                  <a:spLocks noChangeArrowheads="1"/>
                </p:cNvSpPr>
                <p:nvPr/>
              </p:nvSpPr>
              <p:spPr bwMode="gray">
                <a:xfrm>
                  <a:off x="1362"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5" name="AutoShape 107">
                  <a:extLst>
                    <a:ext uri="{FF2B5EF4-FFF2-40B4-BE49-F238E27FC236}">
                      <a16:creationId xmlns:a16="http://schemas.microsoft.com/office/drawing/2014/main" xmlns="" id="{BDB55F58-33A4-40F8-8F30-A9D14CFB73B3}"/>
                    </a:ext>
                  </a:extLst>
                </p:cNvPr>
                <p:cNvSpPr>
                  <a:spLocks noChangeArrowheads="1"/>
                </p:cNvSpPr>
                <p:nvPr/>
              </p:nvSpPr>
              <p:spPr bwMode="gray">
                <a:xfrm>
                  <a:off x="1393" y="2088"/>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7" name="Group 186">
              <a:extLst>
                <a:ext uri="{FF2B5EF4-FFF2-40B4-BE49-F238E27FC236}">
                  <a16:creationId xmlns:a16="http://schemas.microsoft.com/office/drawing/2014/main" xmlns="" id="{83E6DB16-E143-4946-957C-DB820AE628F8}"/>
                </a:ext>
              </a:extLst>
            </p:cNvPr>
            <p:cNvGrpSpPr/>
            <p:nvPr/>
          </p:nvGrpSpPr>
          <p:grpSpPr>
            <a:xfrm>
              <a:off x="1869954" y="2976480"/>
              <a:ext cx="558800" cy="558801"/>
              <a:chOff x="3182012" y="2393673"/>
              <a:chExt cx="558800" cy="558801"/>
            </a:xfrm>
          </p:grpSpPr>
          <p:sp>
            <p:nvSpPr>
              <p:cNvPr id="238" name="Oval 19">
                <a:extLst>
                  <a:ext uri="{FF2B5EF4-FFF2-40B4-BE49-F238E27FC236}">
                    <a16:creationId xmlns:a16="http://schemas.microsoft.com/office/drawing/2014/main" xmlns="" id="{3D87C1BC-C796-448A-9E18-7711FD073C53}"/>
                  </a:ext>
                </a:extLst>
              </p:cNvPr>
              <p:cNvSpPr>
                <a:spLocks noChangeArrowheads="1"/>
              </p:cNvSpPr>
              <p:nvPr/>
            </p:nvSpPr>
            <p:spPr bwMode="gray">
              <a:xfrm>
                <a:off x="3182012" y="2393673"/>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39" name="Group 60">
                <a:extLst>
                  <a:ext uri="{FF2B5EF4-FFF2-40B4-BE49-F238E27FC236}">
                    <a16:creationId xmlns:a16="http://schemas.microsoft.com/office/drawing/2014/main" xmlns="" id="{D5818E71-9C78-4020-B6D1-C703B8566818}"/>
                  </a:ext>
                </a:extLst>
              </p:cNvPr>
              <p:cNvGrpSpPr>
                <a:grpSpLocks/>
              </p:cNvGrpSpPr>
              <p:nvPr/>
            </p:nvGrpSpPr>
            <p:grpSpPr bwMode="auto">
              <a:xfrm>
                <a:off x="3359147" y="2491372"/>
                <a:ext cx="200025" cy="366713"/>
                <a:chOff x="1252" y="2047"/>
                <a:chExt cx="126" cy="231"/>
              </a:xfrm>
            </p:grpSpPr>
            <p:sp>
              <p:nvSpPr>
                <p:cNvPr id="240" name="Oval 61">
                  <a:extLst>
                    <a:ext uri="{FF2B5EF4-FFF2-40B4-BE49-F238E27FC236}">
                      <a16:creationId xmlns:a16="http://schemas.microsoft.com/office/drawing/2014/main" xmlns="" id="{BC3D3702-FF36-4254-87B5-E24EFA9F932D}"/>
                    </a:ext>
                  </a:extLst>
                </p:cNvPr>
                <p:cNvSpPr>
                  <a:spLocks noChangeArrowheads="1"/>
                </p:cNvSpPr>
                <p:nvPr/>
              </p:nvSpPr>
              <p:spPr bwMode="gray">
                <a:xfrm>
                  <a:off x="1291" y="2047"/>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1" name="AutoShape 62">
                  <a:extLst>
                    <a:ext uri="{FF2B5EF4-FFF2-40B4-BE49-F238E27FC236}">
                      <a16:creationId xmlns:a16="http://schemas.microsoft.com/office/drawing/2014/main" xmlns="" id="{CCF4A48B-2D64-4CD1-A4FF-0DB76E6353EF}"/>
                    </a:ext>
                  </a:extLst>
                </p:cNvPr>
                <p:cNvSpPr>
                  <a:spLocks noChangeArrowheads="1"/>
                </p:cNvSpPr>
                <p:nvPr/>
              </p:nvSpPr>
              <p:spPr bwMode="gray">
                <a:xfrm>
                  <a:off x="1252" y="2106"/>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2" name="AutoShape 63">
                  <a:extLst>
                    <a:ext uri="{FF2B5EF4-FFF2-40B4-BE49-F238E27FC236}">
                      <a16:creationId xmlns:a16="http://schemas.microsoft.com/office/drawing/2014/main" xmlns="" id="{85ED705F-B4B3-405C-87EB-00DA2F81AE78}"/>
                    </a:ext>
                  </a:extLst>
                </p:cNvPr>
                <p:cNvSpPr>
                  <a:spLocks noChangeArrowheads="1"/>
                </p:cNvSpPr>
                <p:nvPr/>
              </p:nvSpPr>
              <p:spPr bwMode="gray">
                <a:xfrm>
                  <a:off x="1285"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3" name="AutoShape 64">
                  <a:extLst>
                    <a:ext uri="{FF2B5EF4-FFF2-40B4-BE49-F238E27FC236}">
                      <a16:creationId xmlns:a16="http://schemas.microsoft.com/office/drawing/2014/main" xmlns="" id="{CBF3198A-39B6-4AA8-B0DB-8FE3DE2F531C}"/>
                    </a:ext>
                  </a:extLst>
                </p:cNvPr>
                <p:cNvSpPr>
                  <a:spLocks noChangeArrowheads="1"/>
                </p:cNvSpPr>
                <p:nvPr/>
              </p:nvSpPr>
              <p:spPr bwMode="gray">
                <a:xfrm>
                  <a:off x="1285" y="2115"/>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4" name="AutoShape 65">
                  <a:extLst>
                    <a:ext uri="{FF2B5EF4-FFF2-40B4-BE49-F238E27FC236}">
                      <a16:creationId xmlns:a16="http://schemas.microsoft.com/office/drawing/2014/main" xmlns="" id="{A429DBD6-0E0F-4139-B5CC-3A10231A853E}"/>
                    </a:ext>
                  </a:extLst>
                </p:cNvPr>
                <p:cNvSpPr>
                  <a:spLocks noChangeArrowheads="1"/>
                </p:cNvSpPr>
                <p:nvPr/>
              </p:nvSpPr>
              <p:spPr bwMode="gray">
                <a:xfrm>
                  <a:off x="1255" y="2101"/>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5" name="AutoShape 66">
                  <a:extLst>
                    <a:ext uri="{FF2B5EF4-FFF2-40B4-BE49-F238E27FC236}">
                      <a16:creationId xmlns:a16="http://schemas.microsoft.com/office/drawing/2014/main" xmlns="" id="{08CE3BF0-20DA-494A-96DA-AEA89C883FA8}"/>
                    </a:ext>
                  </a:extLst>
                </p:cNvPr>
                <p:cNvSpPr>
                  <a:spLocks noChangeArrowheads="1"/>
                </p:cNvSpPr>
                <p:nvPr/>
              </p:nvSpPr>
              <p:spPr bwMode="gray">
                <a:xfrm>
                  <a:off x="1319"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6" name="AutoShape 67">
                  <a:extLst>
                    <a:ext uri="{FF2B5EF4-FFF2-40B4-BE49-F238E27FC236}">
                      <a16:creationId xmlns:a16="http://schemas.microsoft.com/office/drawing/2014/main" xmlns="" id="{B323FE0C-03B9-4B73-AE82-3D4B5C146A33}"/>
                    </a:ext>
                  </a:extLst>
                </p:cNvPr>
                <p:cNvSpPr>
                  <a:spLocks noChangeArrowheads="1"/>
                </p:cNvSpPr>
                <p:nvPr/>
              </p:nvSpPr>
              <p:spPr bwMode="gray">
                <a:xfrm>
                  <a:off x="1350" y="2106"/>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8" name="Group 187">
              <a:extLst>
                <a:ext uri="{FF2B5EF4-FFF2-40B4-BE49-F238E27FC236}">
                  <a16:creationId xmlns:a16="http://schemas.microsoft.com/office/drawing/2014/main" xmlns="" id="{667A10CB-6EC5-411B-AD53-5AD41658192D}"/>
                </a:ext>
              </a:extLst>
            </p:cNvPr>
            <p:cNvGrpSpPr/>
            <p:nvPr/>
          </p:nvGrpSpPr>
          <p:grpSpPr>
            <a:xfrm>
              <a:off x="2395568" y="2976481"/>
              <a:ext cx="558799" cy="558801"/>
              <a:chOff x="3295035" y="2404825"/>
              <a:chExt cx="558799" cy="558801"/>
            </a:xfrm>
          </p:grpSpPr>
          <p:sp>
            <p:nvSpPr>
              <p:cNvPr id="229" name="Oval 19">
                <a:extLst>
                  <a:ext uri="{FF2B5EF4-FFF2-40B4-BE49-F238E27FC236}">
                    <a16:creationId xmlns:a16="http://schemas.microsoft.com/office/drawing/2014/main" xmlns="" id="{6117478E-BCDD-4733-B876-190A78F7D6B0}"/>
                  </a:ext>
                </a:extLst>
              </p:cNvPr>
              <p:cNvSpPr>
                <a:spLocks noChangeArrowheads="1"/>
              </p:cNvSpPr>
              <p:nvPr/>
            </p:nvSpPr>
            <p:spPr bwMode="gray">
              <a:xfrm>
                <a:off x="3295035" y="2404825"/>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30" name="Group 60">
                <a:extLst>
                  <a:ext uri="{FF2B5EF4-FFF2-40B4-BE49-F238E27FC236}">
                    <a16:creationId xmlns:a16="http://schemas.microsoft.com/office/drawing/2014/main" xmlns="" id="{7441D0FD-30CE-4E34-8A16-8D588A77B192}"/>
                  </a:ext>
                </a:extLst>
              </p:cNvPr>
              <p:cNvGrpSpPr>
                <a:grpSpLocks/>
              </p:cNvGrpSpPr>
              <p:nvPr/>
            </p:nvGrpSpPr>
            <p:grpSpPr bwMode="auto">
              <a:xfrm>
                <a:off x="3475033" y="2491372"/>
                <a:ext cx="200026" cy="366713"/>
                <a:chOff x="1325" y="2047"/>
                <a:chExt cx="126" cy="231"/>
              </a:xfrm>
            </p:grpSpPr>
            <p:sp>
              <p:nvSpPr>
                <p:cNvPr id="231" name="Oval 61">
                  <a:extLst>
                    <a:ext uri="{FF2B5EF4-FFF2-40B4-BE49-F238E27FC236}">
                      <a16:creationId xmlns:a16="http://schemas.microsoft.com/office/drawing/2014/main" xmlns="" id="{16F519F7-1659-4D14-8D6D-8D2BD3EC567A}"/>
                    </a:ext>
                  </a:extLst>
                </p:cNvPr>
                <p:cNvSpPr>
                  <a:spLocks noChangeArrowheads="1"/>
                </p:cNvSpPr>
                <p:nvPr/>
              </p:nvSpPr>
              <p:spPr bwMode="gray">
                <a:xfrm>
                  <a:off x="1364" y="2047"/>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2" name="AutoShape 62">
                  <a:extLst>
                    <a:ext uri="{FF2B5EF4-FFF2-40B4-BE49-F238E27FC236}">
                      <a16:creationId xmlns:a16="http://schemas.microsoft.com/office/drawing/2014/main" xmlns="" id="{75F7E493-F339-436F-B142-E4C89C3F6C26}"/>
                    </a:ext>
                  </a:extLst>
                </p:cNvPr>
                <p:cNvSpPr>
                  <a:spLocks noChangeArrowheads="1"/>
                </p:cNvSpPr>
                <p:nvPr/>
              </p:nvSpPr>
              <p:spPr bwMode="gray">
                <a:xfrm>
                  <a:off x="1325" y="2106"/>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3" name="AutoShape 63">
                  <a:extLst>
                    <a:ext uri="{FF2B5EF4-FFF2-40B4-BE49-F238E27FC236}">
                      <a16:creationId xmlns:a16="http://schemas.microsoft.com/office/drawing/2014/main" xmlns="" id="{428A0181-30E2-4FCD-B379-BCB7A96888BC}"/>
                    </a:ext>
                  </a:extLst>
                </p:cNvPr>
                <p:cNvSpPr>
                  <a:spLocks noChangeArrowheads="1"/>
                </p:cNvSpPr>
                <p:nvPr/>
              </p:nvSpPr>
              <p:spPr bwMode="gray">
                <a:xfrm>
                  <a:off x="1358"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4" name="AutoShape 64">
                  <a:extLst>
                    <a:ext uri="{FF2B5EF4-FFF2-40B4-BE49-F238E27FC236}">
                      <a16:creationId xmlns:a16="http://schemas.microsoft.com/office/drawing/2014/main" xmlns="" id="{1DA2BD63-5A63-4CE8-9BBA-739E9AD65F92}"/>
                    </a:ext>
                  </a:extLst>
                </p:cNvPr>
                <p:cNvSpPr>
                  <a:spLocks noChangeArrowheads="1"/>
                </p:cNvSpPr>
                <p:nvPr/>
              </p:nvSpPr>
              <p:spPr bwMode="gray">
                <a:xfrm>
                  <a:off x="1358" y="2115"/>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5" name="AutoShape 65">
                  <a:extLst>
                    <a:ext uri="{FF2B5EF4-FFF2-40B4-BE49-F238E27FC236}">
                      <a16:creationId xmlns:a16="http://schemas.microsoft.com/office/drawing/2014/main" xmlns="" id="{86306A10-C378-4EF2-BBB3-C667CB888957}"/>
                    </a:ext>
                  </a:extLst>
                </p:cNvPr>
                <p:cNvSpPr>
                  <a:spLocks noChangeArrowheads="1"/>
                </p:cNvSpPr>
                <p:nvPr/>
              </p:nvSpPr>
              <p:spPr bwMode="gray">
                <a:xfrm>
                  <a:off x="1328" y="2101"/>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6" name="AutoShape 66">
                  <a:extLst>
                    <a:ext uri="{FF2B5EF4-FFF2-40B4-BE49-F238E27FC236}">
                      <a16:creationId xmlns:a16="http://schemas.microsoft.com/office/drawing/2014/main" xmlns="" id="{8160B589-A34D-4CF7-B231-ADC16B7700CC}"/>
                    </a:ext>
                  </a:extLst>
                </p:cNvPr>
                <p:cNvSpPr>
                  <a:spLocks noChangeArrowheads="1"/>
                </p:cNvSpPr>
                <p:nvPr/>
              </p:nvSpPr>
              <p:spPr bwMode="gray">
                <a:xfrm>
                  <a:off x="1392"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7" name="AutoShape 67">
                  <a:extLst>
                    <a:ext uri="{FF2B5EF4-FFF2-40B4-BE49-F238E27FC236}">
                      <a16:creationId xmlns:a16="http://schemas.microsoft.com/office/drawing/2014/main" xmlns="" id="{09176D5E-4E18-4828-BEF7-8E1D957CA8BB}"/>
                    </a:ext>
                  </a:extLst>
                </p:cNvPr>
                <p:cNvSpPr>
                  <a:spLocks noChangeArrowheads="1"/>
                </p:cNvSpPr>
                <p:nvPr/>
              </p:nvSpPr>
              <p:spPr bwMode="gray">
                <a:xfrm>
                  <a:off x="1423" y="2106"/>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9" name="Group 188">
              <a:extLst>
                <a:ext uri="{FF2B5EF4-FFF2-40B4-BE49-F238E27FC236}">
                  <a16:creationId xmlns:a16="http://schemas.microsoft.com/office/drawing/2014/main" xmlns="" id="{EA4E65F8-F109-4F63-8274-489C9D163130}"/>
                </a:ext>
              </a:extLst>
            </p:cNvPr>
            <p:cNvGrpSpPr/>
            <p:nvPr/>
          </p:nvGrpSpPr>
          <p:grpSpPr>
            <a:xfrm>
              <a:off x="5078153" y="2976481"/>
              <a:ext cx="558799" cy="558801"/>
              <a:chOff x="6833733" y="2353134"/>
              <a:chExt cx="558799" cy="558801"/>
            </a:xfrm>
          </p:grpSpPr>
          <p:sp>
            <p:nvSpPr>
              <p:cNvPr id="220" name="Oval 32">
                <a:extLst>
                  <a:ext uri="{FF2B5EF4-FFF2-40B4-BE49-F238E27FC236}">
                    <a16:creationId xmlns:a16="http://schemas.microsoft.com/office/drawing/2014/main" xmlns="" id="{060B2855-2010-4B1C-90ED-BBF6DFFBBEBC}"/>
                  </a:ext>
                </a:extLst>
              </p:cNvPr>
              <p:cNvSpPr>
                <a:spLocks noChangeArrowheads="1"/>
              </p:cNvSpPr>
              <p:nvPr/>
            </p:nvSpPr>
            <p:spPr bwMode="gray">
              <a:xfrm>
                <a:off x="6833733" y="2353134"/>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21" name="Group 100">
                <a:extLst>
                  <a:ext uri="{FF2B5EF4-FFF2-40B4-BE49-F238E27FC236}">
                    <a16:creationId xmlns:a16="http://schemas.microsoft.com/office/drawing/2014/main" xmlns="" id="{8C9C6050-FC5D-4586-9D07-F37BC1609414}"/>
                  </a:ext>
                </a:extLst>
              </p:cNvPr>
              <p:cNvGrpSpPr>
                <a:grpSpLocks/>
              </p:cNvGrpSpPr>
              <p:nvPr/>
            </p:nvGrpSpPr>
            <p:grpSpPr bwMode="auto">
              <a:xfrm>
                <a:off x="7008810" y="2453276"/>
                <a:ext cx="200026" cy="366713"/>
                <a:chOff x="1290" y="2023"/>
                <a:chExt cx="126" cy="231"/>
              </a:xfrm>
            </p:grpSpPr>
            <p:sp>
              <p:nvSpPr>
                <p:cNvPr id="222" name="Oval 101">
                  <a:extLst>
                    <a:ext uri="{FF2B5EF4-FFF2-40B4-BE49-F238E27FC236}">
                      <a16:creationId xmlns:a16="http://schemas.microsoft.com/office/drawing/2014/main" xmlns="" id="{A77EFB3D-3B9A-4F0B-BC5B-579790331979}"/>
                    </a:ext>
                  </a:extLst>
                </p:cNvPr>
                <p:cNvSpPr>
                  <a:spLocks noChangeArrowheads="1"/>
                </p:cNvSpPr>
                <p:nvPr/>
              </p:nvSpPr>
              <p:spPr bwMode="gray">
                <a:xfrm>
                  <a:off x="1329" y="2023"/>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3" name="AutoShape 102">
                  <a:extLst>
                    <a:ext uri="{FF2B5EF4-FFF2-40B4-BE49-F238E27FC236}">
                      <a16:creationId xmlns:a16="http://schemas.microsoft.com/office/drawing/2014/main" xmlns="" id="{028F5C8D-C1B4-4657-B717-EBA734AA1FDE}"/>
                    </a:ext>
                  </a:extLst>
                </p:cNvPr>
                <p:cNvSpPr>
                  <a:spLocks noChangeArrowheads="1"/>
                </p:cNvSpPr>
                <p:nvPr/>
              </p:nvSpPr>
              <p:spPr bwMode="gray">
                <a:xfrm>
                  <a:off x="1290" y="2082"/>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4" name="AutoShape 103">
                  <a:extLst>
                    <a:ext uri="{FF2B5EF4-FFF2-40B4-BE49-F238E27FC236}">
                      <a16:creationId xmlns:a16="http://schemas.microsoft.com/office/drawing/2014/main" xmlns="" id="{E20E1A09-A5AF-4B0E-943B-AB514B1F50A7}"/>
                    </a:ext>
                  </a:extLst>
                </p:cNvPr>
                <p:cNvSpPr>
                  <a:spLocks noChangeArrowheads="1"/>
                </p:cNvSpPr>
                <p:nvPr/>
              </p:nvSpPr>
              <p:spPr bwMode="gray">
                <a:xfrm>
                  <a:off x="1323" y="2088"/>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5" name="AutoShape 104">
                  <a:extLst>
                    <a:ext uri="{FF2B5EF4-FFF2-40B4-BE49-F238E27FC236}">
                      <a16:creationId xmlns:a16="http://schemas.microsoft.com/office/drawing/2014/main" xmlns="" id="{206DCC7D-2DF5-4142-884F-151037C2951E}"/>
                    </a:ext>
                  </a:extLst>
                </p:cNvPr>
                <p:cNvSpPr>
                  <a:spLocks noChangeArrowheads="1"/>
                </p:cNvSpPr>
                <p:nvPr/>
              </p:nvSpPr>
              <p:spPr bwMode="gray">
                <a:xfrm>
                  <a:off x="1323" y="2091"/>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6" name="AutoShape 105">
                  <a:extLst>
                    <a:ext uri="{FF2B5EF4-FFF2-40B4-BE49-F238E27FC236}">
                      <a16:creationId xmlns:a16="http://schemas.microsoft.com/office/drawing/2014/main" xmlns="" id="{769D1589-49E2-42E9-8E42-88C8C435414A}"/>
                    </a:ext>
                  </a:extLst>
                </p:cNvPr>
                <p:cNvSpPr>
                  <a:spLocks noChangeArrowheads="1"/>
                </p:cNvSpPr>
                <p:nvPr/>
              </p:nvSpPr>
              <p:spPr bwMode="gray">
                <a:xfrm>
                  <a:off x="1293" y="2077"/>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7" name="AutoShape 106">
                  <a:extLst>
                    <a:ext uri="{FF2B5EF4-FFF2-40B4-BE49-F238E27FC236}">
                      <a16:creationId xmlns:a16="http://schemas.microsoft.com/office/drawing/2014/main" xmlns="" id="{A26F1ECF-029C-49E3-A557-A995F97CFC51}"/>
                    </a:ext>
                  </a:extLst>
                </p:cNvPr>
                <p:cNvSpPr>
                  <a:spLocks noChangeArrowheads="1"/>
                </p:cNvSpPr>
                <p:nvPr/>
              </p:nvSpPr>
              <p:spPr bwMode="gray">
                <a:xfrm>
                  <a:off x="1357" y="2088"/>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8" name="AutoShape 107">
                  <a:extLst>
                    <a:ext uri="{FF2B5EF4-FFF2-40B4-BE49-F238E27FC236}">
                      <a16:creationId xmlns:a16="http://schemas.microsoft.com/office/drawing/2014/main" xmlns="" id="{0DE49D05-7A4E-4F1E-B045-D663BA3F61CE}"/>
                    </a:ext>
                  </a:extLst>
                </p:cNvPr>
                <p:cNvSpPr>
                  <a:spLocks noChangeArrowheads="1"/>
                </p:cNvSpPr>
                <p:nvPr/>
              </p:nvSpPr>
              <p:spPr bwMode="gray">
                <a:xfrm>
                  <a:off x="1388" y="2082"/>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90" name="Group 189">
              <a:extLst>
                <a:ext uri="{FF2B5EF4-FFF2-40B4-BE49-F238E27FC236}">
                  <a16:creationId xmlns:a16="http://schemas.microsoft.com/office/drawing/2014/main" xmlns="" id="{C5E13A60-1829-4FF3-B6BB-1D4CC94E369D}"/>
                </a:ext>
              </a:extLst>
            </p:cNvPr>
            <p:cNvGrpSpPr/>
            <p:nvPr/>
          </p:nvGrpSpPr>
          <p:grpSpPr>
            <a:xfrm>
              <a:off x="5603769" y="2976481"/>
              <a:ext cx="558799" cy="558801"/>
              <a:chOff x="6824087" y="2364286"/>
              <a:chExt cx="558799" cy="558801"/>
            </a:xfrm>
          </p:grpSpPr>
          <p:sp>
            <p:nvSpPr>
              <p:cNvPr id="211" name="Oval 32">
                <a:extLst>
                  <a:ext uri="{FF2B5EF4-FFF2-40B4-BE49-F238E27FC236}">
                    <a16:creationId xmlns:a16="http://schemas.microsoft.com/office/drawing/2014/main" xmlns="" id="{569F857C-4708-4366-A1C4-0FBE01A88E79}"/>
                  </a:ext>
                </a:extLst>
              </p:cNvPr>
              <p:cNvSpPr>
                <a:spLocks noChangeArrowheads="1"/>
              </p:cNvSpPr>
              <p:nvPr/>
            </p:nvSpPr>
            <p:spPr bwMode="gray">
              <a:xfrm>
                <a:off x="6824087" y="2364286"/>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12" name="Group 100">
                <a:extLst>
                  <a:ext uri="{FF2B5EF4-FFF2-40B4-BE49-F238E27FC236}">
                    <a16:creationId xmlns:a16="http://schemas.microsoft.com/office/drawing/2014/main" xmlns="" id="{62748965-E3CD-4F34-8FA1-F538DF39323B}"/>
                  </a:ext>
                </a:extLst>
              </p:cNvPr>
              <p:cNvGrpSpPr>
                <a:grpSpLocks/>
              </p:cNvGrpSpPr>
              <p:nvPr/>
            </p:nvGrpSpPr>
            <p:grpSpPr bwMode="auto">
              <a:xfrm>
                <a:off x="7004048" y="2467562"/>
                <a:ext cx="200026" cy="366713"/>
                <a:chOff x="1287" y="2032"/>
                <a:chExt cx="126" cy="231"/>
              </a:xfrm>
            </p:grpSpPr>
            <p:sp>
              <p:nvSpPr>
                <p:cNvPr id="213" name="Oval 101">
                  <a:extLst>
                    <a:ext uri="{FF2B5EF4-FFF2-40B4-BE49-F238E27FC236}">
                      <a16:creationId xmlns:a16="http://schemas.microsoft.com/office/drawing/2014/main" xmlns="" id="{A39791AD-ADD6-4BEF-BFE9-9C25C125BB7A}"/>
                    </a:ext>
                  </a:extLst>
                </p:cNvPr>
                <p:cNvSpPr>
                  <a:spLocks noChangeArrowheads="1"/>
                </p:cNvSpPr>
                <p:nvPr/>
              </p:nvSpPr>
              <p:spPr bwMode="gray">
                <a:xfrm>
                  <a:off x="1326" y="2032"/>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4" name="AutoShape 102">
                  <a:extLst>
                    <a:ext uri="{FF2B5EF4-FFF2-40B4-BE49-F238E27FC236}">
                      <a16:creationId xmlns:a16="http://schemas.microsoft.com/office/drawing/2014/main" xmlns="" id="{A6AEE2CF-5D6D-46FC-814F-64367EE94D4D}"/>
                    </a:ext>
                  </a:extLst>
                </p:cNvPr>
                <p:cNvSpPr>
                  <a:spLocks noChangeArrowheads="1"/>
                </p:cNvSpPr>
                <p:nvPr/>
              </p:nvSpPr>
              <p:spPr bwMode="gray">
                <a:xfrm>
                  <a:off x="1287" y="2091"/>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5" name="AutoShape 103">
                  <a:extLst>
                    <a:ext uri="{FF2B5EF4-FFF2-40B4-BE49-F238E27FC236}">
                      <a16:creationId xmlns:a16="http://schemas.microsoft.com/office/drawing/2014/main" xmlns="" id="{1CCE56ED-26C8-458D-83E7-F80867DF4F48}"/>
                    </a:ext>
                  </a:extLst>
                </p:cNvPr>
                <p:cNvSpPr>
                  <a:spLocks noChangeArrowheads="1"/>
                </p:cNvSpPr>
                <p:nvPr/>
              </p:nvSpPr>
              <p:spPr bwMode="gray">
                <a:xfrm>
                  <a:off x="1320" y="2097"/>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6" name="AutoShape 104">
                  <a:extLst>
                    <a:ext uri="{FF2B5EF4-FFF2-40B4-BE49-F238E27FC236}">
                      <a16:creationId xmlns:a16="http://schemas.microsoft.com/office/drawing/2014/main" xmlns="" id="{AD61D616-CFEF-4F7B-827C-D10D36D8E780}"/>
                    </a:ext>
                  </a:extLst>
                </p:cNvPr>
                <p:cNvSpPr>
                  <a:spLocks noChangeArrowheads="1"/>
                </p:cNvSpPr>
                <p:nvPr/>
              </p:nvSpPr>
              <p:spPr bwMode="gray">
                <a:xfrm>
                  <a:off x="1320" y="2100"/>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7" name="AutoShape 105">
                  <a:extLst>
                    <a:ext uri="{FF2B5EF4-FFF2-40B4-BE49-F238E27FC236}">
                      <a16:creationId xmlns:a16="http://schemas.microsoft.com/office/drawing/2014/main" xmlns="" id="{4B392DE7-14A4-4855-B728-C5DF2782E636}"/>
                    </a:ext>
                  </a:extLst>
                </p:cNvPr>
                <p:cNvSpPr>
                  <a:spLocks noChangeArrowheads="1"/>
                </p:cNvSpPr>
                <p:nvPr/>
              </p:nvSpPr>
              <p:spPr bwMode="gray">
                <a:xfrm>
                  <a:off x="1290" y="2086"/>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8" name="AutoShape 106">
                  <a:extLst>
                    <a:ext uri="{FF2B5EF4-FFF2-40B4-BE49-F238E27FC236}">
                      <a16:creationId xmlns:a16="http://schemas.microsoft.com/office/drawing/2014/main" xmlns="" id="{65B8CFEE-B084-4A6A-A243-D0817DC8A690}"/>
                    </a:ext>
                  </a:extLst>
                </p:cNvPr>
                <p:cNvSpPr>
                  <a:spLocks noChangeArrowheads="1"/>
                </p:cNvSpPr>
                <p:nvPr/>
              </p:nvSpPr>
              <p:spPr bwMode="gray">
                <a:xfrm>
                  <a:off x="1354" y="2097"/>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9" name="AutoShape 107">
                  <a:extLst>
                    <a:ext uri="{FF2B5EF4-FFF2-40B4-BE49-F238E27FC236}">
                      <a16:creationId xmlns:a16="http://schemas.microsoft.com/office/drawing/2014/main" xmlns="" id="{C83F6469-79B1-4D4A-8451-A803E2431580}"/>
                    </a:ext>
                  </a:extLst>
                </p:cNvPr>
                <p:cNvSpPr>
                  <a:spLocks noChangeArrowheads="1"/>
                </p:cNvSpPr>
                <p:nvPr/>
              </p:nvSpPr>
              <p:spPr bwMode="gray">
                <a:xfrm>
                  <a:off x="1385" y="2091"/>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91" name="Group 190">
              <a:extLst>
                <a:ext uri="{FF2B5EF4-FFF2-40B4-BE49-F238E27FC236}">
                  <a16:creationId xmlns:a16="http://schemas.microsoft.com/office/drawing/2014/main" xmlns="" id="{E5D7FFBD-D767-4154-9DFA-0F8D76D55AAF}"/>
                </a:ext>
              </a:extLst>
            </p:cNvPr>
            <p:cNvGrpSpPr/>
            <p:nvPr/>
          </p:nvGrpSpPr>
          <p:grpSpPr>
            <a:xfrm>
              <a:off x="6129381" y="2976481"/>
              <a:ext cx="558799" cy="558801"/>
              <a:chOff x="6792135" y="2375440"/>
              <a:chExt cx="558799" cy="558801"/>
            </a:xfrm>
          </p:grpSpPr>
          <p:sp>
            <p:nvSpPr>
              <p:cNvPr id="202" name="Oval 32">
                <a:extLst>
                  <a:ext uri="{FF2B5EF4-FFF2-40B4-BE49-F238E27FC236}">
                    <a16:creationId xmlns:a16="http://schemas.microsoft.com/office/drawing/2014/main" xmlns="" id="{057945E2-EF6A-41FB-A571-D7AB25A1F640}"/>
                  </a:ext>
                </a:extLst>
              </p:cNvPr>
              <p:cNvSpPr>
                <a:spLocks noChangeArrowheads="1"/>
              </p:cNvSpPr>
              <p:nvPr/>
            </p:nvSpPr>
            <p:spPr bwMode="gray">
              <a:xfrm>
                <a:off x="6792135" y="2375440"/>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03" name="Group 100">
                <a:extLst>
                  <a:ext uri="{FF2B5EF4-FFF2-40B4-BE49-F238E27FC236}">
                    <a16:creationId xmlns:a16="http://schemas.microsoft.com/office/drawing/2014/main" xmlns="" id="{64F602F5-5994-407C-8413-3BA54B299202}"/>
                  </a:ext>
                </a:extLst>
              </p:cNvPr>
              <p:cNvGrpSpPr>
                <a:grpSpLocks/>
              </p:cNvGrpSpPr>
              <p:nvPr/>
            </p:nvGrpSpPr>
            <p:grpSpPr bwMode="auto">
              <a:xfrm>
                <a:off x="6977067" y="2472324"/>
                <a:ext cx="200026" cy="366713"/>
                <a:chOff x="1270" y="2035"/>
                <a:chExt cx="126" cy="231"/>
              </a:xfrm>
            </p:grpSpPr>
            <p:sp>
              <p:nvSpPr>
                <p:cNvPr id="204" name="Oval 101">
                  <a:extLst>
                    <a:ext uri="{FF2B5EF4-FFF2-40B4-BE49-F238E27FC236}">
                      <a16:creationId xmlns:a16="http://schemas.microsoft.com/office/drawing/2014/main" xmlns="" id="{28FD43B5-F982-4EA8-BDD8-0F49D65A70D5}"/>
                    </a:ext>
                  </a:extLst>
                </p:cNvPr>
                <p:cNvSpPr>
                  <a:spLocks noChangeArrowheads="1"/>
                </p:cNvSpPr>
                <p:nvPr/>
              </p:nvSpPr>
              <p:spPr bwMode="gray">
                <a:xfrm>
                  <a:off x="1309" y="203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5" name="AutoShape 102">
                  <a:extLst>
                    <a:ext uri="{FF2B5EF4-FFF2-40B4-BE49-F238E27FC236}">
                      <a16:creationId xmlns:a16="http://schemas.microsoft.com/office/drawing/2014/main" xmlns="" id="{173F9389-E372-4D20-B59B-E9B5F6864687}"/>
                    </a:ext>
                  </a:extLst>
                </p:cNvPr>
                <p:cNvSpPr>
                  <a:spLocks noChangeArrowheads="1"/>
                </p:cNvSpPr>
                <p:nvPr/>
              </p:nvSpPr>
              <p:spPr bwMode="gray">
                <a:xfrm>
                  <a:off x="1270" y="209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6" name="AutoShape 103">
                  <a:extLst>
                    <a:ext uri="{FF2B5EF4-FFF2-40B4-BE49-F238E27FC236}">
                      <a16:creationId xmlns:a16="http://schemas.microsoft.com/office/drawing/2014/main" xmlns="" id="{0F5BF4F2-DE5D-4271-BC8E-D571B4A93285}"/>
                    </a:ext>
                  </a:extLst>
                </p:cNvPr>
                <p:cNvSpPr>
                  <a:spLocks noChangeArrowheads="1"/>
                </p:cNvSpPr>
                <p:nvPr/>
              </p:nvSpPr>
              <p:spPr bwMode="gray">
                <a:xfrm>
                  <a:off x="1303"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7" name="AutoShape 104">
                  <a:extLst>
                    <a:ext uri="{FF2B5EF4-FFF2-40B4-BE49-F238E27FC236}">
                      <a16:creationId xmlns:a16="http://schemas.microsoft.com/office/drawing/2014/main" xmlns="" id="{D9729E3D-F92F-4E9B-94D5-9B3AADA9F763}"/>
                    </a:ext>
                  </a:extLst>
                </p:cNvPr>
                <p:cNvSpPr>
                  <a:spLocks noChangeArrowheads="1"/>
                </p:cNvSpPr>
                <p:nvPr/>
              </p:nvSpPr>
              <p:spPr bwMode="gray">
                <a:xfrm>
                  <a:off x="1303" y="210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8" name="AutoShape 105">
                  <a:extLst>
                    <a:ext uri="{FF2B5EF4-FFF2-40B4-BE49-F238E27FC236}">
                      <a16:creationId xmlns:a16="http://schemas.microsoft.com/office/drawing/2014/main" xmlns="" id="{A92F1CD2-B1E6-4A7E-A81D-B75D4F2FC850}"/>
                    </a:ext>
                  </a:extLst>
                </p:cNvPr>
                <p:cNvSpPr>
                  <a:spLocks noChangeArrowheads="1"/>
                </p:cNvSpPr>
                <p:nvPr/>
              </p:nvSpPr>
              <p:spPr bwMode="gray">
                <a:xfrm>
                  <a:off x="1273" y="208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9" name="AutoShape 106">
                  <a:extLst>
                    <a:ext uri="{FF2B5EF4-FFF2-40B4-BE49-F238E27FC236}">
                      <a16:creationId xmlns:a16="http://schemas.microsoft.com/office/drawing/2014/main" xmlns="" id="{3212FCED-8E8C-43FC-8E75-B12A526C6022}"/>
                    </a:ext>
                  </a:extLst>
                </p:cNvPr>
                <p:cNvSpPr>
                  <a:spLocks noChangeArrowheads="1"/>
                </p:cNvSpPr>
                <p:nvPr/>
              </p:nvSpPr>
              <p:spPr bwMode="gray">
                <a:xfrm>
                  <a:off x="1337"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0" name="AutoShape 107">
                  <a:extLst>
                    <a:ext uri="{FF2B5EF4-FFF2-40B4-BE49-F238E27FC236}">
                      <a16:creationId xmlns:a16="http://schemas.microsoft.com/office/drawing/2014/main" xmlns="" id="{E350A90F-3A3C-4EF6-BDC5-E9D09125FE60}"/>
                    </a:ext>
                  </a:extLst>
                </p:cNvPr>
                <p:cNvSpPr>
                  <a:spLocks noChangeArrowheads="1"/>
                </p:cNvSpPr>
                <p:nvPr/>
              </p:nvSpPr>
              <p:spPr bwMode="gray">
                <a:xfrm>
                  <a:off x="1368" y="209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92" name="Group 191">
              <a:extLst>
                <a:ext uri="{FF2B5EF4-FFF2-40B4-BE49-F238E27FC236}">
                  <a16:creationId xmlns:a16="http://schemas.microsoft.com/office/drawing/2014/main" xmlns="" id="{90FCE80D-83D3-43B1-BCE0-227ADA75E1C7}"/>
                </a:ext>
              </a:extLst>
            </p:cNvPr>
            <p:cNvGrpSpPr/>
            <p:nvPr/>
          </p:nvGrpSpPr>
          <p:grpSpPr>
            <a:xfrm>
              <a:off x="6654998" y="2976480"/>
              <a:ext cx="558799" cy="558801"/>
              <a:chOff x="6771350" y="2386589"/>
              <a:chExt cx="558799" cy="558801"/>
            </a:xfrm>
          </p:grpSpPr>
          <p:sp>
            <p:nvSpPr>
              <p:cNvPr id="193" name="Oval 32">
                <a:extLst>
                  <a:ext uri="{FF2B5EF4-FFF2-40B4-BE49-F238E27FC236}">
                    <a16:creationId xmlns:a16="http://schemas.microsoft.com/office/drawing/2014/main" xmlns="" id="{A759ACF8-C6BB-43E9-BC46-7D5E9A85163E}"/>
                  </a:ext>
                </a:extLst>
              </p:cNvPr>
              <p:cNvSpPr>
                <a:spLocks noChangeArrowheads="1"/>
              </p:cNvSpPr>
              <p:nvPr/>
            </p:nvSpPr>
            <p:spPr bwMode="gray">
              <a:xfrm>
                <a:off x="6771350" y="2386589"/>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194" name="Group 100">
                <a:extLst>
                  <a:ext uri="{FF2B5EF4-FFF2-40B4-BE49-F238E27FC236}">
                    <a16:creationId xmlns:a16="http://schemas.microsoft.com/office/drawing/2014/main" xmlns="" id="{D10722C5-8AFF-4E34-A0A3-40FCD1840ACA}"/>
                  </a:ext>
                </a:extLst>
              </p:cNvPr>
              <p:cNvGrpSpPr>
                <a:grpSpLocks/>
              </p:cNvGrpSpPr>
              <p:nvPr/>
            </p:nvGrpSpPr>
            <p:grpSpPr bwMode="auto">
              <a:xfrm>
                <a:off x="6953264" y="2472324"/>
                <a:ext cx="200026" cy="366713"/>
                <a:chOff x="1255" y="2035"/>
                <a:chExt cx="126" cy="231"/>
              </a:xfrm>
            </p:grpSpPr>
            <p:sp>
              <p:nvSpPr>
                <p:cNvPr id="195" name="Oval 101">
                  <a:extLst>
                    <a:ext uri="{FF2B5EF4-FFF2-40B4-BE49-F238E27FC236}">
                      <a16:creationId xmlns:a16="http://schemas.microsoft.com/office/drawing/2014/main" xmlns="" id="{807DE32D-57E6-490C-8DF7-C02D93C61D32}"/>
                    </a:ext>
                  </a:extLst>
                </p:cNvPr>
                <p:cNvSpPr>
                  <a:spLocks noChangeArrowheads="1"/>
                </p:cNvSpPr>
                <p:nvPr/>
              </p:nvSpPr>
              <p:spPr bwMode="gray">
                <a:xfrm>
                  <a:off x="1294" y="203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6" name="AutoShape 102">
                  <a:extLst>
                    <a:ext uri="{FF2B5EF4-FFF2-40B4-BE49-F238E27FC236}">
                      <a16:creationId xmlns:a16="http://schemas.microsoft.com/office/drawing/2014/main" xmlns="" id="{2DE2AFB6-D90A-49CE-8197-A688DAE9560F}"/>
                    </a:ext>
                  </a:extLst>
                </p:cNvPr>
                <p:cNvSpPr>
                  <a:spLocks noChangeArrowheads="1"/>
                </p:cNvSpPr>
                <p:nvPr/>
              </p:nvSpPr>
              <p:spPr bwMode="gray">
                <a:xfrm>
                  <a:off x="1255" y="209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7" name="AutoShape 103">
                  <a:extLst>
                    <a:ext uri="{FF2B5EF4-FFF2-40B4-BE49-F238E27FC236}">
                      <a16:creationId xmlns:a16="http://schemas.microsoft.com/office/drawing/2014/main" xmlns="" id="{ED3797C4-E9F6-4282-980B-7DD008C28BF4}"/>
                    </a:ext>
                  </a:extLst>
                </p:cNvPr>
                <p:cNvSpPr>
                  <a:spLocks noChangeArrowheads="1"/>
                </p:cNvSpPr>
                <p:nvPr/>
              </p:nvSpPr>
              <p:spPr bwMode="gray">
                <a:xfrm>
                  <a:off x="1288"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8" name="AutoShape 104">
                  <a:extLst>
                    <a:ext uri="{FF2B5EF4-FFF2-40B4-BE49-F238E27FC236}">
                      <a16:creationId xmlns:a16="http://schemas.microsoft.com/office/drawing/2014/main" xmlns="" id="{8CA4579A-B630-4B0F-BFC0-58934B4D847A}"/>
                    </a:ext>
                  </a:extLst>
                </p:cNvPr>
                <p:cNvSpPr>
                  <a:spLocks noChangeArrowheads="1"/>
                </p:cNvSpPr>
                <p:nvPr/>
              </p:nvSpPr>
              <p:spPr bwMode="gray">
                <a:xfrm>
                  <a:off x="1288" y="210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9" name="AutoShape 105">
                  <a:extLst>
                    <a:ext uri="{FF2B5EF4-FFF2-40B4-BE49-F238E27FC236}">
                      <a16:creationId xmlns:a16="http://schemas.microsoft.com/office/drawing/2014/main" xmlns="" id="{E372A450-E517-446B-A7CD-F3FC8D9C43FC}"/>
                    </a:ext>
                  </a:extLst>
                </p:cNvPr>
                <p:cNvSpPr>
                  <a:spLocks noChangeArrowheads="1"/>
                </p:cNvSpPr>
                <p:nvPr/>
              </p:nvSpPr>
              <p:spPr bwMode="gray">
                <a:xfrm>
                  <a:off x="1258" y="208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0" name="AutoShape 106">
                  <a:extLst>
                    <a:ext uri="{FF2B5EF4-FFF2-40B4-BE49-F238E27FC236}">
                      <a16:creationId xmlns:a16="http://schemas.microsoft.com/office/drawing/2014/main" xmlns="" id="{51EC081E-29F7-4CA9-830C-B8091D4A64E1}"/>
                    </a:ext>
                  </a:extLst>
                </p:cNvPr>
                <p:cNvSpPr>
                  <a:spLocks noChangeArrowheads="1"/>
                </p:cNvSpPr>
                <p:nvPr/>
              </p:nvSpPr>
              <p:spPr bwMode="gray">
                <a:xfrm>
                  <a:off x="1322"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1" name="AutoShape 107">
                  <a:extLst>
                    <a:ext uri="{FF2B5EF4-FFF2-40B4-BE49-F238E27FC236}">
                      <a16:creationId xmlns:a16="http://schemas.microsoft.com/office/drawing/2014/main" xmlns="" id="{E9C725A1-74EF-4257-8E74-F99703BCB9D2}"/>
                    </a:ext>
                  </a:extLst>
                </p:cNvPr>
                <p:cNvSpPr>
                  <a:spLocks noChangeArrowheads="1"/>
                </p:cNvSpPr>
                <p:nvPr/>
              </p:nvSpPr>
              <p:spPr bwMode="gray">
                <a:xfrm>
                  <a:off x="1353" y="209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sp>
        <p:nvSpPr>
          <p:cNvPr id="284" name="Text Box 51">
            <a:extLst>
              <a:ext uri="{FF2B5EF4-FFF2-40B4-BE49-F238E27FC236}">
                <a16:creationId xmlns:a16="http://schemas.microsoft.com/office/drawing/2014/main" xmlns="" id="{90A10880-1115-4B0E-ACAD-72BE0492EEAA}"/>
              </a:ext>
            </a:extLst>
          </p:cNvPr>
          <p:cNvSpPr txBox="1">
            <a:spLocks noChangeArrowheads="1"/>
          </p:cNvSpPr>
          <p:nvPr/>
        </p:nvSpPr>
        <p:spPr bwMode="auto">
          <a:xfrm>
            <a:off x="426634" y="4700062"/>
            <a:ext cx="7973508" cy="120060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40" tIns="45720" rIns="91440" bIns="45720" anchor="t"/>
          <a:lstStyle>
            <a:lvl1pPr marL="257175" indent="-257175"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marL="285750" indent="-285750">
              <a:buClr>
                <a:schemeClr val="accent1"/>
              </a:buClr>
              <a:buFont typeface="Arial" panose="020B0604020202020204" pitchFamily="34" charset="0"/>
              <a:buChar char="•"/>
            </a:pPr>
            <a:r>
              <a:rPr lang="en-US" sz="1600">
                <a:latin typeface="Arial"/>
                <a:cs typeface="Arial"/>
              </a:rPr>
              <a:t>The total jobs facilitated during the quarter represent 89% of the quarterly target.</a:t>
            </a:r>
          </a:p>
          <a:p>
            <a:pPr marL="285750" indent="-285750">
              <a:buClr>
                <a:schemeClr val="accent1"/>
              </a:buClr>
              <a:buFont typeface="Arial" panose="020B0604020202020204" pitchFamily="34" charset="0"/>
              <a:buChar char="•"/>
            </a:pPr>
            <a:r>
              <a:rPr lang="en-ZA" sz="1600">
                <a:latin typeface="Arial"/>
                <a:cs typeface="Arial"/>
              </a:rPr>
              <a:t>Most jobs facilitated were contributed by the Microfinance sector.</a:t>
            </a:r>
          </a:p>
          <a:p>
            <a:pPr marL="285750" indent="-285750">
              <a:buClr>
                <a:schemeClr val="accent1"/>
              </a:buClr>
              <a:buFont typeface="Arial" panose="020B0604020202020204" pitchFamily="34" charset="0"/>
              <a:buChar char="•"/>
            </a:pPr>
            <a:r>
              <a:rPr lang="en-US" sz="1600">
                <a:latin typeface="Arial"/>
                <a:cs typeface="Arial"/>
              </a:rPr>
              <a:t>The jobs facilitated achievement for FY23-Q3 represents an increase in performance of 85% compared to FY23-Q2.</a:t>
            </a:r>
            <a:endParaRPr lang="en-ZA" sz="1600">
              <a:latin typeface="Arial"/>
              <a:cs typeface="Arial"/>
            </a:endParaRPr>
          </a:p>
          <a:p>
            <a:pPr>
              <a:buClr>
                <a:schemeClr val="accent1"/>
              </a:buClr>
              <a:buFont typeface="Wingdings" panose="05000000000000000000" pitchFamily="2" charset="2"/>
              <a:buChar char="è"/>
            </a:pPr>
            <a:endParaRPr lang="en-US" sz="1600">
              <a:latin typeface="Arial" panose="020B0604020202020204" pitchFamily="34" charset="0"/>
              <a:cs typeface="Arial" panose="020B0604020202020204" pitchFamily="34" charset="0"/>
            </a:endParaRPr>
          </a:p>
        </p:txBody>
      </p:sp>
      <p:sp>
        <p:nvSpPr>
          <p:cNvPr id="133" name="Freeform 5">
            <a:extLst>
              <a:ext uri="{FF2B5EF4-FFF2-40B4-BE49-F238E27FC236}">
                <a16:creationId xmlns:a16="http://schemas.microsoft.com/office/drawing/2014/main" xmlns="" id="{280E1C09-5469-D170-1E76-26ED0716EA61}"/>
              </a:ext>
            </a:extLst>
          </p:cNvPr>
          <p:cNvSpPr>
            <a:spLocks/>
          </p:cNvSpPr>
          <p:nvPr/>
        </p:nvSpPr>
        <p:spPr bwMode="auto">
          <a:xfrm flipV="1">
            <a:off x="6245304" y="1999346"/>
            <a:ext cx="517679" cy="764705"/>
          </a:xfrm>
          <a:custGeom>
            <a:avLst/>
            <a:gdLst>
              <a:gd name="T0" fmla="*/ 810 w 1041"/>
              <a:gd name="T1" fmla="*/ 0 h 929"/>
              <a:gd name="T2" fmla="*/ 810 w 1041"/>
              <a:gd name="T3" fmla="*/ 714 h 929"/>
              <a:gd name="T4" fmla="*/ 1040 w 1041"/>
              <a:gd name="T5" fmla="*/ 714 h 929"/>
              <a:gd name="T6" fmla="*/ 524 w 1041"/>
              <a:gd name="T7" fmla="*/ 928 h 929"/>
              <a:gd name="T8" fmla="*/ 0 w 1041"/>
              <a:gd name="T9" fmla="*/ 714 h 929"/>
              <a:gd name="T10" fmla="*/ 230 w 1041"/>
              <a:gd name="T11" fmla="*/ 714 h 929"/>
              <a:gd name="T12" fmla="*/ 230 w 1041"/>
              <a:gd name="T13" fmla="*/ 0 h 929"/>
              <a:gd name="T14" fmla="*/ 810 w 1041"/>
              <a:gd name="T15" fmla="*/ 0 h 9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1" h="929">
                <a:moveTo>
                  <a:pt x="810" y="0"/>
                </a:moveTo>
                <a:lnTo>
                  <a:pt x="810" y="714"/>
                </a:lnTo>
                <a:lnTo>
                  <a:pt x="1040" y="714"/>
                </a:lnTo>
                <a:lnTo>
                  <a:pt x="524" y="928"/>
                </a:lnTo>
                <a:lnTo>
                  <a:pt x="0" y="714"/>
                </a:lnTo>
                <a:lnTo>
                  <a:pt x="230" y="714"/>
                </a:lnTo>
                <a:lnTo>
                  <a:pt x="230" y="0"/>
                </a:lnTo>
                <a:lnTo>
                  <a:pt x="810" y="0"/>
                </a:lnTo>
              </a:path>
            </a:pathLst>
          </a:custGeom>
          <a:solidFill>
            <a:srgbClr val="0C7723"/>
          </a:solidFill>
          <a:ln w="6350" cap="rnd" cmpd="sng">
            <a:solidFill>
              <a:schemeClr val="bg1"/>
            </a:solidFill>
            <a:prstDash val="solid"/>
            <a:round/>
            <a:headEnd type="none" w="med" len="med"/>
            <a:tailEnd type="none" w="med" len="med"/>
          </a:ln>
          <a:effectLst/>
        </p:spPr>
        <p:txBody>
          <a:bodyPr/>
          <a:lstStyle/>
          <a:p>
            <a:endParaRPr lang="en-ZA"/>
          </a:p>
        </p:txBody>
      </p:sp>
      <p:pic>
        <p:nvPicPr>
          <p:cNvPr id="3" name="Picture 12">
            <a:extLst>
              <a:ext uri="{FF2B5EF4-FFF2-40B4-BE49-F238E27FC236}">
                <a16:creationId xmlns:a16="http://schemas.microsoft.com/office/drawing/2014/main" xmlns="" id="{5FD599DC-EEEF-FD8D-FD88-06666D534FBA}"/>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C09B7A91-2A8C-7D55-1448-C25C4536CA5F}"/>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7669C1B8-1543-BF7D-DCED-3C0BA3FBDFE3}"/>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D779C008-4522-1424-E82F-D7C961A36602}"/>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99558989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8</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5" name="TextBox 14">
            <a:extLst>
              <a:ext uri="{FF2B5EF4-FFF2-40B4-BE49-F238E27FC236}">
                <a16:creationId xmlns:a16="http://schemas.microsoft.com/office/drawing/2014/main" xmlns="" id="{76E4F3F3-BC86-4639-8F95-B5221530819E}"/>
              </a:ext>
            </a:extLst>
          </p:cNvPr>
          <p:cNvSpPr txBox="1"/>
          <p:nvPr/>
        </p:nvSpPr>
        <p:spPr>
          <a:xfrm>
            <a:off x="204056" y="88060"/>
            <a:ext cx="87358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Development Impact:  Targeted Groups </a:t>
            </a:r>
          </a:p>
        </p:txBody>
      </p:sp>
      <p:pic>
        <p:nvPicPr>
          <p:cNvPr id="35" name="Picture 23" descr="j0432609">
            <a:extLst>
              <a:ext uri="{FF2B5EF4-FFF2-40B4-BE49-F238E27FC236}">
                <a16:creationId xmlns:a16="http://schemas.microsoft.com/office/drawing/2014/main" xmlns="" id="{D8C50D29-0D2B-4ED8-9391-ABC7580DF301}"/>
              </a:ext>
            </a:extLst>
          </p:cNvPr>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185244" y="2890500"/>
            <a:ext cx="611482" cy="611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 name="Group 2">
            <a:extLst>
              <a:ext uri="{FF2B5EF4-FFF2-40B4-BE49-F238E27FC236}">
                <a16:creationId xmlns:a16="http://schemas.microsoft.com/office/drawing/2014/main" xmlns="" id="{FBABC212-6D6A-637D-7AD8-DA5EE9FCEA0B}"/>
              </a:ext>
            </a:extLst>
          </p:cNvPr>
          <p:cNvGrpSpPr/>
          <p:nvPr/>
        </p:nvGrpSpPr>
        <p:grpSpPr>
          <a:xfrm>
            <a:off x="168275" y="897948"/>
            <a:ext cx="8684002" cy="4918141"/>
            <a:chOff x="168275" y="971518"/>
            <a:chExt cx="8684002" cy="4918141"/>
          </a:xfrm>
        </p:grpSpPr>
        <p:sp>
          <p:nvSpPr>
            <p:cNvPr id="14" name="AutoShape 2">
              <a:extLst>
                <a:ext uri="{FF2B5EF4-FFF2-40B4-BE49-F238E27FC236}">
                  <a16:creationId xmlns:a16="http://schemas.microsoft.com/office/drawing/2014/main" xmlns="" id="{B2F170BC-3A4E-438D-8499-60DF39376928}"/>
                </a:ext>
              </a:extLst>
            </p:cNvPr>
            <p:cNvSpPr>
              <a:spLocks noChangeArrowheads="1"/>
            </p:cNvSpPr>
            <p:nvPr>
              <p:custDataLst>
                <p:tags r:id="rId1"/>
              </p:custDataLst>
            </p:nvPr>
          </p:nvSpPr>
          <p:spPr bwMode="gray">
            <a:xfrm>
              <a:off x="3088448" y="971518"/>
              <a:ext cx="1323975" cy="4918141"/>
            </a:xfrm>
            <a:prstGeom prst="roundRect">
              <a:avLst>
                <a:gd name="adj" fmla="val 7269"/>
              </a:avLst>
            </a:prstGeom>
            <a:solidFill>
              <a:schemeClr val="bg1">
                <a:lumMod val="95000"/>
              </a:schemeClr>
            </a:soli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SzPct val="80000"/>
                <a:buFont typeface="Wingdings" panose="05000000000000000000" pitchFamily="2" charset="2"/>
                <a:buNone/>
              </a:pPr>
              <a:r>
                <a:rPr lang="de-DE" altLang="en-US" sz="1400" b="1">
                  <a:solidFill>
                    <a:srgbClr val="FD6B00"/>
                  </a:solidFill>
                  <a:latin typeface="Arial" panose="020B0604020202020204" pitchFamily="34" charset="0"/>
                  <a:cs typeface="Arial" panose="020B0604020202020204" pitchFamily="34" charset="0"/>
                </a:rPr>
                <a:t>Annual Target</a:t>
              </a:r>
            </a:p>
          </p:txBody>
        </p:sp>
        <p:sp>
          <p:nvSpPr>
            <p:cNvPr id="16" name="AutoShape 3">
              <a:extLst>
                <a:ext uri="{FF2B5EF4-FFF2-40B4-BE49-F238E27FC236}">
                  <a16:creationId xmlns:a16="http://schemas.microsoft.com/office/drawing/2014/main" xmlns="" id="{D4ECDA84-3AA2-4755-B0C0-0E67E42320B5}"/>
                </a:ext>
              </a:extLst>
            </p:cNvPr>
            <p:cNvSpPr>
              <a:spLocks noChangeArrowheads="1"/>
            </p:cNvSpPr>
            <p:nvPr>
              <p:custDataLst>
                <p:tags r:id="rId2"/>
              </p:custDataLst>
            </p:nvPr>
          </p:nvSpPr>
          <p:spPr bwMode="gray">
            <a:xfrm>
              <a:off x="4557644" y="971518"/>
              <a:ext cx="1323975" cy="4918141"/>
            </a:xfrm>
            <a:prstGeom prst="roundRect">
              <a:avLst>
                <a:gd name="adj" fmla="val 7269"/>
              </a:avLst>
            </a:prstGeom>
            <a:gradFill rotWithShape="1">
              <a:gsLst>
                <a:gs pos="0">
                  <a:srgbClr val="C0C0C0">
                    <a:gamma/>
                    <a:tint val="22353"/>
                    <a:invGamma/>
                  </a:srgbClr>
                </a:gs>
                <a:gs pos="100000">
                  <a:srgbClr val="C0C0C0">
                    <a:alpha val="50000"/>
                  </a:srgbClr>
                </a:gs>
              </a:gsLst>
              <a:lin ang="5400000" scaled="1"/>
            </a:gra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Font typeface="Wingdings" panose="05000000000000000000" pitchFamily="2" charset="2"/>
                <a:buNone/>
              </a:pPr>
              <a:r>
                <a:rPr lang="de-DE" altLang="en-US" sz="1400" b="1">
                  <a:solidFill>
                    <a:srgbClr val="FD6B00"/>
                  </a:solidFill>
                  <a:latin typeface="Arial" panose="020B0604020202020204" pitchFamily="34" charset="0"/>
                  <a:cs typeface="Arial" panose="020B0604020202020204" pitchFamily="34" charset="0"/>
                </a:rPr>
                <a:t>Q3 Target</a:t>
              </a:r>
            </a:p>
          </p:txBody>
        </p:sp>
        <p:sp>
          <p:nvSpPr>
            <p:cNvPr id="18" name="AutoShape 4">
              <a:extLst>
                <a:ext uri="{FF2B5EF4-FFF2-40B4-BE49-F238E27FC236}">
                  <a16:creationId xmlns:a16="http://schemas.microsoft.com/office/drawing/2014/main" xmlns="" id="{7390BFCD-4164-4D0F-A976-7A81ECD95CDB}"/>
                </a:ext>
              </a:extLst>
            </p:cNvPr>
            <p:cNvSpPr>
              <a:spLocks noChangeArrowheads="1"/>
            </p:cNvSpPr>
            <p:nvPr>
              <p:custDataLst>
                <p:tags r:id="rId3"/>
              </p:custDataLst>
            </p:nvPr>
          </p:nvSpPr>
          <p:spPr bwMode="gray">
            <a:xfrm>
              <a:off x="6026868" y="971518"/>
              <a:ext cx="1323975" cy="4918141"/>
            </a:xfrm>
            <a:prstGeom prst="roundRect">
              <a:avLst>
                <a:gd name="adj" fmla="val 7269"/>
              </a:avLst>
            </a:prstGeom>
            <a:gradFill rotWithShape="1">
              <a:gsLst>
                <a:gs pos="0">
                  <a:srgbClr val="C0C0C0">
                    <a:gamma/>
                    <a:tint val="22353"/>
                    <a:invGamma/>
                  </a:srgbClr>
                </a:gs>
                <a:gs pos="100000">
                  <a:srgbClr val="C0C0C0">
                    <a:alpha val="50000"/>
                  </a:srgbClr>
                </a:gs>
              </a:gsLst>
              <a:lin ang="5400000" scaled="1"/>
            </a:gra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Font typeface="Wingdings" panose="05000000000000000000" pitchFamily="2" charset="2"/>
                <a:buNone/>
              </a:pPr>
              <a:r>
                <a:rPr lang="de-DE" altLang="en-US" sz="1400" b="1">
                  <a:solidFill>
                    <a:srgbClr val="FD6B00"/>
                  </a:solidFill>
                  <a:latin typeface="Arial" panose="020B0604020202020204" pitchFamily="34" charset="0"/>
                  <a:cs typeface="Arial" panose="020B0604020202020204" pitchFamily="34" charset="0"/>
                </a:rPr>
                <a:t>Q3 </a:t>
              </a:r>
              <a:r>
                <a:rPr lang="en-GB" altLang="en-US" sz="1400" b="1">
                  <a:solidFill>
                    <a:srgbClr val="FD6B00"/>
                  </a:solidFill>
                  <a:latin typeface="Arial" panose="020B0604020202020204" pitchFamily="34" charset="0"/>
                  <a:cs typeface="Arial" panose="020B0604020202020204" pitchFamily="34" charset="0"/>
                </a:rPr>
                <a:t>Achieved</a:t>
              </a:r>
            </a:p>
          </p:txBody>
        </p:sp>
        <p:sp>
          <p:nvSpPr>
            <p:cNvPr id="20" name="AutoShape 6">
              <a:extLst>
                <a:ext uri="{FF2B5EF4-FFF2-40B4-BE49-F238E27FC236}">
                  <a16:creationId xmlns:a16="http://schemas.microsoft.com/office/drawing/2014/main" xmlns="" id="{B465EC45-C63C-4FD1-B882-82336382DB7F}"/>
                </a:ext>
              </a:extLst>
            </p:cNvPr>
            <p:cNvSpPr>
              <a:spLocks noChangeArrowheads="1"/>
            </p:cNvSpPr>
            <p:nvPr>
              <p:custDataLst>
                <p:tags r:id="rId4"/>
              </p:custDataLst>
            </p:nvPr>
          </p:nvSpPr>
          <p:spPr bwMode="gray">
            <a:xfrm>
              <a:off x="7420263" y="971518"/>
              <a:ext cx="1432014" cy="4918140"/>
            </a:xfrm>
            <a:prstGeom prst="roundRect">
              <a:avLst>
                <a:gd name="adj" fmla="val 7269"/>
              </a:avLst>
            </a:prstGeom>
            <a:gradFill rotWithShape="1">
              <a:gsLst>
                <a:gs pos="0">
                  <a:srgbClr val="C0C0C0">
                    <a:gamma/>
                    <a:tint val="22353"/>
                    <a:invGamma/>
                  </a:srgbClr>
                </a:gs>
                <a:gs pos="100000">
                  <a:srgbClr val="C0C0C0">
                    <a:alpha val="50000"/>
                  </a:srgbClr>
                </a:gs>
              </a:gsLst>
              <a:lin ang="5400000" scaled="1"/>
            </a:gra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Font typeface="Wingdings" panose="05000000000000000000" pitchFamily="2" charset="2"/>
                <a:buNone/>
              </a:pPr>
              <a:r>
                <a:rPr lang="de-DE" altLang="en-US" sz="1400" b="1">
                  <a:solidFill>
                    <a:srgbClr val="FD6B00"/>
                  </a:solidFill>
                  <a:latin typeface="Arial" panose="020B0604020202020204" pitchFamily="34" charset="0"/>
                  <a:cs typeface="Arial" panose="020B0604020202020204" pitchFamily="34" charset="0"/>
                </a:rPr>
                <a:t>% </a:t>
              </a:r>
              <a:r>
                <a:rPr lang="en-GB" altLang="en-US" sz="1400" b="1">
                  <a:solidFill>
                    <a:srgbClr val="FD6B00"/>
                  </a:solidFill>
                  <a:latin typeface="Arial" panose="020B0604020202020204" pitchFamily="34" charset="0"/>
                  <a:cs typeface="Arial" panose="020B0604020202020204" pitchFamily="34" charset="0"/>
                </a:rPr>
                <a:t>Achieved</a:t>
              </a:r>
            </a:p>
          </p:txBody>
        </p:sp>
        <p:sp>
          <p:nvSpPr>
            <p:cNvPr id="21" name="AutoShape 7">
              <a:extLst>
                <a:ext uri="{FF2B5EF4-FFF2-40B4-BE49-F238E27FC236}">
                  <a16:creationId xmlns:a16="http://schemas.microsoft.com/office/drawing/2014/main" xmlns="" id="{7CFE9EFF-FE80-47EC-A36D-7449DD0966AF}"/>
                </a:ext>
              </a:extLst>
            </p:cNvPr>
            <p:cNvSpPr>
              <a:spLocks noChangeArrowheads="1"/>
            </p:cNvSpPr>
            <p:nvPr>
              <p:custDataLst>
                <p:tags r:id="rId5"/>
              </p:custDataLst>
            </p:nvPr>
          </p:nvSpPr>
          <p:spPr bwMode="gray">
            <a:xfrm>
              <a:off x="168275" y="2089251"/>
              <a:ext cx="8630527" cy="671476"/>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22" name="AutoShape 8">
              <a:extLst>
                <a:ext uri="{FF2B5EF4-FFF2-40B4-BE49-F238E27FC236}">
                  <a16:creationId xmlns:a16="http://schemas.microsoft.com/office/drawing/2014/main" xmlns="" id="{9CEF8486-39D9-4193-A3B2-E75C3897BCA2}"/>
                </a:ext>
              </a:extLst>
            </p:cNvPr>
            <p:cNvSpPr>
              <a:spLocks noChangeArrowheads="1"/>
            </p:cNvSpPr>
            <p:nvPr>
              <p:custDataLst>
                <p:tags r:id="rId6"/>
              </p:custDataLst>
            </p:nvPr>
          </p:nvSpPr>
          <p:spPr bwMode="gray">
            <a:xfrm>
              <a:off x="168275" y="3618121"/>
              <a:ext cx="8626983" cy="857250"/>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23" name="AutoShape 9">
              <a:extLst>
                <a:ext uri="{FF2B5EF4-FFF2-40B4-BE49-F238E27FC236}">
                  <a16:creationId xmlns:a16="http://schemas.microsoft.com/office/drawing/2014/main" xmlns="" id="{D10EB86C-AEB9-45FD-A287-2B597A0DD4E4}"/>
                </a:ext>
              </a:extLst>
            </p:cNvPr>
            <p:cNvSpPr>
              <a:spLocks noChangeArrowheads="1"/>
            </p:cNvSpPr>
            <p:nvPr>
              <p:custDataLst>
                <p:tags r:id="rId7"/>
              </p:custDataLst>
            </p:nvPr>
          </p:nvSpPr>
          <p:spPr bwMode="gray">
            <a:xfrm>
              <a:off x="169863" y="5305725"/>
              <a:ext cx="8625395" cy="580757"/>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24" name="AutoShape 10">
              <a:extLst>
                <a:ext uri="{FF2B5EF4-FFF2-40B4-BE49-F238E27FC236}">
                  <a16:creationId xmlns:a16="http://schemas.microsoft.com/office/drawing/2014/main" xmlns="" id="{05515183-79A2-46C7-8837-A9F3BF905806}"/>
                </a:ext>
              </a:extLst>
            </p:cNvPr>
            <p:cNvSpPr>
              <a:spLocks noChangeArrowheads="1"/>
            </p:cNvSpPr>
            <p:nvPr>
              <p:custDataLst>
                <p:tags r:id="rId8"/>
              </p:custDataLst>
            </p:nvPr>
          </p:nvSpPr>
          <p:spPr bwMode="gray">
            <a:xfrm>
              <a:off x="168275" y="4566736"/>
              <a:ext cx="8626983" cy="662662"/>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pic>
          <p:nvPicPr>
            <p:cNvPr id="28" name="Picture 16">
              <a:extLst>
                <a:ext uri="{FF2B5EF4-FFF2-40B4-BE49-F238E27FC236}">
                  <a16:creationId xmlns:a16="http://schemas.microsoft.com/office/drawing/2014/main" xmlns="" id="{E465F7C1-79B2-4F14-93DD-10C33B0CDE6A}"/>
                </a:ext>
              </a:extLst>
            </p:cNvPr>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238422" y="3781417"/>
              <a:ext cx="431800" cy="493713"/>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29" name="Picture 17">
              <a:extLst>
                <a:ext uri="{FF2B5EF4-FFF2-40B4-BE49-F238E27FC236}">
                  <a16:creationId xmlns:a16="http://schemas.microsoft.com/office/drawing/2014/main" xmlns="" id="{4F3AC86F-F581-48AB-B947-428AE506CB39}"/>
                </a:ext>
              </a:extLst>
            </p:cNvPr>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247947" y="5362807"/>
              <a:ext cx="422275" cy="493713"/>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30" name="Picture 18">
              <a:extLst>
                <a:ext uri="{FF2B5EF4-FFF2-40B4-BE49-F238E27FC236}">
                  <a16:creationId xmlns:a16="http://schemas.microsoft.com/office/drawing/2014/main" xmlns="" id="{E5B181FA-80A3-4F3D-BC20-8D6D9B1B08E1}"/>
                </a:ext>
              </a:extLst>
            </p:cNvPr>
            <p:cNvPicPr>
              <a:picLocks noChangeAspect="1" noChangeArrowheads="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250731" y="4652544"/>
              <a:ext cx="419100" cy="490538"/>
            </a:xfrm>
            <a:prstGeom prst="rect">
              <a:avLst/>
            </a:prstGeom>
            <a:noFill/>
            <a:ln>
              <a:noFill/>
            </a:ln>
            <a:extLst>
              <a:ext uri="{909E8E84-426E-40DD-AFC4-6F175D3DCCD1}">
                <a14:hiddenFill xmlns:a14="http://schemas.microsoft.com/office/drawing/2010/main" xmlns="">
                  <a:solidFill>
                    <a:srgbClr val="FFFFFF"/>
                  </a:solidFill>
                </a14:hiddenFill>
              </a:ext>
            </a:extLst>
          </p:spPr>
        </p:pic>
        <p:sp>
          <p:nvSpPr>
            <p:cNvPr id="31" name="Text Box 19">
              <a:extLst>
                <a:ext uri="{FF2B5EF4-FFF2-40B4-BE49-F238E27FC236}">
                  <a16:creationId xmlns:a16="http://schemas.microsoft.com/office/drawing/2014/main" xmlns="" id="{C447A20A-7B61-4444-8950-6DADA9CCAAE9}"/>
                </a:ext>
              </a:extLst>
            </p:cNvPr>
            <p:cNvSpPr txBox="1">
              <a:spLocks noChangeArrowheads="1"/>
            </p:cNvSpPr>
            <p:nvPr>
              <p:custDataLst>
                <p:tags r:id="rId9"/>
              </p:custDataLst>
            </p:nvPr>
          </p:nvSpPr>
          <p:spPr bwMode="gray">
            <a:xfrm>
              <a:off x="868451" y="2179066"/>
              <a:ext cx="2594946" cy="492443"/>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People with Disability (R'000)</a:t>
              </a:r>
            </a:p>
          </p:txBody>
        </p:sp>
        <p:sp>
          <p:nvSpPr>
            <p:cNvPr id="32" name="Text Box 20">
              <a:extLst>
                <a:ext uri="{FF2B5EF4-FFF2-40B4-BE49-F238E27FC236}">
                  <a16:creationId xmlns:a16="http://schemas.microsoft.com/office/drawing/2014/main" xmlns="" id="{5D14A0D6-10B2-4A2E-9C54-DC50FDD548AD}"/>
                </a:ext>
              </a:extLst>
            </p:cNvPr>
            <p:cNvSpPr txBox="1">
              <a:spLocks noChangeArrowheads="1"/>
            </p:cNvSpPr>
            <p:nvPr>
              <p:custDataLst>
                <p:tags r:id="rId10"/>
              </p:custDataLst>
            </p:nvPr>
          </p:nvSpPr>
          <p:spPr bwMode="gray">
            <a:xfrm>
              <a:off x="868451" y="3919928"/>
              <a:ext cx="1986121"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Black owned (R'000)</a:t>
              </a:r>
            </a:p>
          </p:txBody>
        </p:sp>
        <p:sp>
          <p:nvSpPr>
            <p:cNvPr id="33" name="Text Box 21">
              <a:extLst>
                <a:ext uri="{FF2B5EF4-FFF2-40B4-BE49-F238E27FC236}">
                  <a16:creationId xmlns:a16="http://schemas.microsoft.com/office/drawing/2014/main" xmlns="" id="{0FA76971-86CD-4923-9002-F74C7D9A84CB}"/>
                </a:ext>
              </a:extLst>
            </p:cNvPr>
            <p:cNvSpPr txBox="1">
              <a:spLocks noChangeArrowheads="1"/>
            </p:cNvSpPr>
            <p:nvPr>
              <p:custDataLst>
                <p:tags r:id="rId11"/>
              </p:custDataLst>
            </p:nvPr>
          </p:nvSpPr>
          <p:spPr bwMode="gray">
            <a:xfrm>
              <a:off x="868451" y="4660548"/>
              <a:ext cx="2533075" cy="492443"/>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Villages &amp; Rural towns (R'000)</a:t>
              </a:r>
            </a:p>
          </p:txBody>
        </p:sp>
        <p:sp>
          <p:nvSpPr>
            <p:cNvPr id="59" name="AutoShape 7">
              <a:extLst>
                <a:ext uri="{FF2B5EF4-FFF2-40B4-BE49-F238E27FC236}">
                  <a16:creationId xmlns:a16="http://schemas.microsoft.com/office/drawing/2014/main" xmlns="" id="{B182E896-6A4A-48E6-B92A-5B359C425E1B}"/>
                </a:ext>
              </a:extLst>
            </p:cNvPr>
            <p:cNvSpPr>
              <a:spLocks noChangeArrowheads="1"/>
            </p:cNvSpPr>
            <p:nvPr>
              <p:custDataLst>
                <p:tags r:id="rId12"/>
              </p:custDataLst>
            </p:nvPr>
          </p:nvSpPr>
          <p:spPr bwMode="gray">
            <a:xfrm>
              <a:off x="171819" y="1316616"/>
              <a:ext cx="8626983" cy="686455"/>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60" name="Text Box 13">
              <a:extLst>
                <a:ext uri="{FF2B5EF4-FFF2-40B4-BE49-F238E27FC236}">
                  <a16:creationId xmlns:a16="http://schemas.microsoft.com/office/drawing/2014/main" xmlns="" id="{6EC4599C-3B99-431A-8AF9-3A2137315180}"/>
                </a:ext>
              </a:extLst>
            </p:cNvPr>
            <p:cNvSpPr txBox="1">
              <a:spLocks noChangeArrowheads="1"/>
            </p:cNvSpPr>
            <p:nvPr>
              <p:custDataLst>
                <p:tags r:id="rId13"/>
              </p:custDataLst>
            </p:nvPr>
          </p:nvSpPr>
          <p:spPr bwMode="gray">
            <a:xfrm>
              <a:off x="868451" y="1502233"/>
              <a:ext cx="1297598"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Youth (R'000)</a:t>
              </a:r>
            </a:p>
          </p:txBody>
        </p:sp>
        <p:sp>
          <p:nvSpPr>
            <p:cNvPr id="61" name="Text Box 21">
              <a:extLst>
                <a:ext uri="{FF2B5EF4-FFF2-40B4-BE49-F238E27FC236}">
                  <a16:creationId xmlns:a16="http://schemas.microsoft.com/office/drawing/2014/main" xmlns="" id="{7B8EE715-DDC6-44AC-B05B-E29DC57AAA78}"/>
                </a:ext>
              </a:extLst>
            </p:cNvPr>
            <p:cNvSpPr txBox="1">
              <a:spLocks noChangeArrowheads="1"/>
            </p:cNvSpPr>
            <p:nvPr>
              <p:custDataLst>
                <p:tags r:id="rId14"/>
              </p:custDataLst>
            </p:nvPr>
          </p:nvSpPr>
          <p:spPr bwMode="gray">
            <a:xfrm>
              <a:off x="868451" y="5479525"/>
              <a:ext cx="1788118"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Townships (R'000)</a:t>
              </a:r>
            </a:p>
          </p:txBody>
        </p:sp>
        <p:sp>
          <p:nvSpPr>
            <p:cNvPr id="62" name="AutoShape 7">
              <a:extLst>
                <a:ext uri="{FF2B5EF4-FFF2-40B4-BE49-F238E27FC236}">
                  <a16:creationId xmlns:a16="http://schemas.microsoft.com/office/drawing/2014/main" xmlns="" id="{A9797C8B-E033-457D-8008-535BD28A9EE4}"/>
                </a:ext>
              </a:extLst>
            </p:cNvPr>
            <p:cNvSpPr>
              <a:spLocks noChangeArrowheads="1"/>
            </p:cNvSpPr>
            <p:nvPr>
              <p:custDataLst>
                <p:tags r:id="rId15"/>
              </p:custDataLst>
            </p:nvPr>
          </p:nvSpPr>
          <p:spPr bwMode="gray">
            <a:xfrm>
              <a:off x="182447" y="2847702"/>
              <a:ext cx="8616356" cy="671476"/>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63" name="Text Box 20">
              <a:extLst>
                <a:ext uri="{FF2B5EF4-FFF2-40B4-BE49-F238E27FC236}">
                  <a16:creationId xmlns:a16="http://schemas.microsoft.com/office/drawing/2014/main" xmlns="" id="{C6123057-02A2-4629-BCD8-3B206DBB16ED}"/>
                </a:ext>
              </a:extLst>
            </p:cNvPr>
            <p:cNvSpPr txBox="1">
              <a:spLocks noChangeArrowheads="1"/>
            </p:cNvSpPr>
            <p:nvPr>
              <p:custDataLst>
                <p:tags r:id="rId16"/>
              </p:custDataLst>
            </p:nvPr>
          </p:nvSpPr>
          <p:spPr bwMode="gray">
            <a:xfrm>
              <a:off x="868451" y="3024762"/>
              <a:ext cx="2176365"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Women owned (R'000)</a:t>
              </a:r>
            </a:p>
          </p:txBody>
        </p:sp>
        <p:pic>
          <p:nvPicPr>
            <p:cNvPr id="34" name="Picture 19" descr="j0432623">
              <a:extLst>
                <a:ext uri="{FF2B5EF4-FFF2-40B4-BE49-F238E27FC236}">
                  <a16:creationId xmlns:a16="http://schemas.microsoft.com/office/drawing/2014/main" xmlns="" id="{0E32D53E-A4CB-403E-979E-4F63689BE1D4}"/>
                </a:ext>
              </a:extLst>
            </p:cNvPr>
            <p:cNvPicPr>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207560" y="1352729"/>
              <a:ext cx="542652" cy="621776"/>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36" name="Graphic 35" descr="Braille with solid fill">
              <a:extLst>
                <a:ext uri="{FF2B5EF4-FFF2-40B4-BE49-F238E27FC236}">
                  <a16:creationId xmlns:a16="http://schemas.microsoft.com/office/drawing/2014/main" xmlns="" id="{29E51F36-D8A8-46E9-B34C-D4EDFD0E989B}"/>
                </a:ext>
              </a:extLst>
            </p:cNvPr>
            <p:cNvPicPr>
              <a:picLocks noChangeAspect="1"/>
            </p:cNvPicPr>
            <p:nvPr/>
          </p:nvPicPr>
          <p:blipFill>
            <a:blip r:embed="rId24" cstate="print">
              <a:extLst>
                <a:ext uri="{28A0092B-C50C-407E-A947-70E740481C1C}">
                  <a14:useLocalDpi xmlns:a14="http://schemas.microsoft.com/office/drawing/2010/main" xmlns="" val="0"/>
                </a:ext>
                <a:ext uri="{96DAC541-7B7A-43D3-8B79-37D633B846F1}">
                  <asvg:svgBlip xmlns="" xmlns:asvg="http://schemas.microsoft.com/office/drawing/2016/SVG/main" r:embed="rId25"/>
                </a:ext>
              </a:extLst>
            </a:blip>
            <a:stretch>
              <a:fillRect/>
            </a:stretch>
          </p:blipFill>
          <p:spPr>
            <a:xfrm>
              <a:off x="193762" y="2111620"/>
              <a:ext cx="626627" cy="626627"/>
            </a:xfrm>
            <a:prstGeom prst="rect">
              <a:avLst/>
            </a:prstGeom>
          </p:spPr>
        </p:pic>
      </p:grpSp>
      <p:pic>
        <p:nvPicPr>
          <p:cNvPr id="4" name="Picture 12">
            <a:extLst>
              <a:ext uri="{FF2B5EF4-FFF2-40B4-BE49-F238E27FC236}">
                <a16:creationId xmlns:a16="http://schemas.microsoft.com/office/drawing/2014/main" xmlns="" id="{F454C7EC-4BA3-2531-AD7F-D13444BC3CC8}"/>
              </a:ext>
            </a:extLst>
          </p:cNvPr>
          <p:cNvPicPr>
            <a:picLocks noChangeAspect="1"/>
          </p:cNvPicPr>
          <p:nvPr/>
        </p:nvPicPr>
        <p:blipFill>
          <a:blip r:embed="rId26"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F2DD684A-3D98-8F5C-F510-CF29F5D46CFE}"/>
              </a:ext>
            </a:extLst>
          </p:cNvPr>
          <p:cNvPicPr>
            <a:picLocks noChangeAspect="1"/>
          </p:cNvPicPr>
          <p:nvPr/>
        </p:nvPicPr>
        <p:blipFill>
          <a:blip r:embed="rId27"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CD3C7371-CF65-1FE8-A82C-B830C2FB9584}"/>
              </a:ext>
            </a:extLst>
          </p:cNvPr>
          <p:cNvPicPr>
            <a:picLocks noChangeAspect="1"/>
          </p:cNvPicPr>
          <p:nvPr/>
        </p:nvPicPr>
        <p:blipFill>
          <a:blip r:embed="rId28"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8" name="Straight Connector 7">
            <a:extLst>
              <a:ext uri="{FF2B5EF4-FFF2-40B4-BE49-F238E27FC236}">
                <a16:creationId xmlns:a16="http://schemas.microsoft.com/office/drawing/2014/main" xmlns="" id="{E6DFDBD5-1639-64C6-FE84-BEE01E28627A}"/>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xmlns="" id="{67F2D226-074C-6CE5-1CBE-41D888E70EF3}"/>
              </a:ext>
            </a:extLst>
          </p:cNvPr>
          <p:cNvSpPr txBox="1"/>
          <p:nvPr/>
        </p:nvSpPr>
        <p:spPr>
          <a:xfrm>
            <a:off x="3172695" y="1435845"/>
            <a:ext cx="1140413" cy="369332"/>
          </a:xfrm>
          <a:prstGeom prst="rect">
            <a:avLst/>
          </a:prstGeom>
          <a:noFill/>
        </p:spPr>
        <p:txBody>
          <a:bodyPr wrap="square" rtlCol="0">
            <a:spAutoFit/>
          </a:bodyPr>
          <a:lstStyle/>
          <a:p>
            <a:pPr algn="ctr"/>
            <a:r>
              <a:rPr lang="en-GB"/>
              <a:t>601 139</a:t>
            </a:r>
          </a:p>
        </p:txBody>
      </p:sp>
      <p:sp>
        <p:nvSpPr>
          <p:cNvPr id="17" name="TextBox 16">
            <a:extLst>
              <a:ext uri="{FF2B5EF4-FFF2-40B4-BE49-F238E27FC236}">
                <a16:creationId xmlns:a16="http://schemas.microsoft.com/office/drawing/2014/main" xmlns="" id="{17B5A841-0B6C-F5CD-D02A-E95DCA3EAF21}"/>
              </a:ext>
            </a:extLst>
          </p:cNvPr>
          <p:cNvSpPr txBox="1"/>
          <p:nvPr/>
        </p:nvSpPr>
        <p:spPr>
          <a:xfrm>
            <a:off x="3174056" y="2181413"/>
            <a:ext cx="1140413" cy="369332"/>
          </a:xfrm>
          <a:prstGeom prst="rect">
            <a:avLst/>
          </a:prstGeom>
          <a:noFill/>
        </p:spPr>
        <p:txBody>
          <a:bodyPr wrap="square" rtlCol="0">
            <a:spAutoFit/>
          </a:bodyPr>
          <a:lstStyle/>
          <a:p>
            <a:pPr algn="ctr"/>
            <a:r>
              <a:rPr lang="en-GB"/>
              <a:t>140 226</a:t>
            </a:r>
          </a:p>
        </p:txBody>
      </p:sp>
      <p:sp>
        <p:nvSpPr>
          <p:cNvPr id="19" name="TextBox 18">
            <a:extLst>
              <a:ext uri="{FF2B5EF4-FFF2-40B4-BE49-F238E27FC236}">
                <a16:creationId xmlns:a16="http://schemas.microsoft.com/office/drawing/2014/main" xmlns="" id="{7B61BDEF-0023-D9F2-34CE-8A3E59F50BE9}"/>
              </a:ext>
            </a:extLst>
          </p:cNvPr>
          <p:cNvSpPr txBox="1"/>
          <p:nvPr/>
        </p:nvSpPr>
        <p:spPr>
          <a:xfrm>
            <a:off x="3185808" y="2934650"/>
            <a:ext cx="1140413" cy="369332"/>
          </a:xfrm>
          <a:prstGeom prst="rect">
            <a:avLst/>
          </a:prstGeom>
          <a:noFill/>
        </p:spPr>
        <p:txBody>
          <a:bodyPr wrap="square" rtlCol="0">
            <a:spAutoFit/>
          </a:bodyPr>
          <a:lstStyle/>
          <a:p>
            <a:pPr algn="ctr"/>
            <a:r>
              <a:rPr lang="en-GB"/>
              <a:t>801 518</a:t>
            </a:r>
          </a:p>
        </p:txBody>
      </p:sp>
      <p:sp>
        <p:nvSpPr>
          <p:cNvPr id="25" name="TextBox 24">
            <a:extLst>
              <a:ext uri="{FF2B5EF4-FFF2-40B4-BE49-F238E27FC236}">
                <a16:creationId xmlns:a16="http://schemas.microsoft.com/office/drawing/2014/main" xmlns="" id="{24EB94F6-CA7C-D409-4C97-7E02D1B1207D}"/>
              </a:ext>
            </a:extLst>
          </p:cNvPr>
          <p:cNvSpPr txBox="1"/>
          <p:nvPr/>
        </p:nvSpPr>
        <p:spPr>
          <a:xfrm>
            <a:off x="3194455" y="3817427"/>
            <a:ext cx="1140413" cy="369332"/>
          </a:xfrm>
          <a:prstGeom prst="rect">
            <a:avLst/>
          </a:prstGeom>
          <a:noFill/>
        </p:spPr>
        <p:txBody>
          <a:bodyPr wrap="square" rtlCol="0">
            <a:spAutoFit/>
          </a:bodyPr>
          <a:lstStyle/>
          <a:p>
            <a:r>
              <a:rPr lang="en-GB"/>
              <a:t>1 402 657</a:t>
            </a:r>
          </a:p>
        </p:txBody>
      </p:sp>
      <p:sp>
        <p:nvSpPr>
          <p:cNvPr id="26" name="TextBox 25">
            <a:extLst>
              <a:ext uri="{FF2B5EF4-FFF2-40B4-BE49-F238E27FC236}">
                <a16:creationId xmlns:a16="http://schemas.microsoft.com/office/drawing/2014/main" xmlns="" id="{8E5DBE40-FC1B-3787-03CB-034C2CAA448C}"/>
              </a:ext>
            </a:extLst>
          </p:cNvPr>
          <p:cNvSpPr txBox="1"/>
          <p:nvPr/>
        </p:nvSpPr>
        <p:spPr>
          <a:xfrm>
            <a:off x="3184504" y="4675104"/>
            <a:ext cx="1140413" cy="369332"/>
          </a:xfrm>
          <a:prstGeom prst="rect">
            <a:avLst/>
          </a:prstGeom>
          <a:noFill/>
        </p:spPr>
        <p:txBody>
          <a:bodyPr wrap="square" rtlCol="0">
            <a:spAutoFit/>
          </a:bodyPr>
          <a:lstStyle/>
          <a:p>
            <a:pPr algn="ctr"/>
            <a:r>
              <a:rPr lang="en-GB"/>
              <a:t>801 518</a:t>
            </a:r>
          </a:p>
        </p:txBody>
      </p:sp>
      <p:sp>
        <p:nvSpPr>
          <p:cNvPr id="27" name="TextBox 26">
            <a:extLst>
              <a:ext uri="{FF2B5EF4-FFF2-40B4-BE49-F238E27FC236}">
                <a16:creationId xmlns:a16="http://schemas.microsoft.com/office/drawing/2014/main" xmlns="" id="{CE0D108C-D7B7-95A5-17C9-577D09448944}"/>
              </a:ext>
            </a:extLst>
          </p:cNvPr>
          <p:cNvSpPr txBox="1"/>
          <p:nvPr/>
        </p:nvSpPr>
        <p:spPr>
          <a:xfrm>
            <a:off x="3194455" y="5353704"/>
            <a:ext cx="1140413" cy="369332"/>
          </a:xfrm>
          <a:prstGeom prst="rect">
            <a:avLst/>
          </a:prstGeom>
          <a:noFill/>
        </p:spPr>
        <p:txBody>
          <a:bodyPr wrap="square" rtlCol="0">
            <a:spAutoFit/>
          </a:bodyPr>
          <a:lstStyle/>
          <a:p>
            <a:pPr algn="ctr"/>
            <a:r>
              <a:rPr lang="en-GB"/>
              <a:t>500 949</a:t>
            </a:r>
          </a:p>
        </p:txBody>
      </p:sp>
      <p:sp>
        <p:nvSpPr>
          <p:cNvPr id="37" name="TextBox 36">
            <a:extLst>
              <a:ext uri="{FF2B5EF4-FFF2-40B4-BE49-F238E27FC236}">
                <a16:creationId xmlns:a16="http://schemas.microsoft.com/office/drawing/2014/main" xmlns="" id="{5CCF6784-F0E1-64EE-C425-AE4719C78489}"/>
              </a:ext>
            </a:extLst>
          </p:cNvPr>
          <p:cNvSpPr txBox="1"/>
          <p:nvPr/>
        </p:nvSpPr>
        <p:spPr>
          <a:xfrm>
            <a:off x="4656374" y="1435845"/>
            <a:ext cx="1140413" cy="369332"/>
          </a:xfrm>
          <a:prstGeom prst="rect">
            <a:avLst/>
          </a:prstGeom>
          <a:noFill/>
        </p:spPr>
        <p:txBody>
          <a:bodyPr wrap="square" rtlCol="0">
            <a:spAutoFit/>
          </a:bodyPr>
          <a:lstStyle/>
          <a:p>
            <a:pPr algn="ctr"/>
            <a:r>
              <a:rPr lang="en-GB"/>
              <a:t>180 342</a:t>
            </a:r>
          </a:p>
        </p:txBody>
      </p:sp>
      <p:sp>
        <p:nvSpPr>
          <p:cNvPr id="38" name="TextBox 37">
            <a:extLst>
              <a:ext uri="{FF2B5EF4-FFF2-40B4-BE49-F238E27FC236}">
                <a16:creationId xmlns:a16="http://schemas.microsoft.com/office/drawing/2014/main" xmlns="" id="{180DA5D3-495D-1F18-BC47-A1299A60E305}"/>
              </a:ext>
            </a:extLst>
          </p:cNvPr>
          <p:cNvSpPr txBox="1"/>
          <p:nvPr/>
        </p:nvSpPr>
        <p:spPr>
          <a:xfrm>
            <a:off x="4656374" y="2181413"/>
            <a:ext cx="1140413" cy="369332"/>
          </a:xfrm>
          <a:prstGeom prst="rect">
            <a:avLst/>
          </a:prstGeom>
          <a:noFill/>
        </p:spPr>
        <p:txBody>
          <a:bodyPr wrap="square" rtlCol="0">
            <a:spAutoFit/>
          </a:bodyPr>
          <a:lstStyle/>
          <a:p>
            <a:pPr algn="ctr"/>
            <a:r>
              <a:rPr lang="en-GB"/>
              <a:t>42 080</a:t>
            </a:r>
          </a:p>
        </p:txBody>
      </p:sp>
      <p:sp>
        <p:nvSpPr>
          <p:cNvPr id="39" name="TextBox 38">
            <a:extLst>
              <a:ext uri="{FF2B5EF4-FFF2-40B4-BE49-F238E27FC236}">
                <a16:creationId xmlns:a16="http://schemas.microsoft.com/office/drawing/2014/main" xmlns="" id="{88E2A94A-4C2D-B23A-1D42-E7D96ECE2A2B}"/>
              </a:ext>
            </a:extLst>
          </p:cNvPr>
          <p:cNvSpPr txBox="1"/>
          <p:nvPr/>
        </p:nvSpPr>
        <p:spPr>
          <a:xfrm>
            <a:off x="4656374" y="2934650"/>
            <a:ext cx="1140413" cy="369332"/>
          </a:xfrm>
          <a:prstGeom prst="rect">
            <a:avLst/>
          </a:prstGeom>
          <a:noFill/>
        </p:spPr>
        <p:txBody>
          <a:bodyPr wrap="square" rtlCol="0">
            <a:spAutoFit/>
          </a:bodyPr>
          <a:lstStyle/>
          <a:p>
            <a:pPr algn="ctr"/>
            <a:r>
              <a:rPr lang="en-GB"/>
              <a:t>240 455</a:t>
            </a:r>
          </a:p>
        </p:txBody>
      </p:sp>
      <p:sp>
        <p:nvSpPr>
          <p:cNvPr id="40" name="TextBox 39">
            <a:extLst>
              <a:ext uri="{FF2B5EF4-FFF2-40B4-BE49-F238E27FC236}">
                <a16:creationId xmlns:a16="http://schemas.microsoft.com/office/drawing/2014/main" xmlns="" id="{9068FD66-6334-7A21-41F0-FF2B6563E303}"/>
              </a:ext>
            </a:extLst>
          </p:cNvPr>
          <p:cNvSpPr txBox="1"/>
          <p:nvPr/>
        </p:nvSpPr>
        <p:spPr>
          <a:xfrm>
            <a:off x="4656374" y="3817427"/>
            <a:ext cx="1140413" cy="369332"/>
          </a:xfrm>
          <a:prstGeom prst="rect">
            <a:avLst/>
          </a:prstGeom>
          <a:noFill/>
        </p:spPr>
        <p:txBody>
          <a:bodyPr wrap="square" rtlCol="0">
            <a:spAutoFit/>
          </a:bodyPr>
          <a:lstStyle/>
          <a:p>
            <a:pPr algn="ctr"/>
            <a:r>
              <a:rPr lang="en-GB"/>
              <a:t>420 797</a:t>
            </a:r>
          </a:p>
        </p:txBody>
      </p:sp>
      <p:sp>
        <p:nvSpPr>
          <p:cNvPr id="41" name="TextBox 40">
            <a:extLst>
              <a:ext uri="{FF2B5EF4-FFF2-40B4-BE49-F238E27FC236}">
                <a16:creationId xmlns:a16="http://schemas.microsoft.com/office/drawing/2014/main" xmlns="" id="{FE215139-3464-495A-0AF6-06F3935A02D2}"/>
              </a:ext>
            </a:extLst>
          </p:cNvPr>
          <p:cNvSpPr txBox="1"/>
          <p:nvPr/>
        </p:nvSpPr>
        <p:spPr>
          <a:xfrm>
            <a:off x="4656374" y="4675104"/>
            <a:ext cx="1140413" cy="369332"/>
          </a:xfrm>
          <a:prstGeom prst="rect">
            <a:avLst/>
          </a:prstGeom>
          <a:noFill/>
        </p:spPr>
        <p:txBody>
          <a:bodyPr wrap="square" rtlCol="0">
            <a:spAutoFit/>
          </a:bodyPr>
          <a:lstStyle/>
          <a:p>
            <a:pPr algn="ctr"/>
            <a:r>
              <a:rPr lang="en-GB"/>
              <a:t>240 455</a:t>
            </a:r>
          </a:p>
        </p:txBody>
      </p:sp>
      <p:sp>
        <p:nvSpPr>
          <p:cNvPr id="42" name="TextBox 41">
            <a:extLst>
              <a:ext uri="{FF2B5EF4-FFF2-40B4-BE49-F238E27FC236}">
                <a16:creationId xmlns:a16="http://schemas.microsoft.com/office/drawing/2014/main" xmlns="" id="{BAB71368-8840-8F78-1CFB-EFDADC72651E}"/>
              </a:ext>
            </a:extLst>
          </p:cNvPr>
          <p:cNvSpPr txBox="1"/>
          <p:nvPr/>
        </p:nvSpPr>
        <p:spPr>
          <a:xfrm>
            <a:off x="4656374" y="5326104"/>
            <a:ext cx="1140413" cy="369332"/>
          </a:xfrm>
          <a:prstGeom prst="rect">
            <a:avLst/>
          </a:prstGeom>
          <a:noFill/>
        </p:spPr>
        <p:txBody>
          <a:bodyPr wrap="square" rtlCol="0">
            <a:spAutoFit/>
          </a:bodyPr>
          <a:lstStyle/>
          <a:p>
            <a:pPr algn="ctr"/>
            <a:r>
              <a:rPr lang="en-GB"/>
              <a:t>150 285</a:t>
            </a:r>
          </a:p>
        </p:txBody>
      </p:sp>
      <p:sp>
        <p:nvSpPr>
          <p:cNvPr id="43" name="TextBox 42">
            <a:extLst>
              <a:ext uri="{FF2B5EF4-FFF2-40B4-BE49-F238E27FC236}">
                <a16:creationId xmlns:a16="http://schemas.microsoft.com/office/drawing/2014/main" xmlns="" id="{12D0AA9C-1B65-BDC1-EBAE-B24FFA64DF9E}"/>
              </a:ext>
            </a:extLst>
          </p:cNvPr>
          <p:cNvSpPr txBox="1"/>
          <p:nvPr/>
        </p:nvSpPr>
        <p:spPr>
          <a:xfrm>
            <a:off x="6131326" y="1424648"/>
            <a:ext cx="1140413" cy="369332"/>
          </a:xfrm>
          <a:prstGeom prst="rect">
            <a:avLst/>
          </a:prstGeom>
          <a:noFill/>
        </p:spPr>
        <p:txBody>
          <a:bodyPr wrap="square" rtlCol="0">
            <a:spAutoFit/>
          </a:bodyPr>
          <a:lstStyle/>
          <a:p>
            <a:pPr algn="ctr"/>
            <a:r>
              <a:rPr lang="en-GB"/>
              <a:t>132 222</a:t>
            </a:r>
          </a:p>
        </p:txBody>
      </p:sp>
      <p:sp>
        <p:nvSpPr>
          <p:cNvPr id="44" name="TextBox 43">
            <a:extLst>
              <a:ext uri="{FF2B5EF4-FFF2-40B4-BE49-F238E27FC236}">
                <a16:creationId xmlns:a16="http://schemas.microsoft.com/office/drawing/2014/main" xmlns="" id="{F46814B5-BC78-576B-2158-4DB93A5664F1}"/>
              </a:ext>
            </a:extLst>
          </p:cNvPr>
          <p:cNvSpPr txBox="1"/>
          <p:nvPr/>
        </p:nvSpPr>
        <p:spPr>
          <a:xfrm>
            <a:off x="6131326" y="2170216"/>
            <a:ext cx="1140413" cy="369332"/>
          </a:xfrm>
          <a:prstGeom prst="rect">
            <a:avLst/>
          </a:prstGeom>
          <a:noFill/>
        </p:spPr>
        <p:txBody>
          <a:bodyPr wrap="square" rtlCol="0">
            <a:spAutoFit/>
          </a:bodyPr>
          <a:lstStyle/>
          <a:p>
            <a:pPr algn="ctr"/>
            <a:r>
              <a:rPr lang="en-GB"/>
              <a:t>14 480</a:t>
            </a:r>
          </a:p>
        </p:txBody>
      </p:sp>
      <p:sp>
        <p:nvSpPr>
          <p:cNvPr id="45" name="TextBox 44">
            <a:extLst>
              <a:ext uri="{FF2B5EF4-FFF2-40B4-BE49-F238E27FC236}">
                <a16:creationId xmlns:a16="http://schemas.microsoft.com/office/drawing/2014/main" xmlns="" id="{8EC8A5FB-146A-FD58-AB56-0B0BE3ECF277}"/>
              </a:ext>
            </a:extLst>
          </p:cNvPr>
          <p:cNvSpPr txBox="1"/>
          <p:nvPr/>
        </p:nvSpPr>
        <p:spPr>
          <a:xfrm>
            <a:off x="6131326" y="2923453"/>
            <a:ext cx="1140413" cy="369332"/>
          </a:xfrm>
          <a:prstGeom prst="rect">
            <a:avLst/>
          </a:prstGeom>
          <a:noFill/>
        </p:spPr>
        <p:txBody>
          <a:bodyPr wrap="square" rtlCol="0">
            <a:spAutoFit/>
          </a:bodyPr>
          <a:lstStyle/>
          <a:p>
            <a:pPr algn="ctr"/>
            <a:r>
              <a:rPr lang="en-GB"/>
              <a:t>230 794</a:t>
            </a:r>
          </a:p>
        </p:txBody>
      </p:sp>
      <p:sp>
        <p:nvSpPr>
          <p:cNvPr id="46" name="TextBox 45">
            <a:extLst>
              <a:ext uri="{FF2B5EF4-FFF2-40B4-BE49-F238E27FC236}">
                <a16:creationId xmlns:a16="http://schemas.microsoft.com/office/drawing/2014/main" xmlns="" id="{EB6EB170-64A3-8659-492D-9A1A0A97E3BC}"/>
              </a:ext>
            </a:extLst>
          </p:cNvPr>
          <p:cNvSpPr txBox="1"/>
          <p:nvPr/>
        </p:nvSpPr>
        <p:spPr>
          <a:xfrm>
            <a:off x="6131326" y="3806230"/>
            <a:ext cx="1140413" cy="369332"/>
          </a:xfrm>
          <a:prstGeom prst="rect">
            <a:avLst/>
          </a:prstGeom>
          <a:noFill/>
        </p:spPr>
        <p:txBody>
          <a:bodyPr wrap="square" rtlCol="0">
            <a:spAutoFit/>
          </a:bodyPr>
          <a:lstStyle/>
          <a:p>
            <a:pPr algn="ctr"/>
            <a:r>
              <a:rPr lang="en-GB"/>
              <a:t>491 713</a:t>
            </a:r>
          </a:p>
        </p:txBody>
      </p:sp>
      <p:sp>
        <p:nvSpPr>
          <p:cNvPr id="47" name="TextBox 46">
            <a:extLst>
              <a:ext uri="{FF2B5EF4-FFF2-40B4-BE49-F238E27FC236}">
                <a16:creationId xmlns:a16="http://schemas.microsoft.com/office/drawing/2014/main" xmlns="" id="{F3115A91-1A5B-B136-A47A-24CA9B68E4CF}"/>
              </a:ext>
            </a:extLst>
          </p:cNvPr>
          <p:cNvSpPr txBox="1"/>
          <p:nvPr/>
        </p:nvSpPr>
        <p:spPr>
          <a:xfrm>
            <a:off x="6131326" y="4663907"/>
            <a:ext cx="1140413" cy="369332"/>
          </a:xfrm>
          <a:prstGeom prst="rect">
            <a:avLst/>
          </a:prstGeom>
          <a:noFill/>
        </p:spPr>
        <p:txBody>
          <a:bodyPr wrap="square" rtlCol="0">
            <a:spAutoFit/>
          </a:bodyPr>
          <a:lstStyle/>
          <a:p>
            <a:pPr algn="ctr"/>
            <a:r>
              <a:rPr lang="en-GB"/>
              <a:t>203 718</a:t>
            </a:r>
          </a:p>
        </p:txBody>
      </p:sp>
      <p:sp>
        <p:nvSpPr>
          <p:cNvPr id="48" name="TextBox 47">
            <a:extLst>
              <a:ext uri="{FF2B5EF4-FFF2-40B4-BE49-F238E27FC236}">
                <a16:creationId xmlns:a16="http://schemas.microsoft.com/office/drawing/2014/main" xmlns="" id="{34E234D5-38F0-FAC4-85CE-787B225365C1}"/>
              </a:ext>
            </a:extLst>
          </p:cNvPr>
          <p:cNvSpPr txBox="1"/>
          <p:nvPr/>
        </p:nvSpPr>
        <p:spPr>
          <a:xfrm>
            <a:off x="6131326" y="5314907"/>
            <a:ext cx="1140413" cy="369332"/>
          </a:xfrm>
          <a:prstGeom prst="rect">
            <a:avLst/>
          </a:prstGeom>
          <a:noFill/>
        </p:spPr>
        <p:txBody>
          <a:bodyPr wrap="square" rtlCol="0">
            <a:spAutoFit/>
          </a:bodyPr>
          <a:lstStyle/>
          <a:p>
            <a:pPr algn="ctr"/>
            <a:r>
              <a:rPr lang="en-GB"/>
              <a:t>118 591</a:t>
            </a:r>
          </a:p>
        </p:txBody>
      </p:sp>
      <p:sp>
        <p:nvSpPr>
          <p:cNvPr id="49" name="TextBox 48">
            <a:extLst>
              <a:ext uri="{FF2B5EF4-FFF2-40B4-BE49-F238E27FC236}">
                <a16:creationId xmlns:a16="http://schemas.microsoft.com/office/drawing/2014/main" xmlns="" id="{4F9794DA-663A-BB86-189A-364BB4DCA728}"/>
              </a:ext>
            </a:extLst>
          </p:cNvPr>
          <p:cNvSpPr txBox="1"/>
          <p:nvPr/>
        </p:nvSpPr>
        <p:spPr>
          <a:xfrm>
            <a:off x="7545838" y="1397558"/>
            <a:ext cx="1140413" cy="369332"/>
          </a:xfrm>
          <a:prstGeom prst="rect">
            <a:avLst/>
          </a:prstGeom>
          <a:noFill/>
        </p:spPr>
        <p:txBody>
          <a:bodyPr wrap="square" rtlCol="0">
            <a:spAutoFit/>
          </a:bodyPr>
          <a:lstStyle/>
          <a:p>
            <a:pPr algn="ctr"/>
            <a:r>
              <a:rPr lang="en-GB"/>
              <a:t>73%</a:t>
            </a:r>
          </a:p>
        </p:txBody>
      </p:sp>
      <p:sp>
        <p:nvSpPr>
          <p:cNvPr id="50" name="TextBox 49">
            <a:extLst>
              <a:ext uri="{FF2B5EF4-FFF2-40B4-BE49-F238E27FC236}">
                <a16:creationId xmlns:a16="http://schemas.microsoft.com/office/drawing/2014/main" xmlns="" id="{8FCD5DF7-4978-88F7-E09A-29F803A1568C}"/>
              </a:ext>
            </a:extLst>
          </p:cNvPr>
          <p:cNvSpPr txBox="1"/>
          <p:nvPr/>
        </p:nvSpPr>
        <p:spPr>
          <a:xfrm>
            <a:off x="7545838" y="2143126"/>
            <a:ext cx="1140413" cy="369332"/>
          </a:xfrm>
          <a:prstGeom prst="rect">
            <a:avLst/>
          </a:prstGeom>
          <a:noFill/>
        </p:spPr>
        <p:txBody>
          <a:bodyPr wrap="square" rtlCol="0">
            <a:spAutoFit/>
          </a:bodyPr>
          <a:lstStyle/>
          <a:p>
            <a:pPr algn="ctr"/>
            <a:r>
              <a:rPr lang="en-GB"/>
              <a:t>34%</a:t>
            </a:r>
          </a:p>
        </p:txBody>
      </p:sp>
      <p:sp>
        <p:nvSpPr>
          <p:cNvPr id="51" name="TextBox 50">
            <a:extLst>
              <a:ext uri="{FF2B5EF4-FFF2-40B4-BE49-F238E27FC236}">
                <a16:creationId xmlns:a16="http://schemas.microsoft.com/office/drawing/2014/main" xmlns="" id="{5D09ADF3-E456-2F3B-0222-E7D4069EF56B}"/>
              </a:ext>
            </a:extLst>
          </p:cNvPr>
          <p:cNvSpPr txBox="1"/>
          <p:nvPr/>
        </p:nvSpPr>
        <p:spPr>
          <a:xfrm>
            <a:off x="7545838" y="2896363"/>
            <a:ext cx="1140413" cy="369332"/>
          </a:xfrm>
          <a:prstGeom prst="rect">
            <a:avLst/>
          </a:prstGeom>
          <a:noFill/>
        </p:spPr>
        <p:txBody>
          <a:bodyPr wrap="square" rtlCol="0">
            <a:spAutoFit/>
          </a:bodyPr>
          <a:lstStyle/>
          <a:p>
            <a:pPr algn="ctr"/>
            <a:r>
              <a:rPr lang="en-GB"/>
              <a:t>96%</a:t>
            </a:r>
          </a:p>
        </p:txBody>
      </p:sp>
      <p:sp>
        <p:nvSpPr>
          <p:cNvPr id="52" name="TextBox 51">
            <a:extLst>
              <a:ext uri="{FF2B5EF4-FFF2-40B4-BE49-F238E27FC236}">
                <a16:creationId xmlns:a16="http://schemas.microsoft.com/office/drawing/2014/main" xmlns="" id="{421A453F-9226-CAA2-F6D5-206A754CD68E}"/>
              </a:ext>
            </a:extLst>
          </p:cNvPr>
          <p:cNvSpPr txBox="1"/>
          <p:nvPr/>
        </p:nvSpPr>
        <p:spPr>
          <a:xfrm>
            <a:off x="7545838" y="3779140"/>
            <a:ext cx="1140413" cy="369332"/>
          </a:xfrm>
          <a:prstGeom prst="rect">
            <a:avLst/>
          </a:prstGeom>
          <a:noFill/>
        </p:spPr>
        <p:txBody>
          <a:bodyPr wrap="square" rtlCol="0">
            <a:spAutoFit/>
          </a:bodyPr>
          <a:lstStyle/>
          <a:p>
            <a:pPr algn="ctr"/>
            <a:r>
              <a:rPr lang="en-GB"/>
              <a:t>117%</a:t>
            </a:r>
          </a:p>
        </p:txBody>
      </p:sp>
      <p:sp>
        <p:nvSpPr>
          <p:cNvPr id="53" name="TextBox 52">
            <a:extLst>
              <a:ext uri="{FF2B5EF4-FFF2-40B4-BE49-F238E27FC236}">
                <a16:creationId xmlns:a16="http://schemas.microsoft.com/office/drawing/2014/main" xmlns="" id="{17835DE6-5427-9DA0-24E3-70EE6DA13D33}"/>
              </a:ext>
            </a:extLst>
          </p:cNvPr>
          <p:cNvSpPr txBox="1"/>
          <p:nvPr/>
        </p:nvSpPr>
        <p:spPr>
          <a:xfrm>
            <a:off x="7545838" y="4636817"/>
            <a:ext cx="1140413" cy="369332"/>
          </a:xfrm>
          <a:prstGeom prst="rect">
            <a:avLst/>
          </a:prstGeom>
          <a:noFill/>
        </p:spPr>
        <p:txBody>
          <a:bodyPr wrap="square" rtlCol="0">
            <a:spAutoFit/>
          </a:bodyPr>
          <a:lstStyle/>
          <a:p>
            <a:pPr algn="ctr"/>
            <a:r>
              <a:rPr lang="en-GB"/>
              <a:t>85%</a:t>
            </a:r>
          </a:p>
        </p:txBody>
      </p:sp>
      <p:sp>
        <p:nvSpPr>
          <p:cNvPr id="54" name="TextBox 53">
            <a:extLst>
              <a:ext uri="{FF2B5EF4-FFF2-40B4-BE49-F238E27FC236}">
                <a16:creationId xmlns:a16="http://schemas.microsoft.com/office/drawing/2014/main" xmlns="" id="{DF78F79D-4751-C32A-69B3-8B0B986E2068}"/>
              </a:ext>
            </a:extLst>
          </p:cNvPr>
          <p:cNvSpPr txBox="1"/>
          <p:nvPr/>
        </p:nvSpPr>
        <p:spPr>
          <a:xfrm>
            <a:off x="7545838" y="5287817"/>
            <a:ext cx="1140413" cy="369332"/>
          </a:xfrm>
          <a:prstGeom prst="rect">
            <a:avLst/>
          </a:prstGeom>
          <a:noFill/>
        </p:spPr>
        <p:txBody>
          <a:bodyPr wrap="square" rtlCol="0">
            <a:spAutoFit/>
          </a:bodyPr>
          <a:lstStyle/>
          <a:p>
            <a:pPr algn="ctr"/>
            <a:r>
              <a:rPr lang="en-GB"/>
              <a:t>79%</a:t>
            </a:r>
          </a:p>
        </p:txBody>
      </p:sp>
    </p:spTree>
    <p:extLst>
      <p:ext uri="{BB962C8B-B14F-4D97-AF65-F5344CB8AC3E}">
        <p14:creationId xmlns:p14="http://schemas.microsoft.com/office/powerpoint/2010/main" xmlns="" val="204913185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ext Box 8">
            <a:extLst>
              <a:ext uri="{FF2B5EF4-FFF2-40B4-BE49-F238E27FC236}">
                <a16:creationId xmlns:a16="http://schemas.microsoft.com/office/drawing/2014/main" xmlns="" id="{43CE0D56-9560-7487-4EF6-D413144E769D}"/>
              </a:ext>
            </a:extLst>
          </p:cNvPr>
          <p:cNvSpPr txBox="1">
            <a:spLocks noChangeArrowheads="1"/>
          </p:cNvSpPr>
          <p:nvPr/>
        </p:nvSpPr>
        <p:spPr bwMode="gray">
          <a:xfrm>
            <a:off x="256761" y="4845271"/>
            <a:ext cx="8594808" cy="889185"/>
          </a:xfrm>
          <a:prstGeom prst="rect">
            <a:avLst/>
          </a:prstGeom>
          <a:solidFill>
            <a:srgbClr val="FFEAAF"/>
          </a:solidFill>
          <a:ln>
            <a:noFill/>
          </a:ln>
          <a:effectLst/>
          <a:extLst>
            <a:ext uri="{91240B29-F687-4F45-9708-019B960494DF}">
              <a14:hiddenLine xmlns:a14="http://schemas.microsoft.com/office/drawing/2010/main" xmlns="" w="3175">
                <a:solidFill>
                  <a:srgbClr val="B4EBA5"/>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126000" anchor="ctr"/>
          <a:lstStyle/>
          <a:p>
            <a:pPr algn="ctr" eaLnBrk="0" hangingPunct="0">
              <a:lnSpc>
                <a:spcPct val="90000"/>
              </a:lnSpc>
            </a:pPr>
            <a:endParaRPr lang="de-DE" altLang="en-US" sz="1400"/>
          </a:p>
        </p:txBody>
      </p:sp>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9</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5" name="TextBox 14">
            <a:extLst>
              <a:ext uri="{FF2B5EF4-FFF2-40B4-BE49-F238E27FC236}">
                <a16:creationId xmlns:a16="http://schemas.microsoft.com/office/drawing/2014/main" xmlns="" id="{41DBE449-0674-4256-804A-D76A2349550B}"/>
              </a:ext>
            </a:extLst>
          </p:cNvPr>
          <p:cNvSpPr txBox="1"/>
          <p:nvPr/>
        </p:nvSpPr>
        <p:spPr>
          <a:xfrm>
            <a:off x="99126" y="58080"/>
            <a:ext cx="914400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Spatial Distribution of Loan Disbursements </a:t>
            </a:r>
          </a:p>
        </p:txBody>
      </p:sp>
      <p:sp>
        <p:nvSpPr>
          <p:cNvPr id="16" name="TextBox 15">
            <a:extLst>
              <a:ext uri="{FF2B5EF4-FFF2-40B4-BE49-F238E27FC236}">
                <a16:creationId xmlns:a16="http://schemas.microsoft.com/office/drawing/2014/main" xmlns="" id="{EDCEFF31-3F6D-42EC-954A-B443103DA29C}"/>
              </a:ext>
            </a:extLst>
          </p:cNvPr>
          <p:cNvSpPr txBox="1"/>
          <p:nvPr/>
        </p:nvSpPr>
        <p:spPr>
          <a:xfrm>
            <a:off x="375689" y="4903459"/>
            <a:ext cx="8475880" cy="1077218"/>
          </a:xfrm>
          <a:prstGeom prst="rect">
            <a:avLst/>
          </a:prstGeom>
          <a:noFill/>
        </p:spPr>
        <p:txBody>
          <a:bodyPr wrap="square" rtlCol="0">
            <a:spAutoFit/>
          </a:bodyPr>
          <a:lstStyle/>
          <a:p>
            <a:pPr algn="just"/>
            <a:r>
              <a:rPr lang="en-US" sz="1600">
                <a:latin typeface="Arial" panose="020B0604020202020204" pitchFamily="34" charset="0"/>
                <a:cs typeface="Arial" panose="020B0604020202020204" pitchFamily="34" charset="0"/>
              </a:rPr>
              <a:t>In value terms, majority of </a:t>
            </a:r>
            <a:r>
              <a:rPr lang="en-US" sz="1600" b="1">
                <a:latin typeface="Arial" panose="020B0604020202020204" pitchFamily="34" charset="0"/>
                <a:cs typeface="Arial" panose="020B0604020202020204" pitchFamily="34" charset="0"/>
              </a:rPr>
              <a:t>sefa</a:t>
            </a:r>
            <a:r>
              <a:rPr lang="en-US" sz="1600">
                <a:latin typeface="Arial" panose="020B0604020202020204" pitchFamily="34" charset="0"/>
                <a:cs typeface="Arial" panose="020B0604020202020204" pitchFamily="34" charset="0"/>
              </a:rPr>
              <a:t>’s disbursements were done in Gauteng followed </a:t>
            </a:r>
            <a:r>
              <a:rPr lang="en-US" sz="1600">
                <a:latin typeface="Arial" panose="020B0604020202020204" pitchFamily="34" charset="0"/>
              </a:rPr>
              <a:t>by Limpopo and </a:t>
            </a:r>
            <a:r>
              <a:rPr lang="en-US" sz="1600">
                <a:latin typeface="Arial" panose="020B0604020202020204" pitchFamily="34" charset="0"/>
                <a:cs typeface="Arial" panose="020B0604020202020204" pitchFamily="34" charset="0"/>
              </a:rPr>
              <a:t>KwaZulu Natal. The majority of SMMEs supported in Limpopo, North West, Eastern Cape and KwaZulu Natal were through </a:t>
            </a:r>
            <a:r>
              <a:rPr lang="en-US" sz="1600" b="1">
                <a:latin typeface="Arial" panose="020B0604020202020204" pitchFamily="34" charset="0"/>
                <a:cs typeface="Arial" panose="020B0604020202020204" pitchFamily="34" charset="0"/>
              </a:rPr>
              <a:t>sefa</a:t>
            </a:r>
            <a:r>
              <a:rPr lang="en-US" sz="1600">
                <a:latin typeface="Arial" panose="020B0604020202020204" pitchFamily="34" charset="0"/>
                <a:cs typeface="Arial" panose="020B0604020202020204" pitchFamily="34" charset="0"/>
              </a:rPr>
              <a:t>’s Micro Finance and Informal sector loan programmes.</a:t>
            </a:r>
            <a:endParaRPr lang="en-ZA" sz="1600">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xmlns="" id="{9BCB9F2C-4902-47B6-B219-E7162C448CEA}"/>
              </a:ext>
            </a:extLst>
          </p:cNvPr>
          <p:cNvGrpSpPr/>
          <p:nvPr/>
        </p:nvGrpSpPr>
        <p:grpSpPr>
          <a:xfrm>
            <a:off x="4227443" y="1190137"/>
            <a:ext cx="4459357" cy="3516143"/>
            <a:chOff x="3664135" y="1908508"/>
            <a:chExt cx="5345469" cy="4542418"/>
          </a:xfrm>
        </p:grpSpPr>
        <p:grpSp>
          <p:nvGrpSpPr>
            <p:cNvPr id="18" name="Group 17">
              <a:extLst>
                <a:ext uri="{FF2B5EF4-FFF2-40B4-BE49-F238E27FC236}">
                  <a16:creationId xmlns:a16="http://schemas.microsoft.com/office/drawing/2014/main" xmlns="" id="{52074E2A-DF08-4747-8654-804D35C34AD3}"/>
                </a:ext>
              </a:extLst>
            </p:cNvPr>
            <p:cNvGrpSpPr/>
            <p:nvPr/>
          </p:nvGrpSpPr>
          <p:grpSpPr>
            <a:xfrm>
              <a:off x="6899900" y="1908508"/>
              <a:ext cx="1847488" cy="1181527"/>
              <a:chOff x="5308475" y="583671"/>
              <a:chExt cx="2416611" cy="1579156"/>
            </a:xfrm>
            <a:solidFill>
              <a:srgbClr val="50575F">
                <a:alpha val="34118"/>
              </a:srgbClr>
            </a:solidFill>
          </p:grpSpPr>
          <p:sp>
            <p:nvSpPr>
              <p:cNvPr id="87" name="Freeform 6">
                <a:extLst>
                  <a:ext uri="{FF2B5EF4-FFF2-40B4-BE49-F238E27FC236}">
                    <a16:creationId xmlns:a16="http://schemas.microsoft.com/office/drawing/2014/main" xmlns="" id="{FDA2CCAA-0290-4549-9E40-0E00512F245C}"/>
                  </a:ext>
                </a:extLst>
              </p:cNvPr>
              <p:cNvSpPr>
                <a:spLocks/>
              </p:cNvSpPr>
              <p:nvPr/>
            </p:nvSpPr>
            <p:spPr bwMode="auto">
              <a:xfrm>
                <a:off x="6438432" y="583671"/>
                <a:ext cx="1168261" cy="635492"/>
              </a:xfrm>
              <a:custGeom>
                <a:avLst/>
                <a:gdLst>
                  <a:gd name="T0" fmla="*/ 224 w 671"/>
                  <a:gd name="T1" fmla="*/ 363 h 365"/>
                  <a:gd name="T2" fmla="*/ 193 w 671"/>
                  <a:gd name="T3" fmla="*/ 359 h 365"/>
                  <a:gd name="T4" fmla="*/ 168 w 671"/>
                  <a:gd name="T5" fmla="*/ 337 h 365"/>
                  <a:gd name="T6" fmla="*/ 160 w 671"/>
                  <a:gd name="T7" fmla="*/ 317 h 365"/>
                  <a:gd name="T8" fmla="*/ 125 w 671"/>
                  <a:gd name="T9" fmla="*/ 308 h 365"/>
                  <a:gd name="T10" fmla="*/ 111 w 671"/>
                  <a:gd name="T11" fmla="*/ 304 h 365"/>
                  <a:gd name="T12" fmla="*/ 105 w 671"/>
                  <a:gd name="T13" fmla="*/ 308 h 365"/>
                  <a:gd name="T14" fmla="*/ 82 w 671"/>
                  <a:gd name="T15" fmla="*/ 279 h 365"/>
                  <a:gd name="T16" fmla="*/ 93 w 671"/>
                  <a:gd name="T17" fmla="*/ 256 h 365"/>
                  <a:gd name="T18" fmla="*/ 81 w 671"/>
                  <a:gd name="T19" fmla="*/ 223 h 365"/>
                  <a:gd name="T20" fmla="*/ 64 w 671"/>
                  <a:gd name="T21" fmla="*/ 226 h 365"/>
                  <a:gd name="T22" fmla="*/ 69 w 671"/>
                  <a:gd name="T23" fmla="*/ 199 h 365"/>
                  <a:gd name="T24" fmla="*/ 82 w 671"/>
                  <a:gd name="T25" fmla="*/ 165 h 365"/>
                  <a:gd name="T26" fmla="*/ 74 w 671"/>
                  <a:gd name="T27" fmla="*/ 140 h 365"/>
                  <a:gd name="T28" fmla="*/ 69 w 671"/>
                  <a:gd name="T29" fmla="*/ 124 h 365"/>
                  <a:gd name="T30" fmla="*/ 41 w 671"/>
                  <a:gd name="T31" fmla="*/ 115 h 365"/>
                  <a:gd name="T32" fmla="*/ 13 w 671"/>
                  <a:gd name="T33" fmla="*/ 113 h 365"/>
                  <a:gd name="T34" fmla="*/ 13 w 671"/>
                  <a:gd name="T35" fmla="*/ 67 h 365"/>
                  <a:gd name="T36" fmla="*/ 28 w 671"/>
                  <a:gd name="T37" fmla="*/ 30 h 365"/>
                  <a:gd name="T38" fmla="*/ 60 w 671"/>
                  <a:gd name="T39" fmla="*/ 17 h 365"/>
                  <a:gd name="T40" fmla="*/ 97 w 671"/>
                  <a:gd name="T41" fmla="*/ 12 h 365"/>
                  <a:gd name="T42" fmla="*/ 122 w 671"/>
                  <a:gd name="T43" fmla="*/ 14 h 365"/>
                  <a:gd name="T44" fmla="*/ 138 w 671"/>
                  <a:gd name="T45" fmla="*/ 8 h 365"/>
                  <a:gd name="T46" fmla="*/ 155 w 671"/>
                  <a:gd name="T47" fmla="*/ 8 h 365"/>
                  <a:gd name="T48" fmla="*/ 185 w 671"/>
                  <a:gd name="T49" fmla="*/ 5 h 365"/>
                  <a:gd name="T50" fmla="*/ 217 w 671"/>
                  <a:gd name="T51" fmla="*/ 1 h 365"/>
                  <a:gd name="T52" fmla="*/ 241 w 671"/>
                  <a:gd name="T53" fmla="*/ 13 h 365"/>
                  <a:gd name="T54" fmla="*/ 259 w 671"/>
                  <a:gd name="T55" fmla="*/ 25 h 365"/>
                  <a:gd name="T56" fmla="*/ 292 w 671"/>
                  <a:gd name="T57" fmla="*/ 37 h 365"/>
                  <a:gd name="T58" fmla="*/ 351 w 671"/>
                  <a:gd name="T59" fmla="*/ 59 h 365"/>
                  <a:gd name="T60" fmla="*/ 360 w 671"/>
                  <a:gd name="T61" fmla="*/ 71 h 365"/>
                  <a:gd name="T62" fmla="*/ 384 w 671"/>
                  <a:gd name="T63" fmla="*/ 66 h 365"/>
                  <a:gd name="T64" fmla="*/ 407 w 671"/>
                  <a:gd name="T65" fmla="*/ 60 h 365"/>
                  <a:gd name="T66" fmla="*/ 427 w 671"/>
                  <a:gd name="T67" fmla="*/ 71 h 365"/>
                  <a:gd name="T68" fmla="*/ 443 w 671"/>
                  <a:gd name="T69" fmla="*/ 67 h 365"/>
                  <a:gd name="T70" fmla="*/ 468 w 671"/>
                  <a:gd name="T71" fmla="*/ 68 h 365"/>
                  <a:gd name="T72" fmla="*/ 479 w 671"/>
                  <a:gd name="T73" fmla="*/ 64 h 365"/>
                  <a:gd name="T74" fmla="*/ 488 w 671"/>
                  <a:gd name="T75" fmla="*/ 62 h 365"/>
                  <a:gd name="T76" fmla="*/ 525 w 671"/>
                  <a:gd name="T77" fmla="*/ 63 h 365"/>
                  <a:gd name="T78" fmla="*/ 530 w 671"/>
                  <a:gd name="T79" fmla="*/ 66 h 365"/>
                  <a:gd name="T80" fmla="*/ 557 w 671"/>
                  <a:gd name="T81" fmla="*/ 75 h 365"/>
                  <a:gd name="T82" fmla="*/ 573 w 671"/>
                  <a:gd name="T83" fmla="*/ 74 h 365"/>
                  <a:gd name="T84" fmla="*/ 611 w 671"/>
                  <a:gd name="T85" fmla="*/ 91 h 365"/>
                  <a:gd name="T86" fmla="*/ 626 w 671"/>
                  <a:gd name="T87" fmla="*/ 127 h 365"/>
                  <a:gd name="T88" fmla="*/ 664 w 671"/>
                  <a:gd name="T89" fmla="*/ 284 h 365"/>
                  <a:gd name="T90" fmla="*/ 671 w 671"/>
                  <a:gd name="T91" fmla="*/ 310 h 365"/>
                  <a:gd name="T92" fmla="*/ 653 w 671"/>
                  <a:gd name="T93" fmla="*/ 310 h 365"/>
                  <a:gd name="T94" fmla="*/ 626 w 671"/>
                  <a:gd name="T95" fmla="*/ 300 h 365"/>
                  <a:gd name="T96" fmla="*/ 595 w 671"/>
                  <a:gd name="T97" fmla="*/ 317 h 365"/>
                  <a:gd name="T98" fmla="*/ 558 w 671"/>
                  <a:gd name="T99" fmla="*/ 310 h 365"/>
                  <a:gd name="T100" fmla="*/ 524 w 671"/>
                  <a:gd name="T101" fmla="*/ 308 h 365"/>
                  <a:gd name="T102" fmla="*/ 508 w 671"/>
                  <a:gd name="T103" fmla="*/ 298 h 365"/>
                  <a:gd name="T104" fmla="*/ 483 w 671"/>
                  <a:gd name="T105" fmla="*/ 284 h 365"/>
                  <a:gd name="T106" fmla="*/ 448 w 671"/>
                  <a:gd name="T107" fmla="*/ 289 h 365"/>
                  <a:gd name="T108" fmla="*/ 418 w 671"/>
                  <a:gd name="T109" fmla="*/ 304 h 365"/>
                  <a:gd name="T110" fmla="*/ 390 w 671"/>
                  <a:gd name="T111" fmla="*/ 320 h 365"/>
                  <a:gd name="T112" fmla="*/ 368 w 671"/>
                  <a:gd name="T113" fmla="*/ 318 h 365"/>
                  <a:gd name="T114" fmla="*/ 348 w 671"/>
                  <a:gd name="T115" fmla="*/ 357 h 365"/>
                  <a:gd name="T116" fmla="*/ 335 w 671"/>
                  <a:gd name="T117" fmla="*/ 337 h 365"/>
                  <a:gd name="T118" fmla="*/ 299 w 671"/>
                  <a:gd name="T119" fmla="*/ 343 h 365"/>
                  <a:gd name="T120" fmla="*/ 277 w 671"/>
                  <a:gd name="T121" fmla="*/ 337 h 365"/>
                  <a:gd name="T122" fmla="*/ 254 w 671"/>
                  <a:gd name="T123" fmla="*/ 35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365">
                    <a:moveTo>
                      <a:pt x="229" y="365"/>
                    </a:moveTo>
                    <a:lnTo>
                      <a:pt x="224" y="359"/>
                    </a:lnTo>
                    <a:lnTo>
                      <a:pt x="224" y="359"/>
                    </a:lnTo>
                    <a:lnTo>
                      <a:pt x="225" y="362"/>
                    </a:lnTo>
                    <a:lnTo>
                      <a:pt x="225" y="362"/>
                    </a:lnTo>
                    <a:lnTo>
                      <a:pt x="225" y="362"/>
                    </a:lnTo>
                    <a:lnTo>
                      <a:pt x="225" y="362"/>
                    </a:lnTo>
                    <a:lnTo>
                      <a:pt x="225" y="362"/>
                    </a:lnTo>
                    <a:lnTo>
                      <a:pt x="225" y="362"/>
                    </a:lnTo>
                    <a:lnTo>
                      <a:pt x="228" y="365"/>
                    </a:lnTo>
                    <a:lnTo>
                      <a:pt x="228" y="365"/>
                    </a:lnTo>
                    <a:lnTo>
                      <a:pt x="225" y="363"/>
                    </a:lnTo>
                    <a:lnTo>
                      <a:pt x="225" y="362"/>
                    </a:lnTo>
                    <a:lnTo>
                      <a:pt x="225" y="362"/>
                    </a:lnTo>
                    <a:lnTo>
                      <a:pt x="224" y="363"/>
                    </a:lnTo>
                    <a:lnTo>
                      <a:pt x="224" y="363"/>
                    </a:lnTo>
                    <a:lnTo>
                      <a:pt x="222" y="363"/>
                    </a:lnTo>
                    <a:lnTo>
                      <a:pt x="222" y="363"/>
                    </a:lnTo>
                    <a:lnTo>
                      <a:pt x="220" y="363"/>
                    </a:lnTo>
                    <a:lnTo>
                      <a:pt x="216" y="363"/>
                    </a:lnTo>
                    <a:lnTo>
                      <a:pt x="216" y="363"/>
                    </a:lnTo>
                    <a:lnTo>
                      <a:pt x="213" y="363"/>
                    </a:lnTo>
                    <a:lnTo>
                      <a:pt x="213" y="363"/>
                    </a:lnTo>
                    <a:lnTo>
                      <a:pt x="208" y="362"/>
                    </a:lnTo>
                    <a:lnTo>
                      <a:pt x="205" y="361"/>
                    </a:lnTo>
                    <a:lnTo>
                      <a:pt x="203" y="359"/>
                    </a:lnTo>
                    <a:lnTo>
                      <a:pt x="201" y="357"/>
                    </a:lnTo>
                    <a:lnTo>
                      <a:pt x="201" y="357"/>
                    </a:lnTo>
                    <a:lnTo>
                      <a:pt x="201" y="357"/>
                    </a:lnTo>
                    <a:lnTo>
                      <a:pt x="201" y="357"/>
                    </a:lnTo>
                    <a:lnTo>
                      <a:pt x="199" y="358"/>
                    </a:lnTo>
                    <a:lnTo>
                      <a:pt x="193" y="359"/>
                    </a:lnTo>
                    <a:lnTo>
                      <a:pt x="193" y="359"/>
                    </a:lnTo>
                    <a:lnTo>
                      <a:pt x="192" y="359"/>
                    </a:lnTo>
                    <a:lnTo>
                      <a:pt x="192" y="359"/>
                    </a:lnTo>
                    <a:lnTo>
                      <a:pt x="191" y="359"/>
                    </a:lnTo>
                    <a:lnTo>
                      <a:pt x="191" y="359"/>
                    </a:lnTo>
                    <a:lnTo>
                      <a:pt x="187" y="358"/>
                    </a:lnTo>
                    <a:lnTo>
                      <a:pt x="185" y="358"/>
                    </a:lnTo>
                    <a:lnTo>
                      <a:pt x="181" y="355"/>
                    </a:lnTo>
                    <a:lnTo>
                      <a:pt x="181" y="355"/>
                    </a:lnTo>
                    <a:lnTo>
                      <a:pt x="179" y="354"/>
                    </a:lnTo>
                    <a:lnTo>
                      <a:pt x="179" y="354"/>
                    </a:lnTo>
                    <a:lnTo>
                      <a:pt x="173" y="351"/>
                    </a:lnTo>
                    <a:lnTo>
                      <a:pt x="171" y="350"/>
                    </a:lnTo>
                    <a:lnTo>
                      <a:pt x="168" y="347"/>
                    </a:lnTo>
                    <a:lnTo>
                      <a:pt x="168" y="343"/>
                    </a:lnTo>
                    <a:lnTo>
                      <a:pt x="168" y="337"/>
                    </a:lnTo>
                    <a:lnTo>
                      <a:pt x="170" y="333"/>
                    </a:lnTo>
                    <a:lnTo>
                      <a:pt x="170" y="333"/>
                    </a:lnTo>
                    <a:lnTo>
                      <a:pt x="171" y="330"/>
                    </a:lnTo>
                    <a:lnTo>
                      <a:pt x="171" y="330"/>
                    </a:lnTo>
                    <a:lnTo>
                      <a:pt x="171" y="330"/>
                    </a:lnTo>
                    <a:lnTo>
                      <a:pt x="171" y="330"/>
                    </a:lnTo>
                    <a:lnTo>
                      <a:pt x="171" y="329"/>
                    </a:lnTo>
                    <a:lnTo>
                      <a:pt x="170" y="328"/>
                    </a:lnTo>
                    <a:lnTo>
                      <a:pt x="168" y="325"/>
                    </a:lnTo>
                    <a:lnTo>
                      <a:pt x="167" y="325"/>
                    </a:lnTo>
                    <a:lnTo>
                      <a:pt x="167" y="325"/>
                    </a:lnTo>
                    <a:lnTo>
                      <a:pt x="166" y="321"/>
                    </a:lnTo>
                    <a:lnTo>
                      <a:pt x="166" y="317"/>
                    </a:lnTo>
                    <a:lnTo>
                      <a:pt x="166" y="317"/>
                    </a:lnTo>
                    <a:lnTo>
                      <a:pt x="166" y="317"/>
                    </a:lnTo>
                    <a:lnTo>
                      <a:pt x="160" y="317"/>
                    </a:lnTo>
                    <a:lnTo>
                      <a:pt x="159" y="317"/>
                    </a:lnTo>
                    <a:lnTo>
                      <a:pt x="159" y="317"/>
                    </a:lnTo>
                    <a:lnTo>
                      <a:pt x="155" y="317"/>
                    </a:lnTo>
                    <a:lnTo>
                      <a:pt x="155" y="317"/>
                    </a:lnTo>
                    <a:lnTo>
                      <a:pt x="148" y="317"/>
                    </a:lnTo>
                    <a:lnTo>
                      <a:pt x="148" y="317"/>
                    </a:lnTo>
                    <a:lnTo>
                      <a:pt x="142" y="317"/>
                    </a:lnTo>
                    <a:lnTo>
                      <a:pt x="142" y="317"/>
                    </a:lnTo>
                    <a:lnTo>
                      <a:pt x="135" y="317"/>
                    </a:lnTo>
                    <a:lnTo>
                      <a:pt x="130" y="316"/>
                    </a:lnTo>
                    <a:lnTo>
                      <a:pt x="126" y="309"/>
                    </a:lnTo>
                    <a:lnTo>
                      <a:pt x="126" y="309"/>
                    </a:lnTo>
                    <a:lnTo>
                      <a:pt x="126" y="308"/>
                    </a:lnTo>
                    <a:lnTo>
                      <a:pt x="126" y="308"/>
                    </a:lnTo>
                    <a:lnTo>
                      <a:pt x="126" y="308"/>
                    </a:lnTo>
                    <a:lnTo>
                      <a:pt x="125" y="308"/>
                    </a:lnTo>
                    <a:lnTo>
                      <a:pt x="122" y="308"/>
                    </a:lnTo>
                    <a:lnTo>
                      <a:pt x="115" y="301"/>
                    </a:lnTo>
                    <a:lnTo>
                      <a:pt x="115" y="301"/>
                    </a:lnTo>
                    <a:lnTo>
                      <a:pt x="117" y="305"/>
                    </a:lnTo>
                    <a:lnTo>
                      <a:pt x="117" y="305"/>
                    </a:lnTo>
                    <a:lnTo>
                      <a:pt x="119" y="306"/>
                    </a:lnTo>
                    <a:lnTo>
                      <a:pt x="121" y="306"/>
                    </a:lnTo>
                    <a:lnTo>
                      <a:pt x="121" y="306"/>
                    </a:lnTo>
                    <a:lnTo>
                      <a:pt x="119" y="306"/>
                    </a:lnTo>
                    <a:lnTo>
                      <a:pt x="119" y="306"/>
                    </a:lnTo>
                    <a:lnTo>
                      <a:pt x="117" y="306"/>
                    </a:lnTo>
                    <a:lnTo>
                      <a:pt x="117" y="306"/>
                    </a:lnTo>
                    <a:lnTo>
                      <a:pt x="115" y="306"/>
                    </a:lnTo>
                    <a:lnTo>
                      <a:pt x="113" y="306"/>
                    </a:lnTo>
                    <a:lnTo>
                      <a:pt x="111" y="304"/>
                    </a:lnTo>
                    <a:lnTo>
                      <a:pt x="111" y="304"/>
                    </a:lnTo>
                    <a:lnTo>
                      <a:pt x="111" y="304"/>
                    </a:lnTo>
                    <a:lnTo>
                      <a:pt x="111" y="304"/>
                    </a:lnTo>
                    <a:lnTo>
                      <a:pt x="113" y="301"/>
                    </a:lnTo>
                    <a:lnTo>
                      <a:pt x="113" y="300"/>
                    </a:lnTo>
                    <a:lnTo>
                      <a:pt x="110" y="302"/>
                    </a:lnTo>
                    <a:lnTo>
                      <a:pt x="107" y="300"/>
                    </a:lnTo>
                    <a:lnTo>
                      <a:pt x="107" y="300"/>
                    </a:lnTo>
                    <a:lnTo>
                      <a:pt x="107" y="301"/>
                    </a:lnTo>
                    <a:lnTo>
                      <a:pt x="107" y="304"/>
                    </a:lnTo>
                    <a:lnTo>
                      <a:pt x="107" y="304"/>
                    </a:lnTo>
                    <a:lnTo>
                      <a:pt x="107" y="304"/>
                    </a:lnTo>
                    <a:lnTo>
                      <a:pt x="106" y="305"/>
                    </a:lnTo>
                    <a:lnTo>
                      <a:pt x="106" y="306"/>
                    </a:lnTo>
                    <a:lnTo>
                      <a:pt x="106" y="306"/>
                    </a:lnTo>
                    <a:lnTo>
                      <a:pt x="106" y="306"/>
                    </a:lnTo>
                    <a:lnTo>
                      <a:pt x="105" y="308"/>
                    </a:lnTo>
                    <a:lnTo>
                      <a:pt x="94" y="308"/>
                    </a:lnTo>
                    <a:lnTo>
                      <a:pt x="90" y="306"/>
                    </a:lnTo>
                    <a:lnTo>
                      <a:pt x="90" y="306"/>
                    </a:lnTo>
                    <a:lnTo>
                      <a:pt x="88" y="304"/>
                    </a:lnTo>
                    <a:lnTo>
                      <a:pt x="88" y="300"/>
                    </a:lnTo>
                    <a:lnTo>
                      <a:pt x="89" y="294"/>
                    </a:lnTo>
                    <a:lnTo>
                      <a:pt x="89" y="294"/>
                    </a:lnTo>
                    <a:lnTo>
                      <a:pt x="89" y="293"/>
                    </a:lnTo>
                    <a:lnTo>
                      <a:pt x="85" y="288"/>
                    </a:lnTo>
                    <a:lnTo>
                      <a:pt x="85" y="288"/>
                    </a:lnTo>
                    <a:lnTo>
                      <a:pt x="85" y="284"/>
                    </a:lnTo>
                    <a:lnTo>
                      <a:pt x="85" y="284"/>
                    </a:lnTo>
                    <a:lnTo>
                      <a:pt x="86" y="285"/>
                    </a:lnTo>
                    <a:lnTo>
                      <a:pt x="82" y="280"/>
                    </a:lnTo>
                    <a:lnTo>
                      <a:pt x="82" y="279"/>
                    </a:lnTo>
                    <a:lnTo>
                      <a:pt x="82" y="279"/>
                    </a:lnTo>
                    <a:lnTo>
                      <a:pt x="82" y="277"/>
                    </a:lnTo>
                    <a:lnTo>
                      <a:pt x="82" y="277"/>
                    </a:lnTo>
                    <a:lnTo>
                      <a:pt x="82" y="276"/>
                    </a:lnTo>
                    <a:lnTo>
                      <a:pt x="82" y="276"/>
                    </a:lnTo>
                    <a:lnTo>
                      <a:pt x="84" y="279"/>
                    </a:lnTo>
                    <a:lnTo>
                      <a:pt x="86" y="280"/>
                    </a:lnTo>
                    <a:lnTo>
                      <a:pt x="81" y="275"/>
                    </a:lnTo>
                    <a:lnTo>
                      <a:pt x="81" y="272"/>
                    </a:lnTo>
                    <a:lnTo>
                      <a:pt x="88" y="267"/>
                    </a:lnTo>
                    <a:lnTo>
                      <a:pt x="88" y="267"/>
                    </a:lnTo>
                    <a:lnTo>
                      <a:pt x="88" y="265"/>
                    </a:lnTo>
                    <a:lnTo>
                      <a:pt x="88" y="265"/>
                    </a:lnTo>
                    <a:lnTo>
                      <a:pt x="89" y="260"/>
                    </a:lnTo>
                    <a:lnTo>
                      <a:pt x="90" y="259"/>
                    </a:lnTo>
                    <a:lnTo>
                      <a:pt x="93" y="256"/>
                    </a:lnTo>
                    <a:lnTo>
                      <a:pt x="93" y="256"/>
                    </a:lnTo>
                    <a:lnTo>
                      <a:pt x="95" y="255"/>
                    </a:lnTo>
                    <a:lnTo>
                      <a:pt x="95" y="255"/>
                    </a:lnTo>
                    <a:lnTo>
                      <a:pt x="95" y="252"/>
                    </a:lnTo>
                    <a:lnTo>
                      <a:pt x="95" y="252"/>
                    </a:lnTo>
                    <a:lnTo>
                      <a:pt x="97" y="253"/>
                    </a:lnTo>
                    <a:lnTo>
                      <a:pt x="93" y="250"/>
                    </a:lnTo>
                    <a:lnTo>
                      <a:pt x="93" y="250"/>
                    </a:lnTo>
                    <a:lnTo>
                      <a:pt x="93" y="247"/>
                    </a:lnTo>
                    <a:lnTo>
                      <a:pt x="93" y="247"/>
                    </a:lnTo>
                    <a:lnTo>
                      <a:pt x="90" y="240"/>
                    </a:lnTo>
                    <a:lnTo>
                      <a:pt x="90" y="238"/>
                    </a:lnTo>
                    <a:lnTo>
                      <a:pt x="90" y="234"/>
                    </a:lnTo>
                    <a:lnTo>
                      <a:pt x="86" y="234"/>
                    </a:lnTo>
                    <a:lnTo>
                      <a:pt x="86" y="234"/>
                    </a:lnTo>
                    <a:lnTo>
                      <a:pt x="82" y="230"/>
                    </a:lnTo>
                    <a:lnTo>
                      <a:pt x="81" y="223"/>
                    </a:lnTo>
                    <a:lnTo>
                      <a:pt x="81" y="223"/>
                    </a:lnTo>
                    <a:lnTo>
                      <a:pt x="80" y="224"/>
                    </a:lnTo>
                    <a:lnTo>
                      <a:pt x="80" y="224"/>
                    </a:lnTo>
                    <a:lnTo>
                      <a:pt x="78" y="224"/>
                    </a:lnTo>
                    <a:lnTo>
                      <a:pt x="78" y="226"/>
                    </a:lnTo>
                    <a:lnTo>
                      <a:pt x="78" y="226"/>
                    </a:lnTo>
                    <a:lnTo>
                      <a:pt x="76" y="228"/>
                    </a:lnTo>
                    <a:lnTo>
                      <a:pt x="73" y="228"/>
                    </a:lnTo>
                    <a:lnTo>
                      <a:pt x="73" y="228"/>
                    </a:lnTo>
                    <a:lnTo>
                      <a:pt x="74" y="228"/>
                    </a:lnTo>
                    <a:lnTo>
                      <a:pt x="76" y="226"/>
                    </a:lnTo>
                    <a:lnTo>
                      <a:pt x="69" y="231"/>
                    </a:lnTo>
                    <a:lnTo>
                      <a:pt x="69" y="231"/>
                    </a:lnTo>
                    <a:lnTo>
                      <a:pt x="68" y="230"/>
                    </a:lnTo>
                    <a:lnTo>
                      <a:pt x="65" y="228"/>
                    </a:lnTo>
                    <a:lnTo>
                      <a:pt x="64" y="226"/>
                    </a:lnTo>
                    <a:lnTo>
                      <a:pt x="62" y="222"/>
                    </a:lnTo>
                    <a:lnTo>
                      <a:pt x="62" y="222"/>
                    </a:lnTo>
                    <a:lnTo>
                      <a:pt x="62" y="222"/>
                    </a:lnTo>
                    <a:lnTo>
                      <a:pt x="62" y="219"/>
                    </a:lnTo>
                    <a:lnTo>
                      <a:pt x="62" y="219"/>
                    </a:lnTo>
                    <a:lnTo>
                      <a:pt x="62" y="218"/>
                    </a:lnTo>
                    <a:lnTo>
                      <a:pt x="62" y="218"/>
                    </a:lnTo>
                    <a:lnTo>
                      <a:pt x="64" y="220"/>
                    </a:lnTo>
                    <a:lnTo>
                      <a:pt x="66" y="222"/>
                    </a:lnTo>
                    <a:lnTo>
                      <a:pt x="61" y="216"/>
                    </a:lnTo>
                    <a:lnTo>
                      <a:pt x="61" y="216"/>
                    </a:lnTo>
                    <a:lnTo>
                      <a:pt x="61" y="211"/>
                    </a:lnTo>
                    <a:lnTo>
                      <a:pt x="64" y="206"/>
                    </a:lnTo>
                    <a:lnTo>
                      <a:pt x="65" y="205"/>
                    </a:lnTo>
                    <a:lnTo>
                      <a:pt x="65" y="205"/>
                    </a:lnTo>
                    <a:lnTo>
                      <a:pt x="69" y="199"/>
                    </a:lnTo>
                    <a:lnTo>
                      <a:pt x="73" y="190"/>
                    </a:lnTo>
                    <a:lnTo>
                      <a:pt x="73" y="187"/>
                    </a:lnTo>
                    <a:lnTo>
                      <a:pt x="77" y="182"/>
                    </a:lnTo>
                    <a:lnTo>
                      <a:pt x="77" y="182"/>
                    </a:lnTo>
                    <a:lnTo>
                      <a:pt x="76" y="182"/>
                    </a:lnTo>
                    <a:lnTo>
                      <a:pt x="76" y="182"/>
                    </a:lnTo>
                    <a:lnTo>
                      <a:pt x="77" y="181"/>
                    </a:lnTo>
                    <a:lnTo>
                      <a:pt x="78" y="178"/>
                    </a:lnTo>
                    <a:lnTo>
                      <a:pt x="78" y="178"/>
                    </a:lnTo>
                    <a:lnTo>
                      <a:pt x="78" y="177"/>
                    </a:lnTo>
                    <a:lnTo>
                      <a:pt x="78" y="177"/>
                    </a:lnTo>
                    <a:lnTo>
                      <a:pt x="80" y="172"/>
                    </a:lnTo>
                    <a:lnTo>
                      <a:pt x="80" y="172"/>
                    </a:lnTo>
                    <a:lnTo>
                      <a:pt x="80" y="172"/>
                    </a:lnTo>
                    <a:lnTo>
                      <a:pt x="82" y="166"/>
                    </a:lnTo>
                    <a:lnTo>
                      <a:pt x="82" y="165"/>
                    </a:lnTo>
                    <a:lnTo>
                      <a:pt x="82" y="165"/>
                    </a:lnTo>
                    <a:lnTo>
                      <a:pt x="82" y="165"/>
                    </a:lnTo>
                    <a:lnTo>
                      <a:pt x="82" y="165"/>
                    </a:lnTo>
                    <a:lnTo>
                      <a:pt x="84" y="166"/>
                    </a:lnTo>
                    <a:lnTo>
                      <a:pt x="80" y="162"/>
                    </a:lnTo>
                    <a:lnTo>
                      <a:pt x="80" y="162"/>
                    </a:lnTo>
                    <a:lnTo>
                      <a:pt x="78" y="160"/>
                    </a:lnTo>
                    <a:lnTo>
                      <a:pt x="78" y="157"/>
                    </a:lnTo>
                    <a:lnTo>
                      <a:pt x="80" y="152"/>
                    </a:lnTo>
                    <a:lnTo>
                      <a:pt x="80" y="152"/>
                    </a:lnTo>
                    <a:lnTo>
                      <a:pt x="80" y="148"/>
                    </a:lnTo>
                    <a:lnTo>
                      <a:pt x="80" y="148"/>
                    </a:lnTo>
                    <a:lnTo>
                      <a:pt x="80" y="148"/>
                    </a:lnTo>
                    <a:lnTo>
                      <a:pt x="78" y="146"/>
                    </a:lnTo>
                    <a:lnTo>
                      <a:pt x="74" y="141"/>
                    </a:lnTo>
                    <a:lnTo>
                      <a:pt x="74" y="140"/>
                    </a:lnTo>
                    <a:lnTo>
                      <a:pt x="74" y="140"/>
                    </a:lnTo>
                    <a:lnTo>
                      <a:pt x="74" y="137"/>
                    </a:lnTo>
                    <a:lnTo>
                      <a:pt x="74" y="137"/>
                    </a:lnTo>
                    <a:lnTo>
                      <a:pt x="74" y="137"/>
                    </a:lnTo>
                    <a:lnTo>
                      <a:pt x="74" y="137"/>
                    </a:lnTo>
                    <a:lnTo>
                      <a:pt x="74" y="138"/>
                    </a:lnTo>
                    <a:lnTo>
                      <a:pt x="78" y="141"/>
                    </a:lnTo>
                    <a:lnTo>
                      <a:pt x="73" y="134"/>
                    </a:lnTo>
                    <a:lnTo>
                      <a:pt x="73" y="133"/>
                    </a:lnTo>
                    <a:lnTo>
                      <a:pt x="73" y="133"/>
                    </a:lnTo>
                    <a:lnTo>
                      <a:pt x="73" y="132"/>
                    </a:lnTo>
                    <a:lnTo>
                      <a:pt x="72" y="131"/>
                    </a:lnTo>
                    <a:lnTo>
                      <a:pt x="72" y="131"/>
                    </a:lnTo>
                    <a:lnTo>
                      <a:pt x="70" y="128"/>
                    </a:lnTo>
                    <a:lnTo>
                      <a:pt x="69" y="124"/>
                    </a:lnTo>
                    <a:lnTo>
                      <a:pt x="69" y="124"/>
                    </a:lnTo>
                    <a:lnTo>
                      <a:pt x="68" y="121"/>
                    </a:lnTo>
                    <a:lnTo>
                      <a:pt x="68" y="121"/>
                    </a:lnTo>
                    <a:lnTo>
                      <a:pt x="65" y="115"/>
                    </a:lnTo>
                    <a:lnTo>
                      <a:pt x="64" y="115"/>
                    </a:lnTo>
                    <a:lnTo>
                      <a:pt x="61" y="115"/>
                    </a:lnTo>
                    <a:lnTo>
                      <a:pt x="61" y="115"/>
                    </a:lnTo>
                    <a:lnTo>
                      <a:pt x="53" y="112"/>
                    </a:lnTo>
                    <a:lnTo>
                      <a:pt x="53" y="112"/>
                    </a:lnTo>
                    <a:lnTo>
                      <a:pt x="51" y="112"/>
                    </a:lnTo>
                    <a:lnTo>
                      <a:pt x="51" y="112"/>
                    </a:lnTo>
                    <a:lnTo>
                      <a:pt x="49" y="112"/>
                    </a:lnTo>
                    <a:lnTo>
                      <a:pt x="49" y="112"/>
                    </a:lnTo>
                    <a:lnTo>
                      <a:pt x="47" y="111"/>
                    </a:lnTo>
                    <a:lnTo>
                      <a:pt x="47" y="112"/>
                    </a:lnTo>
                    <a:lnTo>
                      <a:pt x="47" y="112"/>
                    </a:lnTo>
                    <a:lnTo>
                      <a:pt x="41" y="115"/>
                    </a:lnTo>
                    <a:lnTo>
                      <a:pt x="35" y="115"/>
                    </a:lnTo>
                    <a:lnTo>
                      <a:pt x="35" y="115"/>
                    </a:lnTo>
                    <a:lnTo>
                      <a:pt x="31" y="116"/>
                    </a:lnTo>
                    <a:lnTo>
                      <a:pt x="28" y="119"/>
                    </a:lnTo>
                    <a:lnTo>
                      <a:pt x="24" y="120"/>
                    </a:lnTo>
                    <a:lnTo>
                      <a:pt x="23" y="120"/>
                    </a:lnTo>
                    <a:lnTo>
                      <a:pt x="23" y="120"/>
                    </a:lnTo>
                    <a:lnTo>
                      <a:pt x="23" y="120"/>
                    </a:lnTo>
                    <a:lnTo>
                      <a:pt x="23" y="120"/>
                    </a:lnTo>
                    <a:lnTo>
                      <a:pt x="19" y="120"/>
                    </a:lnTo>
                    <a:lnTo>
                      <a:pt x="15" y="117"/>
                    </a:lnTo>
                    <a:lnTo>
                      <a:pt x="12" y="113"/>
                    </a:lnTo>
                    <a:lnTo>
                      <a:pt x="12" y="113"/>
                    </a:lnTo>
                    <a:lnTo>
                      <a:pt x="12" y="113"/>
                    </a:lnTo>
                    <a:lnTo>
                      <a:pt x="12" y="113"/>
                    </a:lnTo>
                    <a:lnTo>
                      <a:pt x="13" y="113"/>
                    </a:lnTo>
                    <a:lnTo>
                      <a:pt x="10" y="109"/>
                    </a:lnTo>
                    <a:lnTo>
                      <a:pt x="10" y="109"/>
                    </a:lnTo>
                    <a:lnTo>
                      <a:pt x="10" y="109"/>
                    </a:lnTo>
                    <a:lnTo>
                      <a:pt x="7" y="104"/>
                    </a:lnTo>
                    <a:lnTo>
                      <a:pt x="7" y="104"/>
                    </a:lnTo>
                    <a:lnTo>
                      <a:pt x="4" y="104"/>
                    </a:lnTo>
                    <a:lnTo>
                      <a:pt x="0" y="96"/>
                    </a:lnTo>
                    <a:lnTo>
                      <a:pt x="0" y="96"/>
                    </a:lnTo>
                    <a:lnTo>
                      <a:pt x="4" y="86"/>
                    </a:lnTo>
                    <a:lnTo>
                      <a:pt x="10" y="75"/>
                    </a:lnTo>
                    <a:lnTo>
                      <a:pt x="10" y="75"/>
                    </a:lnTo>
                    <a:lnTo>
                      <a:pt x="11" y="72"/>
                    </a:lnTo>
                    <a:lnTo>
                      <a:pt x="11" y="71"/>
                    </a:lnTo>
                    <a:lnTo>
                      <a:pt x="11" y="71"/>
                    </a:lnTo>
                    <a:lnTo>
                      <a:pt x="13" y="67"/>
                    </a:lnTo>
                    <a:lnTo>
                      <a:pt x="13" y="67"/>
                    </a:lnTo>
                    <a:lnTo>
                      <a:pt x="16" y="62"/>
                    </a:lnTo>
                    <a:lnTo>
                      <a:pt x="16" y="59"/>
                    </a:lnTo>
                    <a:lnTo>
                      <a:pt x="15" y="55"/>
                    </a:lnTo>
                    <a:lnTo>
                      <a:pt x="15" y="55"/>
                    </a:lnTo>
                    <a:lnTo>
                      <a:pt x="15" y="55"/>
                    </a:lnTo>
                    <a:lnTo>
                      <a:pt x="16" y="47"/>
                    </a:lnTo>
                    <a:lnTo>
                      <a:pt x="16" y="43"/>
                    </a:lnTo>
                    <a:lnTo>
                      <a:pt x="19" y="41"/>
                    </a:lnTo>
                    <a:lnTo>
                      <a:pt x="19" y="41"/>
                    </a:lnTo>
                    <a:lnTo>
                      <a:pt x="19" y="38"/>
                    </a:lnTo>
                    <a:lnTo>
                      <a:pt x="20" y="37"/>
                    </a:lnTo>
                    <a:lnTo>
                      <a:pt x="20" y="37"/>
                    </a:lnTo>
                    <a:lnTo>
                      <a:pt x="23" y="34"/>
                    </a:lnTo>
                    <a:lnTo>
                      <a:pt x="25" y="34"/>
                    </a:lnTo>
                    <a:lnTo>
                      <a:pt x="25" y="34"/>
                    </a:lnTo>
                    <a:lnTo>
                      <a:pt x="28" y="30"/>
                    </a:lnTo>
                    <a:lnTo>
                      <a:pt x="28" y="29"/>
                    </a:lnTo>
                    <a:lnTo>
                      <a:pt x="29" y="26"/>
                    </a:lnTo>
                    <a:lnTo>
                      <a:pt x="29" y="26"/>
                    </a:lnTo>
                    <a:lnTo>
                      <a:pt x="29" y="25"/>
                    </a:lnTo>
                    <a:lnTo>
                      <a:pt x="29" y="25"/>
                    </a:lnTo>
                    <a:lnTo>
                      <a:pt x="33" y="19"/>
                    </a:lnTo>
                    <a:lnTo>
                      <a:pt x="36" y="18"/>
                    </a:lnTo>
                    <a:lnTo>
                      <a:pt x="40" y="17"/>
                    </a:lnTo>
                    <a:lnTo>
                      <a:pt x="40" y="17"/>
                    </a:lnTo>
                    <a:lnTo>
                      <a:pt x="45" y="17"/>
                    </a:lnTo>
                    <a:lnTo>
                      <a:pt x="49" y="18"/>
                    </a:lnTo>
                    <a:lnTo>
                      <a:pt x="49" y="18"/>
                    </a:lnTo>
                    <a:lnTo>
                      <a:pt x="53" y="18"/>
                    </a:lnTo>
                    <a:lnTo>
                      <a:pt x="53" y="18"/>
                    </a:lnTo>
                    <a:lnTo>
                      <a:pt x="60" y="17"/>
                    </a:lnTo>
                    <a:lnTo>
                      <a:pt x="60" y="17"/>
                    </a:lnTo>
                    <a:lnTo>
                      <a:pt x="64" y="17"/>
                    </a:lnTo>
                    <a:lnTo>
                      <a:pt x="68" y="17"/>
                    </a:lnTo>
                    <a:lnTo>
                      <a:pt x="68" y="17"/>
                    </a:lnTo>
                    <a:lnTo>
                      <a:pt x="72" y="14"/>
                    </a:lnTo>
                    <a:lnTo>
                      <a:pt x="72" y="14"/>
                    </a:lnTo>
                    <a:lnTo>
                      <a:pt x="77" y="10"/>
                    </a:lnTo>
                    <a:lnTo>
                      <a:pt x="80" y="9"/>
                    </a:lnTo>
                    <a:lnTo>
                      <a:pt x="85" y="8"/>
                    </a:lnTo>
                    <a:lnTo>
                      <a:pt x="85" y="8"/>
                    </a:lnTo>
                    <a:lnTo>
                      <a:pt x="85" y="8"/>
                    </a:lnTo>
                    <a:lnTo>
                      <a:pt x="90" y="9"/>
                    </a:lnTo>
                    <a:lnTo>
                      <a:pt x="93" y="12"/>
                    </a:lnTo>
                    <a:lnTo>
                      <a:pt x="93" y="12"/>
                    </a:lnTo>
                    <a:lnTo>
                      <a:pt x="95" y="12"/>
                    </a:lnTo>
                    <a:lnTo>
                      <a:pt x="95" y="12"/>
                    </a:lnTo>
                    <a:lnTo>
                      <a:pt x="97" y="12"/>
                    </a:lnTo>
                    <a:lnTo>
                      <a:pt x="97" y="12"/>
                    </a:lnTo>
                    <a:lnTo>
                      <a:pt x="97" y="12"/>
                    </a:lnTo>
                    <a:lnTo>
                      <a:pt x="101" y="10"/>
                    </a:lnTo>
                    <a:lnTo>
                      <a:pt x="106" y="10"/>
                    </a:lnTo>
                    <a:lnTo>
                      <a:pt x="109" y="12"/>
                    </a:lnTo>
                    <a:lnTo>
                      <a:pt x="109" y="12"/>
                    </a:lnTo>
                    <a:lnTo>
                      <a:pt x="111" y="13"/>
                    </a:lnTo>
                    <a:lnTo>
                      <a:pt x="114" y="16"/>
                    </a:lnTo>
                    <a:lnTo>
                      <a:pt x="114" y="16"/>
                    </a:lnTo>
                    <a:lnTo>
                      <a:pt x="115" y="14"/>
                    </a:lnTo>
                    <a:lnTo>
                      <a:pt x="115" y="14"/>
                    </a:lnTo>
                    <a:lnTo>
                      <a:pt x="118" y="14"/>
                    </a:lnTo>
                    <a:lnTo>
                      <a:pt x="118" y="14"/>
                    </a:lnTo>
                    <a:lnTo>
                      <a:pt x="121" y="14"/>
                    </a:lnTo>
                    <a:lnTo>
                      <a:pt x="121" y="14"/>
                    </a:lnTo>
                    <a:lnTo>
                      <a:pt x="122" y="14"/>
                    </a:lnTo>
                    <a:lnTo>
                      <a:pt x="122" y="14"/>
                    </a:lnTo>
                    <a:lnTo>
                      <a:pt x="121" y="14"/>
                    </a:lnTo>
                    <a:lnTo>
                      <a:pt x="118" y="16"/>
                    </a:lnTo>
                    <a:lnTo>
                      <a:pt x="118" y="16"/>
                    </a:lnTo>
                    <a:lnTo>
                      <a:pt x="117" y="19"/>
                    </a:lnTo>
                    <a:lnTo>
                      <a:pt x="123" y="13"/>
                    </a:lnTo>
                    <a:lnTo>
                      <a:pt x="125" y="13"/>
                    </a:lnTo>
                    <a:lnTo>
                      <a:pt x="125" y="13"/>
                    </a:lnTo>
                    <a:lnTo>
                      <a:pt x="125" y="13"/>
                    </a:lnTo>
                    <a:lnTo>
                      <a:pt x="127" y="12"/>
                    </a:lnTo>
                    <a:lnTo>
                      <a:pt x="130" y="12"/>
                    </a:lnTo>
                    <a:lnTo>
                      <a:pt x="130" y="12"/>
                    </a:lnTo>
                    <a:lnTo>
                      <a:pt x="130" y="12"/>
                    </a:lnTo>
                    <a:lnTo>
                      <a:pt x="130" y="12"/>
                    </a:lnTo>
                    <a:lnTo>
                      <a:pt x="134" y="10"/>
                    </a:lnTo>
                    <a:lnTo>
                      <a:pt x="138" y="8"/>
                    </a:lnTo>
                    <a:lnTo>
                      <a:pt x="139" y="8"/>
                    </a:lnTo>
                    <a:lnTo>
                      <a:pt x="139" y="8"/>
                    </a:lnTo>
                    <a:lnTo>
                      <a:pt x="140" y="8"/>
                    </a:lnTo>
                    <a:lnTo>
                      <a:pt x="140" y="8"/>
                    </a:lnTo>
                    <a:lnTo>
                      <a:pt x="143" y="8"/>
                    </a:lnTo>
                    <a:lnTo>
                      <a:pt x="143" y="8"/>
                    </a:lnTo>
                    <a:lnTo>
                      <a:pt x="144" y="8"/>
                    </a:lnTo>
                    <a:lnTo>
                      <a:pt x="144" y="8"/>
                    </a:lnTo>
                    <a:lnTo>
                      <a:pt x="143" y="9"/>
                    </a:lnTo>
                    <a:lnTo>
                      <a:pt x="142" y="10"/>
                    </a:lnTo>
                    <a:lnTo>
                      <a:pt x="142" y="10"/>
                    </a:lnTo>
                    <a:lnTo>
                      <a:pt x="140" y="13"/>
                    </a:lnTo>
                    <a:lnTo>
                      <a:pt x="146" y="6"/>
                    </a:lnTo>
                    <a:lnTo>
                      <a:pt x="151" y="6"/>
                    </a:lnTo>
                    <a:lnTo>
                      <a:pt x="154" y="8"/>
                    </a:lnTo>
                    <a:lnTo>
                      <a:pt x="155" y="8"/>
                    </a:lnTo>
                    <a:lnTo>
                      <a:pt x="155" y="8"/>
                    </a:lnTo>
                    <a:lnTo>
                      <a:pt x="158" y="10"/>
                    </a:lnTo>
                    <a:lnTo>
                      <a:pt x="162" y="10"/>
                    </a:lnTo>
                    <a:lnTo>
                      <a:pt x="162" y="10"/>
                    </a:lnTo>
                    <a:lnTo>
                      <a:pt x="164" y="9"/>
                    </a:lnTo>
                    <a:lnTo>
                      <a:pt x="164" y="9"/>
                    </a:lnTo>
                    <a:lnTo>
                      <a:pt x="167" y="6"/>
                    </a:lnTo>
                    <a:lnTo>
                      <a:pt x="171" y="4"/>
                    </a:lnTo>
                    <a:lnTo>
                      <a:pt x="171" y="4"/>
                    </a:lnTo>
                    <a:lnTo>
                      <a:pt x="173" y="2"/>
                    </a:lnTo>
                    <a:lnTo>
                      <a:pt x="177" y="1"/>
                    </a:lnTo>
                    <a:lnTo>
                      <a:pt x="181" y="2"/>
                    </a:lnTo>
                    <a:lnTo>
                      <a:pt x="181" y="2"/>
                    </a:lnTo>
                    <a:lnTo>
                      <a:pt x="183" y="4"/>
                    </a:lnTo>
                    <a:lnTo>
                      <a:pt x="183" y="4"/>
                    </a:lnTo>
                    <a:lnTo>
                      <a:pt x="185" y="5"/>
                    </a:lnTo>
                    <a:lnTo>
                      <a:pt x="185" y="5"/>
                    </a:lnTo>
                    <a:lnTo>
                      <a:pt x="185" y="5"/>
                    </a:lnTo>
                    <a:lnTo>
                      <a:pt x="187" y="4"/>
                    </a:lnTo>
                    <a:lnTo>
                      <a:pt x="187" y="4"/>
                    </a:lnTo>
                    <a:lnTo>
                      <a:pt x="188" y="1"/>
                    </a:lnTo>
                    <a:lnTo>
                      <a:pt x="193" y="0"/>
                    </a:lnTo>
                    <a:lnTo>
                      <a:pt x="195" y="0"/>
                    </a:lnTo>
                    <a:lnTo>
                      <a:pt x="196" y="0"/>
                    </a:lnTo>
                    <a:lnTo>
                      <a:pt x="196" y="0"/>
                    </a:lnTo>
                    <a:lnTo>
                      <a:pt x="207" y="2"/>
                    </a:lnTo>
                    <a:lnTo>
                      <a:pt x="207" y="2"/>
                    </a:lnTo>
                    <a:lnTo>
                      <a:pt x="213" y="2"/>
                    </a:lnTo>
                    <a:lnTo>
                      <a:pt x="213" y="2"/>
                    </a:lnTo>
                    <a:lnTo>
                      <a:pt x="214" y="2"/>
                    </a:lnTo>
                    <a:lnTo>
                      <a:pt x="217" y="1"/>
                    </a:lnTo>
                    <a:lnTo>
                      <a:pt x="217" y="1"/>
                    </a:lnTo>
                    <a:lnTo>
                      <a:pt x="220" y="2"/>
                    </a:lnTo>
                    <a:lnTo>
                      <a:pt x="221" y="4"/>
                    </a:lnTo>
                    <a:lnTo>
                      <a:pt x="221" y="4"/>
                    </a:lnTo>
                    <a:lnTo>
                      <a:pt x="222" y="2"/>
                    </a:lnTo>
                    <a:lnTo>
                      <a:pt x="222" y="2"/>
                    </a:lnTo>
                    <a:lnTo>
                      <a:pt x="225" y="2"/>
                    </a:lnTo>
                    <a:lnTo>
                      <a:pt x="225" y="2"/>
                    </a:lnTo>
                    <a:lnTo>
                      <a:pt x="228" y="4"/>
                    </a:lnTo>
                    <a:lnTo>
                      <a:pt x="229" y="4"/>
                    </a:lnTo>
                    <a:lnTo>
                      <a:pt x="229" y="4"/>
                    </a:lnTo>
                    <a:lnTo>
                      <a:pt x="234" y="8"/>
                    </a:lnTo>
                    <a:lnTo>
                      <a:pt x="234" y="8"/>
                    </a:lnTo>
                    <a:lnTo>
                      <a:pt x="238" y="12"/>
                    </a:lnTo>
                    <a:lnTo>
                      <a:pt x="238" y="12"/>
                    </a:lnTo>
                    <a:lnTo>
                      <a:pt x="241" y="13"/>
                    </a:lnTo>
                    <a:lnTo>
                      <a:pt x="241" y="13"/>
                    </a:lnTo>
                    <a:lnTo>
                      <a:pt x="241" y="13"/>
                    </a:lnTo>
                    <a:lnTo>
                      <a:pt x="241" y="13"/>
                    </a:lnTo>
                    <a:lnTo>
                      <a:pt x="241" y="13"/>
                    </a:lnTo>
                    <a:lnTo>
                      <a:pt x="242" y="13"/>
                    </a:lnTo>
                    <a:lnTo>
                      <a:pt x="248" y="13"/>
                    </a:lnTo>
                    <a:lnTo>
                      <a:pt x="253" y="17"/>
                    </a:lnTo>
                    <a:lnTo>
                      <a:pt x="253" y="17"/>
                    </a:lnTo>
                    <a:lnTo>
                      <a:pt x="255" y="18"/>
                    </a:lnTo>
                    <a:lnTo>
                      <a:pt x="255" y="19"/>
                    </a:lnTo>
                    <a:lnTo>
                      <a:pt x="257" y="21"/>
                    </a:lnTo>
                    <a:lnTo>
                      <a:pt x="257" y="21"/>
                    </a:lnTo>
                    <a:lnTo>
                      <a:pt x="255" y="22"/>
                    </a:lnTo>
                    <a:lnTo>
                      <a:pt x="255" y="25"/>
                    </a:lnTo>
                    <a:lnTo>
                      <a:pt x="258" y="22"/>
                    </a:lnTo>
                    <a:lnTo>
                      <a:pt x="259" y="25"/>
                    </a:lnTo>
                    <a:lnTo>
                      <a:pt x="259" y="25"/>
                    </a:lnTo>
                    <a:lnTo>
                      <a:pt x="259" y="22"/>
                    </a:lnTo>
                    <a:lnTo>
                      <a:pt x="258" y="21"/>
                    </a:lnTo>
                    <a:lnTo>
                      <a:pt x="261" y="18"/>
                    </a:lnTo>
                    <a:lnTo>
                      <a:pt x="263" y="18"/>
                    </a:lnTo>
                    <a:lnTo>
                      <a:pt x="267" y="19"/>
                    </a:lnTo>
                    <a:lnTo>
                      <a:pt x="267" y="19"/>
                    </a:lnTo>
                    <a:lnTo>
                      <a:pt x="273" y="23"/>
                    </a:lnTo>
                    <a:lnTo>
                      <a:pt x="273" y="23"/>
                    </a:lnTo>
                    <a:lnTo>
                      <a:pt x="279" y="29"/>
                    </a:lnTo>
                    <a:lnTo>
                      <a:pt x="279" y="29"/>
                    </a:lnTo>
                    <a:lnTo>
                      <a:pt x="281" y="29"/>
                    </a:lnTo>
                    <a:lnTo>
                      <a:pt x="281" y="29"/>
                    </a:lnTo>
                    <a:lnTo>
                      <a:pt x="286" y="29"/>
                    </a:lnTo>
                    <a:lnTo>
                      <a:pt x="290" y="31"/>
                    </a:lnTo>
                    <a:lnTo>
                      <a:pt x="292" y="34"/>
                    </a:lnTo>
                    <a:lnTo>
                      <a:pt x="292" y="37"/>
                    </a:lnTo>
                    <a:lnTo>
                      <a:pt x="292" y="37"/>
                    </a:lnTo>
                    <a:lnTo>
                      <a:pt x="306" y="45"/>
                    </a:lnTo>
                    <a:lnTo>
                      <a:pt x="318" y="54"/>
                    </a:lnTo>
                    <a:lnTo>
                      <a:pt x="320" y="54"/>
                    </a:lnTo>
                    <a:lnTo>
                      <a:pt x="320" y="54"/>
                    </a:lnTo>
                    <a:lnTo>
                      <a:pt x="320" y="54"/>
                    </a:lnTo>
                    <a:lnTo>
                      <a:pt x="320" y="54"/>
                    </a:lnTo>
                    <a:lnTo>
                      <a:pt x="319" y="54"/>
                    </a:lnTo>
                    <a:lnTo>
                      <a:pt x="324" y="51"/>
                    </a:lnTo>
                    <a:lnTo>
                      <a:pt x="329" y="51"/>
                    </a:lnTo>
                    <a:lnTo>
                      <a:pt x="329" y="51"/>
                    </a:lnTo>
                    <a:lnTo>
                      <a:pt x="335" y="51"/>
                    </a:lnTo>
                    <a:lnTo>
                      <a:pt x="335" y="51"/>
                    </a:lnTo>
                    <a:lnTo>
                      <a:pt x="341" y="51"/>
                    </a:lnTo>
                    <a:lnTo>
                      <a:pt x="347" y="55"/>
                    </a:lnTo>
                    <a:lnTo>
                      <a:pt x="351" y="59"/>
                    </a:lnTo>
                    <a:lnTo>
                      <a:pt x="353" y="63"/>
                    </a:lnTo>
                    <a:lnTo>
                      <a:pt x="353" y="63"/>
                    </a:lnTo>
                    <a:lnTo>
                      <a:pt x="355" y="66"/>
                    </a:lnTo>
                    <a:lnTo>
                      <a:pt x="357" y="68"/>
                    </a:lnTo>
                    <a:lnTo>
                      <a:pt x="356" y="70"/>
                    </a:lnTo>
                    <a:lnTo>
                      <a:pt x="357" y="70"/>
                    </a:lnTo>
                    <a:lnTo>
                      <a:pt x="357" y="70"/>
                    </a:lnTo>
                    <a:lnTo>
                      <a:pt x="356" y="71"/>
                    </a:lnTo>
                    <a:lnTo>
                      <a:pt x="356" y="71"/>
                    </a:lnTo>
                    <a:lnTo>
                      <a:pt x="356" y="74"/>
                    </a:lnTo>
                    <a:lnTo>
                      <a:pt x="356" y="75"/>
                    </a:lnTo>
                    <a:lnTo>
                      <a:pt x="359" y="72"/>
                    </a:lnTo>
                    <a:lnTo>
                      <a:pt x="361" y="75"/>
                    </a:lnTo>
                    <a:lnTo>
                      <a:pt x="361" y="75"/>
                    </a:lnTo>
                    <a:lnTo>
                      <a:pt x="361" y="74"/>
                    </a:lnTo>
                    <a:lnTo>
                      <a:pt x="360" y="71"/>
                    </a:lnTo>
                    <a:lnTo>
                      <a:pt x="360" y="71"/>
                    </a:lnTo>
                    <a:lnTo>
                      <a:pt x="360" y="70"/>
                    </a:lnTo>
                    <a:lnTo>
                      <a:pt x="361" y="67"/>
                    </a:lnTo>
                    <a:lnTo>
                      <a:pt x="376" y="67"/>
                    </a:lnTo>
                    <a:lnTo>
                      <a:pt x="376" y="67"/>
                    </a:lnTo>
                    <a:lnTo>
                      <a:pt x="378" y="67"/>
                    </a:lnTo>
                    <a:lnTo>
                      <a:pt x="378" y="67"/>
                    </a:lnTo>
                    <a:lnTo>
                      <a:pt x="381" y="67"/>
                    </a:lnTo>
                    <a:lnTo>
                      <a:pt x="381" y="67"/>
                    </a:lnTo>
                    <a:lnTo>
                      <a:pt x="381" y="68"/>
                    </a:lnTo>
                    <a:lnTo>
                      <a:pt x="381" y="68"/>
                    </a:lnTo>
                    <a:lnTo>
                      <a:pt x="380" y="68"/>
                    </a:lnTo>
                    <a:lnTo>
                      <a:pt x="378" y="70"/>
                    </a:lnTo>
                    <a:lnTo>
                      <a:pt x="378" y="70"/>
                    </a:lnTo>
                    <a:lnTo>
                      <a:pt x="377" y="72"/>
                    </a:lnTo>
                    <a:lnTo>
                      <a:pt x="384" y="66"/>
                    </a:lnTo>
                    <a:lnTo>
                      <a:pt x="384" y="66"/>
                    </a:lnTo>
                    <a:lnTo>
                      <a:pt x="389" y="66"/>
                    </a:lnTo>
                    <a:lnTo>
                      <a:pt x="389" y="66"/>
                    </a:lnTo>
                    <a:lnTo>
                      <a:pt x="390" y="66"/>
                    </a:lnTo>
                    <a:lnTo>
                      <a:pt x="390" y="66"/>
                    </a:lnTo>
                    <a:lnTo>
                      <a:pt x="389" y="67"/>
                    </a:lnTo>
                    <a:lnTo>
                      <a:pt x="388" y="70"/>
                    </a:lnTo>
                    <a:lnTo>
                      <a:pt x="394" y="66"/>
                    </a:lnTo>
                    <a:lnTo>
                      <a:pt x="394" y="66"/>
                    </a:lnTo>
                    <a:lnTo>
                      <a:pt x="394" y="66"/>
                    </a:lnTo>
                    <a:lnTo>
                      <a:pt x="396" y="64"/>
                    </a:lnTo>
                    <a:lnTo>
                      <a:pt x="400" y="64"/>
                    </a:lnTo>
                    <a:lnTo>
                      <a:pt x="400" y="64"/>
                    </a:lnTo>
                    <a:lnTo>
                      <a:pt x="402" y="62"/>
                    </a:lnTo>
                    <a:lnTo>
                      <a:pt x="407" y="60"/>
                    </a:lnTo>
                    <a:lnTo>
                      <a:pt x="407" y="60"/>
                    </a:lnTo>
                    <a:lnTo>
                      <a:pt x="415" y="62"/>
                    </a:lnTo>
                    <a:lnTo>
                      <a:pt x="423" y="64"/>
                    </a:lnTo>
                    <a:lnTo>
                      <a:pt x="425" y="66"/>
                    </a:lnTo>
                    <a:lnTo>
                      <a:pt x="425" y="66"/>
                    </a:lnTo>
                    <a:lnTo>
                      <a:pt x="425" y="66"/>
                    </a:lnTo>
                    <a:lnTo>
                      <a:pt x="425" y="66"/>
                    </a:lnTo>
                    <a:lnTo>
                      <a:pt x="425" y="66"/>
                    </a:lnTo>
                    <a:lnTo>
                      <a:pt x="425" y="66"/>
                    </a:lnTo>
                    <a:lnTo>
                      <a:pt x="425" y="66"/>
                    </a:lnTo>
                    <a:lnTo>
                      <a:pt x="425" y="66"/>
                    </a:lnTo>
                    <a:lnTo>
                      <a:pt x="422" y="67"/>
                    </a:lnTo>
                    <a:lnTo>
                      <a:pt x="422" y="67"/>
                    </a:lnTo>
                    <a:lnTo>
                      <a:pt x="422" y="70"/>
                    </a:lnTo>
                    <a:lnTo>
                      <a:pt x="422" y="71"/>
                    </a:lnTo>
                    <a:lnTo>
                      <a:pt x="425" y="67"/>
                    </a:lnTo>
                    <a:lnTo>
                      <a:pt x="427" y="71"/>
                    </a:lnTo>
                    <a:lnTo>
                      <a:pt x="427" y="71"/>
                    </a:lnTo>
                    <a:lnTo>
                      <a:pt x="427" y="68"/>
                    </a:lnTo>
                    <a:lnTo>
                      <a:pt x="426" y="67"/>
                    </a:lnTo>
                    <a:lnTo>
                      <a:pt x="426" y="66"/>
                    </a:lnTo>
                    <a:lnTo>
                      <a:pt x="426" y="66"/>
                    </a:lnTo>
                    <a:lnTo>
                      <a:pt x="425" y="66"/>
                    </a:lnTo>
                    <a:lnTo>
                      <a:pt x="425" y="66"/>
                    </a:lnTo>
                    <a:lnTo>
                      <a:pt x="429" y="63"/>
                    </a:lnTo>
                    <a:lnTo>
                      <a:pt x="434" y="62"/>
                    </a:lnTo>
                    <a:lnTo>
                      <a:pt x="434" y="62"/>
                    </a:lnTo>
                    <a:lnTo>
                      <a:pt x="438" y="63"/>
                    </a:lnTo>
                    <a:lnTo>
                      <a:pt x="441" y="64"/>
                    </a:lnTo>
                    <a:lnTo>
                      <a:pt x="442" y="66"/>
                    </a:lnTo>
                    <a:lnTo>
                      <a:pt x="442" y="66"/>
                    </a:lnTo>
                    <a:lnTo>
                      <a:pt x="443" y="67"/>
                    </a:lnTo>
                    <a:lnTo>
                      <a:pt x="443" y="67"/>
                    </a:lnTo>
                    <a:lnTo>
                      <a:pt x="443" y="67"/>
                    </a:lnTo>
                    <a:lnTo>
                      <a:pt x="445" y="67"/>
                    </a:lnTo>
                    <a:lnTo>
                      <a:pt x="445" y="67"/>
                    </a:lnTo>
                    <a:lnTo>
                      <a:pt x="446" y="66"/>
                    </a:lnTo>
                    <a:lnTo>
                      <a:pt x="446" y="66"/>
                    </a:lnTo>
                    <a:lnTo>
                      <a:pt x="451" y="63"/>
                    </a:lnTo>
                    <a:lnTo>
                      <a:pt x="456" y="62"/>
                    </a:lnTo>
                    <a:lnTo>
                      <a:pt x="462" y="62"/>
                    </a:lnTo>
                    <a:lnTo>
                      <a:pt x="464" y="63"/>
                    </a:lnTo>
                    <a:lnTo>
                      <a:pt x="464" y="63"/>
                    </a:lnTo>
                    <a:lnTo>
                      <a:pt x="463" y="64"/>
                    </a:lnTo>
                    <a:lnTo>
                      <a:pt x="463" y="64"/>
                    </a:lnTo>
                    <a:lnTo>
                      <a:pt x="462" y="67"/>
                    </a:lnTo>
                    <a:lnTo>
                      <a:pt x="463" y="68"/>
                    </a:lnTo>
                    <a:lnTo>
                      <a:pt x="466" y="66"/>
                    </a:lnTo>
                    <a:lnTo>
                      <a:pt x="468" y="68"/>
                    </a:lnTo>
                    <a:lnTo>
                      <a:pt x="468" y="68"/>
                    </a:lnTo>
                    <a:lnTo>
                      <a:pt x="468" y="67"/>
                    </a:lnTo>
                    <a:lnTo>
                      <a:pt x="467" y="64"/>
                    </a:lnTo>
                    <a:lnTo>
                      <a:pt x="467" y="64"/>
                    </a:lnTo>
                    <a:lnTo>
                      <a:pt x="466" y="63"/>
                    </a:lnTo>
                    <a:lnTo>
                      <a:pt x="468" y="62"/>
                    </a:lnTo>
                    <a:lnTo>
                      <a:pt x="474" y="62"/>
                    </a:lnTo>
                    <a:lnTo>
                      <a:pt x="474" y="62"/>
                    </a:lnTo>
                    <a:lnTo>
                      <a:pt x="476" y="60"/>
                    </a:lnTo>
                    <a:lnTo>
                      <a:pt x="476" y="60"/>
                    </a:lnTo>
                    <a:lnTo>
                      <a:pt x="479" y="62"/>
                    </a:lnTo>
                    <a:lnTo>
                      <a:pt x="479" y="62"/>
                    </a:lnTo>
                    <a:lnTo>
                      <a:pt x="482" y="62"/>
                    </a:lnTo>
                    <a:lnTo>
                      <a:pt x="482" y="62"/>
                    </a:lnTo>
                    <a:lnTo>
                      <a:pt x="480" y="62"/>
                    </a:lnTo>
                    <a:lnTo>
                      <a:pt x="479" y="64"/>
                    </a:lnTo>
                    <a:lnTo>
                      <a:pt x="484" y="60"/>
                    </a:lnTo>
                    <a:lnTo>
                      <a:pt x="484" y="60"/>
                    </a:lnTo>
                    <a:lnTo>
                      <a:pt x="484" y="60"/>
                    </a:lnTo>
                    <a:lnTo>
                      <a:pt x="484" y="60"/>
                    </a:lnTo>
                    <a:lnTo>
                      <a:pt x="484" y="60"/>
                    </a:lnTo>
                    <a:lnTo>
                      <a:pt x="486" y="60"/>
                    </a:lnTo>
                    <a:lnTo>
                      <a:pt x="486" y="60"/>
                    </a:lnTo>
                    <a:lnTo>
                      <a:pt x="487" y="60"/>
                    </a:lnTo>
                    <a:lnTo>
                      <a:pt x="487" y="60"/>
                    </a:lnTo>
                    <a:lnTo>
                      <a:pt x="489" y="60"/>
                    </a:lnTo>
                    <a:lnTo>
                      <a:pt x="489" y="60"/>
                    </a:lnTo>
                    <a:lnTo>
                      <a:pt x="491" y="60"/>
                    </a:lnTo>
                    <a:lnTo>
                      <a:pt x="491" y="60"/>
                    </a:lnTo>
                    <a:lnTo>
                      <a:pt x="489" y="60"/>
                    </a:lnTo>
                    <a:lnTo>
                      <a:pt x="488" y="62"/>
                    </a:lnTo>
                    <a:lnTo>
                      <a:pt x="488" y="62"/>
                    </a:lnTo>
                    <a:lnTo>
                      <a:pt x="487" y="66"/>
                    </a:lnTo>
                    <a:lnTo>
                      <a:pt x="492" y="59"/>
                    </a:lnTo>
                    <a:lnTo>
                      <a:pt x="505" y="59"/>
                    </a:lnTo>
                    <a:lnTo>
                      <a:pt x="511" y="62"/>
                    </a:lnTo>
                    <a:lnTo>
                      <a:pt x="511" y="62"/>
                    </a:lnTo>
                    <a:lnTo>
                      <a:pt x="509" y="62"/>
                    </a:lnTo>
                    <a:lnTo>
                      <a:pt x="509" y="62"/>
                    </a:lnTo>
                    <a:lnTo>
                      <a:pt x="511" y="62"/>
                    </a:lnTo>
                    <a:lnTo>
                      <a:pt x="511" y="62"/>
                    </a:lnTo>
                    <a:lnTo>
                      <a:pt x="512" y="62"/>
                    </a:lnTo>
                    <a:lnTo>
                      <a:pt x="519" y="62"/>
                    </a:lnTo>
                    <a:lnTo>
                      <a:pt x="519" y="62"/>
                    </a:lnTo>
                    <a:lnTo>
                      <a:pt x="520" y="62"/>
                    </a:lnTo>
                    <a:lnTo>
                      <a:pt x="520" y="62"/>
                    </a:lnTo>
                    <a:lnTo>
                      <a:pt x="523" y="62"/>
                    </a:lnTo>
                    <a:lnTo>
                      <a:pt x="525" y="63"/>
                    </a:lnTo>
                    <a:lnTo>
                      <a:pt x="528" y="66"/>
                    </a:lnTo>
                    <a:lnTo>
                      <a:pt x="528" y="66"/>
                    </a:lnTo>
                    <a:lnTo>
                      <a:pt x="528" y="66"/>
                    </a:lnTo>
                    <a:lnTo>
                      <a:pt x="528" y="66"/>
                    </a:lnTo>
                    <a:lnTo>
                      <a:pt x="526" y="66"/>
                    </a:lnTo>
                    <a:lnTo>
                      <a:pt x="528" y="67"/>
                    </a:lnTo>
                    <a:lnTo>
                      <a:pt x="528" y="72"/>
                    </a:lnTo>
                    <a:lnTo>
                      <a:pt x="529" y="67"/>
                    </a:lnTo>
                    <a:lnTo>
                      <a:pt x="532" y="70"/>
                    </a:lnTo>
                    <a:lnTo>
                      <a:pt x="532" y="70"/>
                    </a:lnTo>
                    <a:lnTo>
                      <a:pt x="530" y="67"/>
                    </a:lnTo>
                    <a:lnTo>
                      <a:pt x="529" y="67"/>
                    </a:lnTo>
                    <a:lnTo>
                      <a:pt x="529" y="66"/>
                    </a:lnTo>
                    <a:lnTo>
                      <a:pt x="529" y="66"/>
                    </a:lnTo>
                    <a:lnTo>
                      <a:pt x="529" y="66"/>
                    </a:lnTo>
                    <a:lnTo>
                      <a:pt x="530" y="66"/>
                    </a:lnTo>
                    <a:lnTo>
                      <a:pt x="534" y="70"/>
                    </a:lnTo>
                    <a:lnTo>
                      <a:pt x="534" y="70"/>
                    </a:lnTo>
                    <a:lnTo>
                      <a:pt x="538" y="68"/>
                    </a:lnTo>
                    <a:lnTo>
                      <a:pt x="542" y="67"/>
                    </a:lnTo>
                    <a:lnTo>
                      <a:pt x="544" y="67"/>
                    </a:lnTo>
                    <a:lnTo>
                      <a:pt x="549" y="75"/>
                    </a:lnTo>
                    <a:lnTo>
                      <a:pt x="549" y="75"/>
                    </a:lnTo>
                    <a:lnTo>
                      <a:pt x="549" y="74"/>
                    </a:lnTo>
                    <a:lnTo>
                      <a:pt x="548" y="71"/>
                    </a:lnTo>
                    <a:lnTo>
                      <a:pt x="548" y="71"/>
                    </a:lnTo>
                    <a:lnTo>
                      <a:pt x="548" y="71"/>
                    </a:lnTo>
                    <a:lnTo>
                      <a:pt x="549" y="71"/>
                    </a:lnTo>
                    <a:lnTo>
                      <a:pt x="549" y="71"/>
                    </a:lnTo>
                    <a:lnTo>
                      <a:pt x="553" y="74"/>
                    </a:lnTo>
                    <a:lnTo>
                      <a:pt x="557" y="75"/>
                    </a:lnTo>
                    <a:lnTo>
                      <a:pt x="557" y="75"/>
                    </a:lnTo>
                    <a:lnTo>
                      <a:pt x="561" y="76"/>
                    </a:lnTo>
                    <a:lnTo>
                      <a:pt x="561" y="76"/>
                    </a:lnTo>
                    <a:lnTo>
                      <a:pt x="561" y="76"/>
                    </a:lnTo>
                    <a:lnTo>
                      <a:pt x="561" y="76"/>
                    </a:lnTo>
                    <a:lnTo>
                      <a:pt x="564" y="76"/>
                    </a:lnTo>
                    <a:lnTo>
                      <a:pt x="564" y="76"/>
                    </a:lnTo>
                    <a:lnTo>
                      <a:pt x="565" y="76"/>
                    </a:lnTo>
                    <a:lnTo>
                      <a:pt x="565" y="76"/>
                    </a:lnTo>
                    <a:lnTo>
                      <a:pt x="561" y="78"/>
                    </a:lnTo>
                    <a:lnTo>
                      <a:pt x="560" y="82"/>
                    </a:lnTo>
                    <a:lnTo>
                      <a:pt x="560" y="82"/>
                    </a:lnTo>
                    <a:lnTo>
                      <a:pt x="560" y="82"/>
                    </a:lnTo>
                    <a:lnTo>
                      <a:pt x="565" y="75"/>
                    </a:lnTo>
                    <a:lnTo>
                      <a:pt x="565" y="75"/>
                    </a:lnTo>
                    <a:lnTo>
                      <a:pt x="573" y="74"/>
                    </a:lnTo>
                    <a:lnTo>
                      <a:pt x="573" y="74"/>
                    </a:lnTo>
                    <a:lnTo>
                      <a:pt x="581" y="71"/>
                    </a:lnTo>
                    <a:lnTo>
                      <a:pt x="587" y="79"/>
                    </a:lnTo>
                    <a:lnTo>
                      <a:pt x="587" y="79"/>
                    </a:lnTo>
                    <a:lnTo>
                      <a:pt x="587" y="76"/>
                    </a:lnTo>
                    <a:lnTo>
                      <a:pt x="586" y="75"/>
                    </a:lnTo>
                    <a:lnTo>
                      <a:pt x="586" y="75"/>
                    </a:lnTo>
                    <a:lnTo>
                      <a:pt x="585" y="74"/>
                    </a:lnTo>
                    <a:lnTo>
                      <a:pt x="586" y="74"/>
                    </a:lnTo>
                    <a:lnTo>
                      <a:pt x="586" y="74"/>
                    </a:lnTo>
                    <a:lnTo>
                      <a:pt x="589" y="78"/>
                    </a:lnTo>
                    <a:lnTo>
                      <a:pt x="591" y="80"/>
                    </a:lnTo>
                    <a:lnTo>
                      <a:pt x="591" y="80"/>
                    </a:lnTo>
                    <a:lnTo>
                      <a:pt x="594" y="84"/>
                    </a:lnTo>
                    <a:lnTo>
                      <a:pt x="606" y="84"/>
                    </a:lnTo>
                    <a:lnTo>
                      <a:pt x="611" y="91"/>
                    </a:lnTo>
                    <a:lnTo>
                      <a:pt x="611" y="91"/>
                    </a:lnTo>
                    <a:lnTo>
                      <a:pt x="611" y="91"/>
                    </a:lnTo>
                    <a:lnTo>
                      <a:pt x="612" y="92"/>
                    </a:lnTo>
                    <a:lnTo>
                      <a:pt x="612" y="94"/>
                    </a:lnTo>
                    <a:lnTo>
                      <a:pt x="612" y="94"/>
                    </a:lnTo>
                    <a:lnTo>
                      <a:pt x="614" y="96"/>
                    </a:lnTo>
                    <a:lnTo>
                      <a:pt x="618" y="99"/>
                    </a:lnTo>
                    <a:lnTo>
                      <a:pt x="618" y="100"/>
                    </a:lnTo>
                    <a:lnTo>
                      <a:pt x="618" y="100"/>
                    </a:lnTo>
                    <a:lnTo>
                      <a:pt x="616" y="99"/>
                    </a:lnTo>
                    <a:lnTo>
                      <a:pt x="619" y="101"/>
                    </a:lnTo>
                    <a:lnTo>
                      <a:pt x="620" y="105"/>
                    </a:lnTo>
                    <a:lnTo>
                      <a:pt x="620" y="105"/>
                    </a:lnTo>
                    <a:lnTo>
                      <a:pt x="620" y="103"/>
                    </a:lnTo>
                    <a:lnTo>
                      <a:pt x="622" y="104"/>
                    </a:lnTo>
                    <a:lnTo>
                      <a:pt x="622" y="104"/>
                    </a:lnTo>
                    <a:lnTo>
                      <a:pt x="626" y="127"/>
                    </a:lnTo>
                    <a:lnTo>
                      <a:pt x="631" y="146"/>
                    </a:lnTo>
                    <a:lnTo>
                      <a:pt x="631" y="146"/>
                    </a:lnTo>
                    <a:lnTo>
                      <a:pt x="636" y="169"/>
                    </a:lnTo>
                    <a:lnTo>
                      <a:pt x="642" y="190"/>
                    </a:lnTo>
                    <a:lnTo>
                      <a:pt x="642" y="191"/>
                    </a:lnTo>
                    <a:lnTo>
                      <a:pt x="642" y="191"/>
                    </a:lnTo>
                    <a:lnTo>
                      <a:pt x="642" y="194"/>
                    </a:lnTo>
                    <a:lnTo>
                      <a:pt x="642" y="194"/>
                    </a:lnTo>
                    <a:lnTo>
                      <a:pt x="642" y="194"/>
                    </a:lnTo>
                    <a:lnTo>
                      <a:pt x="643" y="195"/>
                    </a:lnTo>
                    <a:lnTo>
                      <a:pt x="645" y="207"/>
                    </a:lnTo>
                    <a:lnTo>
                      <a:pt x="645" y="207"/>
                    </a:lnTo>
                    <a:lnTo>
                      <a:pt x="656" y="244"/>
                    </a:lnTo>
                    <a:lnTo>
                      <a:pt x="664" y="283"/>
                    </a:lnTo>
                    <a:lnTo>
                      <a:pt x="664" y="284"/>
                    </a:lnTo>
                    <a:lnTo>
                      <a:pt x="664" y="284"/>
                    </a:lnTo>
                    <a:lnTo>
                      <a:pt x="664" y="287"/>
                    </a:lnTo>
                    <a:lnTo>
                      <a:pt x="664" y="287"/>
                    </a:lnTo>
                    <a:lnTo>
                      <a:pt x="664" y="287"/>
                    </a:lnTo>
                    <a:lnTo>
                      <a:pt x="665" y="288"/>
                    </a:lnTo>
                    <a:lnTo>
                      <a:pt x="667" y="289"/>
                    </a:lnTo>
                    <a:lnTo>
                      <a:pt x="667" y="289"/>
                    </a:lnTo>
                    <a:lnTo>
                      <a:pt x="668" y="297"/>
                    </a:lnTo>
                    <a:lnTo>
                      <a:pt x="669" y="305"/>
                    </a:lnTo>
                    <a:lnTo>
                      <a:pt x="669" y="305"/>
                    </a:lnTo>
                    <a:lnTo>
                      <a:pt x="669" y="308"/>
                    </a:lnTo>
                    <a:lnTo>
                      <a:pt x="669" y="308"/>
                    </a:lnTo>
                    <a:lnTo>
                      <a:pt x="669" y="309"/>
                    </a:lnTo>
                    <a:lnTo>
                      <a:pt x="669" y="309"/>
                    </a:lnTo>
                    <a:lnTo>
                      <a:pt x="668" y="306"/>
                    </a:lnTo>
                    <a:lnTo>
                      <a:pt x="665" y="305"/>
                    </a:lnTo>
                    <a:lnTo>
                      <a:pt x="671" y="310"/>
                    </a:lnTo>
                    <a:lnTo>
                      <a:pt x="671" y="312"/>
                    </a:lnTo>
                    <a:lnTo>
                      <a:pt x="668" y="317"/>
                    </a:lnTo>
                    <a:lnTo>
                      <a:pt x="668" y="317"/>
                    </a:lnTo>
                    <a:lnTo>
                      <a:pt x="667" y="318"/>
                    </a:lnTo>
                    <a:lnTo>
                      <a:pt x="664" y="318"/>
                    </a:lnTo>
                    <a:lnTo>
                      <a:pt x="664" y="318"/>
                    </a:lnTo>
                    <a:lnTo>
                      <a:pt x="664" y="318"/>
                    </a:lnTo>
                    <a:lnTo>
                      <a:pt x="664" y="318"/>
                    </a:lnTo>
                    <a:lnTo>
                      <a:pt x="660" y="318"/>
                    </a:lnTo>
                    <a:lnTo>
                      <a:pt x="657" y="317"/>
                    </a:lnTo>
                    <a:lnTo>
                      <a:pt x="655" y="313"/>
                    </a:lnTo>
                    <a:lnTo>
                      <a:pt x="655" y="313"/>
                    </a:lnTo>
                    <a:lnTo>
                      <a:pt x="653" y="310"/>
                    </a:lnTo>
                    <a:lnTo>
                      <a:pt x="653" y="310"/>
                    </a:lnTo>
                    <a:lnTo>
                      <a:pt x="653" y="310"/>
                    </a:lnTo>
                    <a:lnTo>
                      <a:pt x="653" y="310"/>
                    </a:lnTo>
                    <a:lnTo>
                      <a:pt x="649" y="310"/>
                    </a:lnTo>
                    <a:lnTo>
                      <a:pt x="647" y="308"/>
                    </a:lnTo>
                    <a:lnTo>
                      <a:pt x="645" y="305"/>
                    </a:lnTo>
                    <a:lnTo>
                      <a:pt x="645" y="305"/>
                    </a:lnTo>
                    <a:lnTo>
                      <a:pt x="643" y="304"/>
                    </a:lnTo>
                    <a:lnTo>
                      <a:pt x="642" y="301"/>
                    </a:lnTo>
                    <a:lnTo>
                      <a:pt x="642" y="298"/>
                    </a:lnTo>
                    <a:lnTo>
                      <a:pt x="642" y="296"/>
                    </a:lnTo>
                    <a:lnTo>
                      <a:pt x="642" y="296"/>
                    </a:lnTo>
                    <a:lnTo>
                      <a:pt x="638" y="293"/>
                    </a:lnTo>
                    <a:lnTo>
                      <a:pt x="631" y="292"/>
                    </a:lnTo>
                    <a:lnTo>
                      <a:pt x="631" y="292"/>
                    </a:lnTo>
                    <a:lnTo>
                      <a:pt x="627" y="292"/>
                    </a:lnTo>
                    <a:lnTo>
                      <a:pt x="627" y="294"/>
                    </a:lnTo>
                    <a:lnTo>
                      <a:pt x="627" y="296"/>
                    </a:lnTo>
                    <a:lnTo>
                      <a:pt x="626" y="300"/>
                    </a:lnTo>
                    <a:lnTo>
                      <a:pt x="626" y="300"/>
                    </a:lnTo>
                    <a:lnTo>
                      <a:pt x="620" y="305"/>
                    </a:lnTo>
                    <a:lnTo>
                      <a:pt x="620" y="305"/>
                    </a:lnTo>
                    <a:lnTo>
                      <a:pt x="616" y="309"/>
                    </a:lnTo>
                    <a:lnTo>
                      <a:pt x="615" y="309"/>
                    </a:lnTo>
                    <a:lnTo>
                      <a:pt x="615" y="309"/>
                    </a:lnTo>
                    <a:lnTo>
                      <a:pt x="612" y="312"/>
                    </a:lnTo>
                    <a:lnTo>
                      <a:pt x="608" y="313"/>
                    </a:lnTo>
                    <a:lnTo>
                      <a:pt x="608" y="313"/>
                    </a:lnTo>
                    <a:lnTo>
                      <a:pt x="606" y="312"/>
                    </a:lnTo>
                    <a:lnTo>
                      <a:pt x="604" y="313"/>
                    </a:lnTo>
                    <a:lnTo>
                      <a:pt x="604" y="313"/>
                    </a:lnTo>
                    <a:lnTo>
                      <a:pt x="604" y="313"/>
                    </a:lnTo>
                    <a:lnTo>
                      <a:pt x="597" y="316"/>
                    </a:lnTo>
                    <a:lnTo>
                      <a:pt x="595" y="317"/>
                    </a:lnTo>
                    <a:lnTo>
                      <a:pt x="595" y="317"/>
                    </a:lnTo>
                    <a:lnTo>
                      <a:pt x="593" y="320"/>
                    </a:lnTo>
                    <a:lnTo>
                      <a:pt x="590" y="321"/>
                    </a:lnTo>
                    <a:lnTo>
                      <a:pt x="587" y="321"/>
                    </a:lnTo>
                    <a:lnTo>
                      <a:pt x="587" y="321"/>
                    </a:lnTo>
                    <a:lnTo>
                      <a:pt x="586" y="321"/>
                    </a:lnTo>
                    <a:lnTo>
                      <a:pt x="586" y="321"/>
                    </a:lnTo>
                    <a:lnTo>
                      <a:pt x="581" y="322"/>
                    </a:lnTo>
                    <a:lnTo>
                      <a:pt x="581" y="322"/>
                    </a:lnTo>
                    <a:lnTo>
                      <a:pt x="577" y="321"/>
                    </a:lnTo>
                    <a:lnTo>
                      <a:pt x="574" y="320"/>
                    </a:lnTo>
                    <a:lnTo>
                      <a:pt x="569" y="316"/>
                    </a:lnTo>
                    <a:lnTo>
                      <a:pt x="569" y="316"/>
                    </a:lnTo>
                    <a:lnTo>
                      <a:pt x="564" y="312"/>
                    </a:lnTo>
                    <a:lnTo>
                      <a:pt x="564" y="312"/>
                    </a:lnTo>
                    <a:lnTo>
                      <a:pt x="561" y="312"/>
                    </a:lnTo>
                    <a:lnTo>
                      <a:pt x="558" y="310"/>
                    </a:lnTo>
                    <a:lnTo>
                      <a:pt x="558" y="310"/>
                    </a:lnTo>
                    <a:lnTo>
                      <a:pt x="558" y="310"/>
                    </a:lnTo>
                    <a:lnTo>
                      <a:pt x="558" y="310"/>
                    </a:lnTo>
                    <a:lnTo>
                      <a:pt x="556" y="313"/>
                    </a:lnTo>
                    <a:lnTo>
                      <a:pt x="552" y="316"/>
                    </a:lnTo>
                    <a:lnTo>
                      <a:pt x="546" y="314"/>
                    </a:lnTo>
                    <a:lnTo>
                      <a:pt x="546" y="314"/>
                    </a:lnTo>
                    <a:lnTo>
                      <a:pt x="544" y="313"/>
                    </a:lnTo>
                    <a:lnTo>
                      <a:pt x="544" y="313"/>
                    </a:lnTo>
                    <a:lnTo>
                      <a:pt x="538" y="309"/>
                    </a:lnTo>
                    <a:lnTo>
                      <a:pt x="532" y="308"/>
                    </a:lnTo>
                    <a:lnTo>
                      <a:pt x="532" y="308"/>
                    </a:lnTo>
                    <a:lnTo>
                      <a:pt x="528" y="309"/>
                    </a:lnTo>
                    <a:lnTo>
                      <a:pt x="523" y="306"/>
                    </a:lnTo>
                    <a:lnTo>
                      <a:pt x="523" y="306"/>
                    </a:lnTo>
                    <a:lnTo>
                      <a:pt x="524" y="308"/>
                    </a:lnTo>
                    <a:lnTo>
                      <a:pt x="524" y="308"/>
                    </a:lnTo>
                    <a:lnTo>
                      <a:pt x="523" y="308"/>
                    </a:lnTo>
                    <a:lnTo>
                      <a:pt x="523" y="308"/>
                    </a:lnTo>
                    <a:lnTo>
                      <a:pt x="521" y="306"/>
                    </a:lnTo>
                    <a:lnTo>
                      <a:pt x="521" y="306"/>
                    </a:lnTo>
                    <a:lnTo>
                      <a:pt x="521" y="306"/>
                    </a:lnTo>
                    <a:lnTo>
                      <a:pt x="521" y="306"/>
                    </a:lnTo>
                    <a:lnTo>
                      <a:pt x="519" y="306"/>
                    </a:lnTo>
                    <a:lnTo>
                      <a:pt x="516" y="305"/>
                    </a:lnTo>
                    <a:lnTo>
                      <a:pt x="513" y="304"/>
                    </a:lnTo>
                    <a:lnTo>
                      <a:pt x="513" y="304"/>
                    </a:lnTo>
                    <a:lnTo>
                      <a:pt x="516" y="304"/>
                    </a:lnTo>
                    <a:lnTo>
                      <a:pt x="508" y="298"/>
                    </a:lnTo>
                    <a:lnTo>
                      <a:pt x="508" y="298"/>
                    </a:lnTo>
                    <a:lnTo>
                      <a:pt x="508" y="298"/>
                    </a:lnTo>
                    <a:lnTo>
                      <a:pt x="508" y="298"/>
                    </a:lnTo>
                    <a:lnTo>
                      <a:pt x="501" y="297"/>
                    </a:lnTo>
                    <a:lnTo>
                      <a:pt x="496" y="294"/>
                    </a:lnTo>
                    <a:lnTo>
                      <a:pt x="496" y="294"/>
                    </a:lnTo>
                    <a:lnTo>
                      <a:pt x="493" y="293"/>
                    </a:lnTo>
                    <a:lnTo>
                      <a:pt x="493" y="293"/>
                    </a:lnTo>
                    <a:lnTo>
                      <a:pt x="491" y="292"/>
                    </a:lnTo>
                    <a:lnTo>
                      <a:pt x="491" y="292"/>
                    </a:lnTo>
                    <a:lnTo>
                      <a:pt x="488" y="291"/>
                    </a:lnTo>
                    <a:lnTo>
                      <a:pt x="487" y="288"/>
                    </a:lnTo>
                    <a:lnTo>
                      <a:pt x="487" y="288"/>
                    </a:lnTo>
                    <a:lnTo>
                      <a:pt x="486" y="287"/>
                    </a:lnTo>
                    <a:lnTo>
                      <a:pt x="486" y="287"/>
                    </a:lnTo>
                    <a:lnTo>
                      <a:pt x="487" y="288"/>
                    </a:lnTo>
                    <a:lnTo>
                      <a:pt x="483" y="284"/>
                    </a:lnTo>
                    <a:lnTo>
                      <a:pt x="483" y="284"/>
                    </a:lnTo>
                    <a:lnTo>
                      <a:pt x="483" y="284"/>
                    </a:lnTo>
                    <a:lnTo>
                      <a:pt x="483" y="284"/>
                    </a:lnTo>
                    <a:lnTo>
                      <a:pt x="480" y="284"/>
                    </a:lnTo>
                    <a:lnTo>
                      <a:pt x="480" y="284"/>
                    </a:lnTo>
                    <a:lnTo>
                      <a:pt x="476" y="283"/>
                    </a:lnTo>
                    <a:lnTo>
                      <a:pt x="474" y="281"/>
                    </a:lnTo>
                    <a:lnTo>
                      <a:pt x="471" y="281"/>
                    </a:lnTo>
                    <a:lnTo>
                      <a:pt x="471" y="281"/>
                    </a:lnTo>
                    <a:lnTo>
                      <a:pt x="470" y="281"/>
                    </a:lnTo>
                    <a:lnTo>
                      <a:pt x="470" y="281"/>
                    </a:lnTo>
                    <a:lnTo>
                      <a:pt x="464" y="280"/>
                    </a:lnTo>
                    <a:lnTo>
                      <a:pt x="460" y="277"/>
                    </a:lnTo>
                    <a:lnTo>
                      <a:pt x="460" y="277"/>
                    </a:lnTo>
                    <a:lnTo>
                      <a:pt x="460" y="277"/>
                    </a:lnTo>
                    <a:lnTo>
                      <a:pt x="460" y="277"/>
                    </a:lnTo>
                    <a:lnTo>
                      <a:pt x="460" y="277"/>
                    </a:lnTo>
                    <a:lnTo>
                      <a:pt x="448" y="289"/>
                    </a:lnTo>
                    <a:lnTo>
                      <a:pt x="448" y="289"/>
                    </a:lnTo>
                    <a:lnTo>
                      <a:pt x="443" y="294"/>
                    </a:lnTo>
                    <a:lnTo>
                      <a:pt x="442" y="297"/>
                    </a:lnTo>
                    <a:lnTo>
                      <a:pt x="442" y="297"/>
                    </a:lnTo>
                    <a:lnTo>
                      <a:pt x="439" y="300"/>
                    </a:lnTo>
                    <a:lnTo>
                      <a:pt x="439" y="300"/>
                    </a:lnTo>
                    <a:lnTo>
                      <a:pt x="434" y="302"/>
                    </a:lnTo>
                    <a:lnTo>
                      <a:pt x="431" y="302"/>
                    </a:lnTo>
                    <a:lnTo>
                      <a:pt x="427" y="302"/>
                    </a:lnTo>
                    <a:lnTo>
                      <a:pt x="427" y="302"/>
                    </a:lnTo>
                    <a:lnTo>
                      <a:pt x="426" y="304"/>
                    </a:lnTo>
                    <a:lnTo>
                      <a:pt x="423" y="304"/>
                    </a:lnTo>
                    <a:lnTo>
                      <a:pt x="422" y="304"/>
                    </a:lnTo>
                    <a:lnTo>
                      <a:pt x="421" y="304"/>
                    </a:lnTo>
                    <a:lnTo>
                      <a:pt x="418" y="304"/>
                    </a:lnTo>
                    <a:lnTo>
                      <a:pt x="418" y="304"/>
                    </a:lnTo>
                    <a:lnTo>
                      <a:pt x="417" y="304"/>
                    </a:lnTo>
                    <a:lnTo>
                      <a:pt x="417" y="304"/>
                    </a:lnTo>
                    <a:lnTo>
                      <a:pt x="414" y="305"/>
                    </a:lnTo>
                    <a:lnTo>
                      <a:pt x="411" y="309"/>
                    </a:lnTo>
                    <a:lnTo>
                      <a:pt x="411" y="309"/>
                    </a:lnTo>
                    <a:lnTo>
                      <a:pt x="409" y="312"/>
                    </a:lnTo>
                    <a:lnTo>
                      <a:pt x="409" y="317"/>
                    </a:lnTo>
                    <a:lnTo>
                      <a:pt x="404" y="324"/>
                    </a:lnTo>
                    <a:lnTo>
                      <a:pt x="404" y="324"/>
                    </a:lnTo>
                    <a:lnTo>
                      <a:pt x="401" y="324"/>
                    </a:lnTo>
                    <a:lnTo>
                      <a:pt x="401" y="324"/>
                    </a:lnTo>
                    <a:lnTo>
                      <a:pt x="397" y="322"/>
                    </a:lnTo>
                    <a:lnTo>
                      <a:pt x="396" y="321"/>
                    </a:lnTo>
                    <a:lnTo>
                      <a:pt x="394" y="321"/>
                    </a:lnTo>
                    <a:lnTo>
                      <a:pt x="390" y="320"/>
                    </a:lnTo>
                    <a:lnTo>
                      <a:pt x="390" y="320"/>
                    </a:lnTo>
                    <a:lnTo>
                      <a:pt x="392" y="320"/>
                    </a:lnTo>
                    <a:lnTo>
                      <a:pt x="392" y="320"/>
                    </a:lnTo>
                    <a:lnTo>
                      <a:pt x="390" y="320"/>
                    </a:lnTo>
                    <a:lnTo>
                      <a:pt x="390" y="320"/>
                    </a:lnTo>
                    <a:lnTo>
                      <a:pt x="389" y="320"/>
                    </a:lnTo>
                    <a:lnTo>
                      <a:pt x="389" y="321"/>
                    </a:lnTo>
                    <a:lnTo>
                      <a:pt x="389" y="321"/>
                    </a:lnTo>
                    <a:lnTo>
                      <a:pt x="385" y="322"/>
                    </a:lnTo>
                    <a:lnTo>
                      <a:pt x="380" y="324"/>
                    </a:lnTo>
                    <a:lnTo>
                      <a:pt x="380" y="324"/>
                    </a:lnTo>
                    <a:lnTo>
                      <a:pt x="373" y="318"/>
                    </a:lnTo>
                    <a:lnTo>
                      <a:pt x="373" y="318"/>
                    </a:lnTo>
                    <a:lnTo>
                      <a:pt x="373" y="317"/>
                    </a:lnTo>
                    <a:lnTo>
                      <a:pt x="373" y="317"/>
                    </a:lnTo>
                    <a:lnTo>
                      <a:pt x="368" y="318"/>
                    </a:lnTo>
                    <a:lnTo>
                      <a:pt x="368" y="318"/>
                    </a:lnTo>
                    <a:lnTo>
                      <a:pt x="360" y="320"/>
                    </a:lnTo>
                    <a:lnTo>
                      <a:pt x="360" y="320"/>
                    </a:lnTo>
                    <a:lnTo>
                      <a:pt x="361" y="322"/>
                    </a:lnTo>
                    <a:lnTo>
                      <a:pt x="363" y="325"/>
                    </a:lnTo>
                    <a:lnTo>
                      <a:pt x="363" y="325"/>
                    </a:lnTo>
                    <a:lnTo>
                      <a:pt x="363" y="325"/>
                    </a:lnTo>
                    <a:lnTo>
                      <a:pt x="364" y="328"/>
                    </a:lnTo>
                    <a:lnTo>
                      <a:pt x="365" y="333"/>
                    </a:lnTo>
                    <a:lnTo>
                      <a:pt x="365" y="333"/>
                    </a:lnTo>
                    <a:lnTo>
                      <a:pt x="364" y="338"/>
                    </a:lnTo>
                    <a:lnTo>
                      <a:pt x="363" y="342"/>
                    </a:lnTo>
                    <a:lnTo>
                      <a:pt x="359" y="349"/>
                    </a:lnTo>
                    <a:lnTo>
                      <a:pt x="359" y="349"/>
                    </a:lnTo>
                    <a:lnTo>
                      <a:pt x="356" y="353"/>
                    </a:lnTo>
                    <a:lnTo>
                      <a:pt x="351" y="357"/>
                    </a:lnTo>
                    <a:lnTo>
                      <a:pt x="348" y="357"/>
                    </a:lnTo>
                    <a:lnTo>
                      <a:pt x="345" y="355"/>
                    </a:lnTo>
                    <a:lnTo>
                      <a:pt x="345" y="355"/>
                    </a:lnTo>
                    <a:lnTo>
                      <a:pt x="343" y="354"/>
                    </a:lnTo>
                    <a:lnTo>
                      <a:pt x="341" y="351"/>
                    </a:lnTo>
                    <a:lnTo>
                      <a:pt x="339" y="347"/>
                    </a:lnTo>
                    <a:lnTo>
                      <a:pt x="339" y="347"/>
                    </a:lnTo>
                    <a:lnTo>
                      <a:pt x="339" y="346"/>
                    </a:lnTo>
                    <a:lnTo>
                      <a:pt x="337" y="343"/>
                    </a:lnTo>
                    <a:lnTo>
                      <a:pt x="337" y="343"/>
                    </a:lnTo>
                    <a:lnTo>
                      <a:pt x="340" y="345"/>
                    </a:lnTo>
                    <a:lnTo>
                      <a:pt x="336" y="341"/>
                    </a:lnTo>
                    <a:lnTo>
                      <a:pt x="336" y="341"/>
                    </a:lnTo>
                    <a:lnTo>
                      <a:pt x="336" y="341"/>
                    </a:lnTo>
                    <a:lnTo>
                      <a:pt x="336" y="341"/>
                    </a:lnTo>
                    <a:lnTo>
                      <a:pt x="335" y="339"/>
                    </a:lnTo>
                    <a:lnTo>
                      <a:pt x="335" y="337"/>
                    </a:lnTo>
                    <a:lnTo>
                      <a:pt x="335" y="337"/>
                    </a:lnTo>
                    <a:lnTo>
                      <a:pt x="331" y="335"/>
                    </a:lnTo>
                    <a:lnTo>
                      <a:pt x="323" y="334"/>
                    </a:lnTo>
                    <a:lnTo>
                      <a:pt x="323" y="334"/>
                    </a:lnTo>
                    <a:lnTo>
                      <a:pt x="312" y="335"/>
                    </a:lnTo>
                    <a:lnTo>
                      <a:pt x="311" y="335"/>
                    </a:lnTo>
                    <a:lnTo>
                      <a:pt x="311" y="337"/>
                    </a:lnTo>
                    <a:lnTo>
                      <a:pt x="311" y="337"/>
                    </a:lnTo>
                    <a:lnTo>
                      <a:pt x="308" y="341"/>
                    </a:lnTo>
                    <a:lnTo>
                      <a:pt x="307" y="342"/>
                    </a:lnTo>
                    <a:lnTo>
                      <a:pt x="303" y="342"/>
                    </a:lnTo>
                    <a:lnTo>
                      <a:pt x="302" y="342"/>
                    </a:lnTo>
                    <a:lnTo>
                      <a:pt x="302" y="342"/>
                    </a:lnTo>
                    <a:lnTo>
                      <a:pt x="303" y="341"/>
                    </a:lnTo>
                    <a:lnTo>
                      <a:pt x="304" y="338"/>
                    </a:lnTo>
                    <a:lnTo>
                      <a:pt x="299" y="343"/>
                    </a:lnTo>
                    <a:lnTo>
                      <a:pt x="299" y="343"/>
                    </a:lnTo>
                    <a:lnTo>
                      <a:pt x="299" y="343"/>
                    </a:lnTo>
                    <a:lnTo>
                      <a:pt x="298" y="343"/>
                    </a:lnTo>
                    <a:lnTo>
                      <a:pt x="298" y="343"/>
                    </a:lnTo>
                    <a:lnTo>
                      <a:pt x="298" y="343"/>
                    </a:lnTo>
                    <a:lnTo>
                      <a:pt x="298" y="343"/>
                    </a:lnTo>
                    <a:lnTo>
                      <a:pt x="292" y="345"/>
                    </a:lnTo>
                    <a:lnTo>
                      <a:pt x="292" y="345"/>
                    </a:lnTo>
                    <a:lnTo>
                      <a:pt x="288" y="343"/>
                    </a:lnTo>
                    <a:lnTo>
                      <a:pt x="286" y="342"/>
                    </a:lnTo>
                    <a:lnTo>
                      <a:pt x="286" y="342"/>
                    </a:lnTo>
                    <a:lnTo>
                      <a:pt x="285" y="341"/>
                    </a:lnTo>
                    <a:lnTo>
                      <a:pt x="278" y="341"/>
                    </a:lnTo>
                    <a:lnTo>
                      <a:pt x="275" y="338"/>
                    </a:lnTo>
                    <a:lnTo>
                      <a:pt x="275" y="338"/>
                    </a:lnTo>
                    <a:lnTo>
                      <a:pt x="277" y="337"/>
                    </a:lnTo>
                    <a:lnTo>
                      <a:pt x="277" y="334"/>
                    </a:lnTo>
                    <a:lnTo>
                      <a:pt x="274" y="337"/>
                    </a:lnTo>
                    <a:lnTo>
                      <a:pt x="271" y="334"/>
                    </a:lnTo>
                    <a:lnTo>
                      <a:pt x="271" y="334"/>
                    </a:lnTo>
                    <a:lnTo>
                      <a:pt x="273" y="337"/>
                    </a:lnTo>
                    <a:lnTo>
                      <a:pt x="273" y="338"/>
                    </a:lnTo>
                    <a:lnTo>
                      <a:pt x="271" y="339"/>
                    </a:lnTo>
                    <a:lnTo>
                      <a:pt x="273" y="339"/>
                    </a:lnTo>
                    <a:lnTo>
                      <a:pt x="273" y="339"/>
                    </a:lnTo>
                    <a:lnTo>
                      <a:pt x="271" y="341"/>
                    </a:lnTo>
                    <a:lnTo>
                      <a:pt x="270" y="346"/>
                    </a:lnTo>
                    <a:lnTo>
                      <a:pt x="263" y="351"/>
                    </a:lnTo>
                    <a:lnTo>
                      <a:pt x="263" y="351"/>
                    </a:lnTo>
                    <a:lnTo>
                      <a:pt x="261" y="351"/>
                    </a:lnTo>
                    <a:lnTo>
                      <a:pt x="261" y="351"/>
                    </a:lnTo>
                    <a:lnTo>
                      <a:pt x="254" y="350"/>
                    </a:lnTo>
                    <a:lnTo>
                      <a:pt x="254" y="350"/>
                    </a:lnTo>
                    <a:lnTo>
                      <a:pt x="253" y="353"/>
                    </a:lnTo>
                    <a:lnTo>
                      <a:pt x="253" y="353"/>
                    </a:lnTo>
                    <a:lnTo>
                      <a:pt x="249" y="355"/>
                    </a:lnTo>
                    <a:lnTo>
                      <a:pt x="242" y="359"/>
                    </a:lnTo>
                    <a:lnTo>
                      <a:pt x="241" y="359"/>
                    </a:lnTo>
                    <a:lnTo>
                      <a:pt x="241" y="359"/>
                    </a:lnTo>
                    <a:lnTo>
                      <a:pt x="241" y="359"/>
                    </a:lnTo>
                    <a:lnTo>
                      <a:pt x="234" y="365"/>
                    </a:lnTo>
                    <a:lnTo>
                      <a:pt x="229" y="365"/>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8" name="Freeform 7">
                <a:extLst>
                  <a:ext uri="{FF2B5EF4-FFF2-40B4-BE49-F238E27FC236}">
                    <a16:creationId xmlns:a16="http://schemas.microsoft.com/office/drawing/2014/main" xmlns="" id="{FE5FE7E6-92D8-4302-A58D-F5CE66E0EA3D}"/>
                  </a:ext>
                </a:extLst>
              </p:cNvPr>
              <p:cNvSpPr>
                <a:spLocks/>
              </p:cNvSpPr>
              <p:nvPr/>
            </p:nvSpPr>
            <p:spPr bwMode="auto">
              <a:xfrm>
                <a:off x="6078030" y="721216"/>
                <a:ext cx="973261" cy="1058573"/>
              </a:xfrm>
              <a:custGeom>
                <a:avLst/>
                <a:gdLst>
                  <a:gd name="T0" fmla="*/ 292 w 559"/>
                  <a:gd name="T1" fmla="*/ 584 h 608"/>
                  <a:gd name="T2" fmla="*/ 276 w 559"/>
                  <a:gd name="T3" fmla="*/ 529 h 608"/>
                  <a:gd name="T4" fmla="*/ 230 w 559"/>
                  <a:gd name="T5" fmla="*/ 537 h 608"/>
                  <a:gd name="T6" fmla="*/ 222 w 559"/>
                  <a:gd name="T7" fmla="*/ 505 h 608"/>
                  <a:gd name="T8" fmla="*/ 255 w 559"/>
                  <a:gd name="T9" fmla="*/ 497 h 608"/>
                  <a:gd name="T10" fmla="*/ 265 w 559"/>
                  <a:gd name="T11" fmla="*/ 475 h 608"/>
                  <a:gd name="T12" fmla="*/ 267 w 559"/>
                  <a:gd name="T13" fmla="*/ 460 h 608"/>
                  <a:gd name="T14" fmla="*/ 247 w 559"/>
                  <a:gd name="T15" fmla="*/ 434 h 608"/>
                  <a:gd name="T16" fmla="*/ 231 w 559"/>
                  <a:gd name="T17" fmla="*/ 412 h 608"/>
                  <a:gd name="T18" fmla="*/ 198 w 559"/>
                  <a:gd name="T19" fmla="*/ 385 h 608"/>
                  <a:gd name="T20" fmla="*/ 183 w 559"/>
                  <a:gd name="T21" fmla="*/ 352 h 608"/>
                  <a:gd name="T22" fmla="*/ 203 w 559"/>
                  <a:gd name="T23" fmla="*/ 317 h 608"/>
                  <a:gd name="T24" fmla="*/ 164 w 559"/>
                  <a:gd name="T25" fmla="*/ 259 h 608"/>
                  <a:gd name="T26" fmla="*/ 141 w 559"/>
                  <a:gd name="T27" fmla="*/ 254 h 608"/>
                  <a:gd name="T28" fmla="*/ 96 w 559"/>
                  <a:gd name="T29" fmla="*/ 245 h 608"/>
                  <a:gd name="T30" fmla="*/ 76 w 559"/>
                  <a:gd name="T31" fmla="*/ 247 h 608"/>
                  <a:gd name="T32" fmla="*/ 58 w 559"/>
                  <a:gd name="T33" fmla="*/ 227 h 608"/>
                  <a:gd name="T34" fmla="*/ 57 w 559"/>
                  <a:gd name="T35" fmla="*/ 198 h 608"/>
                  <a:gd name="T36" fmla="*/ 38 w 559"/>
                  <a:gd name="T37" fmla="*/ 178 h 608"/>
                  <a:gd name="T38" fmla="*/ 31 w 559"/>
                  <a:gd name="T39" fmla="*/ 161 h 608"/>
                  <a:gd name="T40" fmla="*/ 13 w 559"/>
                  <a:gd name="T41" fmla="*/ 132 h 608"/>
                  <a:gd name="T42" fmla="*/ 13 w 559"/>
                  <a:gd name="T43" fmla="*/ 77 h 608"/>
                  <a:gd name="T44" fmla="*/ 46 w 559"/>
                  <a:gd name="T45" fmla="*/ 40 h 608"/>
                  <a:gd name="T46" fmla="*/ 87 w 559"/>
                  <a:gd name="T47" fmla="*/ 36 h 608"/>
                  <a:gd name="T48" fmla="*/ 109 w 559"/>
                  <a:gd name="T49" fmla="*/ 34 h 608"/>
                  <a:gd name="T50" fmla="*/ 135 w 559"/>
                  <a:gd name="T51" fmla="*/ 32 h 608"/>
                  <a:gd name="T52" fmla="*/ 170 w 559"/>
                  <a:gd name="T53" fmla="*/ 15 h 608"/>
                  <a:gd name="T54" fmla="*/ 187 w 559"/>
                  <a:gd name="T55" fmla="*/ 11 h 608"/>
                  <a:gd name="T56" fmla="*/ 220 w 559"/>
                  <a:gd name="T57" fmla="*/ 26 h 608"/>
                  <a:gd name="T58" fmla="*/ 263 w 559"/>
                  <a:gd name="T59" fmla="*/ 28 h 608"/>
                  <a:gd name="T60" fmla="*/ 285 w 559"/>
                  <a:gd name="T61" fmla="*/ 58 h 608"/>
                  <a:gd name="T62" fmla="*/ 291 w 559"/>
                  <a:gd name="T63" fmla="*/ 99 h 608"/>
                  <a:gd name="T64" fmla="*/ 273 w 559"/>
                  <a:gd name="T65" fmla="*/ 131 h 608"/>
                  <a:gd name="T66" fmla="*/ 292 w 559"/>
                  <a:gd name="T67" fmla="*/ 143 h 608"/>
                  <a:gd name="T68" fmla="*/ 304 w 559"/>
                  <a:gd name="T69" fmla="*/ 181 h 608"/>
                  <a:gd name="T70" fmla="*/ 295 w 559"/>
                  <a:gd name="T71" fmla="*/ 200 h 608"/>
                  <a:gd name="T72" fmla="*/ 322 w 559"/>
                  <a:gd name="T73" fmla="*/ 223 h 608"/>
                  <a:gd name="T74" fmla="*/ 337 w 559"/>
                  <a:gd name="T75" fmla="*/ 234 h 608"/>
                  <a:gd name="T76" fmla="*/ 378 w 559"/>
                  <a:gd name="T77" fmla="*/ 242 h 608"/>
                  <a:gd name="T78" fmla="*/ 380 w 559"/>
                  <a:gd name="T79" fmla="*/ 274 h 608"/>
                  <a:gd name="T80" fmla="*/ 402 w 559"/>
                  <a:gd name="T81" fmla="*/ 275 h 608"/>
                  <a:gd name="T82" fmla="*/ 453 w 559"/>
                  <a:gd name="T83" fmla="*/ 274 h 608"/>
                  <a:gd name="T84" fmla="*/ 469 w 559"/>
                  <a:gd name="T85" fmla="*/ 268 h 608"/>
                  <a:gd name="T86" fmla="*/ 478 w 559"/>
                  <a:gd name="T87" fmla="*/ 258 h 608"/>
                  <a:gd name="T88" fmla="*/ 484 w 559"/>
                  <a:gd name="T89" fmla="*/ 287 h 608"/>
                  <a:gd name="T90" fmla="*/ 488 w 559"/>
                  <a:gd name="T91" fmla="*/ 312 h 608"/>
                  <a:gd name="T92" fmla="*/ 456 w 559"/>
                  <a:gd name="T93" fmla="*/ 349 h 608"/>
                  <a:gd name="T94" fmla="*/ 451 w 559"/>
                  <a:gd name="T95" fmla="*/ 389 h 608"/>
                  <a:gd name="T96" fmla="*/ 436 w 559"/>
                  <a:gd name="T97" fmla="*/ 420 h 608"/>
                  <a:gd name="T98" fmla="*/ 447 w 559"/>
                  <a:gd name="T99" fmla="*/ 428 h 608"/>
                  <a:gd name="T100" fmla="*/ 478 w 559"/>
                  <a:gd name="T101" fmla="*/ 432 h 608"/>
                  <a:gd name="T102" fmla="*/ 530 w 559"/>
                  <a:gd name="T103" fmla="*/ 476 h 608"/>
                  <a:gd name="T104" fmla="*/ 544 w 559"/>
                  <a:gd name="T105" fmla="*/ 500 h 608"/>
                  <a:gd name="T106" fmla="*/ 542 w 559"/>
                  <a:gd name="T107" fmla="*/ 534 h 608"/>
                  <a:gd name="T108" fmla="*/ 517 w 559"/>
                  <a:gd name="T109" fmla="*/ 525 h 608"/>
                  <a:gd name="T110" fmla="*/ 494 w 559"/>
                  <a:gd name="T111" fmla="*/ 512 h 608"/>
                  <a:gd name="T112" fmla="*/ 469 w 559"/>
                  <a:gd name="T113" fmla="*/ 496 h 608"/>
                  <a:gd name="T114" fmla="*/ 419 w 559"/>
                  <a:gd name="T115" fmla="*/ 510 h 608"/>
                  <a:gd name="T116" fmla="*/ 404 w 559"/>
                  <a:gd name="T117" fmla="*/ 538 h 608"/>
                  <a:gd name="T118" fmla="*/ 386 w 559"/>
                  <a:gd name="T119" fmla="*/ 568 h 608"/>
                  <a:gd name="T120" fmla="*/ 357 w 559"/>
                  <a:gd name="T121" fmla="*/ 574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9" h="608">
                    <a:moveTo>
                      <a:pt x="325" y="608"/>
                    </a:moveTo>
                    <a:lnTo>
                      <a:pt x="325" y="608"/>
                    </a:lnTo>
                    <a:lnTo>
                      <a:pt x="321" y="607"/>
                    </a:lnTo>
                    <a:lnTo>
                      <a:pt x="321" y="607"/>
                    </a:lnTo>
                    <a:lnTo>
                      <a:pt x="324" y="607"/>
                    </a:lnTo>
                    <a:lnTo>
                      <a:pt x="318" y="603"/>
                    </a:lnTo>
                    <a:lnTo>
                      <a:pt x="318" y="603"/>
                    </a:lnTo>
                    <a:lnTo>
                      <a:pt x="318" y="603"/>
                    </a:lnTo>
                    <a:lnTo>
                      <a:pt x="316" y="603"/>
                    </a:lnTo>
                    <a:lnTo>
                      <a:pt x="316" y="603"/>
                    </a:lnTo>
                    <a:lnTo>
                      <a:pt x="313" y="602"/>
                    </a:lnTo>
                    <a:lnTo>
                      <a:pt x="310" y="600"/>
                    </a:lnTo>
                    <a:lnTo>
                      <a:pt x="306" y="595"/>
                    </a:lnTo>
                    <a:lnTo>
                      <a:pt x="306" y="595"/>
                    </a:lnTo>
                    <a:lnTo>
                      <a:pt x="302" y="596"/>
                    </a:lnTo>
                    <a:lnTo>
                      <a:pt x="302" y="596"/>
                    </a:lnTo>
                    <a:lnTo>
                      <a:pt x="300" y="596"/>
                    </a:lnTo>
                    <a:lnTo>
                      <a:pt x="295" y="591"/>
                    </a:lnTo>
                    <a:lnTo>
                      <a:pt x="295" y="591"/>
                    </a:lnTo>
                    <a:lnTo>
                      <a:pt x="293" y="587"/>
                    </a:lnTo>
                    <a:lnTo>
                      <a:pt x="292" y="584"/>
                    </a:lnTo>
                    <a:lnTo>
                      <a:pt x="292" y="584"/>
                    </a:lnTo>
                    <a:lnTo>
                      <a:pt x="289" y="579"/>
                    </a:lnTo>
                    <a:lnTo>
                      <a:pt x="289" y="579"/>
                    </a:lnTo>
                    <a:lnTo>
                      <a:pt x="287" y="571"/>
                    </a:lnTo>
                    <a:lnTo>
                      <a:pt x="285" y="563"/>
                    </a:lnTo>
                    <a:lnTo>
                      <a:pt x="284" y="562"/>
                    </a:lnTo>
                    <a:lnTo>
                      <a:pt x="284" y="562"/>
                    </a:lnTo>
                    <a:lnTo>
                      <a:pt x="284" y="558"/>
                    </a:lnTo>
                    <a:lnTo>
                      <a:pt x="283" y="557"/>
                    </a:lnTo>
                    <a:lnTo>
                      <a:pt x="283" y="557"/>
                    </a:lnTo>
                    <a:lnTo>
                      <a:pt x="280" y="553"/>
                    </a:lnTo>
                    <a:lnTo>
                      <a:pt x="280" y="553"/>
                    </a:lnTo>
                    <a:lnTo>
                      <a:pt x="280" y="553"/>
                    </a:lnTo>
                    <a:lnTo>
                      <a:pt x="280" y="553"/>
                    </a:lnTo>
                    <a:lnTo>
                      <a:pt x="283" y="554"/>
                    </a:lnTo>
                    <a:lnTo>
                      <a:pt x="277" y="549"/>
                    </a:lnTo>
                    <a:lnTo>
                      <a:pt x="277" y="549"/>
                    </a:lnTo>
                    <a:lnTo>
                      <a:pt x="276" y="542"/>
                    </a:lnTo>
                    <a:lnTo>
                      <a:pt x="276" y="542"/>
                    </a:lnTo>
                    <a:lnTo>
                      <a:pt x="273" y="535"/>
                    </a:lnTo>
                    <a:lnTo>
                      <a:pt x="279" y="527"/>
                    </a:lnTo>
                    <a:lnTo>
                      <a:pt x="279" y="527"/>
                    </a:lnTo>
                    <a:lnTo>
                      <a:pt x="276" y="529"/>
                    </a:lnTo>
                    <a:lnTo>
                      <a:pt x="276" y="529"/>
                    </a:lnTo>
                    <a:lnTo>
                      <a:pt x="276" y="530"/>
                    </a:lnTo>
                    <a:lnTo>
                      <a:pt x="276" y="530"/>
                    </a:lnTo>
                    <a:lnTo>
                      <a:pt x="276" y="529"/>
                    </a:lnTo>
                    <a:lnTo>
                      <a:pt x="276" y="529"/>
                    </a:lnTo>
                    <a:lnTo>
                      <a:pt x="275" y="531"/>
                    </a:lnTo>
                    <a:lnTo>
                      <a:pt x="275" y="531"/>
                    </a:lnTo>
                    <a:lnTo>
                      <a:pt x="275" y="530"/>
                    </a:lnTo>
                    <a:lnTo>
                      <a:pt x="276" y="529"/>
                    </a:lnTo>
                    <a:lnTo>
                      <a:pt x="276" y="529"/>
                    </a:lnTo>
                    <a:lnTo>
                      <a:pt x="276" y="529"/>
                    </a:lnTo>
                    <a:lnTo>
                      <a:pt x="276" y="529"/>
                    </a:lnTo>
                    <a:lnTo>
                      <a:pt x="276" y="527"/>
                    </a:lnTo>
                    <a:lnTo>
                      <a:pt x="276" y="527"/>
                    </a:lnTo>
                    <a:lnTo>
                      <a:pt x="267" y="529"/>
                    </a:lnTo>
                    <a:lnTo>
                      <a:pt x="259" y="531"/>
                    </a:lnTo>
                    <a:lnTo>
                      <a:pt x="256" y="533"/>
                    </a:lnTo>
                    <a:lnTo>
                      <a:pt x="255" y="534"/>
                    </a:lnTo>
                    <a:lnTo>
                      <a:pt x="255" y="534"/>
                    </a:lnTo>
                    <a:lnTo>
                      <a:pt x="250" y="535"/>
                    </a:lnTo>
                    <a:lnTo>
                      <a:pt x="243" y="537"/>
                    </a:lnTo>
                    <a:lnTo>
                      <a:pt x="230" y="537"/>
                    </a:lnTo>
                    <a:lnTo>
                      <a:pt x="223" y="530"/>
                    </a:lnTo>
                    <a:lnTo>
                      <a:pt x="223" y="524"/>
                    </a:lnTo>
                    <a:lnTo>
                      <a:pt x="230" y="518"/>
                    </a:lnTo>
                    <a:lnTo>
                      <a:pt x="230" y="518"/>
                    </a:lnTo>
                    <a:lnTo>
                      <a:pt x="226" y="520"/>
                    </a:lnTo>
                    <a:lnTo>
                      <a:pt x="224" y="522"/>
                    </a:lnTo>
                    <a:lnTo>
                      <a:pt x="224" y="522"/>
                    </a:lnTo>
                    <a:lnTo>
                      <a:pt x="226" y="520"/>
                    </a:lnTo>
                    <a:lnTo>
                      <a:pt x="226" y="518"/>
                    </a:lnTo>
                    <a:lnTo>
                      <a:pt x="226" y="518"/>
                    </a:lnTo>
                    <a:lnTo>
                      <a:pt x="226" y="518"/>
                    </a:lnTo>
                    <a:lnTo>
                      <a:pt x="226" y="518"/>
                    </a:lnTo>
                    <a:lnTo>
                      <a:pt x="226" y="516"/>
                    </a:lnTo>
                    <a:lnTo>
                      <a:pt x="226" y="516"/>
                    </a:lnTo>
                    <a:lnTo>
                      <a:pt x="223" y="513"/>
                    </a:lnTo>
                    <a:lnTo>
                      <a:pt x="222" y="510"/>
                    </a:lnTo>
                    <a:lnTo>
                      <a:pt x="222" y="508"/>
                    </a:lnTo>
                    <a:lnTo>
                      <a:pt x="222" y="508"/>
                    </a:lnTo>
                    <a:lnTo>
                      <a:pt x="222" y="505"/>
                    </a:lnTo>
                    <a:lnTo>
                      <a:pt x="222" y="505"/>
                    </a:lnTo>
                    <a:lnTo>
                      <a:pt x="222" y="505"/>
                    </a:lnTo>
                    <a:lnTo>
                      <a:pt x="222" y="505"/>
                    </a:lnTo>
                    <a:lnTo>
                      <a:pt x="222" y="506"/>
                    </a:lnTo>
                    <a:lnTo>
                      <a:pt x="226" y="508"/>
                    </a:lnTo>
                    <a:lnTo>
                      <a:pt x="220" y="502"/>
                    </a:lnTo>
                    <a:lnTo>
                      <a:pt x="220" y="500"/>
                    </a:lnTo>
                    <a:lnTo>
                      <a:pt x="220" y="497"/>
                    </a:lnTo>
                    <a:lnTo>
                      <a:pt x="220" y="497"/>
                    </a:lnTo>
                    <a:lnTo>
                      <a:pt x="224" y="492"/>
                    </a:lnTo>
                    <a:lnTo>
                      <a:pt x="227" y="490"/>
                    </a:lnTo>
                    <a:lnTo>
                      <a:pt x="231" y="489"/>
                    </a:lnTo>
                    <a:lnTo>
                      <a:pt x="231" y="489"/>
                    </a:lnTo>
                    <a:lnTo>
                      <a:pt x="235" y="489"/>
                    </a:lnTo>
                    <a:lnTo>
                      <a:pt x="238" y="490"/>
                    </a:lnTo>
                    <a:lnTo>
                      <a:pt x="238" y="490"/>
                    </a:lnTo>
                    <a:lnTo>
                      <a:pt x="242" y="492"/>
                    </a:lnTo>
                    <a:lnTo>
                      <a:pt x="242" y="492"/>
                    </a:lnTo>
                    <a:lnTo>
                      <a:pt x="243" y="492"/>
                    </a:lnTo>
                    <a:lnTo>
                      <a:pt x="244" y="492"/>
                    </a:lnTo>
                    <a:lnTo>
                      <a:pt x="248" y="492"/>
                    </a:lnTo>
                    <a:lnTo>
                      <a:pt x="252" y="493"/>
                    </a:lnTo>
                    <a:lnTo>
                      <a:pt x="252" y="493"/>
                    </a:lnTo>
                    <a:lnTo>
                      <a:pt x="255" y="496"/>
                    </a:lnTo>
                    <a:lnTo>
                      <a:pt x="255" y="497"/>
                    </a:lnTo>
                    <a:lnTo>
                      <a:pt x="255" y="497"/>
                    </a:lnTo>
                    <a:lnTo>
                      <a:pt x="255" y="496"/>
                    </a:lnTo>
                    <a:lnTo>
                      <a:pt x="252" y="496"/>
                    </a:lnTo>
                    <a:lnTo>
                      <a:pt x="258" y="501"/>
                    </a:lnTo>
                    <a:lnTo>
                      <a:pt x="258" y="502"/>
                    </a:lnTo>
                    <a:lnTo>
                      <a:pt x="258" y="502"/>
                    </a:lnTo>
                    <a:lnTo>
                      <a:pt x="258" y="502"/>
                    </a:lnTo>
                    <a:lnTo>
                      <a:pt x="258" y="502"/>
                    </a:lnTo>
                    <a:lnTo>
                      <a:pt x="259" y="502"/>
                    </a:lnTo>
                    <a:lnTo>
                      <a:pt x="259" y="497"/>
                    </a:lnTo>
                    <a:lnTo>
                      <a:pt x="263" y="492"/>
                    </a:lnTo>
                    <a:lnTo>
                      <a:pt x="263" y="492"/>
                    </a:lnTo>
                    <a:lnTo>
                      <a:pt x="263" y="492"/>
                    </a:lnTo>
                    <a:lnTo>
                      <a:pt x="260" y="494"/>
                    </a:lnTo>
                    <a:lnTo>
                      <a:pt x="260" y="494"/>
                    </a:lnTo>
                    <a:lnTo>
                      <a:pt x="260" y="494"/>
                    </a:lnTo>
                    <a:lnTo>
                      <a:pt x="260" y="494"/>
                    </a:lnTo>
                    <a:lnTo>
                      <a:pt x="260" y="492"/>
                    </a:lnTo>
                    <a:lnTo>
                      <a:pt x="260" y="481"/>
                    </a:lnTo>
                    <a:lnTo>
                      <a:pt x="264" y="476"/>
                    </a:lnTo>
                    <a:lnTo>
                      <a:pt x="265" y="475"/>
                    </a:lnTo>
                    <a:lnTo>
                      <a:pt x="265" y="475"/>
                    </a:lnTo>
                    <a:lnTo>
                      <a:pt x="267" y="473"/>
                    </a:lnTo>
                    <a:lnTo>
                      <a:pt x="272" y="471"/>
                    </a:lnTo>
                    <a:lnTo>
                      <a:pt x="272" y="471"/>
                    </a:lnTo>
                    <a:lnTo>
                      <a:pt x="272" y="471"/>
                    </a:lnTo>
                    <a:lnTo>
                      <a:pt x="272" y="471"/>
                    </a:lnTo>
                    <a:lnTo>
                      <a:pt x="271" y="471"/>
                    </a:lnTo>
                    <a:lnTo>
                      <a:pt x="271" y="471"/>
                    </a:lnTo>
                    <a:lnTo>
                      <a:pt x="272" y="469"/>
                    </a:lnTo>
                    <a:lnTo>
                      <a:pt x="272" y="469"/>
                    </a:lnTo>
                    <a:lnTo>
                      <a:pt x="272" y="468"/>
                    </a:lnTo>
                    <a:lnTo>
                      <a:pt x="272" y="468"/>
                    </a:lnTo>
                    <a:lnTo>
                      <a:pt x="272" y="465"/>
                    </a:lnTo>
                    <a:lnTo>
                      <a:pt x="272" y="465"/>
                    </a:lnTo>
                    <a:lnTo>
                      <a:pt x="272" y="467"/>
                    </a:lnTo>
                    <a:lnTo>
                      <a:pt x="273" y="468"/>
                    </a:lnTo>
                    <a:lnTo>
                      <a:pt x="273" y="468"/>
                    </a:lnTo>
                    <a:lnTo>
                      <a:pt x="275" y="468"/>
                    </a:lnTo>
                    <a:lnTo>
                      <a:pt x="273" y="467"/>
                    </a:lnTo>
                    <a:lnTo>
                      <a:pt x="273" y="467"/>
                    </a:lnTo>
                    <a:lnTo>
                      <a:pt x="273" y="467"/>
                    </a:lnTo>
                    <a:lnTo>
                      <a:pt x="267" y="460"/>
                    </a:lnTo>
                    <a:lnTo>
                      <a:pt x="267" y="460"/>
                    </a:lnTo>
                    <a:lnTo>
                      <a:pt x="263" y="456"/>
                    </a:lnTo>
                    <a:lnTo>
                      <a:pt x="258" y="453"/>
                    </a:lnTo>
                    <a:lnTo>
                      <a:pt x="256" y="444"/>
                    </a:lnTo>
                    <a:lnTo>
                      <a:pt x="256" y="444"/>
                    </a:lnTo>
                    <a:lnTo>
                      <a:pt x="260" y="440"/>
                    </a:lnTo>
                    <a:lnTo>
                      <a:pt x="260" y="440"/>
                    </a:lnTo>
                    <a:lnTo>
                      <a:pt x="263" y="438"/>
                    </a:lnTo>
                    <a:lnTo>
                      <a:pt x="261" y="438"/>
                    </a:lnTo>
                    <a:lnTo>
                      <a:pt x="255" y="431"/>
                    </a:lnTo>
                    <a:lnTo>
                      <a:pt x="255" y="431"/>
                    </a:lnTo>
                    <a:lnTo>
                      <a:pt x="258" y="435"/>
                    </a:lnTo>
                    <a:lnTo>
                      <a:pt x="259" y="436"/>
                    </a:lnTo>
                    <a:lnTo>
                      <a:pt x="259" y="436"/>
                    </a:lnTo>
                    <a:lnTo>
                      <a:pt x="259" y="436"/>
                    </a:lnTo>
                    <a:lnTo>
                      <a:pt x="258" y="436"/>
                    </a:lnTo>
                    <a:lnTo>
                      <a:pt x="258" y="436"/>
                    </a:lnTo>
                    <a:lnTo>
                      <a:pt x="255" y="436"/>
                    </a:lnTo>
                    <a:lnTo>
                      <a:pt x="255" y="436"/>
                    </a:lnTo>
                    <a:lnTo>
                      <a:pt x="254" y="436"/>
                    </a:lnTo>
                    <a:lnTo>
                      <a:pt x="254" y="436"/>
                    </a:lnTo>
                    <a:lnTo>
                      <a:pt x="250" y="435"/>
                    </a:lnTo>
                    <a:lnTo>
                      <a:pt x="247" y="434"/>
                    </a:lnTo>
                    <a:lnTo>
                      <a:pt x="247" y="434"/>
                    </a:lnTo>
                    <a:lnTo>
                      <a:pt x="246" y="434"/>
                    </a:lnTo>
                    <a:lnTo>
                      <a:pt x="242" y="428"/>
                    </a:lnTo>
                    <a:lnTo>
                      <a:pt x="242" y="428"/>
                    </a:lnTo>
                    <a:lnTo>
                      <a:pt x="243" y="431"/>
                    </a:lnTo>
                    <a:lnTo>
                      <a:pt x="243" y="431"/>
                    </a:lnTo>
                    <a:lnTo>
                      <a:pt x="242" y="430"/>
                    </a:lnTo>
                    <a:lnTo>
                      <a:pt x="242" y="430"/>
                    </a:lnTo>
                    <a:lnTo>
                      <a:pt x="239" y="428"/>
                    </a:lnTo>
                    <a:lnTo>
                      <a:pt x="236" y="423"/>
                    </a:lnTo>
                    <a:lnTo>
                      <a:pt x="236" y="422"/>
                    </a:lnTo>
                    <a:lnTo>
                      <a:pt x="236" y="422"/>
                    </a:lnTo>
                    <a:lnTo>
                      <a:pt x="236" y="422"/>
                    </a:lnTo>
                    <a:lnTo>
                      <a:pt x="236" y="422"/>
                    </a:lnTo>
                    <a:lnTo>
                      <a:pt x="238" y="423"/>
                    </a:lnTo>
                    <a:lnTo>
                      <a:pt x="234" y="419"/>
                    </a:lnTo>
                    <a:lnTo>
                      <a:pt x="234" y="419"/>
                    </a:lnTo>
                    <a:lnTo>
                      <a:pt x="235" y="420"/>
                    </a:lnTo>
                    <a:lnTo>
                      <a:pt x="235" y="420"/>
                    </a:lnTo>
                    <a:lnTo>
                      <a:pt x="232" y="416"/>
                    </a:lnTo>
                    <a:lnTo>
                      <a:pt x="232" y="416"/>
                    </a:lnTo>
                    <a:lnTo>
                      <a:pt x="231" y="412"/>
                    </a:lnTo>
                    <a:lnTo>
                      <a:pt x="231" y="412"/>
                    </a:lnTo>
                    <a:lnTo>
                      <a:pt x="231" y="411"/>
                    </a:lnTo>
                    <a:lnTo>
                      <a:pt x="231" y="411"/>
                    </a:lnTo>
                    <a:lnTo>
                      <a:pt x="228" y="407"/>
                    </a:lnTo>
                    <a:lnTo>
                      <a:pt x="227" y="407"/>
                    </a:lnTo>
                    <a:lnTo>
                      <a:pt x="222" y="407"/>
                    </a:lnTo>
                    <a:lnTo>
                      <a:pt x="217" y="399"/>
                    </a:lnTo>
                    <a:lnTo>
                      <a:pt x="217" y="399"/>
                    </a:lnTo>
                    <a:lnTo>
                      <a:pt x="217" y="402"/>
                    </a:lnTo>
                    <a:lnTo>
                      <a:pt x="213" y="397"/>
                    </a:lnTo>
                    <a:lnTo>
                      <a:pt x="213" y="393"/>
                    </a:lnTo>
                    <a:lnTo>
                      <a:pt x="214" y="389"/>
                    </a:lnTo>
                    <a:lnTo>
                      <a:pt x="214" y="389"/>
                    </a:lnTo>
                    <a:lnTo>
                      <a:pt x="215" y="387"/>
                    </a:lnTo>
                    <a:lnTo>
                      <a:pt x="215" y="387"/>
                    </a:lnTo>
                    <a:lnTo>
                      <a:pt x="213" y="386"/>
                    </a:lnTo>
                    <a:lnTo>
                      <a:pt x="205" y="382"/>
                    </a:lnTo>
                    <a:lnTo>
                      <a:pt x="205" y="382"/>
                    </a:lnTo>
                    <a:lnTo>
                      <a:pt x="201" y="379"/>
                    </a:lnTo>
                    <a:lnTo>
                      <a:pt x="199" y="383"/>
                    </a:lnTo>
                    <a:lnTo>
                      <a:pt x="199" y="383"/>
                    </a:lnTo>
                    <a:lnTo>
                      <a:pt x="198" y="385"/>
                    </a:lnTo>
                    <a:lnTo>
                      <a:pt x="198" y="385"/>
                    </a:lnTo>
                    <a:lnTo>
                      <a:pt x="197" y="389"/>
                    </a:lnTo>
                    <a:lnTo>
                      <a:pt x="195" y="393"/>
                    </a:lnTo>
                    <a:lnTo>
                      <a:pt x="190" y="394"/>
                    </a:lnTo>
                    <a:lnTo>
                      <a:pt x="189" y="394"/>
                    </a:lnTo>
                    <a:lnTo>
                      <a:pt x="186" y="394"/>
                    </a:lnTo>
                    <a:lnTo>
                      <a:pt x="186" y="394"/>
                    </a:lnTo>
                    <a:lnTo>
                      <a:pt x="181" y="390"/>
                    </a:lnTo>
                    <a:lnTo>
                      <a:pt x="180" y="385"/>
                    </a:lnTo>
                    <a:lnTo>
                      <a:pt x="178" y="381"/>
                    </a:lnTo>
                    <a:lnTo>
                      <a:pt x="180" y="375"/>
                    </a:lnTo>
                    <a:lnTo>
                      <a:pt x="180" y="373"/>
                    </a:lnTo>
                    <a:lnTo>
                      <a:pt x="185" y="369"/>
                    </a:lnTo>
                    <a:lnTo>
                      <a:pt x="185" y="369"/>
                    </a:lnTo>
                    <a:lnTo>
                      <a:pt x="185" y="368"/>
                    </a:lnTo>
                    <a:lnTo>
                      <a:pt x="185" y="368"/>
                    </a:lnTo>
                    <a:lnTo>
                      <a:pt x="182" y="364"/>
                    </a:lnTo>
                    <a:lnTo>
                      <a:pt x="182" y="360"/>
                    </a:lnTo>
                    <a:lnTo>
                      <a:pt x="182" y="360"/>
                    </a:lnTo>
                    <a:lnTo>
                      <a:pt x="182" y="356"/>
                    </a:lnTo>
                    <a:lnTo>
                      <a:pt x="183" y="352"/>
                    </a:lnTo>
                    <a:lnTo>
                      <a:pt x="183" y="352"/>
                    </a:lnTo>
                    <a:lnTo>
                      <a:pt x="185" y="349"/>
                    </a:lnTo>
                    <a:lnTo>
                      <a:pt x="190" y="344"/>
                    </a:lnTo>
                    <a:lnTo>
                      <a:pt x="191" y="342"/>
                    </a:lnTo>
                    <a:lnTo>
                      <a:pt x="191" y="342"/>
                    </a:lnTo>
                    <a:lnTo>
                      <a:pt x="189" y="344"/>
                    </a:lnTo>
                    <a:lnTo>
                      <a:pt x="186" y="345"/>
                    </a:lnTo>
                    <a:lnTo>
                      <a:pt x="187" y="344"/>
                    </a:lnTo>
                    <a:lnTo>
                      <a:pt x="187" y="344"/>
                    </a:lnTo>
                    <a:lnTo>
                      <a:pt x="187" y="344"/>
                    </a:lnTo>
                    <a:lnTo>
                      <a:pt x="187" y="344"/>
                    </a:lnTo>
                    <a:lnTo>
                      <a:pt x="187" y="340"/>
                    </a:lnTo>
                    <a:lnTo>
                      <a:pt x="187" y="340"/>
                    </a:lnTo>
                    <a:lnTo>
                      <a:pt x="187" y="332"/>
                    </a:lnTo>
                    <a:lnTo>
                      <a:pt x="189" y="329"/>
                    </a:lnTo>
                    <a:lnTo>
                      <a:pt x="193" y="325"/>
                    </a:lnTo>
                    <a:lnTo>
                      <a:pt x="193" y="325"/>
                    </a:lnTo>
                    <a:lnTo>
                      <a:pt x="195" y="324"/>
                    </a:lnTo>
                    <a:lnTo>
                      <a:pt x="195" y="324"/>
                    </a:lnTo>
                    <a:lnTo>
                      <a:pt x="198" y="323"/>
                    </a:lnTo>
                    <a:lnTo>
                      <a:pt x="199" y="321"/>
                    </a:lnTo>
                    <a:lnTo>
                      <a:pt x="203" y="317"/>
                    </a:lnTo>
                    <a:lnTo>
                      <a:pt x="203" y="317"/>
                    </a:lnTo>
                    <a:lnTo>
                      <a:pt x="206" y="317"/>
                    </a:lnTo>
                    <a:lnTo>
                      <a:pt x="206" y="317"/>
                    </a:lnTo>
                    <a:lnTo>
                      <a:pt x="209" y="317"/>
                    </a:lnTo>
                    <a:lnTo>
                      <a:pt x="209" y="317"/>
                    </a:lnTo>
                    <a:lnTo>
                      <a:pt x="209" y="317"/>
                    </a:lnTo>
                    <a:lnTo>
                      <a:pt x="209" y="317"/>
                    </a:lnTo>
                    <a:lnTo>
                      <a:pt x="202" y="311"/>
                    </a:lnTo>
                    <a:lnTo>
                      <a:pt x="202" y="311"/>
                    </a:lnTo>
                    <a:lnTo>
                      <a:pt x="198" y="307"/>
                    </a:lnTo>
                    <a:lnTo>
                      <a:pt x="194" y="303"/>
                    </a:lnTo>
                    <a:lnTo>
                      <a:pt x="194" y="303"/>
                    </a:lnTo>
                    <a:lnTo>
                      <a:pt x="193" y="300"/>
                    </a:lnTo>
                    <a:lnTo>
                      <a:pt x="193" y="297"/>
                    </a:lnTo>
                    <a:lnTo>
                      <a:pt x="193" y="297"/>
                    </a:lnTo>
                    <a:lnTo>
                      <a:pt x="187" y="291"/>
                    </a:lnTo>
                    <a:lnTo>
                      <a:pt x="181" y="284"/>
                    </a:lnTo>
                    <a:lnTo>
                      <a:pt x="181" y="284"/>
                    </a:lnTo>
                    <a:lnTo>
                      <a:pt x="173" y="275"/>
                    </a:lnTo>
                    <a:lnTo>
                      <a:pt x="166" y="264"/>
                    </a:lnTo>
                    <a:lnTo>
                      <a:pt x="166" y="264"/>
                    </a:lnTo>
                    <a:lnTo>
                      <a:pt x="165" y="262"/>
                    </a:lnTo>
                    <a:lnTo>
                      <a:pt x="164" y="259"/>
                    </a:lnTo>
                    <a:lnTo>
                      <a:pt x="164" y="259"/>
                    </a:lnTo>
                    <a:lnTo>
                      <a:pt x="160" y="254"/>
                    </a:lnTo>
                    <a:lnTo>
                      <a:pt x="160" y="254"/>
                    </a:lnTo>
                    <a:lnTo>
                      <a:pt x="157" y="250"/>
                    </a:lnTo>
                    <a:lnTo>
                      <a:pt x="156" y="249"/>
                    </a:lnTo>
                    <a:lnTo>
                      <a:pt x="156" y="249"/>
                    </a:lnTo>
                    <a:lnTo>
                      <a:pt x="154" y="247"/>
                    </a:lnTo>
                    <a:lnTo>
                      <a:pt x="153" y="247"/>
                    </a:lnTo>
                    <a:lnTo>
                      <a:pt x="153" y="247"/>
                    </a:lnTo>
                    <a:lnTo>
                      <a:pt x="152" y="247"/>
                    </a:lnTo>
                    <a:lnTo>
                      <a:pt x="152" y="247"/>
                    </a:lnTo>
                    <a:lnTo>
                      <a:pt x="150" y="247"/>
                    </a:lnTo>
                    <a:lnTo>
                      <a:pt x="150" y="247"/>
                    </a:lnTo>
                    <a:lnTo>
                      <a:pt x="146" y="247"/>
                    </a:lnTo>
                    <a:lnTo>
                      <a:pt x="146" y="247"/>
                    </a:lnTo>
                    <a:lnTo>
                      <a:pt x="146" y="247"/>
                    </a:lnTo>
                    <a:lnTo>
                      <a:pt x="145" y="247"/>
                    </a:lnTo>
                    <a:lnTo>
                      <a:pt x="145" y="247"/>
                    </a:lnTo>
                    <a:lnTo>
                      <a:pt x="144" y="250"/>
                    </a:lnTo>
                    <a:lnTo>
                      <a:pt x="144" y="251"/>
                    </a:lnTo>
                    <a:lnTo>
                      <a:pt x="141" y="254"/>
                    </a:lnTo>
                    <a:lnTo>
                      <a:pt x="141" y="254"/>
                    </a:lnTo>
                    <a:lnTo>
                      <a:pt x="140" y="255"/>
                    </a:lnTo>
                    <a:lnTo>
                      <a:pt x="140" y="255"/>
                    </a:lnTo>
                    <a:lnTo>
                      <a:pt x="139" y="259"/>
                    </a:lnTo>
                    <a:lnTo>
                      <a:pt x="136" y="260"/>
                    </a:lnTo>
                    <a:lnTo>
                      <a:pt x="133" y="263"/>
                    </a:lnTo>
                    <a:lnTo>
                      <a:pt x="133" y="263"/>
                    </a:lnTo>
                    <a:lnTo>
                      <a:pt x="135" y="262"/>
                    </a:lnTo>
                    <a:lnTo>
                      <a:pt x="136" y="260"/>
                    </a:lnTo>
                    <a:lnTo>
                      <a:pt x="129" y="264"/>
                    </a:lnTo>
                    <a:lnTo>
                      <a:pt x="124" y="264"/>
                    </a:lnTo>
                    <a:lnTo>
                      <a:pt x="119" y="262"/>
                    </a:lnTo>
                    <a:lnTo>
                      <a:pt x="119" y="260"/>
                    </a:lnTo>
                    <a:lnTo>
                      <a:pt x="119" y="260"/>
                    </a:lnTo>
                    <a:lnTo>
                      <a:pt x="117" y="258"/>
                    </a:lnTo>
                    <a:lnTo>
                      <a:pt x="117" y="258"/>
                    </a:lnTo>
                    <a:lnTo>
                      <a:pt x="113" y="258"/>
                    </a:lnTo>
                    <a:lnTo>
                      <a:pt x="113" y="258"/>
                    </a:lnTo>
                    <a:lnTo>
                      <a:pt x="108" y="252"/>
                    </a:lnTo>
                    <a:lnTo>
                      <a:pt x="108" y="252"/>
                    </a:lnTo>
                    <a:lnTo>
                      <a:pt x="105" y="251"/>
                    </a:lnTo>
                    <a:lnTo>
                      <a:pt x="103" y="251"/>
                    </a:lnTo>
                    <a:lnTo>
                      <a:pt x="96" y="245"/>
                    </a:lnTo>
                    <a:lnTo>
                      <a:pt x="96" y="245"/>
                    </a:lnTo>
                    <a:lnTo>
                      <a:pt x="98" y="249"/>
                    </a:lnTo>
                    <a:lnTo>
                      <a:pt x="100" y="250"/>
                    </a:lnTo>
                    <a:lnTo>
                      <a:pt x="100" y="250"/>
                    </a:lnTo>
                    <a:lnTo>
                      <a:pt x="99" y="249"/>
                    </a:lnTo>
                    <a:lnTo>
                      <a:pt x="98" y="249"/>
                    </a:lnTo>
                    <a:lnTo>
                      <a:pt x="98" y="249"/>
                    </a:lnTo>
                    <a:lnTo>
                      <a:pt x="94" y="246"/>
                    </a:lnTo>
                    <a:lnTo>
                      <a:pt x="92" y="243"/>
                    </a:lnTo>
                    <a:lnTo>
                      <a:pt x="92" y="243"/>
                    </a:lnTo>
                    <a:lnTo>
                      <a:pt x="91" y="242"/>
                    </a:lnTo>
                    <a:lnTo>
                      <a:pt x="90" y="241"/>
                    </a:lnTo>
                    <a:lnTo>
                      <a:pt x="90" y="241"/>
                    </a:lnTo>
                    <a:lnTo>
                      <a:pt x="90" y="241"/>
                    </a:lnTo>
                    <a:lnTo>
                      <a:pt x="88" y="241"/>
                    </a:lnTo>
                    <a:lnTo>
                      <a:pt x="88" y="241"/>
                    </a:lnTo>
                    <a:lnTo>
                      <a:pt x="88" y="241"/>
                    </a:lnTo>
                    <a:lnTo>
                      <a:pt x="83" y="245"/>
                    </a:lnTo>
                    <a:lnTo>
                      <a:pt x="82" y="245"/>
                    </a:lnTo>
                    <a:lnTo>
                      <a:pt x="82" y="245"/>
                    </a:lnTo>
                    <a:lnTo>
                      <a:pt x="79" y="246"/>
                    </a:lnTo>
                    <a:lnTo>
                      <a:pt x="76" y="247"/>
                    </a:lnTo>
                    <a:lnTo>
                      <a:pt x="76" y="247"/>
                    </a:lnTo>
                    <a:lnTo>
                      <a:pt x="74" y="247"/>
                    </a:lnTo>
                    <a:lnTo>
                      <a:pt x="70" y="243"/>
                    </a:lnTo>
                    <a:lnTo>
                      <a:pt x="70" y="243"/>
                    </a:lnTo>
                    <a:lnTo>
                      <a:pt x="70" y="243"/>
                    </a:lnTo>
                    <a:lnTo>
                      <a:pt x="70" y="243"/>
                    </a:lnTo>
                    <a:lnTo>
                      <a:pt x="71" y="245"/>
                    </a:lnTo>
                    <a:lnTo>
                      <a:pt x="68" y="241"/>
                    </a:lnTo>
                    <a:lnTo>
                      <a:pt x="67" y="241"/>
                    </a:lnTo>
                    <a:lnTo>
                      <a:pt x="67" y="241"/>
                    </a:lnTo>
                    <a:lnTo>
                      <a:pt x="66" y="237"/>
                    </a:lnTo>
                    <a:lnTo>
                      <a:pt x="66" y="237"/>
                    </a:lnTo>
                    <a:lnTo>
                      <a:pt x="66" y="237"/>
                    </a:lnTo>
                    <a:lnTo>
                      <a:pt x="66" y="237"/>
                    </a:lnTo>
                    <a:lnTo>
                      <a:pt x="66" y="238"/>
                    </a:lnTo>
                    <a:lnTo>
                      <a:pt x="66" y="237"/>
                    </a:lnTo>
                    <a:lnTo>
                      <a:pt x="67" y="237"/>
                    </a:lnTo>
                    <a:lnTo>
                      <a:pt x="66" y="237"/>
                    </a:lnTo>
                    <a:lnTo>
                      <a:pt x="66" y="237"/>
                    </a:lnTo>
                    <a:lnTo>
                      <a:pt x="63" y="234"/>
                    </a:lnTo>
                    <a:lnTo>
                      <a:pt x="61" y="233"/>
                    </a:lnTo>
                    <a:lnTo>
                      <a:pt x="58" y="227"/>
                    </a:lnTo>
                    <a:lnTo>
                      <a:pt x="58" y="227"/>
                    </a:lnTo>
                    <a:lnTo>
                      <a:pt x="57" y="226"/>
                    </a:lnTo>
                    <a:lnTo>
                      <a:pt x="55" y="222"/>
                    </a:lnTo>
                    <a:lnTo>
                      <a:pt x="55" y="221"/>
                    </a:lnTo>
                    <a:lnTo>
                      <a:pt x="55" y="221"/>
                    </a:lnTo>
                    <a:lnTo>
                      <a:pt x="55" y="221"/>
                    </a:lnTo>
                    <a:lnTo>
                      <a:pt x="54" y="219"/>
                    </a:lnTo>
                    <a:lnTo>
                      <a:pt x="54" y="219"/>
                    </a:lnTo>
                    <a:lnTo>
                      <a:pt x="51" y="215"/>
                    </a:lnTo>
                    <a:lnTo>
                      <a:pt x="51" y="212"/>
                    </a:lnTo>
                    <a:lnTo>
                      <a:pt x="51" y="212"/>
                    </a:lnTo>
                    <a:lnTo>
                      <a:pt x="51" y="208"/>
                    </a:lnTo>
                    <a:lnTo>
                      <a:pt x="51" y="205"/>
                    </a:lnTo>
                    <a:lnTo>
                      <a:pt x="54" y="202"/>
                    </a:lnTo>
                    <a:lnTo>
                      <a:pt x="54" y="202"/>
                    </a:lnTo>
                    <a:lnTo>
                      <a:pt x="54" y="202"/>
                    </a:lnTo>
                    <a:lnTo>
                      <a:pt x="54" y="202"/>
                    </a:lnTo>
                    <a:lnTo>
                      <a:pt x="54" y="202"/>
                    </a:lnTo>
                    <a:lnTo>
                      <a:pt x="57" y="198"/>
                    </a:lnTo>
                    <a:lnTo>
                      <a:pt x="57" y="198"/>
                    </a:lnTo>
                    <a:lnTo>
                      <a:pt x="57" y="198"/>
                    </a:lnTo>
                    <a:lnTo>
                      <a:pt x="57" y="198"/>
                    </a:lnTo>
                    <a:lnTo>
                      <a:pt x="57" y="198"/>
                    </a:lnTo>
                    <a:lnTo>
                      <a:pt x="58" y="197"/>
                    </a:lnTo>
                    <a:lnTo>
                      <a:pt x="58" y="197"/>
                    </a:lnTo>
                    <a:lnTo>
                      <a:pt x="58" y="196"/>
                    </a:lnTo>
                    <a:lnTo>
                      <a:pt x="58" y="196"/>
                    </a:lnTo>
                    <a:lnTo>
                      <a:pt x="58" y="196"/>
                    </a:lnTo>
                    <a:lnTo>
                      <a:pt x="57" y="194"/>
                    </a:lnTo>
                    <a:lnTo>
                      <a:pt x="57" y="194"/>
                    </a:lnTo>
                    <a:lnTo>
                      <a:pt x="57" y="194"/>
                    </a:lnTo>
                    <a:lnTo>
                      <a:pt x="55" y="189"/>
                    </a:lnTo>
                    <a:lnTo>
                      <a:pt x="54" y="184"/>
                    </a:lnTo>
                    <a:lnTo>
                      <a:pt x="54" y="184"/>
                    </a:lnTo>
                    <a:lnTo>
                      <a:pt x="53" y="184"/>
                    </a:lnTo>
                    <a:lnTo>
                      <a:pt x="53" y="184"/>
                    </a:lnTo>
                    <a:lnTo>
                      <a:pt x="49" y="180"/>
                    </a:lnTo>
                    <a:lnTo>
                      <a:pt x="45" y="177"/>
                    </a:lnTo>
                    <a:lnTo>
                      <a:pt x="45" y="177"/>
                    </a:lnTo>
                    <a:lnTo>
                      <a:pt x="43" y="177"/>
                    </a:lnTo>
                    <a:lnTo>
                      <a:pt x="43" y="177"/>
                    </a:lnTo>
                    <a:lnTo>
                      <a:pt x="42" y="177"/>
                    </a:lnTo>
                    <a:lnTo>
                      <a:pt x="42" y="177"/>
                    </a:lnTo>
                    <a:lnTo>
                      <a:pt x="38" y="178"/>
                    </a:lnTo>
                    <a:lnTo>
                      <a:pt x="38" y="178"/>
                    </a:lnTo>
                    <a:lnTo>
                      <a:pt x="35" y="177"/>
                    </a:lnTo>
                    <a:lnTo>
                      <a:pt x="31" y="176"/>
                    </a:lnTo>
                    <a:lnTo>
                      <a:pt x="30" y="171"/>
                    </a:lnTo>
                    <a:lnTo>
                      <a:pt x="30" y="169"/>
                    </a:lnTo>
                    <a:lnTo>
                      <a:pt x="30" y="169"/>
                    </a:lnTo>
                    <a:lnTo>
                      <a:pt x="29" y="169"/>
                    </a:lnTo>
                    <a:lnTo>
                      <a:pt x="29" y="169"/>
                    </a:lnTo>
                    <a:lnTo>
                      <a:pt x="30" y="171"/>
                    </a:lnTo>
                    <a:lnTo>
                      <a:pt x="27" y="165"/>
                    </a:lnTo>
                    <a:lnTo>
                      <a:pt x="27" y="165"/>
                    </a:lnTo>
                    <a:lnTo>
                      <a:pt x="27" y="165"/>
                    </a:lnTo>
                    <a:lnTo>
                      <a:pt x="27" y="165"/>
                    </a:lnTo>
                    <a:lnTo>
                      <a:pt x="27" y="165"/>
                    </a:lnTo>
                    <a:lnTo>
                      <a:pt x="27" y="164"/>
                    </a:lnTo>
                    <a:lnTo>
                      <a:pt x="27" y="164"/>
                    </a:lnTo>
                    <a:lnTo>
                      <a:pt x="27" y="160"/>
                    </a:lnTo>
                    <a:lnTo>
                      <a:pt x="27" y="160"/>
                    </a:lnTo>
                    <a:lnTo>
                      <a:pt x="27" y="157"/>
                    </a:lnTo>
                    <a:lnTo>
                      <a:pt x="27" y="157"/>
                    </a:lnTo>
                    <a:lnTo>
                      <a:pt x="29" y="160"/>
                    </a:lnTo>
                    <a:lnTo>
                      <a:pt x="31" y="161"/>
                    </a:lnTo>
                    <a:lnTo>
                      <a:pt x="26" y="156"/>
                    </a:lnTo>
                    <a:lnTo>
                      <a:pt x="26" y="153"/>
                    </a:lnTo>
                    <a:lnTo>
                      <a:pt x="27" y="148"/>
                    </a:lnTo>
                    <a:lnTo>
                      <a:pt x="27" y="148"/>
                    </a:lnTo>
                    <a:lnTo>
                      <a:pt x="31" y="147"/>
                    </a:lnTo>
                    <a:lnTo>
                      <a:pt x="31" y="147"/>
                    </a:lnTo>
                    <a:lnTo>
                      <a:pt x="31" y="147"/>
                    </a:lnTo>
                    <a:lnTo>
                      <a:pt x="31" y="147"/>
                    </a:lnTo>
                    <a:lnTo>
                      <a:pt x="31" y="147"/>
                    </a:lnTo>
                    <a:lnTo>
                      <a:pt x="31" y="144"/>
                    </a:lnTo>
                    <a:lnTo>
                      <a:pt x="30" y="140"/>
                    </a:lnTo>
                    <a:lnTo>
                      <a:pt x="30" y="140"/>
                    </a:lnTo>
                    <a:lnTo>
                      <a:pt x="30" y="140"/>
                    </a:lnTo>
                    <a:lnTo>
                      <a:pt x="26" y="136"/>
                    </a:lnTo>
                    <a:lnTo>
                      <a:pt x="26" y="136"/>
                    </a:lnTo>
                    <a:lnTo>
                      <a:pt x="23" y="132"/>
                    </a:lnTo>
                    <a:lnTo>
                      <a:pt x="23" y="132"/>
                    </a:lnTo>
                    <a:lnTo>
                      <a:pt x="22" y="134"/>
                    </a:lnTo>
                    <a:lnTo>
                      <a:pt x="22" y="134"/>
                    </a:lnTo>
                    <a:lnTo>
                      <a:pt x="18" y="134"/>
                    </a:lnTo>
                    <a:lnTo>
                      <a:pt x="13" y="132"/>
                    </a:lnTo>
                    <a:lnTo>
                      <a:pt x="13" y="132"/>
                    </a:lnTo>
                    <a:lnTo>
                      <a:pt x="12" y="130"/>
                    </a:lnTo>
                    <a:lnTo>
                      <a:pt x="12" y="127"/>
                    </a:lnTo>
                    <a:lnTo>
                      <a:pt x="12" y="123"/>
                    </a:lnTo>
                    <a:lnTo>
                      <a:pt x="12" y="122"/>
                    </a:lnTo>
                    <a:lnTo>
                      <a:pt x="12" y="122"/>
                    </a:lnTo>
                    <a:lnTo>
                      <a:pt x="9" y="120"/>
                    </a:lnTo>
                    <a:lnTo>
                      <a:pt x="8" y="118"/>
                    </a:lnTo>
                    <a:lnTo>
                      <a:pt x="8" y="114"/>
                    </a:lnTo>
                    <a:lnTo>
                      <a:pt x="8" y="112"/>
                    </a:lnTo>
                    <a:lnTo>
                      <a:pt x="8" y="112"/>
                    </a:lnTo>
                    <a:lnTo>
                      <a:pt x="5" y="106"/>
                    </a:lnTo>
                    <a:lnTo>
                      <a:pt x="0" y="98"/>
                    </a:lnTo>
                    <a:lnTo>
                      <a:pt x="1" y="89"/>
                    </a:lnTo>
                    <a:lnTo>
                      <a:pt x="1" y="89"/>
                    </a:lnTo>
                    <a:lnTo>
                      <a:pt x="6" y="86"/>
                    </a:lnTo>
                    <a:lnTo>
                      <a:pt x="6" y="86"/>
                    </a:lnTo>
                    <a:lnTo>
                      <a:pt x="10" y="83"/>
                    </a:lnTo>
                    <a:lnTo>
                      <a:pt x="10" y="82"/>
                    </a:lnTo>
                    <a:lnTo>
                      <a:pt x="10" y="82"/>
                    </a:lnTo>
                    <a:lnTo>
                      <a:pt x="13" y="78"/>
                    </a:lnTo>
                    <a:lnTo>
                      <a:pt x="13" y="78"/>
                    </a:lnTo>
                    <a:lnTo>
                      <a:pt x="13" y="77"/>
                    </a:lnTo>
                    <a:lnTo>
                      <a:pt x="13" y="77"/>
                    </a:lnTo>
                    <a:lnTo>
                      <a:pt x="13" y="77"/>
                    </a:lnTo>
                    <a:lnTo>
                      <a:pt x="14" y="69"/>
                    </a:lnTo>
                    <a:lnTo>
                      <a:pt x="17" y="63"/>
                    </a:lnTo>
                    <a:lnTo>
                      <a:pt x="21" y="61"/>
                    </a:lnTo>
                    <a:lnTo>
                      <a:pt x="23" y="58"/>
                    </a:lnTo>
                    <a:lnTo>
                      <a:pt x="23" y="58"/>
                    </a:lnTo>
                    <a:lnTo>
                      <a:pt x="29" y="54"/>
                    </a:lnTo>
                    <a:lnTo>
                      <a:pt x="31" y="53"/>
                    </a:lnTo>
                    <a:lnTo>
                      <a:pt x="31" y="53"/>
                    </a:lnTo>
                    <a:lnTo>
                      <a:pt x="30" y="53"/>
                    </a:lnTo>
                    <a:lnTo>
                      <a:pt x="30" y="53"/>
                    </a:lnTo>
                    <a:lnTo>
                      <a:pt x="31" y="52"/>
                    </a:lnTo>
                    <a:lnTo>
                      <a:pt x="35" y="50"/>
                    </a:lnTo>
                    <a:lnTo>
                      <a:pt x="38" y="50"/>
                    </a:lnTo>
                    <a:lnTo>
                      <a:pt x="38" y="50"/>
                    </a:lnTo>
                    <a:lnTo>
                      <a:pt x="42" y="48"/>
                    </a:lnTo>
                    <a:lnTo>
                      <a:pt x="43" y="44"/>
                    </a:lnTo>
                    <a:lnTo>
                      <a:pt x="49" y="40"/>
                    </a:lnTo>
                    <a:lnTo>
                      <a:pt x="49" y="40"/>
                    </a:lnTo>
                    <a:lnTo>
                      <a:pt x="46" y="40"/>
                    </a:lnTo>
                    <a:lnTo>
                      <a:pt x="46" y="40"/>
                    </a:lnTo>
                    <a:lnTo>
                      <a:pt x="49" y="38"/>
                    </a:lnTo>
                    <a:lnTo>
                      <a:pt x="53" y="38"/>
                    </a:lnTo>
                    <a:lnTo>
                      <a:pt x="55" y="38"/>
                    </a:lnTo>
                    <a:lnTo>
                      <a:pt x="55" y="38"/>
                    </a:lnTo>
                    <a:lnTo>
                      <a:pt x="58" y="36"/>
                    </a:lnTo>
                    <a:lnTo>
                      <a:pt x="58" y="36"/>
                    </a:lnTo>
                    <a:lnTo>
                      <a:pt x="61" y="33"/>
                    </a:lnTo>
                    <a:lnTo>
                      <a:pt x="64" y="30"/>
                    </a:lnTo>
                    <a:lnTo>
                      <a:pt x="67" y="29"/>
                    </a:lnTo>
                    <a:lnTo>
                      <a:pt x="82" y="29"/>
                    </a:lnTo>
                    <a:lnTo>
                      <a:pt x="83" y="32"/>
                    </a:lnTo>
                    <a:lnTo>
                      <a:pt x="83" y="32"/>
                    </a:lnTo>
                    <a:lnTo>
                      <a:pt x="83" y="32"/>
                    </a:lnTo>
                    <a:lnTo>
                      <a:pt x="83" y="32"/>
                    </a:lnTo>
                    <a:lnTo>
                      <a:pt x="82" y="33"/>
                    </a:lnTo>
                    <a:lnTo>
                      <a:pt x="82" y="33"/>
                    </a:lnTo>
                    <a:lnTo>
                      <a:pt x="80" y="36"/>
                    </a:lnTo>
                    <a:lnTo>
                      <a:pt x="80" y="37"/>
                    </a:lnTo>
                    <a:lnTo>
                      <a:pt x="84" y="33"/>
                    </a:lnTo>
                    <a:lnTo>
                      <a:pt x="87" y="37"/>
                    </a:lnTo>
                    <a:lnTo>
                      <a:pt x="87" y="37"/>
                    </a:lnTo>
                    <a:lnTo>
                      <a:pt x="87" y="36"/>
                    </a:lnTo>
                    <a:lnTo>
                      <a:pt x="87" y="33"/>
                    </a:lnTo>
                    <a:lnTo>
                      <a:pt x="86" y="36"/>
                    </a:lnTo>
                    <a:lnTo>
                      <a:pt x="87" y="33"/>
                    </a:lnTo>
                    <a:lnTo>
                      <a:pt x="87" y="33"/>
                    </a:lnTo>
                    <a:lnTo>
                      <a:pt x="87" y="33"/>
                    </a:lnTo>
                    <a:lnTo>
                      <a:pt x="87" y="33"/>
                    </a:lnTo>
                    <a:lnTo>
                      <a:pt x="86" y="32"/>
                    </a:lnTo>
                    <a:lnTo>
                      <a:pt x="87" y="30"/>
                    </a:lnTo>
                    <a:lnTo>
                      <a:pt x="87" y="29"/>
                    </a:lnTo>
                    <a:lnTo>
                      <a:pt x="87" y="29"/>
                    </a:lnTo>
                    <a:lnTo>
                      <a:pt x="86" y="29"/>
                    </a:lnTo>
                    <a:lnTo>
                      <a:pt x="87" y="28"/>
                    </a:lnTo>
                    <a:lnTo>
                      <a:pt x="90" y="28"/>
                    </a:lnTo>
                    <a:lnTo>
                      <a:pt x="91" y="29"/>
                    </a:lnTo>
                    <a:lnTo>
                      <a:pt x="91" y="29"/>
                    </a:lnTo>
                    <a:lnTo>
                      <a:pt x="92" y="29"/>
                    </a:lnTo>
                    <a:lnTo>
                      <a:pt x="92" y="29"/>
                    </a:lnTo>
                    <a:lnTo>
                      <a:pt x="99" y="30"/>
                    </a:lnTo>
                    <a:lnTo>
                      <a:pt x="103" y="33"/>
                    </a:lnTo>
                    <a:lnTo>
                      <a:pt x="103" y="33"/>
                    </a:lnTo>
                    <a:lnTo>
                      <a:pt x="107" y="34"/>
                    </a:lnTo>
                    <a:lnTo>
                      <a:pt x="109" y="34"/>
                    </a:lnTo>
                    <a:lnTo>
                      <a:pt x="111" y="34"/>
                    </a:lnTo>
                    <a:lnTo>
                      <a:pt x="111" y="34"/>
                    </a:lnTo>
                    <a:lnTo>
                      <a:pt x="113" y="33"/>
                    </a:lnTo>
                    <a:lnTo>
                      <a:pt x="113" y="33"/>
                    </a:lnTo>
                    <a:lnTo>
                      <a:pt x="117" y="29"/>
                    </a:lnTo>
                    <a:lnTo>
                      <a:pt x="121" y="28"/>
                    </a:lnTo>
                    <a:lnTo>
                      <a:pt x="125" y="28"/>
                    </a:lnTo>
                    <a:lnTo>
                      <a:pt x="125" y="28"/>
                    </a:lnTo>
                    <a:lnTo>
                      <a:pt x="128" y="28"/>
                    </a:lnTo>
                    <a:lnTo>
                      <a:pt x="129" y="28"/>
                    </a:lnTo>
                    <a:lnTo>
                      <a:pt x="132" y="30"/>
                    </a:lnTo>
                    <a:lnTo>
                      <a:pt x="132" y="30"/>
                    </a:lnTo>
                    <a:lnTo>
                      <a:pt x="131" y="32"/>
                    </a:lnTo>
                    <a:lnTo>
                      <a:pt x="131" y="32"/>
                    </a:lnTo>
                    <a:lnTo>
                      <a:pt x="129" y="33"/>
                    </a:lnTo>
                    <a:lnTo>
                      <a:pt x="131" y="36"/>
                    </a:lnTo>
                    <a:lnTo>
                      <a:pt x="133" y="32"/>
                    </a:lnTo>
                    <a:lnTo>
                      <a:pt x="136" y="36"/>
                    </a:lnTo>
                    <a:lnTo>
                      <a:pt x="136" y="36"/>
                    </a:lnTo>
                    <a:lnTo>
                      <a:pt x="136" y="33"/>
                    </a:lnTo>
                    <a:lnTo>
                      <a:pt x="135" y="32"/>
                    </a:lnTo>
                    <a:lnTo>
                      <a:pt x="135" y="32"/>
                    </a:lnTo>
                    <a:lnTo>
                      <a:pt x="133" y="30"/>
                    </a:lnTo>
                    <a:lnTo>
                      <a:pt x="136" y="28"/>
                    </a:lnTo>
                    <a:lnTo>
                      <a:pt x="137" y="28"/>
                    </a:lnTo>
                    <a:lnTo>
                      <a:pt x="137" y="28"/>
                    </a:lnTo>
                    <a:lnTo>
                      <a:pt x="139" y="28"/>
                    </a:lnTo>
                    <a:lnTo>
                      <a:pt x="139" y="28"/>
                    </a:lnTo>
                    <a:lnTo>
                      <a:pt x="140" y="28"/>
                    </a:lnTo>
                    <a:lnTo>
                      <a:pt x="142" y="25"/>
                    </a:lnTo>
                    <a:lnTo>
                      <a:pt x="142" y="25"/>
                    </a:lnTo>
                    <a:lnTo>
                      <a:pt x="146" y="22"/>
                    </a:lnTo>
                    <a:lnTo>
                      <a:pt x="153" y="20"/>
                    </a:lnTo>
                    <a:lnTo>
                      <a:pt x="153" y="20"/>
                    </a:lnTo>
                    <a:lnTo>
                      <a:pt x="153" y="20"/>
                    </a:lnTo>
                    <a:lnTo>
                      <a:pt x="156" y="17"/>
                    </a:lnTo>
                    <a:lnTo>
                      <a:pt x="157" y="17"/>
                    </a:lnTo>
                    <a:lnTo>
                      <a:pt x="160" y="16"/>
                    </a:lnTo>
                    <a:lnTo>
                      <a:pt x="160" y="16"/>
                    </a:lnTo>
                    <a:lnTo>
                      <a:pt x="164" y="15"/>
                    </a:lnTo>
                    <a:lnTo>
                      <a:pt x="168" y="15"/>
                    </a:lnTo>
                    <a:lnTo>
                      <a:pt x="168" y="15"/>
                    </a:lnTo>
                    <a:lnTo>
                      <a:pt x="170" y="15"/>
                    </a:lnTo>
                    <a:lnTo>
                      <a:pt x="170" y="15"/>
                    </a:lnTo>
                    <a:lnTo>
                      <a:pt x="169" y="15"/>
                    </a:lnTo>
                    <a:lnTo>
                      <a:pt x="172" y="15"/>
                    </a:lnTo>
                    <a:lnTo>
                      <a:pt x="172" y="15"/>
                    </a:lnTo>
                    <a:lnTo>
                      <a:pt x="170" y="16"/>
                    </a:lnTo>
                    <a:lnTo>
                      <a:pt x="174" y="13"/>
                    </a:lnTo>
                    <a:lnTo>
                      <a:pt x="174" y="13"/>
                    </a:lnTo>
                    <a:lnTo>
                      <a:pt x="174" y="13"/>
                    </a:lnTo>
                    <a:lnTo>
                      <a:pt x="174" y="13"/>
                    </a:lnTo>
                    <a:lnTo>
                      <a:pt x="177" y="12"/>
                    </a:lnTo>
                    <a:lnTo>
                      <a:pt x="181" y="12"/>
                    </a:lnTo>
                    <a:lnTo>
                      <a:pt x="181" y="12"/>
                    </a:lnTo>
                    <a:lnTo>
                      <a:pt x="182" y="12"/>
                    </a:lnTo>
                    <a:lnTo>
                      <a:pt x="182" y="12"/>
                    </a:lnTo>
                    <a:lnTo>
                      <a:pt x="185" y="12"/>
                    </a:lnTo>
                    <a:lnTo>
                      <a:pt x="185" y="12"/>
                    </a:lnTo>
                    <a:lnTo>
                      <a:pt x="186" y="12"/>
                    </a:lnTo>
                    <a:lnTo>
                      <a:pt x="186" y="12"/>
                    </a:lnTo>
                    <a:lnTo>
                      <a:pt x="185" y="12"/>
                    </a:lnTo>
                    <a:lnTo>
                      <a:pt x="183" y="13"/>
                    </a:lnTo>
                    <a:lnTo>
                      <a:pt x="183" y="13"/>
                    </a:lnTo>
                    <a:lnTo>
                      <a:pt x="182" y="17"/>
                    </a:lnTo>
                    <a:lnTo>
                      <a:pt x="187" y="11"/>
                    </a:lnTo>
                    <a:lnTo>
                      <a:pt x="187" y="9"/>
                    </a:lnTo>
                    <a:lnTo>
                      <a:pt x="187" y="8"/>
                    </a:lnTo>
                    <a:lnTo>
                      <a:pt x="187" y="8"/>
                    </a:lnTo>
                    <a:lnTo>
                      <a:pt x="189" y="4"/>
                    </a:lnTo>
                    <a:lnTo>
                      <a:pt x="191" y="3"/>
                    </a:lnTo>
                    <a:lnTo>
                      <a:pt x="195" y="0"/>
                    </a:lnTo>
                    <a:lnTo>
                      <a:pt x="199" y="0"/>
                    </a:lnTo>
                    <a:lnTo>
                      <a:pt x="199" y="0"/>
                    </a:lnTo>
                    <a:lnTo>
                      <a:pt x="203" y="0"/>
                    </a:lnTo>
                    <a:lnTo>
                      <a:pt x="207" y="1"/>
                    </a:lnTo>
                    <a:lnTo>
                      <a:pt x="210" y="4"/>
                    </a:lnTo>
                    <a:lnTo>
                      <a:pt x="213" y="7"/>
                    </a:lnTo>
                    <a:lnTo>
                      <a:pt x="213" y="15"/>
                    </a:lnTo>
                    <a:lnTo>
                      <a:pt x="213" y="15"/>
                    </a:lnTo>
                    <a:lnTo>
                      <a:pt x="210" y="17"/>
                    </a:lnTo>
                    <a:lnTo>
                      <a:pt x="211" y="18"/>
                    </a:lnTo>
                    <a:lnTo>
                      <a:pt x="211" y="18"/>
                    </a:lnTo>
                    <a:lnTo>
                      <a:pt x="213" y="20"/>
                    </a:lnTo>
                    <a:lnTo>
                      <a:pt x="213" y="20"/>
                    </a:lnTo>
                    <a:lnTo>
                      <a:pt x="215" y="21"/>
                    </a:lnTo>
                    <a:lnTo>
                      <a:pt x="219" y="24"/>
                    </a:lnTo>
                    <a:lnTo>
                      <a:pt x="220" y="26"/>
                    </a:lnTo>
                    <a:lnTo>
                      <a:pt x="220" y="26"/>
                    </a:lnTo>
                    <a:lnTo>
                      <a:pt x="222" y="29"/>
                    </a:lnTo>
                    <a:lnTo>
                      <a:pt x="222" y="29"/>
                    </a:lnTo>
                    <a:lnTo>
                      <a:pt x="223" y="32"/>
                    </a:lnTo>
                    <a:lnTo>
                      <a:pt x="226" y="37"/>
                    </a:lnTo>
                    <a:lnTo>
                      <a:pt x="226" y="37"/>
                    </a:lnTo>
                    <a:lnTo>
                      <a:pt x="227" y="37"/>
                    </a:lnTo>
                    <a:lnTo>
                      <a:pt x="227" y="37"/>
                    </a:lnTo>
                    <a:lnTo>
                      <a:pt x="227" y="37"/>
                    </a:lnTo>
                    <a:lnTo>
                      <a:pt x="231" y="34"/>
                    </a:lnTo>
                    <a:lnTo>
                      <a:pt x="235" y="34"/>
                    </a:lnTo>
                    <a:lnTo>
                      <a:pt x="235" y="34"/>
                    </a:lnTo>
                    <a:lnTo>
                      <a:pt x="235" y="34"/>
                    </a:lnTo>
                    <a:lnTo>
                      <a:pt x="238" y="34"/>
                    </a:lnTo>
                    <a:lnTo>
                      <a:pt x="239" y="32"/>
                    </a:lnTo>
                    <a:lnTo>
                      <a:pt x="239" y="32"/>
                    </a:lnTo>
                    <a:lnTo>
                      <a:pt x="242" y="30"/>
                    </a:lnTo>
                    <a:lnTo>
                      <a:pt x="244" y="29"/>
                    </a:lnTo>
                    <a:lnTo>
                      <a:pt x="244" y="29"/>
                    </a:lnTo>
                    <a:lnTo>
                      <a:pt x="246" y="29"/>
                    </a:lnTo>
                    <a:lnTo>
                      <a:pt x="248" y="28"/>
                    </a:lnTo>
                    <a:lnTo>
                      <a:pt x="263" y="28"/>
                    </a:lnTo>
                    <a:lnTo>
                      <a:pt x="264" y="28"/>
                    </a:lnTo>
                    <a:lnTo>
                      <a:pt x="264" y="28"/>
                    </a:lnTo>
                    <a:lnTo>
                      <a:pt x="267" y="29"/>
                    </a:lnTo>
                    <a:lnTo>
                      <a:pt x="267" y="29"/>
                    </a:lnTo>
                    <a:lnTo>
                      <a:pt x="271" y="29"/>
                    </a:lnTo>
                    <a:lnTo>
                      <a:pt x="275" y="32"/>
                    </a:lnTo>
                    <a:lnTo>
                      <a:pt x="277" y="34"/>
                    </a:lnTo>
                    <a:lnTo>
                      <a:pt x="277" y="37"/>
                    </a:lnTo>
                    <a:lnTo>
                      <a:pt x="277" y="37"/>
                    </a:lnTo>
                    <a:lnTo>
                      <a:pt x="277" y="38"/>
                    </a:lnTo>
                    <a:lnTo>
                      <a:pt x="277" y="38"/>
                    </a:lnTo>
                    <a:lnTo>
                      <a:pt x="277" y="37"/>
                    </a:lnTo>
                    <a:lnTo>
                      <a:pt x="280" y="42"/>
                    </a:lnTo>
                    <a:lnTo>
                      <a:pt x="280" y="44"/>
                    </a:lnTo>
                    <a:lnTo>
                      <a:pt x="280" y="44"/>
                    </a:lnTo>
                    <a:lnTo>
                      <a:pt x="281" y="48"/>
                    </a:lnTo>
                    <a:lnTo>
                      <a:pt x="283" y="48"/>
                    </a:lnTo>
                    <a:lnTo>
                      <a:pt x="283" y="48"/>
                    </a:lnTo>
                    <a:lnTo>
                      <a:pt x="284" y="52"/>
                    </a:lnTo>
                    <a:lnTo>
                      <a:pt x="285" y="57"/>
                    </a:lnTo>
                    <a:lnTo>
                      <a:pt x="285" y="57"/>
                    </a:lnTo>
                    <a:lnTo>
                      <a:pt x="285" y="58"/>
                    </a:lnTo>
                    <a:lnTo>
                      <a:pt x="285" y="58"/>
                    </a:lnTo>
                    <a:lnTo>
                      <a:pt x="285" y="59"/>
                    </a:lnTo>
                    <a:lnTo>
                      <a:pt x="285" y="59"/>
                    </a:lnTo>
                    <a:lnTo>
                      <a:pt x="284" y="57"/>
                    </a:lnTo>
                    <a:lnTo>
                      <a:pt x="283" y="57"/>
                    </a:lnTo>
                    <a:lnTo>
                      <a:pt x="287" y="62"/>
                    </a:lnTo>
                    <a:lnTo>
                      <a:pt x="287" y="63"/>
                    </a:lnTo>
                    <a:lnTo>
                      <a:pt x="287" y="63"/>
                    </a:lnTo>
                    <a:lnTo>
                      <a:pt x="289" y="67"/>
                    </a:lnTo>
                    <a:lnTo>
                      <a:pt x="291" y="70"/>
                    </a:lnTo>
                    <a:lnTo>
                      <a:pt x="291" y="73"/>
                    </a:lnTo>
                    <a:lnTo>
                      <a:pt x="287" y="77"/>
                    </a:lnTo>
                    <a:lnTo>
                      <a:pt x="287" y="77"/>
                    </a:lnTo>
                    <a:lnTo>
                      <a:pt x="287" y="78"/>
                    </a:lnTo>
                    <a:lnTo>
                      <a:pt x="287" y="78"/>
                    </a:lnTo>
                    <a:lnTo>
                      <a:pt x="291" y="81"/>
                    </a:lnTo>
                    <a:lnTo>
                      <a:pt x="295" y="86"/>
                    </a:lnTo>
                    <a:lnTo>
                      <a:pt x="295" y="87"/>
                    </a:lnTo>
                    <a:lnTo>
                      <a:pt x="293" y="91"/>
                    </a:lnTo>
                    <a:lnTo>
                      <a:pt x="293" y="91"/>
                    </a:lnTo>
                    <a:lnTo>
                      <a:pt x="291" y="99"/>
                    </a:lnTo>
                    <a:lnTo>
                      <a:pt x="291" y="99"/>
                    </a:lnTo>
                    <a:lnTo>
                      <a:pt x="287" y="107"/>
                    </a:lnTo>
                    <a:lnTo>
                      <a:pt x="287" y="107"/>
                    </a:lnTo>
                    <a:lnTo>
                      <a:pt x="287" y="111"/>
                    </a:lnTo>
                    <a:lnTo>
                      <a:pt x="285" y="114"/>
                    </a:lnTo>
                    <a:lnTo>
                      <a:pt x="285" y="114"/>
                    </a:lnTo>
                    <a:lnTo>
                      <a:pt x="285" y="114"/>
                    </a:lnTo>
                    <a:lnTo>
                      <a:pt x="285" y="114"/>
                    </a:lnTo>
                    <a:lnTo>
                      <a:pt x="285" y="112"/>
                    </a:lnTo>
                    <a:lnTo>
                      <a:pt x="280" y="120"/>
                    </a:lnTo>
                    <a:lnTo>
                      <a:pt x="280" y="120"/>
                    </a:lnTo>
                    <a:lnTo>
                      <a:pt x="283" y="119"/>
                    </a:lnTo>
                    <a:lnTo>
                      <a:pt x="283" y="119"/>
                    </a:lnTo>
                    <a:lnTo>
                      <a:pt x="283" y="119"/>
                    </a:lnTo>
                    <a:lnTo>
                      <a:pt x="283" y="119"/>
                    </a:lnTo>
                    <a:lnTo>
                      <a:pt x="280" y="123"/>
                    </a:lnTo>
                    <a:lnTo>
                      <a:pt x="279" y="124"/>
                    </a:lnTo>
                    <a:lnTo>
                      <a:pt x="279" y="124"/>
                    </a:lnTo>
                    <a:lnTo>
                      <a:pt x="279" y="124"/>
                    </a:lnTo>
                    <a:lnTo>
                      <a:pt x="279" y="124"/>
                    </a:lnTo>
                    <a:lnTo>
                      <a:pt x="276" y="128"/>
                    </a:lnTo>
                    <a:lnTo>
                      <a:pt x="276" y="127"/>
                    </a:lnTo>
                    <a:lnTo>
                      <a:pt x="273" y="131"/>
                    </a:lnTo>
                    <a:lnTo>
                      <a:pt x="273" y="131"/>
                    </a:lnTo>
                    <a:lnTo>
                      <a:pt x="275" y="131"/>
                    </a:lnTo>
                    <a:lnTo>
                      <a:pt x="275" y="131"/>
                    </a:lnTo>
                    <a:lnTo>
                      <a:pt x="273" y="132"/>
                    </a:lnTo>
                    <a:lnTo>
                      <a:pt x="273" y="137"/>
                    </a:lnTo>
                    <a:lnTo>
                      <a:pt x="273" y="137"/>
                    </a:lnTo>
                    <a:lnTo>
                      <a:pt x="273" y="140"/>
                    </a:lnTo>
                    <a:lnTo>
                      <a:pt x="273" y="140"/>
                    </a:lnTo>
                    <a:lnTo>
                      <a:pt x="273" y="140"/>
                    </a:lnTo>
                    <a:lnTo>
                      <a:pt x="275" y="141"/>
                    </a:lnTo>
                    <a:lnTo>
                      <a:pt x="275" y="141"/>
                    </a:lnTo>
                    <a:lnTo>
                      <a:pt x="275" y="140"/>
                    </a:lnTo>
                    <a:lnTo>
                      <a:pt x="275" y="140"/>
                    </a:lnTo>
                    <a:lnTo>
                      <a:pt x="276" y="141"/>
                    </a:lnTo>
                    <a:lnTo>
                      <a:pt x="276" y="145"/>
                    </a:lnTo>
                    <a:lnTo>
                      <a:pt x="276" y="147"/>
                    </a:lnTo>
                    <a:lnTo>
                      <a:pt x="276" y="147"/>
                    </a:lnTo>
                    <a:lnTo>
                      <a:pt x="283" y="143"/>
                    </a:lnTo>
                    <a:lnTo>
                      <a:pt x="288" y="141"/>
                    </a:lnTo>
                    <a:lnTo>
                      <a:pt x="288" y="141"/>
                    </a:lnTo>
                    <a:lnTo>
                      <a:pt x="292" y="143"/>
                    </a:lnTo>
                    <a:lnTo>
                      <a:pt x="292" y="143"/>
                    </a:lnTo>
                    <a:lnTo>
                      <a:pt x="289" y="143"/>
                    </a:lnTo>
                    <a:lnTo>
                      <a:pt x="296" y="148"/>
                    </a:lnTo>
                    <a:lnTo>
                      <a:pt x="296" y="152"/>
                    </a:lnTo>
                    <a:lnTo>
                      <a:pt x="296" y="152"/>
                    </a:lnTo>
                    <a:lnTo>
                      <a:pt x="296" y="152"/>
                    </a:lnTo>
                    <a:lnTo>
                      <a:pt x="298" y="155"/>
                    </a:lnTo>
                    <a:lnTo>
                      <a:pt x="301" y="157"/>
                    </a:lnTo>
                    <a:lnTo>
                      <a:pt x="301" y="157"/>
                    </a:lnTo>
                    <a:lnTo>
                      <a:pt x="300" y="156"/>
                    </a:lnTo>
                    <a:lnTo>
                      <a:pt x="297" y="155"/>
                    </a:lnTo>
                    <a:lnTo>
                      <a:pt x="302" y="159"/>
                    </a:lnTo>
                    <a:lnTo>
                      <a:pt x="302" y="159"/>
                    </a:lnTo>
                    <a:lnTo>
                      <a:pt x="304" y="161"/>
                    </a:lnTo>
                    <a:lnTo>
                      <a:pt x="304" y="161"/>
                    </a:lnTo>
                    <a:lnTo>
                      <a:pt x="305" y="164"/>
                    </a:lnTo>
                    <a:lnTo>
                      <a:pt x="305" y="169"/>
                    </a:lnTo>
                    <a:lnTo>
                      <a:pt x="305" y="169"/>
                    </a:lnTo>
                    <a:lnTo>
                      <a:pt x="306" y="171"/>
                    </a:lnTo>
                    <a:lnTo>
                      <a:pt x="306" y="171"/>
                    </a:lnTo>
                    <a:lnTo>
                      <a:pt x="306" y="176"/>
                    </a:lnTo>
                    <a:lnTo>
                      <a:pt x="306" y="178"/>
                    </a:lnTo>
                    <a:lnTo>
                      <a:pt x="304" y="181"/>
                    </a:lnTo>
                    <a:lnTo>
                      <a:pt x="300" y="184"/>
                    </a:lnTo>
                    <a:lnTo>
                      <a:pt x="300" y="184"/>
                    </a:lnTo>
                    <a:lnTo>
                      <a:pt x="300" y="184"/>
                    </a:lnTo>
                    <a:lnTo>
                      <a:pt x="297" y="185"/>
                    </a:lnTo>
                    <a:lnTo>
                      <a:pt x="295" y="188"/>
                    </a:lnTo>
                    <a:lnTo>
                      <a:pt x="295" y="188"/>
                    </a:lnTo>
                    <a:lnTo>
                      <a:pt x="293" y="190"/>
                    </a:lnTo>
                    <a:lnTo>
                      <a:pt x="293" y="190"/>
                    </a:lnTo>
                    <a:lnTo>
                      <a:pt x="293" y="192"/>
                    </a:lnTo>
                    <a:lnTo>
                      <a:pt x="293" y="192"/>
                    </a:lnTo>
                    <a:lnTo>
                      <a:pt x="293" y="192"/>
                    </a:lnTo>
                    <a:lnTo>
                      <a:pt x="293" y="192"/>
                    </a:lnTo>
                    <a:lnTo>
                      <a:pt x="292" y="190"/>
                    </a:lnTo>
                    <a:lnTo>
                      <a:pt x="292" y="190"/>
                    </a:lnTo>
                    <a:lnTo>
                      <a:pt x="292" y="192"/>
                    </a:lnTo>
                    <a:lnTo>
                      <a:pt x="295" y="194"/>
                    </a:lnTo>
                    <a:lnTo>
                      <a:pt x="295" y="197"/>
                    </a:lnTo>
                    <a:lnTo>
                      <a:pt x="295" y="197"/>
                    </a:lnTo>
                    <a:lnTo>
                      <a:pt x="295" y="198"/>
                    </a:lnTo>
                    <a:lnTo>
                      <a:pt x="295" y="198"/>
                    </a:lnTo>
                    <a:lnTo>
                      <a:pt x="295" y="200"/>
                    </a:lnTo>
                    <a:lnTo>
                      <a:pt x="295" y="200"/>
                    </a:lnTo>
                    <a:lnTo>
                      <a:pt x="293" y="197"/>
                    </a:lnTo>
                    <a:lnTo>
                      <a:pt x="291" y="196"/>
                    </a:lnTo>
                    <a:lnTo>
                      <a:pt x="296" y="201"/>
                    </a:lnTo>
                    <a:lnTo>
                      <a:pt x="296" y="209"/>
                    </a:lnTo>
                    <a:lnTo>
                      <a:pt x="296" y="209"/>
                    </a:lnTo>
                    <a:lnTo>
                      <a:pt x="296" y="210"/>
                    </a:lnTo>
                    <a:lnTo>
                      <a:pt x="296" y="210"/>
                    </a:lnTo>
                    <a:lnTo>
                      <a:pt x="295" y="210"/>
                    </a:lnTo>
                    <a:lnTo>
                      <a:pt x="298" y="215"/>
                    </a:lnTo>
                    <a:lnTo>
                      <a:pt x="298" y="215"/>
                    </a:lnTo>
                    <a:lnTo>
                      <a:pt x="297" y="219"/>
                    </a:lnTo>
                    <a:lnTo>
                      <a:pt x="296" y="222"/>
                    </a:lnTo>
                    <a:lnTo>
                      <a:pt x="296" y="222"/>
                    </a:lnTo>
                    <a:lnTo>
                      <a:pt x="306" y="223"/>
                    </a:lnTo>
                    <a:lnTo>
                      <a:pt x="306" y="223"/>
                    </a:lnTo>
                    <a:lnTo>
                      <a:pt x="310" y="223"/>
                    </a:lnTo>
                    <a:lnTo>
                      <a:pt x="314" y="222"/>
                    </a:lnTo>
                    <a:lnTo>
                      <a:pt x="324" y="226"/>
                    </a:lnTo>
                    <a:lnTo>
                      <a:pt x="324" y="226"/>
                    </a:lnTo>
                    <a:lnTo>
                      <a:pt x="322" y="223"/>
                    </a:lnTo>
                    <a:lnTo>
                      <a:pt x="322" y="223"/>
                    </a:lnTo>
                    <a:lnTo>
                      <a:pt x="322" y="223"/>
                    </a:lnTo>
                    <a:lnTo>
                      <a:pt x="322" y="223"/>
                    </a:lnTo>
                    <a:lnTo>
                      <a:pt x="322" y="223"/>
                    </a:lnTo>
                    <a:lnTo>
                      <a:pt x="322" y="223"/>
                    </a:lnTo>
                    <a:lnTo>
                      <a:pt x="320" y="222"/>
                    </a:lnTo>
                    <a:lnTo>
                      <a:pt x="320" y="222"/>
                    </a:lnTo>
                    <a:lnTo>
                      <a:pt x="321" y="222"/>
                    </a:lnTo>
                    <a:lnTo>
                      <a:pt x="322" y="223"/>
                    </a:lnTo>
                    <a:lnTo>
                      <a:pt x="322" y="223"/>
                    </a:lnTo>
                    <a:lnTo>
                      <a:pt x="324" y="223"/>
                    </a:lnTo>
                    <a:lnTo>
                      <a:pt x="324" y="223"/>
                    </a:lnTo>
                    <a:lnTo>
                      <a:pt x="326" y="223"/>
                    </a:lnTo>
                    <a:lnTo>
                      <a:pt x="326" y="223"/>
                    </a:lnTo>
                    <a:lnTo>
                      <a:pt x="328" y="223"/>
                    </a:lnTo>
                    <a:lnTo>
                      <a:pt x="330" y="223"/>
                    </a:lnTo>
                    <a:lnTo>
                      <a:pt x="334" y="226"/>
                    </a:lnTo>
                    <a:lnTo>
                      <a:pt x="334" y="226"/>
                    </a:lnTo>
                    <a:lnTo>
                      <a:pt x="337" y="229"/>
                    </a:lnTo>
                    <a:lnTo>
                      <a:pt x="337" y="231"/>
                    </a:lnTo>
                    <a:lnTo>
                      <a:pt x="337" y="234"/>
                    </a:lnTo>
                    <a:lnTo>
                      <a:pt x="337" y="234"/>
                    </a:lnTo>
                    <a:lnTo>
                      <a:pt x="337" y="234"/>
                    </a:lnTo>
                    <a:lnTo>
                      <a:pt x="337" y="234"/>
                    </a:lnTo>
                    <a:lnTo>
                      <a:pt x="338" y="234"/>
                    </a:lnTo>
                    <a:lnTo>
                      <a:pt x="338" y="234"/>
                    </a:lnTo>
                    <a:lnTo>
                      <a:pt x="342" y="234"/>
                    </a:lnTo>
                    <a:lnTo>
                      <a:pt x="342" y="234"/>
                    </a:lnTo>
                    <a:lnTo>
                      <a:pt x="341" y="234"/>
                    </a:lnTo>
                    <a:lnTo>
                      <a:pt x="345" y="233"/>
                    </a:lnTo>
                    <a:lnTo>
                      <a:pt x="349" y="233"/>
                    </a:lnTo>
                    <a:lnTo>
                      <a:pt x="354" y="235"/>
                    </a:lnTo>
                    <a:lnTo>
                      <a:pt x="354" y="235"/>
                    </a:lnTo>
                    <a:lnTo>
                      <a:pt x="353" y="234"/>
                    </a:lnTo>
                    <a:lnTo>
                      <a:pt x="353" y="234"/>
                    </a:lnTo>
                    <a:lnTo>
                      <a:pt x="353" y="234"/>
                    </a:lnTo>
                    <a:lnTo>
                      <a:pt x="353" y="234"/>
                    </a:lnTo>
                    <a:lnTo>
                      <a:pt x="355" y="234"/>
                    </a:lnTo>
                    <a:lnTo>
                      <a:pt x="355" y="234"/>
                    </a:lnTo>
                    <a:lnTo>
                      <a:pt x="359" y="234"/>
                    </a:lnTo>
                    <a:lnTo>
                      <a:pt x="359" y="234"/>
                    </a:lnTo>
                    <a:lnTo>
                      <a:pt x="362" y="234"/>
                    </a:lnTo>
                    <a:lnTo>
                      <a:pt x="371" y="234"/>
                    </a:lnTo>
                    <a:lnTo>
                      <a:pt x="377" y="239"/>
                    </a:lnTo>
                    <a:lnTo>
                      <a:pt x="377" y="239"/>
                    </a:lnTo>
                    <a:lnTo>
                      <a:pt x="378" y="242"/>
                    </a:lnTo>
                    <a:lnTo>
                      <a:pt x="379" y="245"/>
                    </a:lnTo>
                    <a:lnTo>
                      <a:pt x="379" y="245"/>
                    </a:lnTo>
                    <a:lnTo>
                      <a:pt x="382" y="247"/>
                    </a:lnTo>
                    <a:lnTo>
                      <a:pt x="383" y="250"/>
                    </a:lnTo>
                    <a:lnTo>
                      <a:pt x="383" y="250"/>
                    </a:lnTo>
                    <a:lnTo>
                      <a:pt x="383" y="255"/>
                    </a:lnTo>
                    <a:lnTo>
                      <a:pt x="382" y="258"/>
                    </a:lnTo>
                    <a:lnTo>
                      <a:pt x="379" y="262"/>
                    </a:lnTo>
                    <a:lnTo>
                      <a:pt x="379" y="262"/>
                    </a:lnTo>
                    <a:lnTo>
                      <a:pt x="379" y="260"/>
                    </a:lnTo>
                    <a:lnTo>
                      <a:pt x="379" y="260"/>
                    </a:lnTo>
                    <a:lnTo>
                      <a:pt x="379" y="262"/>
                    </a:lnTo>
                    <a:lnTo>
                      <a:pt x="379" y="263"/>
                    </a:lnTo>
                    <a:lnTo>
                      <a:pt x="379" y="264"/>
                    </a:lnTo>
                    <a:lnTo>
                      <a:pt x="379" y="264"/>
                    </a:lnTo>
                    <a:lnTo>
                      <a:pt x="379" y="266"/>
                    </a:lnTo>
                    <a:lnTo>
                      <a:pt x="379" y="266"/>
                    </a:lnTo>
                    <a:lnTo>
                      <a:pt x="380" y="268"/>
                    </a:lnTo>
                    <a:lnTo>
                      <a:pt x="380" y="272"/>
                    </a:lnTo>
                    <a:lnTo>
                      <a:pt x="380" y="272"/>
                    </a:lnTo>
                    <a:lnTo>
                      <a:pt x="380" y="274"/>
                    </a:lnTo>
                    <a:lnTo>
                      <a:pt x="380" y="274"/>
                    </a:lnTo>
                    <a:lnTo>
                      <a:pt x="382" y="275"/>
                    </a:lnTo>
                    <a:lnTo>
                      <a:pt x="382" y="275"/>
                    </a:lnTo>
                    <a:lnTo>
                      <a:pt x="384" y="272"/>
                    </a:lnTo>
                    <a:lnTo>
                      <a:pt x="387" y="271"/>
                    </a:lnTo>
                    <a:lnTo>
                      <a:pt x="387" y="271"/>
                    </a:lnTo>
                    <a:lnTo>
                      <a:pt x="387" y="271"/>
                    </a:lnTo>
                    <a:lnTo>
                      <a:pt x="392" y="272"/>
                    </a:lnTo>
                    <a:lnTo>
                      <a:pt x="395" y="274"/>
                    </a:lnTo>
                    <a:lnTo>
                      <a:pt x="395" y="274"/>
                    </a:lnTo>
                    <a:lnTo>
                      <a:pt x="395" y="274"/>
                    </a:lnTo>
                    <a:lnTo>
                      <a:pt x="396" y="274"/>
                    </a:lnTo>
                    <a:lnTo>
                      <a:pt x="399" y="276"/>
                    </a:lnTo>
                    <a:lnTo>
                      <a:pt x="399" y="282"/>
                    </a:lnTo>
                    <a:lnTo>
                      <a:pt x="399" y="276"/>
                    </a:lnTo>
                    <a:lnTo>
                      <a:pt x="402" y="278"/>
                    </a:lnTo>
                    <a:lnTo>
                      <a:pt x="402" y="278"/>
                    </a:lnTo>
                    <a:lnTo>
                      <a:pt x="402" y="278"/>
                    </a:lnTo>
                    <a:lnTo>
                      <a:pt x="399" y="276"/>
                    </a:lnTo>
                    <a:lnTo>
                      <a:pt x="399" y="275"/>
                    </a:lnTo>
                    <a:lnTo>
                      <a:pt x="400" y="275"/>
                    </a:lnTo>
                    <a:lnTo>
                      <a:pt x="400" y="275"/>
                    </a:lnTo>
                    <a:lnTo>
                      <a:pt x="402" y="275"/>
                    </a:lnTo>
                    <a:lnTo>
                      <a:pt x="404" y="275"/>
                    </a:lnTo>
                    <a:lnTo>
                      <a:pt x="404" y="275"/>
                    </a:lnTo>
                    <a:lnTo>
                      <a:pt x="406" y="275"/>
                    </a:lnTo>
                    <a:lnTo>
                      <a:pt x="406" y="275"/>
                    </a:lnTo>
                    <a:lnTo>
                      <a:pt x="410" y="276"/>
                    </a:lnTo>
                    <a:lnTo>
                      <a:pt x="411" y="278"/>
                    </a:lnTo>
                    <a:lnTo>
                      <a:pt x="412" y="279"/>
                    </a:lnTo>
                    <a:lnTo>
                      <a:pt x="432" y="279"/>
                    </a:lnTo>
                    <a:lnTo>
                      <a:pt x="432" y="279"/>
                    </a:lnTo>
                    <a:lnTo>
                      <a:pt x="435" y="279"/>
                    </a:lnTo>
                    <a:lnTo>
                      <a:pt x="435" y="279"/>
                    </a:lnTo>
                    <a:lnTo>
                      <a:pt x="439" y="280"/>
                    </a:lnTo>
                    <a:lnTo>
                      <a:pt x="441" y="282"/>
                    </a:lnTo>
                    <a:lnTo>
                      <a:pt x="441" y="282"/>
                    </a:lnTo>
                    <a:lnTo>
                      <a:pt x="443" y="280"/>
                    </a:lnTo>
                    <a:lnTo>
                      <a:pt x="443" y="280"/>
                    </a:lnTo>
                    <a:lnTo>
                      <a:pt x="445" y="276"/>
                    </a:lnTo>
                    <a:lnTo>
                      <a:pt x="445" y="276"/>
                    </a:lnTo>
                    <a:lnTo>
                      <a:pt x="449" y="275"/>
                    </a:lnTo>
                    <a:lnTo>
                      <a:pt x="453" y="274"/>
                    </a:lnTo>
                    <a:lnTo>
                      <a:pt x="453" y="274"/>
                    </a:lnTo>
                    <a:lnTo>
                      <a:pt x="453" y="274"/>
                    </a:lnTo>
                    <a:lnTo>
                      <a:pt x="456" y="274"/>
                    </a:lnTo>
                    <a:lnTo>
                      <a:pt x="456" y="274"/>
                    </a:lnTo>
                    <a:lnTo>
                      <a:pt x="456" y="274"/>
                    </a:lnTo>
                    <a:lnTo>
                      <a:pt x="456" y="272"/>
                    </a:lnTo>
                    <a:lnTo>
                      <a:pt x="460" y="270"/>
                    </a:lnTo>
                    <a:lnTo>
                      <a:pt x="460" y="270"/>
                    </a:lnTo>
                    <a:lnTo>
                      <a:pt x="462" y="268"/>
                    </a:lnTo>
                    <a:lnTo>
                      <a:pt x="462" y="268"/>
                    </a:lnTo>
                    <a:lnTo>
                      <a:pt x="465" y="270"/>
                    </a:lnTo>
                    <a:lnTo>
                      <a:pt x="465" y="270"/>
                    </a:lnTo>
                    <a:lnTo>
                      <a:pt x="466" y="270"/>
                    </a:lnTo>
                    <a:lnTo>
                      <a:pt x="466" y="270"/>
                    </a:lnTo>
                    <a:lnTo>
                      <a:pt x="465" y="270"/>
                    </a:lnTo>
                    <a:lnTo>
                      <a:pt x="464" y="271"/>
                    </a:lnTo>
                    <a:lnTo>
                      <a:pt x="464" y="271"/>
                    </a:lnTo>
                    <a:lnTo>
                      <a:pt x="462" y="274"/>
                    </a:lnTo>
                    <a:lnTo>
                      <a:pt x="468" y="268"/>
                    </a:lnTo>
                    <a:lnTo>
                      <a:pt x="469" y="268"/>
                    </a:lnTo>
                    <a:lnTo>
                      <a:pt x="469" y="268"/>
                    </a:lnTo>
                    <a:lnTo>
                      <a:pt x="470" y="268"/>
                    </a:lnTo>
                    <a:lnTo>
                      <a:pt x="470" y="268"/>
                    </a:lnTo>
                    <a:lnTo>
                      <a:pt x="469" y="268"/>
                    </a:lnTo>
                    <a:lnTo>
                      <a:pt x="468" y="272"/>
                    </a:lnTo>
                    <a:lnTo>
                      <a:pt x="472" y="268"/>
                    </a:lnTo>
                    <a:lnTo>
                      <a:pt x="472" y="268"/>
                    </a:lnTo>
                    <a:lnTo>
                      <a:pt x="472" y="268"/>
                    </a:lnTo>
                    <a:lnTo>
                      <a:pt x="473" y="268"/>
                    </a:lnTo>
                    <a:lnTo>
                      <a:pt x="472" y="267"/>
                    </a:lnTo>
                    <a:lnTo>
                      <a:pt x="473" y="267"/>
                    </a:lnTo>
                    <a:lnTo>
                      <a:pt x="473" y="267"/>
                    </a:lnTo>
                    <a:lnTo>
                      <a:pt x="473" y="267"/>
                    </a:lnTo>
                    <a:lnTo>
                      <a:pt x="473" y="267"/>
                    </a:lnTo>
                    <a:lnTo>
                      <a:pt x="472" y="267"/>
                    </a:lnTo>
                    <a:lnTo>
                      <a:pt x="472" y="267"/>
                    </a:lnTo>
                    <a:lnTo>
                      <a:pt x="472" y="267"/>
                    </a:lnTo>
                    <a:lnTo>
                      <a:pt x="473" y="267"/>
                    </a:lnTo>
                    <a:lnTo>
                      <a:pt x="473" y="267"/>
                    </a:lnTo>
                    <a:lnTo>
                      <a:pt x="473" y="267"/>
                    </a:lnTo>
                    <a:lnTo>
                      <a:pt x="473" y="267"/>
                    </a:lnTo>
                    <a:lnTo>
                      <a:pt x="473" y="264"/>
                    </a:lnTo>
                    <a:lnTo>
                      <a:pt x="473" y="263"/>
                    </a:lnTo>
                    <a:lnTo>
                      <a:pt x="476" y="259"/>
                    </a:lnTo>
                    <a:lnTo>
                      <a:pt x="476" y="259"/>
                    </a:lnTo>
                    <a:lnTo>
                      <a:pt x="478" y="258"/>
                    </a:lnTo>
                    <a:lnTo>
                      <a:pt x="482" y="256"/>
                    </a:lnTo>
                    <a:lnTo>
                      <a:pt x="488" y="260"/>
                    </a:lnTo>
                    <a:lnTo>
                      <a:pt x="488" y="260"/>
                    </a:lnTo>
                    <a:lnTo>
                      <a:pt x="489" y="263"/>
                    </a:lnTo>
                    <a:lnTo>
                      <a:pt x="489" y="267"/>
                    </a:lnTo>
                    <a:lnTo>
                      <a:pt x="489" y="267"/>
                    </a:lnTo>
                    <a:lnTo>
                      <a:pt x="488" y="267"/>
                    </a:lnTo>
                    <a:lnTo>
                      <a:pt x="488" y="267"/>
                    </a:lnTo>
                    <a:lnTo>
                      <a:pt x="488" y="267"/>
                    </a:lnTo>
                    <a:lnTo>
                      <a:pt x="488" y="267"/>
                    </a:lnTo>
                    <a:lnTo>
                      <a:pt x="486" y="264"/>
                    </a:lnTo>
                    <a:lnTo>
                      <a:pt x="484" y="264"/>
                    </a:lnTo>
                    <a:lnTo>
                      <a:pt x="489" y="271"/>
                    </a:lnTo>
                    <a:lnTo>
                      <a:pt x="489" y="271"/>
                    </a:lnTo>
                    <a:lnTo>
                      <a:pt x="489" y="268"/>
                    </a:lnTo>
                    <a:lnTo>
                      <a:pt x="490" y="270"/>
                    </a:lnTo>
                    <a:lnTo>
                      <a:pt x="490" y="270"/>
                    </a:lnTo>
                    <a:lnTo>
                      <a:pt x="490" y="275"/>
                    </a:lnTo>
                    <a:lnTo>
                      <a:pt x="490" y="278"/>
                    </a:lnTo>
                    <a:lnTo>
                      <a:pt x="490" y="282"/>
                    </a:lnTo>
                    <a:lnTo>
                      <a:pt x="484" y="287"/>
                    </a:lnTo>
                    <a:lnTo>
                      <a:pt x="484" y="287"/>
                    </a:lnTo>
                    <a:lnTo>
                      <a:pt x="482" y="287"/>
                    </a:lnTo>
                    <a:lnTo>
                      <a:pt x="482" y="287"/>
                    </a:lnTo>
                    <a:lnTo>
                      <a:pt x="484" y="287"/>
                    </a:lnTo>
                    <a:lnTo>
                      <a:pt x="486" y="284"/>
                    </a:lnTo>
                    <a:lnTo>
                      <a:pt x="482" y="287"/>
                    </a:lnTo>
                    <a:lnTo>
                      <a:pt x="482" y="288"/>
                    </a:lnTo>
                    <a:lnTo>
                      <a:pt x="482" y="288"/>
                    </a:lnTo>
                    <a:lnTo>
                      <a:pt x="481" y="290"/>
                    </a:lnTo>
                    <a:lnTo>
                      <a:pt x="481" y="290"/>
                    </a:lnTo>
                    <a:lnTo>
                      <a:pt x="481" y="290"/>
                    </a:lnTo>
                    <a:lnTo>
                      <a:pt x="481" y="290"/>
                    </a:lnTo>
                    <a:lnTo>
                      <a:pt x="480" y="292"/>
                    </a:lnTo>
                    <a:lnTo>
                      <a:pt x="480" y="292"/>
                    </a:lnTo>
                    <a:lnTo>
                      <a:pt x="482" y="295"/>
                    </a:lnTo>
                    <a:lnTo>
                      <a:pt x="484" y="297"/>
                    </a:lnTo>
                    <a:lnTo>
                      <a:pt x="485" y="300"/>
                    </a:lnTo>
                    <a:lnTo>
                      <a:pt x="482" y="304"/>
                    </a:lnTo>
                    <a:lnTo>
                      <a:pt x="482" y="304"/>
                    </a:lnTo>
                    <a:lnTo>
                      <a:pt x="484" y="305"/>
                    </a:lnTo>
                    <a:lnTo>
                      <a:pt x="484" y="305"/>
                    </a:lnTo>
                    <a:lnTo>
                      <a:pt x="486" y="311"/>
                    </a:lnTo>
                    <a:lnTo>
                      <a:pt x="488" y="312"/>
                    </a:lnTo>
                    <a:lnTo>
                      <a:pt x="489" y="316"/>
                    </a:lnTo>
                    <a:lnTo>
                      <a:pt x="489" y="317"/>
                    </a:lnTo>
                    <a:lnTo>
                      <a:pt x="488" y="319"/>
                    </a:lnTo>
                    <a:lnTo>
                      <a:pt x="488" y="319"/>
                    </a:lnTo>
                    <a:lnTo>
                      <a:pt x="486" y="323"/>
                    </a:lnTo>
                    <a:lnTo>
                      <a:pt x="484" y="325"/>
                    </a:lnTo>
                    <a:lnTo>
                      <a:pt x="478" y="329"/>
                    </a:lnTo>
                    <a:lnTo>
                      <a:pt x="478" y="329"/>
                    </a:lnTo>
                    <a:lnTo>
                      <a:pt x="476" y="330"/>
                    </a:lnTo>
                    <a:lnTo>
                      <a:pt x="472" y="333"/>
                    </a:lnTo>
                    <a:lnTo>
                      <a:pt x="472" y="333"/>
                    </a:lnTo>
                    <a:lnTo>
                      <a:pt x="472" y="333"/>
                    </a:lnTo>
                    <a:lnTo>
                      <a:pt x="469" y="334"/>
                    </a:lnTo>
                    <a:lnTo>
                      <a:pt x="468" y="336"/>
                    </a:lnTo>
                    <a:lnTo>
                      <a:pt x="462" y="338"/>
                    </a:lnTo>
                    <a:lnTo>
                      <a:pt x="462" y="338"/>
                    </a:lnTo>
                    <a:lnTo>
                      <a:pt x="462" y="338"/>
                    </a:lnTo>
                    <a:lnTo>
                      <a:pt x="462" y="338"/>
                    </a:lnTo>
                    <a:lnTo>
                      <a:pt x="462" y="338"/>
                    </a:lnTo>
                    <a:lnTo>
                      <a:pt x="462" y="344"/>
                    </a:lnTo>
                    <a:lnTo>
                      <a:pt x="457" y="349"/>
                    </a:lnTo>
                    <a:lnTo>
                      <a:pt x="456" y="349"/>
                    </a:lnTo>
                    <a:lnTo>
                      <a:pt x="456" y="349"/>
                    </a:lnTo>
                    <a:lnTo>
                      <a:pt x="456" y="349"/>
                    </a:lnTo>
                    <a:lnTo>
                      <a:pt x="455" y="350"/>
                    </a:lnTo>
                    <a:lnTo>
                      <a:pt x="455" y="350"/>
                    </a:lnTo>
                    <a:lnTo>
                      <a:pt x="453" y="352"/>
                    </a:lnTo>
                    <a:lnTo>
                      <a:pt x="448" y="352"/>
                    </a:lnTo>
                    <a:lnTo>
                      <a:pt x="448" y="352"/>
                    </a:lnTo>
                    <a:lnTo>
                      <a:pt x="448" y="368"/>
                    </a:lnTo>
                    <a:lnTo>
                      <a:pt x="448" y="368"/>
                    </a:lnTo>
                    <a:lnTo>
                      <a:pt x="448" y="369"/>
                    </a:lnTo>
                    <a:lnTo>
                      <a:pt x="448" y="369"/>
                    </a:lnTo>
                    <a:lnTo>
                      <a:pt x="452" y="373"/>
                    </a:lnTo>
                    <a:lnTo>
                      <a:pt x="455" y="378"/>
                    </a:lnTo>
                    <a:lnTo>
                      <a:pt x="455" y="379"/>
                    </a:lnTo>
                    <a:lnTo>
                      <a:pt x="455" y="379"/>
                    </a:lnTo>
                    <a:lnTo>
                      <a:pt x="455" y="379"/>
                    </a:lnTo>
                    <a:lnTo>
                      <a:pt x="453" y="385"/>
                    </a:lnTo>
                    <a:lnTo>
                      <a:pt x="453" y="387"/>
                    </a:lnTo>
                    <a:lnTo>
                      <a:pt x="452" y="387"/>
                    </a:lnTo>
                    <a:lnTo>
                      <a:pt x="452" y="387"/>
                    </a:lnTo>
                    <a:lnTo>
                      <a:pt x="452" y="387"/>
                    </a:lnTo>
                    <a:lnTo>
                      <a:pt x="451" y="389"/>
                    </a:lnTo>
                    <a:lnTo>
                      <a:pt x="447" y="391"/>
                    </a:lnTo>
                    <a:lnTo>
                      <a:pt x="447" y="391"/>
                    </a:lnTo>
                    <a:lnTo>
                      <a:pt x="447" y="391"/>
                    </a:lnTo>
                    <a:lnTo>
                      <a:pt x="447" y="391"/>
                    </a:lnTo>
                    <a:lnTo>
                      <a:pt x="445" y="393"/>
                    </a:lnTo>
                    <a:lnTo>
                      <a:pt x="445" y="393"/>
                    </a:lnTo>
                    <a:lnTo>
                      <a:pt x="445" y="393"/>
                    </a:lnTo>
                    <a:lnTo>
                      <a:pt x="445" y="399"/>
                    </a:lnTo>
                    <a:lnTo>
                      <a:pt x="445" y="399"/>
                    </a:lnTo>
                    <a:lnTo>
                      <a:pt x="447" y="411"/>
                    </a:lnTo>
                    <a:lnTo>
                      <a:pt x="443" y="416"/>
                    </a:lnTo>
                    <a:lnTo>
                      <a:pt x="443" y="416"/>
                    </a:lnTo>
                    <a:lnTo>
                      <a:pt x="443" y="416"/>
                    </a:lnTo>
                    <a:lnTo>
                      <a:pt x="443" y="416"/>
                    </a:lnTo>
                    <a:lnTo>
                      <a:pt x="444" y="415"/>
                    </a:lnTo>
                    <a:lnTo>
                      <a:pt x="437" y="419"/>
                    </a:lnTo>
                    <a:lnTo>
                      <a:pt x="436" y="419"/>
                    </a:lnTo>
                    <a:lnTo>
                      <a:pt x="436" y="419"/>
                    </a:lnTo>
                    <a:lnTo>
                      <a:pt x="436" y="419"/>
                    </a:lnTo>
                    <a:lnTo>
                      <a:pt x="436" y="419"/>
                    </a:lnTo>
                    <a:lnTo>
                      <a:pt x="436" y="419"/>
                    </a:lnTo>
                    <a:lnTo>
                      <a:pt x="436" y="420"/>
                    </a:lnTo>
                    <a:lnTo>
                      <a:pt x="436" y="420"/>
                    </a:lnTo>
                    <a:lnTo>
                      <a:pt x="436" y="419"/>
                    </a:lnTo>
                    <a:lnTo>
                      <a:pt x="436" y="419"/>
                    </a:lnTo>
                    <a:lnTo>
                      <a:pt x="435" y="420"/>
                    </a:lnTo>
                    <a:lnTo>
                      <a:pt x="437" y="422"/>
                    </a:lnTo>
                    <a:lnTo>
                      <a:pt x="437" y="423"/>
                    </a:lnTo>
                    <a:lnTo>
                      <a:pt x="437" y="423"/>
                    </a:lnTo>
                    <a:lnTo>
                      <a:pt x="439" y="423"/>
                    </a:lnTo>
                    <a:lnTo>
                      <a:pt x="439" y="423"/>
                    </a:lnTo>
                    <a:lnTo>
                      <a:pt x="441" y="423"/>
                    </a:lnTo>
                    <a:lnTo>
                      <a:pt x="444" y="424"/>
                    </a:lnTo>
                    <a:lnTo>
                      <a:pt x="444" y="424"/>
                    </a:lnTo>
                    <a:lnTo>
                      <a:pt x="444" y="424"/>
                    </a:lnTo>
                    <a:lnTo>
                      <a:pt x="444" y="424"/>
                    </a:lnTo>
                    <a:lnTo>
                      <a:pt x="441" y="424"/>
                    </a:lnTo>
                    <a:lnTo>
                      <a:pt x="447" y="430"/>
                    </a:lnTo>
                    <a:lnTo>
                      <a:pt x="447" y="430"/>
                    </a:lnTo>
                    <a:lnTo>
                      <a:pt x="447" y="430"/>
                    </a:lnTo>
                    <a:lnTo>
                      <a:pt x="447" y="428"/>
                    </a:lnTo>
                    <a:lnTo>
                      <a:pt x="447" y="428"/>
                    </a:lnTo>
                    <a:lnTo>
                      <a:pt x="447" y="428"/>
                    </a:lnTo>
                    <a:lnTo>
                      <a:pt x="447" y="428"/>
                    </a:lnTo>
                    <a:lnTo>
                      <a:pt x="448" y="430"/>
                    </a:lnTo>
                    <a:lnTo>
                      <a:pt x="448" y="430"/>
                    </a:lnTo>
                    <a:lnTo>
                      <a:pt x="452" y="430"/>
                    </a:lnTo>
                    <a:lnTo>
                      <a:pt x="455" y="431"/>
                    </a:lnTo>
                    <a:lnTo>
                      <a:pt x="455" y="431"/>
                    </a:lnTo>
                    <a:lnTo>
                      <a:pt x="455" y="432"/>
                    </a:lnTo>
                    <a:lnTo>
                      <a:pt x="456" y="432"/>
                    </a:lnTo>
                    <a:lnTo>
                      <a:pt x="456" y="432"/>
                    </a:lnTo>
                    <a:lnTo>
                      <a:pt x="460" y="435"/>
                    </a:lnTo>
                    <a:lnTo>
                      <a:pt x="460" y="435"/>
                    </a:lnTo>
                    <a:lnTo>
                      <a:pt x="462" y="436"/>
                    </a:lnTo>
                    <a:lnTo>
                      <a:pt x="465" y="436"/>
                    </a:lnTo>
                    <a:lnTo>
                      <a:pt x="465" y="436"/>
                    </a:lnTo>
                    <a:lnTo>
                      <a:pt x="466" y="436"/>
                    </a:lnTo>
                    <a:lnTo>
                      <a:pt x="466" y="436"/>
                    </a:lnTo>
                    <a:lnTo>
                      <a:pt x="469" y="438"/>
                    </a:lnTo>
                    <a:lnTo>
                      <a:pt x="469" y="438"/>
                    </a:lnTo>
                    <a:lnTo>
                      <a:pt x="469" y="438"/>
                    </a:lnTo>
                    <a:lnTo>
                      <a:pt x="469" y="438"/>
                    </a:lnTo>
                    <a:lnTo>
                      <a:pt x="473" y="435"/>
                    </a:lnTo>
                    <a:lnTo>
                      <a:pt x="476" y="434"/>
                    </a:lnTo>
                    <a:lnTo>
                      <a:pt x="478" y="432"/>
                    </a:lnTo>
                    <a:lnTo>
                      <a:pt x="478" y="432"/>
                    </a:lnTo>
                    <a:lnTo>
                      <a:pt x="481" y="432"/>
                    </a:lnTo>
                    <a:lnTo>
                      <a:pt x="485" y="436"/>
                    </a:lnTo>
                    <a:lnTo>
                      <a:pt x="485" y="436"/>
                    </a:lnTo>
                    <a:lnTo>
                      <a:pt x="488" y="440"/>
                    </a:lnTo>
                    <a:lnTo>
                      <a:pt x="492" y="444"/>
                    </a:lnTo>
                    <a:lnTo>
                      <a:pt x="501" y="449"/>
                    </a:lnTo>
                    <a:lnTo>
                      <a:pt x="501" y="451"/>
                    </a:lnTo>
                    <a:lnTo>
                      <a:pt x="503" y="452"/>
                    </a:lnTo>
                    <a:lnTo>
                      <a:pt x="503" y="452"/>
                    </a:lnTo>
                    <a:lnTo>
                      <a:pt x="507" y="455"/>
                    </a:lnTo>
                    <a:lnTo>
                      <a:pt x="507" y="455"/>
                    </a:lnTo>
                    <a:lnTo>
                      <a:pt x="510" y="456"/>
                    </a:lnTo>
                    <a:lnTo>
                      <a:pt x="513" y="457"/>
                    </a:lnTo>
                    <a:lnTo>
                      <a:pt x="513" y="457"/>
                    </a:lnTo>
                    <a:lnTo>
                      <a:pt x="517" y="460"/>
                    </a:lnTo>
                    <a:lnTo>
                      <a:pt x="517" y="460"/>
                    </a:lnTo>
                    <a:lnTo>
                      <a:pt x="523" y="465"/>
                    </a:lnTo>
                    <a:lnTo>
                      <a:pt x="526" y="469"/>
                    </a:lnTo>
                    <a:lnTo>
                      <a:pt x="529" y="475"/>
                    </a:lnTo>
                    <a:lnTo>
                      <a:pt x="529" y="475"/>
                    </a:lnTo>
                    <a:lnTo>
                      <a:pt x="530" y="476"/>
                    </a:lnTo>
                    <a:lnTo>
                      <a:pt x="530" y="476"/>
                    </a:lnTo>
                    <a:lnTo>
                      <a:pt x="531" y="475"/>
                    </a:lnTo>
                    <a:lnTo>
                      <a:pt x="535" y="473"/>
                    </a:lnTo>
                    <a:lnTo>
                      <a:pt x="535" y="473"/>
                    </a:lnTo>
                    <a:lnTo>
                      <a:pt x="538" y="472"/>
                    </a:lnTo>
                    <a:lnTo>
                      <a:pt x="540" y="471"/>
                    </a:lnTo>
                    <a:lnTo>
                      <a:pt x="540" y="471"/>
                    </a:lnTo>
                    <a:lnTo>
                      <a:pt x="543" y="471"/>
                    </a:lnTo>
                    <a:lnTo>
                      <a:pt x="547" y="475"/>
                    </a:lnTo>
                    <a:lnTo>
                      <a:pt x="547" y="475"/>
                    </a:lnTo>
                    <a:lnTo>
                      <a:pt x="550" y="479"/>
                    </a:lnTo>
                    <a:lnTo>
                      <a:pt x="550" y="479"/>
                    </a:lnTo>
                    <a:lnTo>
                      <a:pt x="554" y="483"/>
                    </a:lnTo>
                    <a:lnTo>
                      <a:pt x="556" y="487"/>
                    </a:lnTo>
                    <a:lnTo>
                      <a:pt x="556" y="490"/>
                    </a:lnTo>
                    <a:lnTo>
                      <a:pt x="550" y="497"/>
                    </a:lnTo>
                    <a:lnTo>
                      <a:pt x="550" y="497"/>
                    </a:lnTo>
                    <a:lnTo>
                      <a:pt x="550" y="497"/>
                    </a:lnTo>
                    <a:lnTo>
                      <a:pt x="548" y="498"/>
                    </a:lnTo>
                    <a:lnTo>
                      <a:pt x="548" y="498"/>
                    </a:lnTo>
                    <a:lnTo>
                      <a:pt x="548" y="498"/>
                    </a:lnTo>
                    <a:lnTo>
                      <a:pt x="544" y="500"/>
                    </a:lnTo>
                    <a:lnTo>
                      <a:pt x="540" y="502"/>
                    </a:lnTo>
                    <a:lnTo>
                      <a:pt x="542" y="502"/>
                    </a:lnTo>
                    <a:lnTo>
                      <a:pt x="542" y="502"/>
                    </a:lnTo>
                    <a:lnTo>
                      <a:pt x="544" y="504"/>
                    </a:lnTo>
                    <a:lnTo>
                      <a:pt x="546" y="504"/>
                    </a:lnTo>
                    <a:lnTo>
                      <a:pt x="551" y="506"/>
                    </a:lnTo>
                    <a:lnTo>
                      <a:pt x="551" y="506"/>
                    </a:lnTo>
                    <a:lnTo>
                      <a:pt x="551" y="506"/>
                    </a:lnTo>
                    <a:lnTo>
                      <a:pt x="551" y="506"/>
                    </a:lnTo>
                    <a:lnTo>
                      <a:pt x="551" y="506"/>
                    </a:lnTo>
                    <a:lnTo>
                      <a:pt x="556" y="509"/>
                    </a:lnTo>
                    <a:lnTo>
                      <a:pt x="556" y="509"/>
                    </a:lnTo>
                    <a:lnTo>
                      <a:pt x="559" y="514"/>
                    </a:lnTo>
                    <a:lnTo>
                      <a:pt x="559" y="520"/>
                    </a:lnTo>
                    <a:lnTo>
                      <a:pt x="559" y="520"/>
                    </a:lnTo>
                    <a:lnTo>
                      <a:pt x="558" y="525"/>
                    </a:lnTo>
                    <a:lnTo>
                      <a:pt x="555" y="527"/>
                    </a:lnTo>
                    <a:lnTo>
                      <a:pt x="551" y="530"/>
                    </a:lnTo>
                    <a:lnTo>
                      <a:pt x="548" y="531"/>
                    </a:lnTo>
                    <a:lnTo>
                      <a:pt x="548" y="531"/>
                    </a:lnTo>
                    <a:lnTo>
                      <a:pt x="546" y="533"/>
                    </a:lnTo>
                    <a:lnTo>
                      <a:pt x="542" y="534"/>
                    </a:lnTo>
                    <a:lnTo>
                      <a:pt x="542" y="534"/>
                    </a:lnTo>
                    <a:lnTo>
                      <a:pt x="540" y="534"/>
                    </a:lnTo>
                    <a:lnTo>
                      <a:pt x="540" y="534"/>
                    </a:lnTo>
                    <a:lnTo>
                      <a:pt x="535" y="533"/>
                    </a:lnTo>
                    <a:lnTo>
                      <a:pt x="531" y="531"/>
                    </a:lnTo>
                    <a:lnTo>
                      <a:pt x="526" y="526"/>
                    </a:lnTo>
                    <a:lnTo>
                      <a:pt x="526" y="526"/>
                    </a:lnTo>
                    <a:lnTo>
                      <a:pt x="523" y="524"/>
                    </a:lnTo>
                    <a:lnTo>
                      <a:pt x="523" y="524"/>
                    </a:lnTo>
                    <a:lnTo>
                      <a:pt x="523" y="524"/>
                    </a:lnTo>
                    <a:lnTo>
                      <a:pt x="523" y="524"/>
                    </a:lnTo>
                    <a:lnTo>
                      <a:pt x="523" y="524"/>
                    </a:lnTo>
                    <a:lnTo>
                      <a:pt x="523" y="524"/>
                    </a:lnTo>
                    <a:lnTo>
                      <a:pt x="523" y="524"/>
                    </a:lnTo>
                    <a:lnTo>
                      <a:pt x="523" y="522"/>
                    </a:lnTo>
                    <a:lnTo>
                      <a:pt x="521" y="525"/>
                    </a:lnTo>
                    <a:lnTo>
                      <a:pt x="519" y="525"/>
                    </a:lnTo>
                    <a:lnTo>
                      <a:pt x="518" y="525"/>
                    </a:lnTo>
                    <a:lnTo>
                      <a:pt x="518" y="525"/>
                    </a:lnTo>
                    <a:lnTo>
                      <a:pt x="517" y="525"/>
                    </a:lnTo>
                    <a:lnTo>
                      <a:pt x="517" y="525"/>
                    </a:lnTo>
                    <a:lnTo>
                      <a:pt x="517" y="525"/>
                    </a:lnTo>
                    <a:lnTo>
                      <a:pt x="517" y="525"/>
                    </a:lnTo>
                    <a:lnTo>
                      <a:pt x="513" y="526"/>
                    </a:lnTo>
                    <a:lnTo>
                      <a:pt x="509" y="527"/>
                    </a:lnTo>
                    <a:lnTo>
                      <a:pt x="509" y="527"/>
                    </a:lnTo>
                    <a:lnTo>
                      <a:pt x="507" y="527"/>
                    </a:lnTo>
                    <a:lnTo>
                      <a:pt x="502" y="522"/>
                    </a:lnTo>
                    <a:lnTo>
                      <a:pt x="502" y="522"/>
                    </a:lnTo>
                    <a:lnTo>
                      <a:pt x="502" y="525"/>
                    </a:lnTo>
                    <a:lnTo>
                      <a:pt x="502" y="525"/>
                    </a:lnTo>
                    <a:lnTo>
                      <a:pt x="501" y="522"/>
                    </a:lnTo>
                    <a:lnTo>
                      <a:pt x="501" y="518"/>
                    </a:lnTo>
                    <a:lnTo>
                      <a:pt x="501" y="517"/>
                    </a:lnTo>
                    <a:lnTo>
                      <a:pt x="501" y="517"/>
                    </a:lnTo>
                    <a:lnTo>
                      <a:pt x="501" y="513"/>
                    </a:lnTo>
                    <a:lnTo>
                      <a:pt x="497" y="509"/>
                    </a:lnTo>
                    <a:lnTo>
                      <a:pt x="497" y="510"/>
                    </a:lnTo>
                    <a:lnTo>
                      <a:pt x="497" y="510"/>
                    </a:lnTo>
                    <a:lnTo>
                      <a:pt x="499" y="512"/>
                    </a:lnTo>
                    <a:lnTo>
                      <a:pt x="497" y="512"/>
                    </a:lnTo>
                    <a:lnTo>
                      <a:pt x="497" y="512"/>
                    </a:lnTo>
                    <a:lnTo>
                      <a:pt x="495" y="512"/>
                    </a:lnTo>
                    <a:lnTo>
                      <a:pt x="494" y="512"/>
                    </a:lnTo>
                    <a:lnTo>
                      <a:pt x="489" y="509"/>
                    </a:lnTo>
                    <a:lnTo>
                      <a:pt x="489" y="509"/>
                    </a:lnTo>
                    <a:lnTo>
                      <a:pt x="489" y="510"/>
                    </a:lnTo>
                    <a:lnTo>
                      <a:pt x="489" y="510"/>
                    </a:lnTo>
                    <a:lnTo>
                      <a:pt x="488" y="509"/>
                    </a:lnTo>
                    <a:lnTo>
                      <a:pt x="488" y="509"/>
                    </a:lnTo>
                    <a:lnTo>
                      <a:pt x="486" y="509"/>
                    </a:lnTo>
                    <a:lnTo>
                      <a:pt x="485" y="509"/>
                    </a:lnTo>
                    <a:lnTo>
                      <a:pt x="480" y="508"/>
                    </a:lnTo>
                    <a:lnTo>
                      <a:pt x="480" y="508"/>
                    </a:lnTo>
                    <a:lnTo>
                      <a:pt x="477" y="502"/>
                    </a:lnTo>
                    <a:lnTo>
                      <a:pt x="477" y="502"/>
                    </a:lnTo>
                    <a:lnTo>
                      <a:pt x="477" y="501"/>
                    </a:lnTo>
                    <a:lnTo>
                      <a:pt x="474" y="501"/>
                    </a:lnTo>
                    <a:lnTo>
                      <a:pt x="472" y="497"/>
                    </a:lnTo>
                    <a:lnTo>
                      <a:pt x="472" y="497"/>
                    </a:lnTo>
                    <a:lnTo>
                      <a:pt x="473" y="496"/>
                    </a:lnTo>
                    <a:lnTo>
                      <a:pt x="473" y="494"/>
                    </a:lnTo>
                    <a:lnTo>
                      <a:pt x="470" y="497"/>
                    </a:lnTo>
                    <a:lnTo>
                      <a:pt x="469" y="494"/>
                    </a:lnTo>
                    <a:lnTo>
                      <a:pt x="469" y="494"/>
                    </a:lnTo>
                    <a:lnTo>
                      <a:pt x="469" y="496"/>
                    </a:lnTo>
                    <a:lnTo>
                      <a:pt x="470" y="497"/>
                    </a:lnTo>
                    <a:lnTo>
                      <a:pt x="466" y="501"/>
                    </a:lnTo>
                    <a:lnTo>
                      <a:pt x="464" y="501"/>
                    </a:lnTo>
                    <a:lnTo>
                      <a:pt x="464" y="501"/>
                    </a:lnTo>
                    <a:lnTo>
                      <a:pt x="462" y="501"/>
                    </a:lnTo>
                    <a:lnTo>
                      <a:pt x="462" y="501"/>
                    </a:lnTo>
                    <a:lnTo>
                      <a:pt x="464" y="500"/>
                    </a:lnTo>
                    <a:lnTo>
                      <a:pt x="464" y="498"/>
                    </a:lnTo>
                    <a:lnTo>
                      <a:pt x="458" y="504"/>
                    </a:lnTo>
                    <a:lnTo>
                      <a:pt x="444" y="504"/>
                    </a:lnTo>
                    <a:lnTo>
                      <a:pt x="444" y="504"/>
                    </a:lnTo>
                    <a:lnTo>
                      <a:pt x="439" y="505"/>
                    </a:lnTo>
                    <a:lnTo>
                      <a:pt x="439" y="505"/>
                    </a:lnTo>
                    <a:lnTo>
                      <a:pt x="437" y="504"/>
                    </a:lnTo>
                    <a:lnTo>
                      <a:pt x="437" y="504"/>
                    </a:lnTo>
                    <a:lnTo>
                      <a:pt x="436" y="508"/>
                    </a:lnTo>
                    <a:lnTo>
                      <a:pt x="436" y="508"/>
                    </a:lnTo>
                    <a:lnTo>
                      <a:pt x="436" y="505"/>
                    </a:lnTo>
                    <a:lnTo>
                      <a:pt x="431" y="510"/>
                    </a:lnTo>
                    <a:lnTo>
                      <a:pt x="421" y="510"/>
                    </a:lnTo>
                    <a:lnTo>
                      <a:pt x="419" y="510"/>
                    </a:lnTo>
                    <a:lnTo>
                      <a:pt x="419" y="510"/>
                    </a:lnTo>
                    <a:lnTo>
                      <a:pt x="417" y="512"/>
                    </a:lnTo>
                    <a:lnTo>
                      <a:pt x="417" y="512"/>
                    </a:lnTo>
                    <a:lnTo>
                      <a:pt x="415" y="514"/>
                    </a:lnTo>
                    <a:lnTo>
                      <a:pt x="410" y="516"/>
                    </a:lnTo>
                    <a:lnTo>
                      <a:pt x="408" y="516"/>
                    </a:lnTo>
                    <a:lnTo>
                      <a:pt x="408" y="516"/>
                    </a:lnTo>
                    <a:lnTo>
                      <a:pt x="408" y="516"/>
                    </a:lnTo>
                    <a:lnTo>
                      <a:pt x="407" y="517"/>
                    </a:lnTo>
                    <a:lnTo>
                      <a:pt x="407" y="517"/>
                    </a:lnTo>
                    <a:lnTo>
                      <a:pt x="404" y="521"/>
                    </a:lnTo>
                    <a:lnTo>
                      <a:pt x="404" y="521"/>
                    </a:lnTo>
                    <a:lnTo>
                      <a:pt x="406" y="520"/>
                    </a:lnTo>
                    <a:lnTo>
                      <a:pt x="406" y="520"/>
                    </a:lnTo>
                    <a:lnTo>
                      <a:pt x="406" y="520"/>
                    </a:lnTo>
                    <a:lnTo>
                      <a:pt x="406" y="521"/>
                    </a:lnTo>
                    <a:lnTo>
                      <a:pt x="406" y="521"/>
                    </a:lnTo>
                    <a:lnTo>
                      <a:pt x="406" y="525"/>
                    </a:lnTo>
                    <a:lnTo>
                      <a:pt x="404" y="527"/>
                    </a:lnTo>
                    <a:lnTo>
                      <a:pt x="404" y="530"/>
                    </a:lnTo>
                    <a:lnTo>
                      <a:pt x="404" y="530"/>
                    </a:lnTo>
                    <a:lnTo>
                      <a:pt x="406" y="535"/>
                    </a:lnTo>
                    <a:lnTo>
                      <a:pt x="404" y="538"/>
                    </a:lnTo>
                    <a:lnTo>
                      <a:pt x="402" y="543"/>
                    </a:lnTo>
                    <a:lnTo>
                      <a:pt x="402" y="543"/>
                    </a:lnTo>
                    <a:lnTo>
                      <a:pt x="400" y="546"/>
                    </a:lnTo>
                    <a:lnTo>
                      <a:pt x="400" y="549"/>
                    </a:lnTo>
                    <a:lnTo>
                      <a:pt x="400" y="550"/>
                    </a:lnTo>
                    <a:lnTo>
                      <a:pt x="400" y="551"/>
                    </a:lnTo>
                    <a:lnTo>
                      <a:pt x="395" y="558"/>
                    </a:lnTo>
                    <a:lnTo>
                      <a:pt x="395" y="558"/>
                    </a:lnTo>
                    <a:lnTo>
                      <a:pt x="398" y="557"/>
                    </a:lnTo>
                    <a:lnTo>
                      <a:pt x="398" y="557"/>
                    </a:lnTo>
                    <a:lnTo>
                      <a:pt x="396" y="558"/>
                    </a:lnTo>
                    <a:lnTo>
                      <a:pt x="396" y="558"/>
                    </a:lnTo>
                    <a:lnTo>
                      <a:pt x="395" y="565"/>
                    </a:lnTo>
                    <a:lnTo>
                      <a:pt x="392" y="565"/>
                    </a:lnTo>
                    <a:lnTo>
                      <a:pt x="392" y="565"/>
                    </a:lnTo>
                    <a:lnTo>
                      <a:pt x="392" y="563"/>
                    </a:lnTo>
                    <a:lnTo>
                      <a:pt x="388" y="567"/>
                    </a:lnTo>
                    <a:lnTo>
                      <a:pt x="388" y="567"/>
                    </a:lnTo>
                    <a:lnTo>
                      <a:pt x="388" y="567"/>
                    </a:lnTo>
                    <a:lnTo>
                      <a:pt x="388" y="567"/>
                    </a:lnTo>
                    <a:lnTo>
                      <a:pt x="387" y="568"/>
                    </a:lnTo>
                    <a:lnTo>
                      <a:pt x="386" y="568"/>
                    </a:lnTo>
                    <a:lnTo>
                      <a:pt x="382" y="567"/>
                    </a:lnTo>
                    <a:lnTo>
                      <a:pt x="382" y="567"/>
                    </a:lnTo>
                    <a:lnTo>
                      <a:pt x="382" y="567"/>
                    </a:lnTo>
                    <a:lnTo>
                      <a:pt x="382" y="567"/>
                    </a:lnTo>
                    <a:lnTo>
                      <a:pt x="379" y="567"/>
                    </a:lnTo>
                    <a:lnTo>
                      <a:pt x="379" y="567"/>
                    </a:lnTo>
                    <a:lnTo>
                      <a:pt x="375" y="568"/>
                    </a:lnTo>
                    <a:lnTo>
                      <a:pt x="371" y="570"/>
                    </a:lnTo>
                    <a:lnTo>
                      <a:pt x="371" y="570"/>
                    </a:lnTo>
                    <a:lnTo>
                      <a:pt x="370" y="570"/>
                    </a:lnTo>
                    <a:lnTo>
                      <a:pt x="366" y="565"/>
                    </a:lnTo>
                    <a:lnTo>
                      <a:pt x="366" y="565"/>
                    </a:lnTo>
                    <a:lnTo>
                      <a:pt x="366" y="565"/>
                    </a:lnTo>
                    <a:lnTo>
                      <a:pt x="366" y="566"/>
                    </a:lnTo>
                    <a:lnTo>
                      <a:pt x="366" y="566"/>
                    </a:lnTo>
                    <a:lnTo>
                      <a:pt x="366" y="566"/>
                    </a:lnTo>
                    <a:lnTo>
                      <a:pt x="362" y="567"/>
                    </a:lnTo>
                    <a:lnTo>
                      <a:pt x="362" y="571"/>
                    </a:lnTo>
                    <a:lnTo>
                      <a:pt x="362" y="571"/>
                    </a:lnTo>
                    <a:lnTo>
                      <a:pt x="359" y="572"/>
                    </a:lnTo>
                    <a:lnTo>
                      <a:pt x="357" y="574"/>
                    </a:lnTo>
                    <a:lnTo>
                      <a:pt x="357" y="574"/>
                    </a:lnTo>
                    <a:lnTo>
                      <a:pt x="355" y="578"/>
                    </a:lnTo>
                    <a:lnTo>
                      <a:pt x="354" y="580"/>
                    </a:lnTo>
                    <a:lnTo>
                      <a:pt x="354" y="580"/>
                    </a:lnTo>
                    <a:lnTo>
                      <a:pt x="351" y="583"/>
                    </a:lnTo>
                    <a:lnTo>
                      <a:pt x="351" y="583"/>
                    </a:lnTo>
                    <a:lnTo>
                      <a:pt x="347" y="590"/>
                    </a:lnTo>
                    <a:lnTo>
                      <a:pt x="345" y="594"/>
                    </a:lnTo>
                    <a:lnTo>
                      <a:pt x="341" y="598"/>
                    </a:lnTo>
                    <a:lnTo>
                      <a:pt x="339" y="598"/>
                    </a:lnTo>
                    <a:lnTo>
                      <a:pt x="339" y="598"/>
                    </a:lnTo>
                    <a:lnTo>
                      <a:pt x="334" y="602"/>
                    </a:lnTo>
                    <a:lnTo>
                      <a:pt x="332" y="605"/>
                    </a:lnTo>
                    <a:lnTo>
                      <a:pt x="325" y="608"/>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9" name="Freeform 8">
                <a:extLst>
                  <a:ext uri="{FF2B5EF4-FFF2-40B4-BE49-F238E27FC236}">
                    <a16:creationId xmlns:a16="http://schemas.microsoft.com/office/drawing/2014/main" xmlns="" id="{893CB59F-686B-46DC-82EB-BB932B25EE68}"/>
                  </a:ext>
                </a:extLst>
              </p:cNvPr>
              <p:cNvSpPr>
                <a:spLocks/>
              </p:cNvSpPr>
              <p:nvPr/>
            </p:nvSpPr>
            <p:spPr bwMode="auto">
              <a:xfrm>
                <a:off x="5308475" y="884877"/>
                <a:ext cx="1312770" cy="1213529"/>
              </a:xfrm>
              <a:custGeom>
                <a:avLst/>
                <a:gdLst>
                  <a:gd name="T0" fmla="*/ 467 w 754"/>
                  <a:gd name="T1" fmla="*/ 687 h 697"/>
                  <a:gd name="T2" fmla="*/ 447 w 754"/>
                  <a:gd name="T3" fmla="*/ 662 h 697"/>
                  <a:gd name="T4" fmla="*/ 427 w 754"/>
                  <a:gd name="T5" fmla="*/ 628 h 697"/>
                  <a:gd name="T6" fmla="*/ 454 w 754"/>
                  <a:gd name="T7" fmla="*/ 617 h 697"/>
                  <a:gd name="T8" fmla="*/ 418 w 754"/>
                  <a:gd name="T9" fmla="*/ 599 h 697"/>
                  <a:gd name="T10" fmla="*/ 384 w 754"/>
                  <a:gd name="T11" fmla="*/ 603 h 697"/>
                  <a:gd name="T12" fmla="*/ 356 w 754"/>
                  <a:gd name="T13" fmla="*/ 597 h 697"/>
                  <a:gd name="T14" fmla="*/ 319 w 754"/>
                  <a:gd name="T15" fmla="*/ 599 h 697"/>
                  <a:gd name="T16" fmla="*/ 284 w 754"/>
                  <a:gd name="T17" fmla="*/ 624 h 697"/>
                  <a:gd name="T18" fmla="*/ 254 w 754"/>
                  <a:gd name="T19" fmla="*/ 619 h 697"/>
                  <a:gd name="T20" fmla="*/ 224 w 754"/>
                  <a:gd name="T21" fmla="*/ 611 h 697"/>
                  <a:gd name="T22" fmla="*/ 198 w 754"/>
                  <a:gd name="T23" fmla="*/ 592 h 697"/>
                  <a:gd name="T24" fmla="*/ 157 w 754"/>
                  <a:gd name="T25" fmla="*/ 567 h 697"/>
                  <a:gd name="T26" fmla="*/ 152 w 754"/>
                  <a:gd name="T27" fmla="*/ 521 h 697"/>
                  <a:gd name="T28" fmla="*/ 138 w 754"/>
                  <a:gd name="T29" fmla="*/ 538 h 697"/>
                  <a:gd name="T30" fmla="*/ 105 w 754"/>
                  <a:gd name="T31" fmla="*/ 550 h 697"/>
                  <a:gd name="T32" fmla="*/ 54 w 754"/>
                  <a:gd name="T33" fmla="*/ 546 h 697"/>
                  <a:gd name="T34" fmla="*/ 7 w 754"/>
                  <a:gd name="T35" fmla="*/ 537 h 697"/>
                  <a:gd name="T36" fmla="*/ 20 w 754"/>
                  <a:gd name="T37" fmla="*/ 464 h 697"/>
                  <a:gd name="T38" fmla="*/ 62 w 754"/>
                  <a:gd name="T39" fmla="*/ 423 h 697"/>
                  <a:gd name="T40" fmla="*/ 115 w 754"/>
                  <a:gd name="T41" fmla="*/ 390 h 697"/>
                  <a:gd name="T42" fmla="*/ 119 w 754"/>
                  <a:gd name="T43" fmla="*/ 374 h 697"/>
                  <a:gd name="T44" fmla="*/ 128 w 754"/>
                  <a:gd name="T45" fmla="*/ 321 h 697"/>
                  <a:gd name="T46" fmla="*/ 140 w 754"/>
                  <a:gd name="T47" fmla="*/ 276 h 697"/>
                  <a:gd name="T48" fmla="*/ 144 w 754"/>
                  <a:gd name="T49" fmla="*/ 243 h 697"/>
                  <a:gd name="T50" fmla="*/ 173 w 754"/>
                  <a:gd name="T51" fmla="*/ 225 h 697"/>
                  <a:gd name="T52" fmla="*/ 213 w 754"/>
                  <a:gd name="T53" fmla="*/ 181 h 697"/>
                  <a:gd name="T54" fmla="*/ 259 w 754"/>
                  <a:gd name="T55" fmla="*/ 161 h 697"/>
                  <a:gd name="T56" fmla="*/ 300 w 754"/>
                  <a:gd name="T57" fmla="*/ 128 h 697"/>
                  <a:gd name="T58" fmla="*/ 343 w 754"/>
                  <a:gd name="T59" fmla="*/ 114 h 697"/>
                  <a:gd name="T60" fmla="*/ 372 w 754"/>
                  <a:gd name="T61" fmla="*/ 78 h 697"/>
                  <a:gd name="T62" fmla="*/ 397 w 754"/>
                  <a:gd name="T63" fmla="*/ 43 h 697"/>
                  <a:gd name="T64" fmla="*/ 436 w 754"/>
                  <a:gd name="T65" fmla="*/ 1 h 697"/>
                  <a:gd name="T66" fmla="*/ 462 w 754"/>
                  <a:gd name="T67" fmla="*/ 36 h 697"/>
                  <a:gd name="T68" fmla="*/ 473 w 754"/>
                  <a:gd name="T69" fmla="*/ 66 h 697"/>
                  <a:gd name="T70" fmla="*/ 501 w 754"/>
                  <a:gd name="T71" fmla="*/ 91 h 697"/>
                  <a:gd name="T72" fmla="*/ 497 w 754"/>
                  <a:gd name="T73" fmla="*/ 114 h 697"/>
                  <a:gd name="T74" fmla="*/ 516 w 754"/>
                  <a:gd name="T75" fmla="*/ 148 h 697"/>
                  <a:gd name="T76" fmla="*/ 525 w 754"/>
                  <a:gd name="T77" fmla="*/ 144 h 697"/>
                  <a:gd name="T78" fmla="*/ 581 w 754"/>
                  <a:gd name="T79" fmla="*/ 156 h 697"/>
                  <a:gd name="T80" fmla="*/ 649 w 754"/>
                  <a:gd name="T81" fmla="*/ 226 h 697"/>
                  <a:gd name="T82" fmla="*/ 643 w 754"/>
                  <a:gd name="T83" fmla="*/ 283 h 697"/>
                  <a:gd name="T84" fmla="*/ 673 w 754"/>
                  <a:gd name="T85" fmla="*/ 313 h 697"/>
                  <a:gd name="T86" fmla="*/ 702 w 754"/>
                  <a:gd name="T87" fmla="*/ 357 h 697"/>
                  <a:gd name="T88" fmla="*/ 709 w 754"/>
                  <a:gd name="T89" fmla="*/ 402 h 697"/>
                  <a:gd name="T90" fmla="*/ 674 w 754"/>
                  <a:gd name="T91" fmla="*/ 398 h 697"/>
                  <a:gd name="T92" fmla="*/ 672 w 754"/>
                  <a:gd name="T93" fmla="*/ 431 h 697"/>
                  <a:gd name="T94" fmla="*/ 722 w 754"/>
                  <a:gd name="T95" fmla="*/ 432 h 697"/>
                  <a:gd name="T96" fmla="*/ 725 w 754"/>
                  <a:gd name="T97" fmla="*/ 451 h 697"/>
                  <a:gd name="T98" fmla="*/ 751 w 754"/>
                  <a:gd name="T99" fmla="*/ 521 h 697"/>
                  <a:gd name="T100" fmla="*/ 718 w 754"/>
                  <a:gd name="T101" fmla="*/ 535 h 697"/>
                  <a:gd name="T102" fmla="*/ 697 w 754"/>
                  <a:gd name="T103" fmla="*/ 591 h 697"/>
                  <a:gd name="T104" fmla="*/ 652 w 754"/>
                  <a:gd name="T105" fmla="*/ 589 h 697"/>
                  <a:gd name="T106" fmla="*/ 616 w 754"/>
                  <a:gd name="T107" fmla="*/ 592 h 697"/>
                  <a:gd name="T108" fmla="*/ 553 w 754"/>
                  <a:gd name="T109" fmla="*/ 609 h 697"/>
                  <a:gd name="T110" fmla="*/ 534 w 754"/>
                  <a:gd name="T111" fmla="*/ 632 h 697"/>
                  <a:gd name="T112" fmla="*/ 499 w 754"/>
                  <a:gd name="T113" fmla="*/ 654 h 697"/>
                  <a:gd name="T114" fmla="*/ 509 w 754"/>
                  <a:gd name="T115" fmla="*/ 660 h 697"/>
                  <a:gd name="T116" fmla="*/ 541 w 754"/>
                  <a:gd name="T117" fmla="*/ 645 h 697"/>
                  <a:gd name="T118" fmla="*/ 553 w 754"/>
                  <a:gd name="T119" fmla="*/ 683 h 697"/>
                  <a:gd name="T120" fmla="*/ 528 w 754"/>
                  <a:gd name="T121" fmla="*/ 679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4" h="697">
                    <a:moveTo>
                      <a:pt x="499" y="697"/>
                    </a:moveTo>
                    <a:lnTo>
                      <a:pt x="499" y="697"/>
                    </a:lnTo>
                    <a:lnTo>
                      <a:pt x="496" y="697"/>
                    </a:lnTo>
                    <a:lnTo>
                      <a:pt x="496" y="697"/>
                    </a:lnTo>
                    <a:lnTo>
                      <a:pt x="493" y="695"/>
                    </a:lnTo>
                    <a:lnTo>
                      <a:pt x="491" y="694"/>
                    </a:lnTo>
                    <a:lnTo>
                      <a:pt x="489" y="691"/>
                    </a:lnTo>
                    <a:lnTo>
                      <a:pt x="488" y="689"/>
                    </a:lnTo>
                    <a:lnTo>
                      <a:pt x="488" y="689"/>
                    </a:lnTo>
                    <a:lnTo>
                      <a:pt x="488" y="689"/>
                    </a:lnTo>
                    <a:lnTo>
                      <a:pt x="488" y="689"/>
                    </a:lnTo>
                    <a:lnTo>
                      <a:pt x="488" y="689"/>
                    </a:lnTo>
                    <a:lnTo>
                      <a:pt x="488" y="687"/>
                    </a:lnTo>
                    <a:lnTo>
                      <a:pt x="485" y="690"/>
                    </a:lnTo>
                    <a:lnTo>
                      <a:pt x="485" y="690"/>
                    </a:lnTo>
                    <a:lnTo>
                      <a:pt x="483" y="690"/>
                    </a:lnTo>
                    <a:lnTo>
                      <a:pt x="483" y="690"/>
                    </a:lnTo>
                    <a:lnTo>
                      <a:pt x="481" y="690"/>
                    </a:lnTo>
                    <a:lnTo>
                      <a:pt x="481" y="690"/>
                    </a:lnTo>
                    <a:lnTo>
                      <a:pt x="483" y="689"/>
                    </a:lnTo>
                    <a:lnTo>
                      <a:pt x="485" y="686"/>
                    </a:lnTo>
                    <a:lnTo>
                      <a:pt x="479" y="691"/>
                    </a:lnTo>
                    <a:lnTo>
                      <a:pt x="477" y="691"/>
                    </a:lnTo>
                    <a:lnTo>
                      <a:pt x="477" y="691"/>
                    </a:lnTo>
                    <a:lnTo>
                      <a:pt x="476" y="691"/>
                    </a:lnTo>
                    <a:lnTo>
                      <a:pt x="476" y="691"/>
                    </a:lnTo>
                    <a:lnTo>
                      <a:pt x="473" y="690"/>
                    </a:lnTo>
                    <a:lnTo>
                      <a:pt x="471" y="690"/>
                    </a:lnTo>
                    <a:lnTo>
                      <a:pt x="467" y="687"/>
                    </a:lnTo>
                    <a:lnTo>
                      <a:pt x="467" y="687"/>
                    </a:lnTo>
                    <a:lnTo>
                      <a:pt x="467" y="685"/>
                    </a:lnTo>
                    <a:lnTo>
                      <a:pt x="465" y="682"/>
                    </a:lnTo>
                    <a:lnTo>
                      <a:pt x="465" y="682"/>
                    </a:lnTo>
                    <a:lnTo>
                      <a:pt x="464" y="679"/>
                    </a:lnTo>
                    <a:lnTo>
                      <a:pt x="464" y="679"/>
                    </a:lnTo>
                    <a:lnTo>
                      <a:pt x="464" y="679"/>
                    </a:lnTo>
                    <a:lnTo>
                      <a:pt x="464" y="679"/>
                    </a:lnTo>
                    <a:lnTo>
                      <a:pt x="465" y="681"/>
                    </a:lnTo>
                    <a:lnTo>
                      <a:pt x="465" y="681"/>
                    </a:lnTo>
                    <a:lnTo>
                      <a:pt x="465" y="679"/>
                    </a:lnTo>
                    <a:lnTo>
                      <a:pt x="465" y="679"/>
                    </a:lnTo>
                    <a:lnTo>
                      <a:pt x="463" y="677"/>
                    </a:lnTo>
                    <a:lnTo>
                      <a:pt x="463" y="677"/>
                    </a:lnTo>
                    <a:lnTo>
                      <a:pt x="463" y="677"/>
                    </a:lnTo>
                    <a:lnTo>
                      <a:pt x="460" y="674"/>
                    </a:lnTo>
                    <a:lnTo>
                      <a:pt x="460" y="674"/>
                    </a:lnTo>
                    <a:lnTo>
                      <a:pt x="460" y="673"/>
                    </a:lnTo>
                    <a:lnTo>
                      <a:pt x="459" y="671"/>
                    </a:lnTo>
                    <a:lnTo>
                      <a:pt x="459" y="671"/>
                    </a:lnTo>
                    <a:lnTo>
                      <a:pt x="458" y="669"/>
                    </a:lnTo>
                    <a:lnTo>
                      <a:pt x="456" y="665"/>
                    </a:lnTo>
                    <a:lnTo>
                      <a:pt x="456" y="665"/>
                    </a:lnTo>
                    <a:lnTo>
                      <a:pt x="455" y="664"/>
                    </a:lnTo>
                    <a:lnTo>
                      <a:pt x="450" y="662"/>
                    </a:lnTo>
                    <a:lnTo>
                      <a:pt x="450" y="662"/>
                    </a:lnTo>
                    <a:lnTo>
                      <a:pt x="450" y="662"/>
                    </a:lnTo>
                    <a:lnTo>
                      <a:pt x="450" y="662"/>
                    </a:lnTo>
                    <a:lnTo>
                      <a:pt x="447" y="662"/>
                    </a:lnTo>
                    <a:lnTo>
                      <a:pt x="444" y="664"/>
                    </a:lnTo>
                    <a:lnTo>
                      <a:pt x="444" y="664"/>
                    </a:lnTo>
                    <a:lnTo>
                      <a:pt x="442" y="664"/>
                    </a:lnTo>
                    <a:lnTo>
                      <a:pt x="438" y="664"/>
                    </a:lnTo>
                    <a:lnTo>
                      <a:pt x="438" y="664"/>
                    </a:lnTo>
                    <a:lnTo>
                      <a:pt x="434" y="662"/>
                    </a:lnTo>
                    <a:lnTo>
                      <a:pt x="431" y="662"/>
                    </a:lnTo>
                    <a:lnTo>
                      <a:pt x="428" y="660"/>
                    </a:lnTo>
                    <a:lnTo>
                      <a:pt x="427" y="656"/>
                    </a:lnTo>
                    <a:lnTo>
                      <a:pt x="427" y="650"/>
                    </a:lnTo>
                    <a:lnTo>
                      <a:pt x="427" y="650"/>
                    </a:lnTo>
                    <a:lnTo>
                      <a:pt x="427" y="646"/>
                    </a:lnTo>
                    <a:lnTo>
                      <a:pt x="427" y="646"/>
                    </a:lnTo>
                    <a:lnTo>
                      <a:pt x="426" y="646"/>
                    </a:lnTo>
                    <a:lnTo>
                      <a:pt x="426" y="646"/>
                    </a:lnTo>
                    <a:lnTo>
                      <a:pt x="422" y="646"/>
                    </a:lnTo>
                    <a:lnTo>
                      <a:pt x="421" y="645"/>
                    </a:lnTo>
                    <a:lnTo>
                      <a:pt x="418" y="644"/>
                    </a:lnTo>
                    <a:lnTo>
                      <a:pt x="418" y="644"/>
                    </a:lnTo>
                    <a:lnTo>
                      <a:pt x="417" y="641"/>
                    </a:lnTo>
                    <a:lnTo>
                      <a:pt x="417" y="637"/>
                    </a:lnTo>
                    <a:lnTo>
                      <a:pt x="417" y="637"/>
                    </a:lnTo>
                    <a:lnTo>
                      <a:pt x="417" y="633"/>
                    </a:lnTo>
                    <a:lnTo>
                      <a:pt x="418" y="632"/>
                    </a:lnTo>
                    <a:lnTo>
                      <a:pt x="418" y="632"/>
                    </a:lnTo>
                    <a:lnTo>
                      <a:pt x="421" y="629"/>
                    </a:lnTo>
                    <a:lnTo>
                      <a:pt x="425" y="628"/>
                    </a:lnTo>
                    <a:lnTo>
                      <a:pt x="425" y="628"/>
                    </a:lnTo>
                    <a:lnTo>
                      <a:pt x="427" y="628"/>
                    </a:lnTo>
                    <a:lnTo>
                      <a:pt x="427" y="628"/>
                    </a:lnTo>
                    <a:lnTo>
                      <a:pt x="427" y="628"/>
                    </a:lnTo>
                    <a:lnTo>
                      <a:pt x="427" y="628"/>
                    </a:lnTo>
                    <a:lnTo>
                      <a:pt x="426" y="629"/>
                    </a:lnTo>
                    <a:lnTo>
                      <a:pt x="425" y="629"/>
                    </a:lnTo>
                    <a:lnTo>
                      <a:pt x="425" y="629"/>
                    </a:lnTo>
                    <a:lnTo>
                      <a:pt x="423" y="633"/>
                    </a:lnTo>
                    <a:lnTo>
                      <a:pt x="430" y="627"/>
                    </a:lnTo>
                    <a:lnTo>
                      <a:pt x="431" y="627"/>
                    </a:lnTo>
                    <a:lnTo>
                      <a:pt x="432" y="627"/>
                    </a:lnTo>
                    <a:lnTo>
                      <a:pt x="432" y="627"/>
                    </a:lnTo>
                    <a:lnTo>
                      <a:pt x="436" y="629"/>
                    </a:lnTo>
                    <a:lnTo>
                      <a:pt x="442" y="633"/>
                    </a:lnTo>
                    <a:lnTo>
                      <a:pt x="442" y="633"/>
                    </a:lnTo>
                    <a:lnTo>
                      <a:pt x="444" y="636"/>
                    </a:lnTo>
                    <a:lnTo>
                      <a:pt x="448" y="637"/>
                    </a:lnTo>
                    <a:lnTo>
                      <a:pt x="448" y="637"/>
                    </a:lnTo>
                    <a:lnTo>
                      <a:pt x="448" y="636"/>
                    </a:lnTo>
                    <a:lnTo>
                      <a:pt x="448" y="636"/>
                    </a:lnTo>
                    <a:lnTo>
                      <a:pt x="450" y="633"/>
                    </a:lnTo>
                    <a:lnTo>
                      <a:pt x="451" y="629"/>
                    </a:lnTo>
                    <a:lnTo>
                      <a:pt x="455" y="624"/>
                    </a:lnTo>
                    <a:lnTo>
                      <a:pt x="455" y="624"/>
                    </a:lnTo>
                    <a:lnTo>
                      <a:pt x="458" y="621"/>
                    </a:lnTo>
                    <a:lnTo>
                      <a:pt x="458" y="620"/>
                    </a:lnTo>
                    <a:lnTo>
                      <a:pt x="458" y="619"/>
                    </a:lnTo>
                    <a:lnTo>
                      <a:pt x="458" y="619"/>
                    </a:lnTo>
                    <a:lnTo>
                      <a:pt x="458" y="619"/>
                    </a:lnTo>
                    <a:lnTo>
                      <a:pt x="454" y="617"/>
                    </a:lnTo>
                    <a:lnTo>
                      <a:pt x="454" y="617"/>
                    </a:lnTo>
                    <a:lnTo>
                      <a:pt x="452" y="617"/>
                    </a:lnTo>
                    <a:lnTo>
                      <a:pt x="452" y="617"/>
                    </a:lnTo>
                    <a:lnTo>
                      <a:pt x="450" y="617"/>
                    </a:lnTo>
                    <a:lnTo>
                      <a:pt x="447" y="616"/>
                    </a:lnTo>
                    <a:lnTo>
                      <a:pt x="443" y="613"/>
                    </a:lnTo>
                    <a:lnTo>
                      <a:pt x="443" y="613"/>
                    </a:lnTo>
                    <a:lnTo>
                      <a:pt x="439" y="612"/>
                    </a:lnTo>
                    <a:lnTo>
                      <a:pt x="439" y="612"/>
                    </a:lnTo>
                    <a:lnTo>
                      <a:pt x="435" y="612"/>
                    </a:lnTo>
                    <a:lnTo>
                      <a:pt x="434" y="611"/>
                    </a:lnTo>
                    <a:lnTo>
                      <a:pt x="434" y="611"/>
                    </a:lnTo>
                    <a:lnTo>
                      <a:pt x="434" y="611"/>
                    </a:lnTo>
                    <a:lnTo>
                      <a:pt x="434" y="611"/>
                    </a:lnTo>
                    <a:lnTo>
                      <a:pt x="435" y="611"/>
                    </a:lnTo>
                    <a:lnTo>
                      <a:pt x="430" y="607"/>
                    </a:lnTo>
                    <a:lnTo>
                      <a:pt x="430" y="607"/>
                    </a:lnTo>
                    <a:lnTo>
                      <a:pt x="430" y="607"/>
                    </a:lnTo>
                    <a:lnTo>
                      <a:pt x="426" y="601"/>
                    </a:lnTo>
                    <a:lnTo>
                      <a:pt x="426" y="600"/>
                    </a:lnTo>
                    <a:lnTo>
                      <a:pt x="422" y="599"/>
                    </a:lnTo>
                    <a:lnTo>
                      <a:pt x="422" y="599"/>
                    </a:lnTo>
                    <a:lnTo>
                      <a:pt x="423" y="600"/>
                    </a:lnTo>
                    <a:lnTo>
                      <a:pt x="423" y="600"/>
                    </a:lnTo>
                    <a:lnTo>
                      <a:pt x="419" y="599"/>
                    </a:lnTo>
                    <a:lnTo>
                      <a:pt x="419" y="599"/>
                    </a:lnTo>
                    <a:lnTo>
                      <a:pt x="417" y="600"/>
                    </a:lnTo>
                    <a:lnTo>
                      <a:pt x="417" y="600"/>
                    </a:lnTo>
                    <a:lnTo>
                      <a:pt x="418" y="599"/>
                    </a:lnTo>
                    <a:lnTo>
                      <a:pt x="414" y="601"/>
                    </a:lnTo>
                    <a:lnTo>
                      <a:pt x="414" y="601"/>
                    </a:lnTo>
                    <a:lnTo>
                      <a:pt x="411" y="601"/>
                    </a:lnTo>
                    <a:lnTo>
                      <a:pt x="411" y="601"/>
                    </a:lnTo>
                    <a:lnTo>
                      <a:pt x="405" y="600"/>
                    </a:lnTo>
                    <a:lnTo>
                      <a:pt x="405" y="600"/>
                    </a:lnTo>
                    <a:lnTo>
                      <a:pt x="403" y="600"/>
                    </a:lnTo>
                    <a:lnTo>
                      <a:pt x="402" y="600"/>
                    </a:lnTo>
                    <a:lnTo>
                      <a:pt x="397" y="593"/>
                    </a:lnTo>
                    <a:lnTo>
                      <a:pt x="397" y="593"/>
                    </a:lnTo>
                    <a:lnTo>
                      <a:pt x="398" y="597"/>
                    </a:lnTo>
                    <a:lnTo>
                      <a:pt x="401" y="599"/>
                    </a:lnTo>
                    <a:lnTo>
                      <a:pt x="401" y="599"/>
                    </a:lnTo>
                    <a:lnTo>
                      <a:pt x="398" y="597"/>
                    </a:lnTo>
                    <a:lnTo>
                      <a:pt x="395" y="595"/>
                    </a:lnTo>
                    <a:lnTo>
                      <a:pt x="395" y="595"/>
                    </a:lnTo>
                    <a:lnTo>
                      <a:pt x="394" y="595"/>
                    </a:lnTo>
                    <a:lnTo>
                      <a:pt x="393" y="595"/>
                    </a:lnTo>
                    <a:lnTo>
                      <a:pt x="393" y="595"/>
                    </a:lnTo>
                    <a:lnTo>
                      <a:pt x="393" y="595"/>
                    </a:lnTo>
                    <a:lnTo>
                      <a:pt x="389" y="596"/>
                    </a:lnTo>
                    <a:lnTo>
                      <a:pt x="389" y="596"/>
                    </a:lnTo>
                    <a:lnTo>
                      <a:pt x="384" y="601"/>
                    </a:lnTo>
                    <a:lnTo>
                      <a:pt x="384" y="601"/>
                    </a:lnTo>
                    <a:lnTo>
                      <a:pt x="387" y="600"/>
                    </a:lnTo>
                    <a:lnTo>
                      <a:pt x="389" y="597"/>
                    </a:lnTo>
                    <a:lnTo>
                      <a:pt x="389" y="597"/>
                    </a:lnTo>
                    <a:lnTo>
                      <a:pt x="387" y="599"/>
                    </a:lnTo>
                    <a:lnTo>
                      <a:pt x="384" y="603"/>
                    </a:lnTo>
                    <a:lnTo>
                      <a:pt x="384" y="603"/>
                    </a:lnTo>
                    <a:lnTo>
                      <a:pt x="382" y="604"/>
                    </a:lnTo>
                    <a:lnTo>
                      <a:pt x="382" y="604"/>
                    </a:lnTo>
                    <a:lnTo>
                      <a:pt x="378" y="603"/>
                    </a:lnTo>
                    <a:lnTo>
                      <a:pt x="377" y="601"/>
                    </a:lnTo>
                    <a:lnTo>
                      <a:pt x="376" y="603"/>
                    </a:lnTo>
                    <a:lnTo>
                      <a:pt x="374" y="603"/>
                    </a:lnTo>
                    <a:lnTo>
                      <a:pt x="370" y="599"/>
                    </a:lnTo>
                    <a:lnTo>
                      <a:pt x="370" y="600"/>
                    </a:lnTo>
                    <a:lnTo>
                      <a:pt x="370" y="600"/>
                    </a:lnTo>
                    <a:lnTo>
                      <a:pt x="373" y="601"/>
                    </a:lnTo>
                    <a:lnTo>
                      <a:pt x="373" y="601"/>
                    </a:lnTo>
                    <a:lnTo>
                      <a:pt x="369" y="601"/>
                    </a:lnTo>
                    <a:lnTo>
                      <a:pt x="369" y="601"/>
                    </a:lnTo>
                    <a:lnTo>
                      <a:pt x="369" y="601"/>
                    </a:lnTo>
                    <a:lnTo>
                      <a:pt x="369" y="601"/>
                    </a:lnTo>
                    <a:lnTo>
                      <a:pt x="365" y="600"/>
                    </a:lnTo>
                    <a:lnTo>
                      <a:pt x="361" y="599"/>
                    </a:lnTo>
                    <a:lnTo>
                      <a:pt x="361" y="599"/>
                    </a:lnTo>
                    <a:lnTo>
                      <a:pt x="358" y="599"/>
                    </a:lnTo>
                    <a:lnTo>
                      <a:pt x="352" y="592"/>
                    </a:lnTo>
                    <a:lnTo>
                      <a:pt x="352" y="592"/>
                    </a:lnTo>
                    <a:lnTo>
                      <a:pt x="353" y="595"/>
                    </a:lnTo>
                    <a:lnTo>
                      <a:pt x="353" y="595"/>
                    </a:lnTo>
                    <a:lnTo>
                      <a:pt x="356" y="596"/>
                    </a:lnTo>
                    <a:lnTo>
                      <a:pt x="357" y="597"/>
                    </a:lnTo>
                    <a:lnTo>
                      <a:pt x="357" y="597"/>
                    </a:lnTo>
                    <a:lnTo>
                      <a:pt x="356" y="597"/>
                    </a:lnTo>
                    <a:lnTo>
                      <a:pt x="356" y="597"/>
                    </a:lnTo>
                    <a:lnTo>
                      <a:pt x="353" y="597"/>
                    </a:lnTo>
                    <a:lnTo>
                      <a:pt x="353" y="597"/>
                    </a:lnTo>
                    <a:lnTo>
                      <a:pt x="350" y="597"/>
                    </a:lnTo>
                    <a:lnTo>
                      <a:pt x="350" y="597"/>
                    </a:lnTo>
                    <a:lnTo>
                      <a:pt x="346" y="595"/>
                    </a:lnTo>
                    <a:lnTo>
                      <a:pt x="346" y="595"/>
                    </a:lnTo>
                    <a:lnTo>
                      <a:pt x="349" y="596"/>
                    </a:lnTo>
                    <a:lnTo>
                      <a:pt x="344" y="593"/>
                    </a:lnTo>
                    <a:lnTo>
                      <a:pt x="344" y="593"/>
                    </a:lnTo>
                    <a:lnTo>
                      <a:pt x="346" y="595"/>
                    </a:lnTo>
                    <a:lnTo>
                      <a:pt x="346" y="595"/>
                    </a:lnTo>
                    <a:lnTo>
                      <a:pt x="343" y="595"/>
                    </a:lnTo>
                    <a:lnTo>
                      <a:pt x="343" y="595"/>
                    </a:lnTo>
                    <a:lnTo>
                      <a:pt x="340" y="595"/>
                    </a:lnTo>
                    <a:lnTo>
                      <a:pt x="340" y="595"/>
                    </a:lnTo>
                    <a:lnTo>
                      <a:pt x="341" y="593"/>
                    </a:lnTo>
                    <a:lnTo>
                      <a:pt x="339" y="595"/>
                    </a:lnTo>
                    <a:lnTo>
                      <a:pt x="339" y="595"/>
                    </a:lnTo>
                    <a:lnTo>
                      <a:pt x="337" y="596"/>
                    </a:lnTo>
                    <a:lnTo>
                      <a:pt x="337" y="596"/>
                    </a:lnTo>
                    <a:lnTo>
                      <a:pt x="335" y="599"/>
                    </a:lnTo>
                    <a:lnTo>
                      <a:pt x="329" y="600"/>
                    </a:lnTo>
                    <a:lnTo>
                      <a:pt x="329" y="600"/>
                    </a:lnTo>
                    <a:lnTo>
                      <a:pt x="328" y="600"/>
                    </a:lnTo>
                    <a:lnTo>
                      <a:pt x="328" y="600"/>
                    </a:lnTo>
                    <a:lnTo>
                      <a:pt x="325" y="600"/>
                    </a:lnTo>
                    <a:lnTo>
                      <a:pt x="325" y="600"/>
                    </a:lnTo>
                    <a:lnTo>
                      <a:pt x="319" y="599"/>
                    </a:lnTo>
                    <a:lnTo>
                      <a:pt x="319" y="599"/>
                    </a:lnTo>
                    <a:lnTo>
                      <a:pt x="316" y="599"/>
                    </a:lnTo>
                    <a:lnTo>
                      <a:pt x="316" y="599"/>
                    </a:lnTo>
                    <a:lnTo>
                      <a:pt x="308" y="597"/>
                    </a:lnTo>
                    <a:lnTo>
                      <a:pt x="308" y="597"/>
                    </a:lnTo>
                    <a:lnTo>
                      <a:pt x="304" y="596"/>
                    </a:lnTo>
                    <a:lnTo>
                      <a:pt x="304" y="596"/>
                    </a:lnTo>
                    <a:lnTo>
                      <a:pt x="303" y="597"/>
                    </a:lnTo>
                    <a:lnTo>
                      <a:pt x="300" y="597"/>
                    </a:lnTo>
                    <a:lnTo>
                      <a:pt x="300" y="599"/>
                    </a:lnTo>
                    <a:lnTo>
                      <a:pt x="298" y="601"/>
                    </a:lnTo>
                    <a:lnTo>
                      <a:pt x="299" y="603"/>
                    </a:lnTo>
                    <a:lnTo>
                      <a:pt x="299" y="603"/>
                    </a:lnTo>
                    <a:lnTo>
                      <a:pt x="300" y="601"/>
                    </a:lnTo>
                    <a:lnTo>
                      <a:pt x="300" y="601"/>
                    </a:lnTo>
                    <a:lnTo>
                      <a:pt x="299" y="603"/>
                    </a:lnTo>
                    <a:lnTo>
                      <a:pt x="299" y="603"/>
                    </a:lnTo>
                    <a:lnTo>
                      <a:pt x="298" y="609"/>
                    </a:lnTo>
                    <a:lnTo>
                      <a:pt x="294" y="613"/>
                    </a:lnTo>
                    <a:lnTo>
                      <a:pt x="294" y="613"/>
                    </a:lnTo>
                    <a:lnTo>
                      <a:pt x="292" y="617"/>
                    </a:lnTo>
                    <a:lnTo>
                      <a:pt x="292" y="617"/>
                    </a:lnTo>
                    <a:lnTo>
                      <a:pt x="291" y="620"/>
                    </a:lnTo>
                    <a:lnTo>
                      <a:pt x="290" y="621"/>
                    </a:lnTo>
                    <a:lnTo>
                      <a:pt x="290" y="621"/>
                    </a:lnTo>
                    <a:lnTo>
                      <a:pt x="290" y="621"/>
                    </a:lnTo>
                    <a:lnTo>
                      <a:pt x="290" y="621"/>
                    </a:lnTo>
                    <a:lnTo>
                      <a:pt x="291" y="619"/>
                    </a:lnTo>
                    <a:lnTo>
                      <a:pt x="286" y="623"/>
                    </a:lnTo>
                    <a:lnTo>
                      <a:pt x="284" y="624"/>
                    </a:lnTo>
                    <a:lnTo>
                      <a:pt x="284" y="624"/>
                    </a:lnTo>
                    <a:lnTo>
                      <a:pt x="283" y="625"/>
                    </a:lnTo>
                    <a:lnTo>
                      <a:pt x="283" y="624"/>
                    </a:lnTo>
                    <a:lnTo>
                      <a:pt x="282" y="625"/>
                    </a:lnTo>
                    <a:lnTo>
                      <a:pt x="282" y="625"/>
                    </a:lnTo>
                    <a:lnTo>
                      <a:pt x="278" y="624"/>
                    </a:lnTo>
                    <a:lnTo>
                      <a:pt x="276" y="623"/>
                    </a:lnTo>
                    <a:lnTo>
                      <a:pt x="276" y="623"/>
                    </a:lnTo>
                    <a:lnTo>
                      <a:pt x="276" y="623"/>
                    </a:lnTo>
                    <a:lnTo>
                      <a:pt x="276" y="623"/>
                    </a:lnTo>
                    <a:lnTo>
                      <a:pt x="275" y="623"/>
                    </a:lnTo>
                    <a:lnTo>
                      <a:pt x="275" y="623"/>
                    </a:lnTo>
                    <a:lnTo>
                      <a:pt x="272" y="623"/>
                    </a:lnTo>
                    <a:lnTo>
                      <a:pt x="272" y="623"/>
                    </a:lnTo>
                    <a:lnTo>
                      <a:pt x="268" y="623"/>
                    </a:lnTo>
                    <a:lnTo>
                      <a:pt x="265" y="620"/>
                    </a:lnTo>
                    <a:lnTo>
                      <a:pt x="265" y="620"/>
                    </a:lnTo>
                    <a:lnTo>
                      <a:pt x="265" y="621"/>
                    </a:lnTo>
                    <a:lnTo>
                      <a:pt x="265" y="621"/>
                    </a:lnTo>
                    <a:lnTo>
                      <a:pt x="265" y="621"/>
                    </a:lnTo>
                    <a:lnTo>
                      <a:pt x="261" y="623"/>
                    </a:lnTo>
                    <a:lnTo>
                      <a:pt x="258" y="624"/>
                    </a:lnTo>
                    <a:lnTo>
                      <a:pt x="258" y="624"/>
                    </a:lnTo>
                    <a:lnTo>
                      <a:pt x="255" y="623"/>
                    </a:lnTo>
                    <a:lnTo>
                      <a:pt x="251" y="621"/>
                    </a:lnTo>
                    <a:lnTo>
                      <a:pt x="251" y="621"/>
                    </a:lnTo>
                    <a:lnTo>
                      <a:pt x="251" y="621"/>
                    </a:lnTo>
                    <a:lnTo>
                      <a:pt x="254" y="619"/>
                    </a:lnTo>
                    <a:lnTo>
                      <a:pt x="254" y="619"/>
                    </a:lnTo>
                    <a:lnTo>
                      <a:pt x="255" y="617"/>
                    </a:lnTo>
                    <a:lnTo>
                      <a:pt x="257" y="616"/>
                    </a:lnTo>
                    <a:lnTo>
                      <a:pt x="251" y="620"/>
                    </a:lnTo>
                    <a:lnTo>
                      <a:pt x="250" y="617"/>
                    </a:lnTo>
                    <a:lnTo>
                      <a:pt x="250" y="619"/>
                    </a:lnTo>
                    <a:lnTo>
                      <a:pt x="250" y="619"/>
                    </a:lnTo>
                    <a:lnTo>
                      <a:pt x="250" y="619"/>
                    </a:lnTo>
                    <a:lnTo>
                      <a:pt x="250" y="619"/>
                    </a:lnTo>
                    <a:lnTo>
                      <a:pt x="251" y="620"/>
                    </a:lnTo>
                    <a:lnTo>
                      <a:pt x="250" y="620"/>
                    </a:lnTo>
                    <a:lnTo>
                      <a:pt x="250" y="621"/>
                    </a:lnTo>
                    <a:lnTo>
                      <a:pt x="250" y="621"/>
                    </a:lnTo>
                    <a:lnTo>
                      <a:pt x="250" y="621"/>
                    </a:lnTo>
                    <a:lnTo>
                      <a:pt x="249" y="623"/>
                    </a:lnTo>
                    <a:lnTo>
                      <a:pt x="249" y="623"/>
                    </a:lnTo>
                    <a:lnTo>
                      <a:pt x="245" y="623"/>
                    </a:lnTo>
                    <a:lnTo>
                      <a:pt x="245" y="623"/>
                    </a:lnTo>
                    <a:lnTo>
                      <a:pt x="242" y="623"/>
                    </a:lnTo>
                    <a:lnTo>
                      <a:pt x="242" y="623"/>
                    </a:lnTo>
                    <a:lnTo>
                      <a:pt x="245" y="621"/>
                    </a:lnTo>
                    <a:lnTo>
                      <a:pt x="246" y="619"/>
                    </a:lnTo>
                    <a:lnTo>
                      <a:pt x="241" y="624"/>
                    </a:lnTo>
                    <a:lnTo>
                      <a:pt x="233" y="624"/>
                    </a:lnTo>
                    <a:lnTo>
                      <a:pt x="226" y="617"/>
                    </a:lnTo>
                    <a:lnTo>
                      <a:pt x="226" y="617"/>
                    </a:lnTo>
                    <a:lnTo>
                      <a:pt x="226" y="617"/>
                    </a:lnTo>
                    <a:lnTo>
                      <a:pt x="225" y="613"/>
                    </a:lnTo>
                    <a:lnTo>
                      <a:pt x="224" y="612"/>
                    </a:lnTo>
                    <a:lnTo>
                      <a:pt x="224" y="611"/>
                    </a:lnTo>
                    <a:lnTo>
                      <a:pt x="220" y="605"/>
                    </a:lnTo>
                    <a:lnTo>
                      <a:pt x="220" y="605"/>
                    </a:lnTo>
                    <a:lnTo>
                      <a:pt x="221" y="609"/>
                    </a:lnTo>
                    <a:lnTo>
                      <a:pt x="221" y="609"/>
                    </a:lnTo>
                    <a:lnTo>
                      <a:pt x="222" y="611"/>
                    </a:lnTo>
                    <a:lnTo>
                      <a:pt x="224" y="611"/>
                    </a:lnTo>
                    <a:lnTo>
                      <a:pt x="224" y="611"/>
                    </a:lnTo>
                    <a:lnTo>
                      <a:pt x="222" y="611"/>
                    </a:lnTo>
                    <a:lnTo>
                      <a:pt x="222" y="611"/>
                    </a:lnTo>
                    <a:lnTo>
                      <a:pt x="220" y="611"/>
                    </a:lnTo>
                    <a:lnTo>
                      <a:pt x="220" y="611"/>
                    </a:lnTo>
                    <a:lnTo>
                      <a:pt x="218" y="611"/>
                    </a:lnTo>
                    <a:lnTo>
                      <a:pt x="216" y="611"/>
                    </a:lnTo>
                    <a:lnTo>
                      <a:pt x="216" y="611"/>
                    </a:lnTo>
                    <a:lnTo>
                      <a:pt x="213" y="612"/>
                    </a:lnTo>
                    <a:lnTo>
                      <a:pt x="210" y="613"/>
                    </a:lnTo>
                    <a:lnTo>
                      <a:pt x="210" y="613"/>
                    </a:lnTo>
                    <a:lnTo>
                      <a:pt x="205" y="612"/>
                    </a:lnTo>
                    <a:lnTo>
                      <a:pt x="202" y="609"/>
                    </a:lnTo>
                    <a:lnTo>
                      <a:pt x="202" y="609"/>
                    </a:lnTo>
                    <a:lnTo>
                      <a:pt x="200" y="608"/>
                    </a:lnTo>
                    <a:lnTo>
                      <a:pt x="196" y="603"/>
                    </a:lnTo>
                    <a:lnTo>
                      <a:pt x="196" y="597"/>
                    </a:lnTo>
                    <a:lnTo>
                      <a:pt x="200" y="592"/>
                    </a:lnTo>
                    <a:lnTo>
                      <a:pt x="200" y="592"/>
                    </a:lnTo>
                    <a:lnTo>
                      <a:pt x="198" y="592"/>
                    </a:lnTo>
                    <a:lnTo>
                      <a:pt x="198" y="592"/>
                    </a:lnTo>
                    <a:lnTo>
                      <a:pt x="198" y="592"/>
                    </a:lnTo>
                    <a:lnTo>
                      <a:pt x="198" y="592"/>
                    </a:lnTo>
                    <a:lnTo>
                      <a:pt x="201" y="588"/>
                    </a:lnTo>
                    <a:lnTo>
                      <a:pt x="197" y="586"/>
                    </a:lnTo>
                    <a:lnTo>
                      <a:pt x="197" y="586"/>
                    </a:lnTo>
                    <a:lnTo>
                      <a:pt x="197" y="587"/>
                    </a:lnTo>
                    <a:lnTo>
                      <a:pt x="197" y="587"/>
                    </a:lnTo>
                    <a:lnTo>
                      <a:pt x="197" y="587"/>
                    </a:lnTo>
                    <a:lnTo>
                      <a:pt x="196" y="587"/>
                    </a:lnTo>
                    <a:lnTo>
                      <a:pt x="193" y="586"/>
                    </a:lnTo>
                    <a:lnTo>
                      <a:pt x="188" y="589"/>
                    </a:lnTo>
                    <a:lnTo>
                      <a:pt x="188" y="589"/>
                    </a:lnTo>
                    <a:lnTo>
                      <a:pt x="184" y="587"/>
                    </a:lnTo>
                    <a:lnTo>
                      <a:pt x="184" y="587"/>
                    </a:lnTo>
                    <a:lnTo>
                      <a:pt x="187" y="588"/>
                    </a:lnTo>
                    <a:lnTo>
                      <a:pt x="183" y="584"/>
                    </a:lnTo>
                    <a:lnTo>
                      <a:pt x="183" y="584"/>
                    </a:lnTo>
                    <a:lnTo>
                      <a:pt x="183" y="584"/>
                    </a:lnTo>
                    <a:lnTo>
                      <a:pt x="179" y="579"/>
                    </a:lnTo>
                    <a:lnTo>
                      <a:pt x="179" y="579"/>
                    </a:lnTo>
                    <a:lnTo>
                      <a:pt x="175" y="575"/>
                    </a:lnTo>
                    <a:lnTo>
                      <a:pt x="172" y="572"/>
                    </a:lnTo>
                    <a:lnTo>
                      <a:pt x="172" y="572"/>
                    </a:lnTo>
                    <a:lnTo>
                      <a:pt x="171" y="572"/>
                    </a:lnTo>
                    <a:lnTo>
                      <a:pt x="171" y="572"/>
                    </a:lnTo>
                    <a:lnTo>
                      <a:pt x="167" y="571"/>
                    </a:lnTo>
                    <a:lnTo>
                      <a:pt x="163" y="570"/>
                    </a:lnTo>
                    <a:lnTo>
                      <a:pt x="163" y="568"/>
                    </a:lnTo>
                    <a:lnTo>
                      <a:pt x="163" y="568"/>
                    </a:lnTo>
                    <a:lnTo>
                      <a:pt x="159" y="568"/>
                    </a:lnTo>
                    <a:lnTo>
                      <a:pt x="157" y="567"/>
                    </a:lnTo>
                    <a:lnTo>
                      <a:pt x="156" y="564"/>
                    </a:lnTo>
                    <a:lnTo>
                      <a:pt x="156" y="562"/>
                    </a:lnTo>
                    <a:lnTo>
                      <a:pt x="156" y="559"/>
                    </a:lnTo>
                    <a:lnTo>
                      <a:pt x="156" y="559"/>
                    </a:lnTo>
                    <a:lnTo>
                      <a:pt x="156" y="552"/>
                    </a:lnTo>
                    <a:lnTo>
                      <a:pt x="156" y="552"/>
                    </a:lnTo>
                    <a:lnTo>
                      <a:pt x="156" y="546"/>
                    </a:lnTo>
                    <a:lnTo>
                      <a:pt x="156" y="546"/>
                    </a:lnTo>
                    <a:lnTo>
                      <a:pt x="156" y="547"/>
                    </a:lnTo>
                    <a:lnTo>
                      <a:pt x="155" y="543"/>
                    </a:lnTo>
                    <a:lnTo>
                      <a:pt x="155" y="539"/>
                    </a:lnTo>
                    <a:lnTo>
                      <a:pt x="155" y="539"/>
                    </a:lnTo>
                    <a:lnTo>
                      <a:pt x="155" y="531"/>
                    </a:lnTo>
                    <a:lnTo>
                      <a:pt x="155" y="531"/>
                    </a:lnTo>
                    <a:lnTo>
                      <a:pt x="155" y="526"/>
                    </a:lnTo>
                    <a:lnTo>
                      <a:pt x="155" y="526"/>
                    </a:lnTo>
                    <a:lnTo>
                      <a:pt x="155" y="526"/>
                    </a:lnTo>
                    <a:lnTo>
                      <a:pt x="153" y="525"/>
                    </a:lnTo>
                    <a:lnTo>
                      <a:pt x="153" y="525"/>
                    </a:lnTo>
                    <a:lnTo>
                      <a:pt x="156" y="526"/>
                    </a:lnTo>
                    <a:lnTo>
                      <a:pt x="153" y="522"/>
                    </a:lnTo>
                    <a:lnTo>
                      <a:pt x="153" y="522"/>
                    </a:lnTo>
                    <a:lnTo>
                      <a:pt x="153" y="522"/>
                    </a:lnTo>
                    <a:lnTo>
                      <a:pt x="153" y="522"/>
                    </a:lnTo>
                    <a:lnTo>
                      <a:pt x="153" y="522"/>
                    </a:lnTo>
                    <a:lnTo>
                      <a:pt x="153" y="522"/>
                    </a:lnTo>
                    <a:lnTo>
                      <a:pt x="153" y="522"/>
                    </a:lnTo>
                    <a:lnTo>
                      <a:pt x="153" y="521"/>
                    </a:lnTo>
                    <a:lnTo>
                      <a:pt x="152" y="521"/>
                    </a:lnTo>
                    <a:lnTo>
                      <a:pt x="152" y="519"/>
                    </a:lnTo>
                    <a:lnTo>
                      <a:pt x="152" y="519"/>
                    </a:lnTo>
                    <a:lnTo>
                      <a:pt x="151" y="519"/>
                    </a:lnTo>
                    <a:lnTo>
                      <a:pt x="151" y="519"/>
                    </a:lnTo>
                    <a:lnTo>
                      <a:pt x="152" y="517"/>
                    </a:lnTo>
                    <a:lnTo>
                      <a:pt x="151" y="518"/>
                    </a:lnTo>
                    <a:lnTo>
                      <a:pt x="149" y="517"/>
                    </a:lnTo>
                    <a:lnTo>
                      <a:pt x="149" y="517"/>
                    </a:lnTo>
                    <a:lnTo>
                      <a:pt x="149" y="518"/>
                    </a:lnTo>
                    <a:lnTo>
                      <a:pt x="146" y="522"/>
                    </a:lnTo>
                    <a:lnTo>
                      <a:pt x="146" y="522"/>
                    </a:lnTo>
                    <a:lnTo>
                      <a:pt x="146" y="522"/>
                    </a:lnTo>
                    <a:lnTo>
                      <a:pt x="146" y="522"/>
                    </a:lnTo>
                    <a:lnTo>
                      <a:pt x="146" y="522"/>
                    </a:lnTo>
                    <a:lnTo>
                      <a:pt x="146" y="522"/>
                    </a:lnTo>
                    <a:lnTo>
                      <a:pt x="146" y="522"/>
                    </a:lnTo>
                    <a:lnTo>
                      <a:pt x="146" y="523"/>
                    </a:lnTo>
                    <a:lnTo>
                      <a:pt x="146" y="523"/>
                    </a:lnTo>
                    <a:lnTo>
                      <a:pt x="146" y="527"/>
                    </a:lnTo>
                    <a:lnTo>
                      <a:pt x="146" y="527"/>
                    </a:lnTo>
                    <a:lnTo>
                      <a:pt x="146" y="531"/>
                    </a:lnTo>
                    <a:lnTo>
                      <a:pt x="144" y="534"/>
                    </a:lnTo>
                    <a:lnTo>
                      <a:pt x="144" y="534"/>
                    </a:lnTo>
                    <a:lnTo>
                      <a:pt x="144" y="534"/>
                    </a:lnTo>
                    <a:lnTo>
                      <a:pt x="144" y="534"/>
                    </a:lnTo>
                    <a:lnTo>
                      <a:pt x="144" y="531"/>
                    </a:lnTo>
                    <a:lnTo>
                      <a:pt x="139" y="538"/>
                    </a:lnTo>
                    <a:lnTo>
                      <a:pt x="139" y="538"/>
                    </a:lnTo>
                    <a:lnTo>
                      <a:pt x="138" y="538"/>
                    </a:lnTo>
                    <a:lnTo>
                      <a:pt x="138" y="538"/>
                    </a:lnTo>
                    <a:lnTo>
                      <a:pt x="139" y="537"/>
                    </a:lnTo>
                    <a:lnTo>
                      <a:pt x="140" y="534"/>
                    </a:lnTo>
                    <a:lnTo>
                      <a:pt x="135" y="539"/>
                    </a:lnTo>
                    <a:lnTo>
                      <a:pt x="135" y="539"/>
                    </a:lnTo>
                    <a:lnTo>
                      <a:pt x="135" y="539"/>
                    </a:lnTo>
                    <a:lnTo>
                      <a:pt x="135" y="539"/>
                    </a:lnTo>
                    <a:lnTo>
                      <a:pt x="135" y="538"/>
                    </a:lnTo>
                    <a:lnTo>
                      <a:pt x="135" y="538"/>
                    </a:lnTo>
                    <a:lnTo>
                      <a:pt x="134" y="539"/>
                    </a:lnTo>
                    <a:lnTo>
                      <a:pt x="130" y="541"/>
                    </a:lnTo>
                    <a:lnTo>
                      <a:pt x="130" y="541"/>
                    </a:lnTo>
                    <a:lnTo>
                      <a:pt x="130" y="541"/>
                    </a:lnTo>
                    <a:lnTo>
                      <a:pt x="130" y="541"/>
                    </a:lnTo>
                    <a:lnTo>
                      <a:pt x="130" y="541"/>
                    </a:lnTo>
                    <a:lnTo>
                      <a:pt x="130" y="539"/>
                    </a:lnTo>
                    <a:lnTo>
                      <a:pt x="130" y="539"/>
                    </a:lnTo>
                    <a:lnTo>
                      <a:pt x="127" y="542"/>
                    </a:lnTo>
                    <a:lnTo>
                      <a:pt x="127" y="542"/>
                    </a:lnTo>
                    <a:lnTo>
                      <a:pt x="124" y="543"/>
                    </a:lnTo>
                    <a:lnTo>
                      <a:pt x="124" y="543"/>
                    </a:lnTo>
                    <a:lnTo>
                      <a:pt x="119" y="545"/>
                    </a:lnTo>
                    <a:lnTo>
                      <a:pt x="112" y="546"/>
                    </a:lnTo>
                    <a:lnTo>
                      <a:pt x="112" y="546"/>
                    </a:lnTo>
                    <a:lnTo>
                      <a:pt x="111" y="547"/>
                    </a:lnTo>
                    <a:lnTo>
                      <a:pt x="111" y="547"/>
                    </a:lnTo>
                    <a:lnTo>
                      <a:pt x="107" y="547"/>
                    </a:lnTo>
                    <a:lnTo>
                      <a:pt x="105" y="550"/>
                    </a:lnTo>
                    <a:lnTo>
                      <a:pt x="105" y="550"/>
                    </a:lnTo>
                    <a:lnTo>
                      <a:pt x="103" y="550"/>
                    </a:lnTo>
                    <a:lnTo>
                      <a:pt x="103" y="550"/>
                    </a:lnTo>
                    <a:lnTo>
                      <a:pt x="99" y="552"/>
                    </a:lnTo>
                    <a:lnTo>
                      <a:pt x="95" y="552"/>
                    </a:lnTo>
                    <a:lnTo>
                      <a:pt x="95" y="552"/>
                    </a:lnTo>
                    <a:lnTo>
                      <a:pt x="93" y="556"/>
                    </a:lnTo>
                    <a:lnTo>
                      <a:pt x="93" y="556"/>
                    </a:lnTo>
                    <a:lnTo>
                      <a:pt x="90" y="560"/>
                    </a:lnTo>
                    <a:lnTo>
                      <a:pt x="85" y="563"/>
                    </a:lnTo>
                    <a:lnTo>
                      <a:pt x="82" y="563"/>
                    </a:lnTo>
                    <a:lnTo>
                      <a:pt x="77" y="558"/>
                    </a:lnTo>
                    <a:lnTo>
                      <a:pt x="77" y="559"/>
                    </a:lnTo>
                    <a:lnTo>
                      <a:pt x="77" y="559"/>
                    </a:lnTo>
                    <a:lnTo>
                      <a:pt x="77" y="559"/>
                    </a:lnTo>
                    <a:lnTo>
                      <a:pt x="77" y="560"/>
                    </a:lnTo>
                    <a:lnTo>
                      <a:pt x="77" y="560"/>
                    </a:lnTo>
                    <a:lnTo>
                      <a:pt x="77" y="559"/>
                    </a:lnTo>
                    <a:lnTo>
                      <a:pt x="77" y="559"/>
                    </a:lnTo>
                    <a:lnTo>
                      <a:pt x="75" y="559"/>
                    </a:lnTo>
                    <a:lnTo>
                      <a:pt x="74" y="559"/>
                    </a:lnTo>
                    <a:lnTo>
                      <a:pt x="73" y="559"/>
                    </a:lnTo>
                    <a:lnTo>
                      <a:pt x="73" y="559"/>
                    </a:lnTo>
                    <a:lnTo>
                      <a:pt x="69" y="558"/>
                    </a:lnTo>
                    <a:lnTo>
                      <a:pt x="66" y="556"/>
                    </a:lnTo>
                    <a:lnTo>
                      <a:pt x="61" y="552"/>
                    </a:lnTo>
                    <a:lnTo>
                      <a:pt x="61" y="552"/>
                    </a:lnTo>
                    <a:lnTo>
                      <a:pt x="58" y="550"/>
                    </a:lnTo>
                    <a:lnTo>
                      <a:pt x="58" y="549"/>
                    </a:lnTo>
                    <a:lnTo>
                      <a:pt x="54" y="546"/>
                    </a:lnTo>
                    <a:lnTo>
                      <a:pt x="54" y="546"/>
                    </a:lnTo>
                    <a:lnTo>
                      <a:pt x="53" y="545"/>
                    </a:lnTo>
                    <a:lnTo>
                      <a:pt x="50" y="546"/>
                    </a:lnTo>
                    <a:lnTo>
                      <a:pt x="33" y="546"/>
                    </a:lnTo>
                    <a:lnTo>
                      <a:pt x="28" y="542"/>
                    </a:lnTo>
                    <a:lnTo>
                      <a:pt x="28" y="542"/>
                    </a:lnTo>
                    <a:lnTo>
                      <a:pt x="29" y="545"/>
                    </a:lnTo>
                    <a:lnTo>
                      <a:pt x="30" y="545"/>
                    </a:lnTo>
                    <a:lnTo>
                      <a:pt x="30" y="545"/>
                    </a:lnTo>
                    <a:lnTo>
                      <a:pt x="30" y="545"/>
                    </a:lnTo>
                    <a:lnTo>
                      <a:pt x="30" y="545"/>
                    </a:lnTo>
                    <a:lnTo>
                      <a:pt x="28" y="545"/>
                    </a:lnTo>
                    <a:lnTo>
                      <a:pt x="28" y="545"/>
                    </a:lnTo>
                    <a:lnTo>
                      <a:pt x="25" y="545"/>
                    </a:lnTo>
                    <a:lnTo>
                      <a:pt x="25" y="545"/>
                    </a:lnTo>
                    <a:lnTo>
                      <a:pt x="23" y="545"/>
                    </a:lnTo>
                    <a:lnTo>
                      <a:pt x="21" y="545"/>
                    </a:lnTo>
                    <a:lnTo>
                      <a:pt x="16" y="542"/>
                    </a:lnTo>
                    <a:lnTo>
                      <a:pt x="16" y="542"/>
                    </a:lnTo>
                    <a:lnTo>
                      <a:pt x="16" y="543"/>
                    </a:lnTo>
                    <a:lnTo>
                      <a:pt x="16" y="543"/>
                    </a:lnTo>
                    <a:lnTo>
                      <a:pt x="16" y="543"/>
                    </a:lnTo>
                    <a:lnTo>
                      <a:pt x="16" y="543"/>
                    </a:lnTo>
                    <a:lnTo>
                      <a:pt x="13" y="542"/>
                    </a:lnTo>
                    <a:lnTo>
                      <a:pt x="11" y="539"/>
                    </a:lnTo>
                    <a:lnTo>
                      <a:pt x="11" y="539"/>
                    </a:lnTo>
                    <a:lnTo>
                      <a:pt x="9" y="539"/>
                    </a:lnTo>
                    <a:lnTo>
                      <a:pt x="7" y="537"/>
                    </a:lnTo>
                    <a:lnTo>
                      <a:pt x="7" y="537"/>
                    </a:lnTo>
                    <a:lnTo>
                      <a:pt x="4" y="535"/>
                    </a:lnTo>
                    <a:lnTo>
                      <a:pt x="4" y="533"/>
                    </a:lnTo>
                    <a:lnTo>
                      <a:pt x="3" y="527"/>
                    </a:lnTo>
                    <a:lnTo>
                      <a:pt x="3" y="527"/>
                    </a:lnTo>
                    <a:lnTo>
                      <a:pt x="3" y="527"/>
                    </a:lnTo>
                    <a:lnTo>
                      <a:pt x="3" y="527"/>
                    </a:lnTo>
                    <a:lnTo>
                      <a:pt x="1" y="523"/>
                    </a:lnTo>
                    <a:lnTo>
                      <a:pt x="0" y="518"/>
                    </a:lnTo>
                    <a:lnTo>
                      <a:pt x="1" y="515"/>
                    </a:lnTo>
                    <a:lnTo>
                      <a:pt x="1" y="515"/>
                    </a:lnTo>
                    <a:lnTo>
                      <a:pt x="3" y="511"/>
                    </a:lnTo>
                    <a:lnTo>
                      <a:pt x="3" y="511"/>
                    </a:lnTo>
                    <a:lnTo>
                      <a:pt x="4" y="514"/>
                    </a:lnTo>
                    <a:lnTo>
                      <a:pt x="7" y="515"/>
                    </a:lnTo>
                    <a:lnTo>
                      <a:pt x="1" y="510"/>
                    </a:lnTo>
                    <a:lnTo>
                      <a:pt x="1" y="509"/>
                    </a:lnTo>
                    <a:lnTo>
                      <a:pt x="1" y="509"/>
                    </a:lnTo>
                    <a:lnTo>
                      <a:pt x="1" y="501"/>
                    </a:lnTo>
                    <a:lnTo>
                      <a:pt x="3" y="493"/>
                    </a:lnTo>
                    <a:lnTo>
                      <a:pt x="5" y="489"/>
                    </a:lnTo>
                    <a:lnTo>
                      <a:pt x="9" y="485"/>
                    </a:lnTo>
                    <a:lnTo>
                      <a:pt x="9" y="485"/>
                    </a:lnTo>
                    <a:lnTo>
                      <a:pt x="13" y="481"/>
                    </a:lnTo>
                    <a:lnTo>
                      <a:pt x="16" y="477"/>
                    </a:lnTo>
                    <a:lnTo>
                      <a:pt x="17" y="473"/>
                    </a:lnTo>
                    <a:lnTo>
                      <a:pt x="17" y="473"/>
                    </a:lnTo>
                    <a:lnTo>
                      <a:pt x="20" y="468"/>
                    </a:lnTo>
                    <a:lnTo>
                      <a:pt x="20" y="468"/>
                    </a:lnTo>
                    <a:lnTo>
                      <a:pt x="20" y="464"/>
                    </a:lnTo>
                    <a:lnTo>
                      <a:pt x="21" y="463"/>
                    </a:lnTo>
                    <a:lnTo>
                      <a:pt x="21" y="463"/>
                    </a:lnTo>
                    <a:lnTo>
                      <a:pt x="21" y="463"/>
                    </a:lnTo>
                    <a:lnTo>
                      <a:pt x="21" y="464"/>
                    </a:lnTo>
                    <a:lnTo>
                      <a:pt x="24" y="459"/>
                    </a:lnTo>
                    <a:lnTo>
                      <a:pt x="24" y="459"/>
                    </a:lnTo>
                    <a:lnTo>
                      <a:pt x="25" y="456"/>
                    </a:lnTo>
                    <a:lnTo>
                      <a:pt x="25" y="456"/>
                    </a:lnTo>
                    <a:lnTo>
                      <a:pt x="27" y="451"/>
                    </a:lnTo>
                    <a:lnTo>
                      <a:pt x="29" y="449"/>
                    </a:lnTo>
                    <a:lnTo>
                      <a:pt x="29" y="449"/>
                    </a:lnTo>
                    <a:lnTo>
                      <a:pt x="29" y="449"/>
                    </a:lnTo>
                    <a:lnTo>
                      <a:pt x="36" y="444"/>
                    </a:lnTo>
                    <a:lnTo>
                      <a:pt x="40" y="439"/>
                    </a:lnTo>
                    <a:lnTo>
                      <a:pt x="40" y="439"/>
                    </a:lnTo>
                    <a:lnTo>
                      <a:pt x="41" y="436"/>
                    </a:lnTo>
                    <a:lnTo>
                      <a:pt x="41" y="436"/>
                    </a:lnTo>
                    <a:lnTo>
                      <a:pt x="45" y="433"/>
                    </a:lnTo>
                    <a:lnTo>
                      <a:pt x="45" y="433"/>
                    </a:lnTo>
                    <a:lnTo>
                      <a:pt x="49" y="430"/>
                    </a:lnTo>
                    <a:lnTo>
                      <a:pt x="52" y="430"/>
                    </a:lnTo>
                    <a:lnTo>
                      <a:pt x="52" y="430"/>
                    </a:lnTo>
                    <a:lnTo>
                      <a:pt x="52" y="428"/>
                    </a:lnTo>
                    <a:lnTo>
                      <a:pt x="52" y="428"/>
                    </a:lnTo>
                    <a:lnTo>
                      <a:pt x="54" y="428"/>
                    </a:lnTo>
                    <a:lnTo>
                      <a:pt x="57" y="427"/>
                    </a:lnTo>
                    <a:lnTo>
                      <a:pt x="57" y="427"/>
                    </a:lnTo>
                    <a:lnTo>
                      <a:pt x="62" y="423"/>
                    </a:lnTo>
                    <a:lnTo>
                      <a:pt x="62" y="423"/>
                    </a:lnTo>
                    <a:lnTo>
                      <a:pt x="65" y="423"/>
                    </a:lnTo>
                    <a:lnTo>
                      <a:pt x="66" y="419"/>
                    </a:lnTo>
                    <a:lnTo>
                      <a:pt x="66" y="419"/>
                    </a:lnTo>
                    <a:lnTo>
                      <a:pt x="66" y="420"/>
                    </a:lnTo>
                    <a:lnTo>
                      <a:pt x="66" y="420"/>
                    </a:lnTo>
                    <a:lnTo>
                      <a:pt x="66" y="419"/>
                    </a:lnTo>
                    <a:lnTo>
                      <a:pt x="66" y="419"/>
                    </a:lnTo>
                    <a:lnTo>
                      <a:pt x="68" y="415"/>
                    </a:lnTo>
                    <a:lnTo>
                      <a:pt x="69" y="412"/>
                    </a:lnTo>
                    <a:lnTo>
                      <a:pt x="71" y="411"/>
                    </a:lnTo>
                    <a:lnTo>
                      <a:pt x="73" y="410"/>
                    </a:lnTo>
                    <a:lnTo>
                      <a:pt x="73" y="410"/>
                    </a:lnTo>
                    <a:lnTo>
                      <a:pt x="78" y="407"/>
                    </a:lnTo>
                    <a:lnTo>
                      <a:pt x="86" y="404"/>
                    </a:lnTo>
                    <a:lnTo>
                      <a:pt x="86" y="404"/>
                    </a:lnTo>
                    <a:lnTo>
                      <a:pt x="93" y="402"/>
                    </a:lnTo>
                    <a:lnTo>
                      <a:pt x="95" y="400"/>
                    </a:lnTo>
                    <a:lnTo>
                      <a:pt x="95" y="400"/>
                    </a:lnTo>
                    <a:lnTo>
                      <a:pt x="97" y="400"/>
                    </a:lnTo>
                    <a:lnTo>
                      <a:pt x="97" y="400"/>
                    </a:lnTo>
                    <a:lnTo>
                      <a:pt x="95" y="402"/>
                    </a:lnTo>
                    <a:lnTo>
                      <a:pt x="94" y="404"/>
                    </a:lnTo>
                    <a:lnTo>
                      <a:pt x="99" y="399"/>
                    </a:lnTo>
                    <a:lnTo>
                      <a:pt x="101" y="399"/>
                    </a:lnTo>
                    <a:lnTo>
                      <a:pt x="102" y="398"/>
                    </a:lnTo>
                    <a:lnTo>
                      <a:pt x="105" y="396"/>
                    </a:lnTo>
                    <a:lnTo>
                      <a:pt x="105" y="396"/>
                    </a:lnTo>
                    <a:lnTo>
                      <a:pt x="112" y="391"/>
                    </a:lnTo>
                    <a:lnTo>
                      <a:pt x="115" y="390"/>
                    </a:lnTo>
                    <a:lnTo>
                      <a:pt x="115" y="387"/>
                    </a:lnTo>
                    <a:lnTo>
                      <a:pt x="115" y="386"/>
                    </a:lnTo>
                    <a:lnTo>
                      <a:pt x="115" y="386"/>
                    </a:lnTo>
                    <a:lnTo>
                      <a:pt x="116" y="389"/>
                    </a:lnTo>
                    <a:lnTo>
                      <a:pt x="116" y="389"/>
                    </a:lnTo>
                    <a:lnTo>
                      <a:pt x="118" y="390"/>
                    </a:lnTo>
                    <a:lnTo>
                      <a:pt x="119" y="390"/>
                    </a:lnTo>
                    <a:lnTo>
                      <a:pt x="115" y="386"/>
                    </a:lnTo>
                    <a:lnTo>
                      <a:pt x="115" y="385"/>
                    </a:lnTo>
                    <a:lnTo>
                      <a:pt x="115" y="385"/>
                    </a:lnTo>
                    <a:lnTo>
                      <a:pt x="115" y="386"/>
                    </a:lnTo>
                    <a:lnTo>
                      <a:pt x="114" y="385"/>
                    </a:lnTo>
                    <a:lnTo>
                      <a:pt x="114" y="383"/>
                    </a:lnTo>
                    <a:lnTo>
                      <a:pt x="119" y="377"/>
                    </a:lnTo>
                    <a:lnTo>
                      <a:pt x="119" y="377"/>
                    </a:lnTo>
                    <a:lnTo>
                      <a:pt x="116" y="378"/>
                    </a:lnTo>
                    <a:lnTo>
                      <a:pt x="116" y="378"/>
                    </a:lnTo>
                    <a:lnTo>
                      <a:pt x="116" y="378"/>
                    </a:lnTo>
                    <a:lnTo>
                      <a:pt x="116" y="378"/>
                    </a:lnTo>
                    <a:lnTo>
                      <a:pt x="119" y="374"/>
                    </a:lnTo>
                    <a:lnTo>
                      <a:pt x="119" y="374"/>
                    </a:lnTo>
                    <a:lnTo>
                      <a:pt x="119" y="374"/>
                    </a:lnTo>
                    <a:lnTo>
                      <a:pt x="119" y="374"/>
                    </a:lnTo>
                    <a:lnTo>
                      <a:pt x="119" y="374"/>
                    </a:lnTo>
                    <a:lnTo>
                      <a:pt x="119" y="374"/>
                    </a:lnTo>
                    <a:lnTo>
                      <a:pt x="119" y="374"/>
                    </a:lnTo>
                    <a:lnTo>
                      <a:pt x="119" y="374"/>
                    </a:lnTo>
                    <a:lnTo>
                      <a:pt x="119" y="374"/>
                    </a:lnTo>
                    <a:lnTo>
                      <a:pt x="119" y="374"/>
                    </a:lnTo>
                    <a:lnTo>
                      <a:pt x="118" y="370"/>
                    </a:lnTo>
                    <a:lnTo>
                      <a:pt x="118" y="369"/>
                    </a:lnTo>
                    <a:lnTo>
                      <a:pt x="119" y="366"/>
                    </a:lnTo>
                    <a:lnTo>
                      <a:pt x="119" y="363"/>
                    </a:lnTo>
                    <a:lnTo>
                      <a:pt x="119" y="363"/>
                    </a:lnTo>
                    <a:lnTo>
                      <a:pt x="119" y="363"/>
                    </a:lnTo>
                    <a:lnTo>
                      <a:pt x="116" y="359"/>
                    </a:lnTo>
                    <a:lnTo>
                      <a:pt x="116" y="357"/>
                    </a:lnTo>
                    <a:lnTo>
                      <a:pt x="116" y="354"/>
                    </a:lnTo>
                    <a:lnTo>
                      <a:pt x="116" y="354"/>
                    </a:lnTo>
                    <a:lnTo>
                      <a:pt x="116" y="354"/>
                    </a:lnTo>
                    <a:lnTo>
                      <a:pt x="116" y="350"/>
                    </a:lnTo>
                    <a:lnTo>
                      <a:pt x="118" y="348"/>
                    </a:lnTo>
                    <a:lnTo>
                      <a:pt x="122" y="345"/>
                    </a:lnTo>
                    <a:lnTo>
                      <a:pt x="122" y="345"/>
                    </a:lnTo>
                    <a:lnTo>
                      <a:pt x="122" y="345"/>
                    </a:lnTo>
                    <a:lnTo>
                      <a:pt x="122" y="344"/>
                    </a:lnTo>
                    <a:lnTo>
                      <a:pt x="122" y="342"/>
                    </a:lnTo>
                    <a:lnTo>
                      <a:pt x="122" y="342"/>
                    </a:lnTo>
                    <a:lnTo>
                      <a:pt x="124" y="333"/>
                    </a:lnTo>
                    <a:lnTo>
                      <a:pt x="128" y="325"/>
                    </a:lnTo>
                    <a:lnTo>
                      <a:pt x="128" y="325"/>
                    </a:lnTo>
                    <a:lnTo>
                      <a:pt x="131" y="321"/>
                    </a:lnTo>
                    <a:lnTo>
                      <a:pt x="131" y="321"/>
                    </a:lnTo>
                    <a:lnTo>
                      <a:pt x="130" y="322"/>
                    </a:lnTo>
                    <a:lnTo>
                      <a:pt x="128" y="324"/>
                    </a:lnTo>
                    <a:lnTo>
                      <a:pt x="128" y="324"/>
                    </a:lnTo>
                    <a:lnTo>
                      <a:pt x="128" y="321"/>
                    </a:lnTo>
                    <a:lnTo>
                      <a:pt x="128" y="321"/>
                    </a:lnTo>
                    <a:lnTo>
                      <a:pt x="128" y="316"/>
                    </a:lnTo>
                    <a:lnTo>
                      <a:pt x="128" y="316"/>
                    </a:lnTo>
                    <a:lnTo>
                      <a:pt x="130" y="312"/>
                    </a:lnTo>
                    <a:lnTo>
                      <a:pt x="131" y="309"/>
                    </a:lnTo>
                    <a:lnTo>
                      <a:pt x="134" y="308"/>
                    </a:lnTo>
                    <a:lnTo>
                      <a:pt x="134" y="308"/>
                    </a:lnTo>
                    <a:lnTo>
                      <a:pt x="132" y="309"/>
                    </a:lnTo>
                    <a:lnTo>
                      <a:pt x="131" y="312"/>
                    </a:lnTo>
                    <a:lnTo>
                      <a:pt x="136" y="305"/>
                    </a:lnTo>
                    <a:lnTo>
                      <a:pt x="136" y="305"/>
                    </a:lnTo>
                    <a:lnTo>
                      <a:pt x="135" y="307"/>
                    </a:lnTo>
                    <a:lnTo>
                      <a:pt x="134" y="308"/>
                    </a:lnTo>
                    <a:lnTo>
                      <a:pt x="134" y="308"/>
                    </a:lnTo>
                    <a:lnTo>
                      <a:pt x="134" y="305"/>
                    </a:lnTo>
                    <a:lnTo>
                      <a:pt x="134" y="305"/>
                    </a:lnTo>
                    <a:lnTo>
                      <a:pt x="134" y="300"/>
                    </a:lnTo>
                    <a:lnTo>
                      <a:pt x="135" y="296"/>
                    </a:lnTo>
                    <a:lnTo>
                      <a:pt x="135" y="295"/>
                    </a:lnTo>
                    <a:lnTo>
                      <a:pt x="136" y="291"/>
                    </a:lnTo>
                    <a:lnTo>
                      <a:pt x="136" y="291"/>
                    </a:lnTo>
                    <a:lnTo>
                      <a:pt x="138" y="288"/>
                    </a:lnTo>
                    <a:lnTo>
                      <a:pt x="138" y="288"/>
                    </a:lnTo>
                    <a:lnTo>
                      <a:pt x="139" y="285"/>
                    </a:lnTo>
                    <a:lnTo>
                      <a:pt x="139" y="285"/>
                    </a:lnTo>
                    <a:lnTo>
                      <a:pt x="138" y="281"/>
                    </a:lnTo>
                    <a:lnTo>
                      <a:pt x="138" y="281"/>
                    </a:lnTo>
                    <a:lnTo>
                      <a:pt x="139" y="277"/>
                    </a:lnTo>
                    <a:lnTo>
                      <a:pt x="140" y="276"/>
                    </a:lnTo>
                    <a:lnTo>
                      <a:pt x="140" y="276"/>
                    </a:lnTo>
                    <a:lnTo>
                      <a:pt x="140" y="276"/>
                    </a:lnTo>
                    <a:lnTo>
                      <a:pt x="140" y="276"/>
                    </a:lnTo>
                    <a:lnTo>
                      <a:pt x="140" y="276"/>
                    </a:lnTo>
                    <a:lnTo>
                      <a:pt x="140" y="276"/>
                    </a:lnTo>
                    <a:lnTo>
                      <a:pt x="140" y="276"/>
                    </a:lnTo>
                    <a:lnTo>
                      <a:pt x="140" y="275"/>
                    </a:lnTo>
                    <a:lnTo>
                      <a:pt x="140" y="275"/>
                    </a:lnTo>
                    <a:lnTo>
                      <a:pt x="140" y="275"/>
                    </a:lnTo>
                    <a:lnTo>
                      <a:pt x="139" y="274"/>
                    </a:lnTo>
                    <a:lnTo>
                      <a:pt x="139" y="270"/>
                    </a:lnTo>
                    <a:lnTo>
                      <a:pt x="139" y="268"/>
                    </a:lnTo>
                    <a:lnTo>
                      <a:pt x="139" y="268"/>
                    </a:lnTo>
                    <a:lnTo>
                      <a:pt x="142" y="263"/>
                    </a:lnTo>
                    <a:lnTo>
                      <a:pt x="142" y="263"/>
                    </a:lnTo>
                    <a:lnTo>
                      <a:pt x="143" y="260"/>
                    </a:lnTo>
                    <a:lnTo>
                      <a:pt x="143" y="258"/>
                    </a:lnTo>
                    <a:lnTo>
                      <a:pt x="143" y="258"/>
                    </a:lnTo>
                    <a:lnTo>
                      <a:pt x="143" y="255"/>
                    </a:lnTo>
                    <a:lnTo>
                      <a:pt x="143" y="255"/>
                    </a:lnTo>
                    <a:lnTo>
                      <a:pt x="143" y="255"/>
                    </a:lnTo>
                    <a:lnTo>
                      <a:pt x="143" y="255"/>
                    </a:lnTo>
                    <a:lnTo>
                      <a:pt x="144" y="256"/>
                    </a:lnTo>
                    <a:lnTo>
                      <a:pt x="147" y="258"/>
                    </a:lnTo>
                    <a:lnTo>
                      <a:pt x="143" y="248"/>
                    </a:lnTo>
                    <a:lnTo>
                      <a:pt x="143" y="248"/>
                    </a:lnTo>
                    <a:lnTo>
                      <a:pt x="143" y="247"/>
                    </a:lnTo>
                    <a:lnTo>
                      <a:pt x="143" y="247"/>
                    </a:lnTo>
                    <a:lnTo>
                      <a:pt x="144" y="243"/>
                    </a:lnTo>
                    <a:lnTo>
                      <a:pt x="144" y="243"/>
                    </a:lnTo>
                    <a:lnTo>
                      <a:pt x="147" y="239"/>
                    </a:lnTo>
                    <a:lnTo>
                      <a:pt x="149" y="236"/>
                    </a:lnTo>
                    <a:lnTo>
                      <a:pt x="149" y="236"/>
                    </a:lnTo>
                    <a:lnTo>
                      <a:pt x="152" y="235"/>
                    </a:lnTo>
                    <a:lnTo>
                      <a:pt x="152" y="234"/>
                    </a:lnTo>
                    <a:lnTo>
                      <a:pt x="152" y="234"/>
                    </a:lnTo>
                    <a:lnTo>
                      <a:pt x="152" y="236"/>
                    </a:lnTo>
                    <a:lnTo>
                      <a:pt x="155" y="234"/>
                    </a:lnTo>
                    <a:lnTo>
                      <a:pt x="156" y="233"/>
                    </a:lnTo>
                    <a:lnTo>
                      <a:pt x="157" y="233"/>
                    </a:lnTo>
                    <a:lnTo>
                      <a:pt x="157" y="233"/>
                    </a:lnTo>
                    <a:lnTo>
                      <a:pt x="156" y="233"/>
                    </a:lnTo>
                    <a:lnTo>
                      <a:pt x="157" y="231"/>
                    </a:lnTo>
                    <a:lnTo>
                      <a:pt x="157" y="231"/>
                    </a:lnTo>
                    <a:lnTo>
                      <a:pt x="157" y="231"/>
                    </a:lnTo>
                    <a:lnTo>
                      <a:pt x="161" y="229"/>
                    </a:lnTo>
                    <a:lnTo>
                      <a:pt x="161" y="229"/>
                    </a:lnTo>
                    <a:lnTo>
                      <a:pt x="165" y="231"/>
                    </a:lnTo>
                    <a:lnTo>
                      <a:pt x="165" y="231"/>
                    </a:lnTo>
                    <a:lnTo>
                      <a:pt x="165" y="231"/>
                    </a:lnTo>
                    <a:lnTo>
                      <a:pt x="165" y="231"/>
                    </a:lnTo>
                    <a:lnTo>
                      <a:pt x="167" y="230"/>
                    </a:lnTo>
                    <a:lnTo>
                      <a:pt x="171" y="230"/>
                    </a:lnTo>
                    <a:lnTo>
                      <a:pt x="171" y="230"/>
                    </a:lnTo>
                    <a:lnTo>
                      <a:pt x="172" y="229"/>
                    </a:lnTo>
                    <a:lnTo>
                      <a:pt x="172" y="229"/>
                    </a:lnTo>
                    <a:lnTo>
                      <a:pt x="173" y="226"/>
                    </a:lnTo>
                    <a:lnTo>
                      <a:pt x="173" y="226"/>
                    </a:lnTo>
                    <a:lnTo>
                      <a:pt x="173" y="225"/>
                    </a:lnTo>
                    <a:lnTo>
                      <a:pt x="173" y="225"/>
                    </a:lnTo>
                    <a:lnTo>
                      <a:pt x="172" y="221"/>
                    </a:lnTo>
                    <a:lnTo>
                      <a:pt x="172" y="217"/>
                    </a:lnTo>
                    <a:lnTo>
                      <a:pt x="175" y="213"/>
                    </a:lnTo>
                    <a:lnTo>
                      <a:pt x="175" y="213"/>
                    </a:lnTo>
                    <a:lnTo>
                      <a:pt x="177" y="211"/>
                    </a:lnTo>
                    <a:lnTo>
                      <a:pt x="177" y="211"/>
                    </a:lnTo>
                    <a:lnTo>
                      <a:pt x="179" y="210"/>
                    </a:lnTo>
                    <a:lnTo>
                      <a:pt x="181" y="209"/>
                    </a:lnTo>
                    <a:lnTo>
                      <a:pt x="181" y="209"/>
                    </a:lnTo>
                    <a:lnTo>
                      <a:pt x="181" y="209"/>
                    </a:lnTo>
                    <a:lnTo>
                      <a:pt x="189" y="202"/>
                    </a:lnTo>
                    <a:lnTo>
                      <a:pt x="189" y="202"/>
                    </a:lnTo>
                    <a:lnTo>
                      <a:pt x="192" y="203"/>
                    </a:lnTo>
                    <a:lnTo>
                      <a:pt x="192" y="203"/>
                    </a:lnTo>
                    <a:lnTo>
                      <a:pt x="193" y="198"/>
                    </a:lnTo>
                    <a:lnTo>
                      <a:pt x="193" y="198"/>
                    </a:lnTo>
                    <a:lnTo>
                      <a:pt x="194" y="194"/>
                    </a:lnTo>
                    <a:lnTo>
                      <a:pt x="200" y="190"/>
                    </a:lnTo>
                    <a:lnTo>
                      <a:pt x="205" y="190"/>
                    </a:lnTo>
                    <a:lnTo>
                      <a:pt x="206" y="192"/>
                    </a:lnTo>
                    <a:lnTo>
                      <a:pt x="206" y="192"/>
                    </a:lnTo>
                    <a:lnTo>
                      <a:pt x="206" y="192"/>
                    </a:lnTo>
                    <a:lnTo>
                      <a:pt x="205" y="189"/>
                    </a:lnTo>
                    <a:lnTo>
                      <a:pt x="205" y="189"/>
                    </a:lnTo>
                    <a:lnTo>
                      <a:pt x="206" y="185"/>
                    </a:lnTo>
                    <a:lnTo>
                      <a:pt x="208" y="182"/>
                    </a:lnTo>
                    <a:lnTo>
                      <a:pt x="212" y="182"/>
                    </a:lnTo>
                    <a:lnTo>
                      <a:pt x="213" y="181"/>
                    </a:lnTo>
                    <a:lnTo>
                      <a:pt x="214" y="181"/>
                    </a:lnTo>
                    <a:lnTo>
                      <a:pt x="214" y="181"/>
                    </a:lnTo>
                    <a:lnTo>
                      <a:pt x="216" y="181"/>
                    </a:lnTo>
                    <a:lnTo>
                      <a:pt x="216" y="181"/>
                    </a:lnTo>
                    <a:lnTo>
                      <a:pt x="217" y="178"/>
                    </a:lnTo>
                    <a:lnTo>
                      <a:pt x="221" y="177"/>
                    </a:lnTo>
                    <a:lnTo>
                      <a:pt x="221" y="177"/>
                    </a:lnTo>
                    <a:lnTo>
                      <a:pt x="222" y="177"/>
                    </a:lnTo>
                    <a:lnTo>
                      <a:pt x="222" y="177"/>
                    </a:lnTo>
                    <a:lnTo>
                      <a:pt x="221" y="177"/>
                    </a:lnTo>
                    <a:lnTo>
                      <a:pt x="220" y="180"/>
                    </a:lnTo>
                    <a:lnTo>
                      <a:pt x="225" y="176"/>
                    </a:lnTo>
                    <a:lnTo>
                      <a:pt x="228" y="176"/>
                    </a:lnTo>
                    <a:lnTo>
                      <a:pt x="228" y="176"/>
                    </a:lnTo>
                    <a:lnTo>
                      <a:pt x="229" y="174"/>
                    </a:lnTo>
                    <a:lnTo>
                      <a:pt x="229" y="174"/>
                    </a:lnTo>
                    <a:lnTo>
                      <a:pt x="233" y="172"/>
                    </a:lnTo>
                    <a:lnTo>
                      <a:pt x="234" y="169"/>
                    </a:lnTo>
                    <a:lnTo>
                      <a:pt x="234" y="168"/>
                    </a:lnTo>
                    <a:lnTo>
                      <a:pt x="246" y="165"/>
                    </a:lnTo>
                    <a:lnTo>
                      <a:pt x="246" y="165"/>
                    </a:lnTo>
                    <a:lnTo>
                      <a:pt x="245" y="164"/>
                    </a:lnTo>
                    <a:lnTo>
                      <a:pt x="245" y="164"/>
                    </a:lnTo>
                    <a:lnTo>
                      <a:pt x="250" y="162"/>
                    </a:lnTo>
                    <a:lnTo>
                      <a:pt x="250" y="162"/>
                    </a:lnTo>
                    <a:lnTo>
                      <a:pt x="253" y="160"/>
                    </a:lnTo>
                    <a:lnTo>
                      <a:pt x="255" y="160"/>
                    </a:lnTo>
                    <a:lnTo>
                      <a:pt x="255" y="160"/>
                    </a:lnTo>
                    <a:lnTo>
                      <a:pt x="259" y="161"/>
                    </a:lnTo>
                    <a:lnTo>
                      <a:pt x="262" y="162"/>
                    </a:lnTo>
                    <a:lnTo>
                      <a:pt x="262" y="162"/>
                    </a:lnTo>
                    <a:lnTo>
                      <a:pt x="263" y="162"/>
                    </a:lnTo>
                    <a:lnTo>
                      <a:pt x="268" y="157"/>
                    </a:lnTo>
                    <a:lnTo>
                      <a:pt x="268" y="157"/>
                    </a:lnTo>
                    <a:lnTo>
                      <a:pt x="266" y="158"/>
                    </a:lnTo>
                    <a:lnTo>
                      <a:pt x="265" y="161"/>
                    </a:lnTo>
                    <a:lnTo>
                      <a:pt x="265" y="160"/>
                    </a:lnTo>
                    <a:lnTo>
                      <a:pt x="265" y="160"/>
                    </a:lnTo>
                    <a:lnTo>
                      <a:pt x="266" y="157"/>
                    </a:lnTo>
                    <a:lnTo>
                      <a:pt x="267" y="155"/>
                    </a:lnTo>
                    <a:lnTo>
                      <a:pt x="270" y="153"/>
                    </a:lnTo>
                    <a:lnTo>
                      <a:pt x="272" y="152"/>
                    </a:lnTo>
                    <a:lnTo>
                      <a:pt x="275" y="152"/>
                    </a:lnTo>
                    <a:lnTo>
                      <a:pt x="278" y="153"/>
                    </a:lnTo>
                    <a:lnTo>
                      <a:pt x="278" y="153"/>
                    </a:lnTo>
                    <a:lnTo>
                      <a:pt x="284" y="153"/>
                    </a:lnTo>
                    <a:lnTo>
                      <a:pt x="284" y="153"/>
                    </a:lnTo>
                    <a:lnTo>
                      <a:pt x="290" y="153"/>
                    </a:lnTo>
                    <a:lnTo>
                      <a:pt x="292" y="149"/>
                    </a:lnTo>
                    <a:lnTo>
                      <a:pt x="292" y="149"/>
                    </a:lnTo>
                    <a:lnTo>
                      <a:pt x="296" y="145"/>
                    </a:lnTo>
                    <a:lnTo>
                      <a:pt x="296" y="145"/>
                    </a:lnTo>
                    <a:lnTo>
                      <a:pt x="299" y="144"/>
                    </a:lnTo>
                    <a:lnTo>
                      <a:pt x="299" y="143"/>
                    </a:lnTo>
                    <a:lnTo>
                      <a:pt x="299" y="143"/>
                    </a:lnTo>
                    <a:lnTo>
                      <a:pt x="298" y="136"/>
                    </a:lnTo>
                    <a:lnTo>
                      <a:pt x="299" y="132"/>
                    </a:lnTo>
                    <a:lnTo>
                      <a:pt x="300" y="128"/>
                    </a:lnTo>
                    <a:lnTo>
                      <a:pt x="300" y="128"/>
                    </a:lnTo>
                    <a:lnTo>
                      <a:pt x="302" y="125"/>
                    </a:lnTo>
                    <a:lnTo>
                      <a:pt x="303" y="123"/>
                    </a:lnTo>
                    <a:lnTo>
                      <a:pt x="306" y="119"/>
                    </a:lnTo>
                    <a:lnTo>
                      <a:pt x="306" y="119"/>
                    </a:lnTo>
                    <a:lnTo>
                      <a:pt x="308" y="118"/>
                    </a:lnTo>
                    <a:lnTo>
                      <a:pt x="308" y="115"/>
                    </a:lnTo>
                    <a:lnTo>
                      <a:pt x="312" y="108"/>
                    </a:lnTo>
                    <a:lnTo>
                      <a:pt x="312" y="108"/>
                    </a:lnTo>
                    <a:lnTo>
                      <a:pt x="315" y="108"/>
                    </a:lnTo>
                    <a:lnTo>
                      <a:pt x="315" y="108"/>
                    </a:lnTo>
                    <a:lnTo>
                      <a:pt x="319" y="108"/>
                    </a:lnTo>
                    <a:lnTo>
                      <a:pt x="320" y="110"/>
                    </a:lnTo>
                    <a:lnTo>
                      <a:pt x="323" y="110"/>
                    </a:lnTo>
                    <a:lnTo>
                      <a:pt x="323" y="110"/>
                    </a:lnTo>
                    <a:lnTo>
                      <a:pt x="324" y="108"/>
                    </a:lnTo>
                    <a:lnTo>
                      <a:pt x="324" y="108"/>
                    </a:lnTo>
                    <a:lnTo>
                      <a:pt x="328" y="104"/>
                    </a:lnTo>
                    <a:lnTo>
                      <a:pt x="331" y="103"/>
                    </a:lnTo>
                    <a:lnTo>
                      <a:pt x="333" y="103"/>
                    </a:lnTo>
                    <a:lnTo>
                      <a:pt x="340" y="110"/>
                    </a:lnTo>
                    <a:lnTo>
                      <a:pt x="340" y="110"/>
                    </a:lnTo>
                    <a:lnTo>
                      <a:pt x="340" y="110"/>
                    </a:lnTo>
                    <a:lnTo>
                      <a:pt x="341" y="111"/>
                    </a:lnTo>
                    <a:lnTo>
                      <a:pt x="341" y="112"/>
                    </a:lnTo>
                    <a:lnTo>
                      <a:pt x="341" y="112"/>
                    </a:lnTo>
                    <a:lnTo>
                      <a:pt x="344" y="112"/>
                    </a:lnTo>
                    <a:lnTo>
                      <a:pt x="344" y="112"/>
                    </a:lnTo>
                    <a:lnTo>
                      <a:pt x="343" y="114"/>
                    </a:lnTo>
                    <a:lnTo>
                      <a:pt x="348" y="111"/>
                    </a:lnTo>
                    <a:lnTo>
                      <a:pt x="348" y="111"/>
                    </a:lnTo>
                    <a:lnTo>
                      <a:pt x="345" y="112"/>
                    </a:lnTo>
                    <a:lnTo>
                      <a:pt x="345" y="112"/>
                    </a:lnTo>
                    <a:lnTo>
                      <a:pt x="345" y="111"/>
                    </a:lnTo>
                    <a:lnTo>
                      <a:pt x="345" y="111"/>
                    </a:lnTo>
                    <a:lnTo>
                      <a:pt x="346" y="108"/>
                    </a:lnTo>
                    <a:lnTo>
                      <a:pt x="346" y="108"/>
                    </a:lnTo>
                    <a:lnTo>
                      <a:pt x="349" y="103"/>
                    </a:lnTo>
                    <a:lnTo>
                      <a:pt x="353" y="99"/>
                    </a:lnTo>
                    <a:lnTo>
                      <a:pt x="353" y="99"/>
                    </a:lnTo>
                    <a:lnTo>
                      <a:pt x="354" y="98"/>
                    </a:lnTo>
                    <a:lnTo>
                      <a:pt x="354" y="98"/>
                    </a:lnTo>
                    <a:lnTo>
                      <a:pt x="354" y="98"/>
                    </a:lnTo>
                    <a:lnTo>
                      <a:pt x="354" y="98"/>
                    </a:lnTo>
                    <a:lnTo>
                      <a:pt x="354" y="92"/>
                    </a:lnTo>
                    <a:lnTo>
                      <a:pt x="356" y="91"/>
                    </a:lnTo>
                    <a:lnTo>
                      <a:pt x="357" y="88"/>
                    </a:lnTo>
                    <a:lnTo>
                      <a:pt x="357" y="88"/>
                    </a:lnTo>
                    <a:lnTo>
                      <a:pt x="360" y="87"/>
                    </a:lnTo>
                    <a:lnTo>
                      <a:pt x="362" y="86"/>
                    </a:lnTo>
                    <a:lnTo>
                      <a:pt x="362" y="86"/>
                    </a:lnTo>
                    <a:lnTo>
                      <a:pt x="364" y="86"/>
                    </a:lnTo>
                    <a:lnTo>
                      <a:pt x="364" y="86"/>
                    </a:lnTo>
                    <a:lnTo>
                      <a:pt x="365" y="84"/>
                    </a:lnTo>
                    <a:lnTo>
                      <a:pt x="365" y="84"/>
                    </a:lnTo>
                    <a:lnTo>
                      <a:pt x="368" y="80"/>
                    </a:lnTo>
                    <a:lnTo>
                      <a:pt x="372" y="78"/>
                    </a:lnTo>
                    <a:lnTo>
                      <a:pt x="372" y="78"/>
                    </a:lnTo>
                    <a:lnTo>
                      <a:pt x="374" y="77"/>
                    </a:lnTo>
                    <a:lnTo>
                      <a:pt x="378" y="77"/>
                    </a:lnTo>
                    <a:lnTo>
                      <a:pt x="378" y="77"/>
                    </a:lnTo>
                    <a:lnTo>
                      <a:pt x="380" y="77"/>
                    </a:lnTo>
                    <a:lnTo>
                      <a:pt x="380" y="77"/>
                    </a:lnTo>
                    <a:lnTo>
                      <a:pt x="378" y="77"/>
                    </a:lnTo>
                    <a:lnTo>
                      <a:pt x="382" y="74"/>
                    </a:lnTo>
                    <a:lnTo>
                      <a:pt x="382" y="74"/>
                    </a:lnTo>
                    <a:lnTo>
                      <a:pt x="382" y="74"/>
                    </a:lnTo>
                    <a:lnTo>
                      <a:pt x="384" y="74"/>
                    </a:lnTo>
                    <a:lnTo>
                      <a:pt x="384" y="74"/>
                    </a:lnTo>
                    <a:lnTo>
                      <a:pt x="384" y="74"/>
                    </a:lnTo>
                    <a:lnTo>
                      <a:pt x="384" y="74"/>
                    </a:lnTo>
                    <a:lnTo>
                      <a:pt x="390" y="70"/>
                    </a:lnTo>
                    <a:lnTo>
                      <a:pt x="397" y="63"/>
                    </a:lnTo>
                    <a:lnTo>
                      <a:pt x="397" y="63"/>
                    </a:lnTo>
                    <a:lnTo>
                      <a:pt x="397" y="63"/>
                    </a:lnTo>
                    <a:lnTo>
                      <a:pt x="395" y="61"/>
                    </a:lnTo>
                    <a:lnTo>
                      <a:pt x="395" y="58"/>
                    </a:lnTo>
                    <a:lnTo>
                      <a:pt x="395" y="54"/>
                    </a:lnTo>
                    <a:lnTo>
                      <a:pt x="401" y="49"/>
                    </a:lnTo>
                    <a:lnTo>
                      <a:pt x="401" y="49"/>
                    </a:lnTo>
                    <a:lnTo>
                      <a:pt x="398" y="50"/>
                    </a:lnTo>
                    <a:lnTo>
                      <a:pt x="397" y="51"/>
                    </a:lnTo>
                    <a:lnTo>
                      <a:pt x="397" y="51"/>
                    </a:lnTo>
                    <a:lnTo>
                      <a:pt x="397" y="50"/>
                    </a:lnTo>
                    <a:lnTo>
                      <a:pt x="397" y="50"/>
                    </a:lnTo>
                    <a:lnTo>
                      <a:pt x="397" y="46"/>
                    </a:lnTo>
                    <a:lnTo>
                      <a:pt x="397" y="43"/>
                    </a:lnTo>
                    <a:lnTo>
                      <a:pt x="402" y="40"/>
                    </a:lnTo>
                    <a:lnTo>
                      <a:pt x="402" y="40"/>
                    </a:lnTo>
                    <a:lnTo>
                      <a:pt x="405" y="38"/>
                    </a:lnTo>
                    <a:lnTo>
                      <a:pt x="407" y="36"/>
                    </a:lnTo>
                    <a:lnTo>
                      <a:pt x="413" y="33"/>
                    </a:lnTo>
                    <a:lnTo>
                      <a:pt x="414" y="33"/>
                    </a:lnTo>
                    <a:lnTo>
                      <a:pt x="414" y="33"/>
                    </a:lnTo>
                    <a:lnTo>
                      <a:pt x="415" y="33"/>
                    </a:lnTo>
                    <a:lnTo>
                      <a:pt x="415" y="33"/>
                    </a:lnTo>
                    <a:lnTo>
                      <a:pt x="414" y="34"/>
                    </a:lnTo>
                    <a:lnTo>
                      <a:pt x="417" y="32"/>
                    </a:lnTo>
                    <a:lnTo>
                      <a:pt x="417" y="32"/>
                    </a:lnTo>
                    <a:lnTo>
                      <a:pt x="418" y="30"/>
                    </a:lnTo>
                    <a:lnTo>
                      <a:pt x="418" y="30"/>
                    </a:lnTo>
                    <a:lnTo>
                      <a:pt x="423" y="28"/>
                    </a:lnTo>
                    <a:lnTo>
                      <a:pt x="425" y="24"/>
                    </a:lnTo>
                    <a:lnTo>
                      <a:pt x="425" y="22"/>
                    </a:lnTo>
                    <a:lnTo>
                      <a:pt x="427" y="18"/>
                    </a:lnTo>
                    <a:lnTo>
                      <a:pt x="427" y="18"/>
                    </a:lnTo>
                    <a:lnTo>
                      <a:pt x="426" y="20"/>
                    </a:lnTo>
                    <a:lnTo>
                      <a:pt x="426" y="20"/>
                    </a:lnTo>
                    <a:lnTo>
                      <a:pt x="425" y="13"/>
                    </a:lnTo>
                    <a:lnTo>
                      <a:pt x="425" y="13"/>
                    </a:lnTo>
                    <a:lnTo>
                      <a:pt x="423" y="12"/>
                    </a:lnTo>
                    <a:lnTo>
                      <a:pt x="431" y="4"/>
                    </a:lnTo>
                    <a:lnTo>
                      <a:pt x="431" y="4"/>
                    </a:lnTo>
                    <a:lnTo>
                      <a:pt x="434" y="2"/>
                    </a:lnTo>
                    <a:lnTo>
                      <a:pt x="434" y="2"/>
                    </a:lnTo>
                    <a:lnTo>
                      <a:pt x="436" y="1"/>
                    </a:lnTo>
                    <a:lnTo>
                      <a:pt x="439" y="0"/>
                    </a:lnTo>
                    <a:lnTo>
                      <a:pt x="439" y="0"/>
                    </a:lnTo>
                    <a:lnTo>
                      <a:pt x="442" y="0"/>
                    </a:lnTo>
                    <a:lnTo>
                      <a:pt x="444" y="1"/>
                    </a:lnTo>
                    <a:lnTo>
                      <a:pt x="446" y="4"/>
                    </a:lnTo>
                    <a:lnTo>
                      <a:pt x="448" y="9"/>
                    </a:lnTo>
                    <a:lnTo>
                      <a:pt x="448" y="9"/>
                    </a:lnTo>
                    <a:lnTo>
                      <a:pt x="448" y="9"/>
                    </a:lnTo>
                    <a:lnTo>
                      <a:pt x="451" y="13"/>
                    </a:lnTo>
                    <a:lnTo>
                      <a:pt x="451" y="18"/>
                    </a:lnTo>
                    <a:lnTo>
                      <a:pt x="451" y="18"/>
                    </a:lnTo>
                    <a:lnTo>
                      <a:pt x="451" y="20"/>
                    </a:lnTo>
                    <a:lnTo>
                      <a:pt x="451" y="20"/>
                    </a:lnTo>
                    <a:lnTo>
                      <a:pt x="454" y="21"/>
                    </a:lnTo>
                    <a:lnTo>
                      <a:pt x="454" y="21"/>
                    </a:lnTo>
                    <a:lnTo>
                      <a:pt x="454" y="21"/>
                    </a:lnTo>
                    <a:lnTo>
                      <a:pt x="454" y="21"/>
                    </a:lnTo>
                    <a:lnTo>
                      <a:pt x="452" y="20"/>
                    </a:lnTo>
                    <a:lnTo>
                      <a:pt x="458" y="28"/>
                    </a:lnTo>
                    <a:lnTo>
                      <a:pt x="458" y="28"/>
                    </a:lnTo>
                    <a:lnTo>
                      <a:pt x="456" y="32"/>
                    </a:lnTo>
                    <a:lnTo>
                      <a:pt x="456" y="32"/>
                    </a:lnTo>
                    <a:lnTo>
                      <a:pt x="456" y="29"/>
                    </a:lnTo>
                    <a:lnTo>
                      <a:pt x="456" y="32"/>
                    </a:lnTo>
                    <a:lnTo>
                      <a:pt x="456" y="32"/>
                    </a:lnTo>
                    <a:lnTo>
                      <a:pt x="459" y="34"/>
                    </a:lnTo>
                    <a:lnTo>
                      <a:pt x="459" y="34"/>
                    </a:lnTo>
                    <a:lnTo>
                      <a:pt x="462" y="36"/>
                    </a:lnTo>
                    <a:lnTo>
                      <a:pt x="462" y="36"/>
                    </a:lnTo>
                    <a:lnTo>
                      <a:pt x="462" y="36"/>
                    </a:lnTo>
                    <a:lnTo>
                      <a:pt x="464" y="36"/>
                    </a:lnTo>
                    <a:lnTo>
                      <a:pt x="468" y="37"/>
                    </a:lnTo>
                    <a:lnTo>
                      <a:pt x="468" y="37"/>
                    </a:lnTo>
                    <a:lnTo>
                      <a:pt x="471" y="38"/>
                    </a:lnTo>
                    <a:lnTo>
                      <a:pt x="473" y="41"/>
                    </a:lnTo>
                    <a:lnTo>
                      <a:pt x="476" y="46"/>
                    </a:lnTo>
                    <a:lnTo>
                      <a:pt x="477" y="51"/>
                    </a:lnTo>
                    <a:lnTo>
                      <a:pt x="473" y="57"/>
                    </a:lnTo>
                    <a:lnTo>
                      <a:pt x="473" y="57"/>
                    </a:lnTo>
                    <a:lnTo>
                      <a:pt x="473" y="58"/>
                    </a:lnTo>
                    <a:lnTo>
                      <a:pt x="472" y="58"/>
                    </a:lnTo>
                    <a:lnTo>
                      <a:pt x="472" y="58"/>
                    </a:lnTo>
                    <a:lnTo>
                      <a:pt x="469" y="57"/>
                    </a:lnTo>
                    <a:lnTo>
                      <a:pt x="467" y="55"/>
                    </a:lnTo>
                    <a:lnTo>
                      <a:pt x="467" y="57"/>
                    </a:lnTo>
                    <a:lnTo>
                      <a:pt x="471" y="58"/>
                    </a:lnTo>
                    <a:lnTo>
                      <a:pt x="467" y="61"/>
                    </a:lnTo>
                    <a:lnTo>
                      <a:pt x="467" y="62"/>
                    </a:lnTo>
                    <a:lnTo>
                      <a:pt x="467" y="62"/>
                    </a:lnTo>
                    <a:lnTo>
                      <a:pt x="469" y="61"/>
                    </a:lnTo>
                    <a:lnTo>
                      <a:pt x="472" y="59"/>
                    </a:lnTo>
                    <a:lnTo>
                      <a:pt x="473" y="59"/>
                    </a:lnTo>
                    <a:lnTo>
                      <a:pt x="473" y="59"/>
                    </a:lnTo>
                    <a:lnTo>
                      <a:pt x="473" y="63"/>
                    </a:lnTo>
                    <a:lnTo>
                      <a:pt x="473" y="66"/>
                    </a:lnTo>
                    <a:lnTo>
                      <a:pt x="473" y="66"/>
                    </a:lnTo>
                    <a:lnTo>
                      <a:pt x="473" y="66"/>
                    </a:lnTo>
                    <a:lnTo>
                      <a:pt x="473" y="66"/>
                    </a:lnTo>
                    <a:lnTo>
                      <a:pt x="472" y="63"/>
                    </a:lnTo>
                    <a:lnTo>
                      <a:pt x="472" y="63"/>
                    </a:lnTo>
                    <a:lnTo>
                      <a:pt x="468" y="62"/>
                    </a:lnTo>
                    <a:lnTo>
                      <a:pt x="475" y="69"/>
                    </a:lnTo>
                    <a:lnTo>
                      <a:pt x="475" y="71"/>
                    </a:lnTo>
                    <a:lnTo>
                      <a:pt x="475" y="71"/>
                    </a:lnTo>
                    <a:lnTo>
                      <a:pt x="475" y="73"/>
                    </a:lnTo>
                    <a:lnTo>
                      <a:pt x="475" y="73"/>
                    </a:lnTo>
                    <a:lnTo>
                      <a:pt x="476" y="77"/>
                    </a:lnTo>
                    <a:lnTo>
                      <a:pt x="479" y="80"/>
                    </a:lnTo>
                    <a:lnTo>
                      <a:pt x="479" y="82"/>
                    </a:lnTo>
                    <a:lnTo>
                      <a:pt x="479" y="82"/>
                    </a:lnTo>
                    <a:lnTo>
                      <a:pt x="479" y="82"/>
                    </a:lnTo>
                    <a:lnTo>
                      <a:pt x="479" y="80"/>
                    </a:lnTo>
                    <a:lnTo>
                      <a:pt x="480" y="80"/>
                    </a:lnTo>
                    <a:lnTo>
                      <a:pt x="480" y="80"/>
                    </a:lnTo>
                    <a:lnTo>
                      <a:pt x="483" y="78"/>
                    </a:lnTo>
                    <a:lnTo>
                      <a:pt x="487" y="78"/>
                    </a:lnTo>
                    <a:lnTo>
                      <a:pt x="487" y="78"/>
                    </a:lnTo>
                    <a:lnTo>
                      <a:pt x="489" y="78"/>
                    </a:lnTo>
                    <a:lnTo>
                      <a:pt x="492" y="80"/>
                    </a:lnTo>
                    <a:lnTo>
                      <a:pt x="492" y="80"/>
                    </a:lnTo>
                    <a:lnTo>
                      <a:pt x="493" y="80"/>
                    </a:lnTo>
                    <a:lnTo>
                      <a:pt x="496" y="83"/>
                    </a:lnTo>
                    <a:lnTo>
                      <a:pt x="496" y="83"/>
                    </a:lnTo>
                    <a:lnTo>
                      <a:pt x="499" y="86"/>
                    </a:lnTo>
                    <a:lnTo>
                      <a:pt x="499" y="86"/>
                    </a:lnTo>
                    <a:lnTo>
                      <a:pt x="501" y="90"/>
                    </a:lnTo>
                    <a:lnTo>
                      <a:pt x="501" y="91"/>
                    </a:lnTo>
                    <a:lnTo>
                      <a:pt x="501" y="91"/>
                    </a:lnTo>
                    <a:lnTo>
                      <a:pt x="501" y="91"/>
                    </a:lnTo>
                    <a:lnTo>
                      <a:pt x="501" y="91"/>
                    </a:lnTo>
                    <a:lnTo>
                      <a:pt x="500" y="90"/>
                    </a:lnTo>
                    <a:lnTo>
                      <a:pt x="499" y="88"/>
                    </a:lnTo>
                    <a:lnTo>
                      <a:pt x="503" y="92"/>
                    </a:lnTo>
                    <a:lnTo>
                      <a:pt x="503" y="95"/>
                    </a:lnTo>
                    <a:lnTo>
                      <a:pt x="503" y="95"/>
                    </a:lnTo>
                    <a:lnTo>
                      <a:pt x="503" y="94"/>
                    </a:lnTo>
                    <a:lnTo>
                      <a:pt x="504" y="95"/>
                    </a:lnTo>
                    <a:lnTo>
                      <a:pt x="504" y="99"/>
                    </a:lnTo>
                    <a:lnTo>
                      <a:pt x="504" y="99"/>
                    </a:lnTo>
                    <a:lnTo>
                      <a:pt x="504" y="106"/>
                    </a:lnTo>
                    <a:lnTo>
                      <a:pt x="501" y="110"/>
                    </a:lnTo>
                    <a:lnTo>
                      <a:pt x="499" y="111"/>
                    </a:lnTo>
                    <a:lnTo>
                      <a:pt x="499" y="111"/>
                    </a:lnTo>
                    <a:lnTo>
                      <a:pt x="499" y="111"/>
                    </a:lnTo>
                    <a:lnTo>
                      <a:pt x="497" y="112"/>
                    </a:lnTo>
                    <a:lnTo>
                      <a:pt x="497" y="112"/>
                    </a:lnTo>
                    <a:lnTo>
                      <a:pt x="497" y="112"/>
                    </a:lnTo>
                    <a:lnTo>
                      <a:pt x="496" y="112"/>
                    </a:lnTo>
                    <a:lnTo>
                      <a:pt x="496" y="112"/>
                    </a:lnTo>
                    <a:lnTo>
                      <a:pt x="496" y="112"/>
                    </a:lnTo>
                    <a:lnTo>
                      <a:pt x="496" y="112"/>
                    </a:lnTo>
                    <a:lnTo>
                      <a:pt x="496" y="112"/>
                    </a:lnTo>
                    <a:lnTo>
                      <a:pt x="496" y="112"/>
                    </a:lnTo>
                    <a:lnTo>
                      <a:pt x="497" y="115"/>
                    </a:lnTo>
                    <a:lnTo>
                      <a:pt x="497" y="115"/>
                    </a:lnTo>
                    <a:lnTo>
                      <a:pt x="497" y="114"/>
                    </a:lnTo>
                    <a:lnTo>
                      <a:pt x="499" y="115"/>
                    </a:lnTo>
                    <a:lnTo>
                      <a:pt x="499" y="115"/>
                    </a:lnTo>
                    <a:lnTo>
                      <a:pt x="500" y="119"/>
                    </a:lnTo>
                    <a:lnTo>
                      <a:pt x="500" y="119"/>
                    </a:lnTo>
                    <a:lnTo>
                      <a:pt x="501" y="121"/>
                    </a:lnTo>
                    <a:lnTo>
                      <a:pt x="501" y="124"/>
                    </a:lnTo>
                    <a:lnTo>
                      <a:pt x="501" y="127"/>
                    </a:lnTo>
                    <a:lnTo>
                      <a:pt x="501" y="127"/>
                    </a:lnTo>
                    <a:lnTo>
                      <a:pt x="501" y="128"/>
                    </a:lnTo>
                    <a:lnTo>
                      <a:pt x="501" y="128"/>
                    </a:lnTo>
                    <a:lnTo>
                      <a:pt x="504" y="131"/>
                    </a:lnTo>
                    <a:lnTo>
                      <a:pt x="504" y="137"/>
                    </a:lnTo>
                    <a:lnTo>
                      <a:pt x="504" y="137"/>
                    </a:lnTo>
                    <a:lnTo>
                      <a:pt x="504" y="137"/>
                    </a:lnTo>
                    <a:lnTo>
                      <a:pt x="504" y="137"/>
                    </a:lnTo>
                    <a:lnTo>
                      <a:pt x="506" y="137"/>
                    </a:lnTo>
                    <a:lnTo>
                      <a:pt x="510" y="141"/>
                    </a:lnTo>
                    <a:lnTo>
                      <a:pt x="512" y="141"/>
                    </a:lnTo>
                    <a:lnTo>
                      <a:pt x="512" y="141"/>
                    </a:lnTo>
                    <a:lnTo>
                      <a:pt x="513" y="144"/>
                    </a:lnTo>
                    <a:lnTo>
                      <a:pt x="513" y="144"/>
                    </a:lnTo>
                    <a:lnTo>
                      <a:pt x="513" y="145"/>
                    </a:lnTo>
                    <a:lnTo>
                      <a:pt x="513" y="145"/>
                    </a:lnTo>
                    <a:lnTo>
                      <a:pt x="513" y="144"/>
                    </a:lnTo>
                    <a:lnTo>
                      <a:pt x="513" y="144"/>
                    </a:lnTo>
                    <a:lnTo>
                      <a:pt x="513" y="144"/>
                    </a:lnTo>
                    <a:lnTo>
                      <a:pt x="516" y="147"/>
                    </a:lnTo>
                    <a:lnTo>
                      <a:pt x="516" y="147"/>
                    </a:lnTo>
                    <a:lnTo>
                      <a:pt x="516" y="148"/>
                    </a:lnTo>
                    <a:lnTo>
                      <a:pt x="516" y="148"/>
                    </a:lnTo>
                    <a:lnTo>
                      <a:pt x="514" y="147"/>
                    </a:lnTo>
                    <a:lnTo>
                      <a:pt x="516" y="149"/>
                    </a:lnTo>
                    <a:lnTo>
                      <a:pt x="516" y="149"/>
                    </a:lnTo>
                    <a:lnTo>
                      <a:pt x="516" y="149"/>
                    </a:lnTo>
                    <a:lnTo>
                      <a:pt x="517" y="149"/>
                    </a:lnTo>
                    <a:lnTo>
                      <a:pt x="517" y="151"/>
                    </a:lnTo>
                    <a:lnTo>
                      <a:pt x="517" y="151"/>
                    </a:lnTo>
                    <a:lnTo>
                      <a:pt x="517" y="151"/>
                    </a:lnTo>
                    <a:lnTo>
                      <a:pt x="517" y="151"/>
                    </a:lnTo>
                    <a:lnTo>
                      <a:pt x="516" y="151"/>
                    </a:lnTo>
                    <a:lnTo>
                      <a:pt x="516" y="151"/>
                    </a:lnTo>
                    <a:lnTo>
                      <a:pt x="514" y="153"/>
                    </a:lnTo>
                    <a:lnTo>
                      <a:pt x="514" y="155"/>
                    </a:lnTo>
                    <a:lnTo>
                      <a:pt x="518" y="151"/>
                    </a:lnTo>
                    <a:lnTo>
                      <a:pt x="518" y="153"/>
                    </a:lnTo>
                    <a:lnTo>
                      <a:pt x="518" y="153"/>
                    </a:lnTo>
                    <a:lnTo>
                      <a:pt x="518" y="152"/>
                    </a:lnTo>
                    <a:lnTo>
                      <a:pt x="520" y="153"/>
                    </a:lnTo>
                    <a:lnTo>
                      <a:pt x="520" y="153"/>
                    </a:lnTo>
                    <a:lnTo>
                      <a:pt x="518" y="151"/>
                    </a:lnTo>
                    <a:lnTo>
                      <a:pt x="518" y="151"/>
                    </a:lnTo>
                    <a:lnTo>
                      <a:pt x="518" y="151"/>
                    </a:lnTo>
                    <a:lnTo>
                      <a:pt x="520" y="148"/>
                    </a:lnTo>
                    <a:lnTo>
                      <a:pt x="520" y="148"/>
                    </a:lnTo>
                    <a:lnTo>
                      <a:pt x="520" y="148"/>
                    </a:lnTo>
                    <a:lnTo>
                      <a:pt x="521" y="147"/>
                    </a:lnTo>
                    <a:lnTo>
                      <a:pt x="521" y="147"/>
                    </a:lnTo>
                    <a:lnTo>
                      <a:pt x="525" y="144"/>
                    </a:lnTo>
                    <a:lnTo>
                      <a:pt x="528" y="143"/>
                    </a:lnTo>
                    <a:lnTo>
                      <a:pt x="532" y="143"/>
                    </a:lnTo>
                    <a:lnTo>
                      <a:pt x="533" y="143"/>
                    </a:lnTo>
                    <a:lnTo>
                      <a:pt x="537" y="147"/>
                    </a:lnTo>
                    <a:lnTo>
                      <a:pt x="537" y="145"/>
                    </a:lnTo>
                    <a:lnTo>
                      <a:pt x="537" y="145"/>
                    </a:lnTo>
                    <a:lnTo>
                      <a:pt x="538" y="148"/>
                    </a:lnTo>
                    <a:lnTo>
                      <a:pt x="538" y="148"/>
                    </a:lnTo>
                    <a:lnTo>
                      <a:pt x="542" y="149"/>
                    </a:lnTo>
                    <a:lnTo>
                      <a:pt x="546" y="151"/>
                    </a:lnTo>
                    <a:lnTo>
                      <a:pt x="546" y="151"/>
                    </a:lnTo>
                    <a:lnTo>
                      <a:pt x="546" y="151"/>
                    </a:lnTo>
                    <a:lnTo>
                      <a:pt x="550" y="152"/>
                    </a:lnTo>
                    <a:lnTo>
                      <a:pt x="553" y="153"/>
                    </a:lnTo>
                    <a:lnTo>
                      <a:pt x="554" y="156"/>
                    </a:lnTo>
                    <a:lnTo>
                      <a:pt x="554" y="158"/>
                    </a:lnTo>
                    <a:lnTo>
                      <a:pt x="554" y="158"/>
                    </a:lnTo>
                    <a:lnTo>
                      <a:pt x="558" y="160"/>
                    </a:lnTo>
                    <a:lnTo>
                      <a:pt x="558" y="160"/>
                    </a:lnTo>
                    <a:lnTo>
                      <a:pt x="561" y="160"/>
                    </a:lnTo>
                    <a:lnTo>
                      <a:pt x="565" y="165"/>
                    </a:lnTo>
                    <a:lnTo>
                      <a:pt x="565" y="165"/>
                    </a:lnTo>
                    <a:lnTo>
                      <a:pt x="569" y="164"/>
                    </a:lnTo>
                    <a:lnTo>
                      <a:pt x="573" y="164"/>
                    </a:lnTo>
                    <a:lnTo>
                      <a:pt x="573" y="164"/>
                    </a:lnTo>
                    <a:lnTo>
                      <a:pt x="574" y="164"/>
                    </a:lnTo>
                    <a:lnTo>
                      <a:pt x="574" y="164"/>
                    </a:lnTo>
                    <a:lnTo>
                      <a:pt x="578" y="161"/>
                    </a:lnTo>
                    <a:lnTo>
                      <a:pt x="581" y="156"/>
                    </a:lnTo>
                    <a:lnTo>
                      <a:pt x="582" y="155"/>
                    </a:lnTo>
                    <a:lnTo>
                      <a:pt x="582" y="155"/>
                    </a:lnTo>
                    <a:lnTo>
                      <a:pt x="583" y="151"/>
                    </a:lnTo>
                    <a:lnTo>
                      <a:pt x="583" y="151"/>
                    </a:lnTo>
                    <a:lnTo>
                      <a:pt x="587" y="149"/>
                    </a:lnTo>
                    <a:lnTo>
                      <a:pt x="592" y="148"/>
                    </a:lnTo>
                    <a:lnTo>
                      <a:pt x="592" y="148"/>
                    </a:lnTo>
                    <a:lnTo>
                      <a:pt x="599" y="149"/>
                    </a:lnTo>
                    <a:lnTo>
                      <a:pt x="602" y="152"/>
                    </a:lnTo>
                    <a:lnTo>
                      <a:pt x="604" y="153"/>
                    </a:lnTo>
                    <a:lnTo>
                      <a:pt x="604" y="156"/>
                    </a:lnTo>
                    <a:lnTo>
                      <a:pt x="604" y="156"/>
                    </a:lnTo>
                    <a:lnTo>
                      <a:pt x="610" y="162"/>
                    </a:lnTo>
                    <a:lnTo>
                      <a:pt x="610" y="162"/>
                    </a:lnTo>
                    <a:lnTo>
                      <a:pt x="614" y="168"/>
                    </a:lnTo>
                    <a:lnTo>
                      <a:pt x="614" y="169"/>
                    </a:lnTo>
                    <a:lnTo>
                      <a:pt x="614" y="169"/>
                    </a:lnTo>
                    <a:lnTo>
                      <a:pt x="614" y="169"/>
                    </a:lnTo>
                    <a:lnTo>
                      <a:pt x="614" y="169"/>
                    </a:lnTo>
                    <a:lnTo>
                      <a:pt x="615" y="170"/>
                    </a:lnTo>
                    <a:lnTo>
                      <a:pt x="615" y="170"/>
                    </a:lnTo>
                    <a:lnTo>
                      <a:pt x="616" y="172"/>
                    </a:lnTo>
                    <a:lnTo>
                      <a:pt x="616" y="176"/>
                    </a:lnTo>
                    <a:lnTo>
                      <a:pt x="616" y="176"/>
                    </a:lnTo>
                    <a:lnTo>
                      <a:pt x="629" y="192"/>
                    </a:lnTo>
                    <a:lnTo>
                      <a:pt x="629" y="192"/>
                    </a:lnTo>
                    <a:lnTo>
                      <a:pt x="640" y="205"/>
                    </a:lnTo>
                    <a:lnTo>
                      <a:pt x="651" y="218"/>
                    </a:lnTo>
                    <a:lnTo>
                      <a:pt x="649" y="226"/>
                    </a:lnTo>
                    <a:lnTo>
                      <a:pt x="649" y="226"/>
                    </a:lnTo>
                    <a:lnTo>
                      <a:pt x="641" y="233"/>
                    </a:lnTo>
                    <a:lnTo>
                      <a:pt x="633" y="239"/>
                    </a:lnTo>
                    <a:lnTo>
                      <a:pt x="633" y="252"/>
                    </a:lnTo>
                    <a:lnTo>
                      <a:pt x="633" y="252"/>
                    </a:lnTo>
                    <a:lnTo>
                      <a:pt x="632" y="258"/>
                    </a:lnTo>
                    <a:lnTo>
                      <a:pt x="631" y="262"/>
                    </a:lnTo>
                    <a:lnTo>
                      <a:pt x="631" y="262"/>
                    </a:lnTo>
                    <a:lnTo>
                      <a:pt x="631" y="263"/>
                    </a:lnTo>
                    <a:lnTo>
                      <a:pt x="629" y="264"/>
                    </a:lnTo>
                    <a:lnTo>
                      <a:pt x="629" y="264"/>
                    </a:lnTo>
                    <a:lnTo>
                      <a:pt x="628" y="268"/>
                    </a:lnTo>
                    <a:lnTo>
                      <a:pt x="628" y="272"/>
                    </a:lnTo>
                    <a:lnTo>
                      <a:pt x="628" y="272"/>
                    </a:lnTo>
                    <a:lnTo>
                      <a:pt x="625" y="280"/>
                    </a:lnTo>
                    <a:lnTo>
                      <a:pt x="625" y="280"/>
                    </a:lnTo>
                    <a:lnTo>
                      <a:pt x="625" y="284"/>
                    </a:lnTo>
                    <a:lnTo>
                      <a:pt x="624" y="287"/>
                    </a:lnTo>
                    <a:lnTo>
                      <a:pt x="624" y="287"/>
                    </a:lnTo>
                    <a:lnTo>
                      <a:pt x="624" y="288"/>
                    </a:lnTo>
                    <a:lnTo>
                      <a:pt x="624" y="289"/>
                    </a:lnTo>
                    <a:lnTo>
                      <a:pt x="624" y="289"/>
                    </a:lnTo>
                    <a:lnTo>
                      <a:pt x="629" y="295"/>
                    </a:lnTo>
                    <a:lnTo>
                      <a:pt x="635" y="295"/>
                    </a:lnTo>
                    <a:lnTo>
                      <a:pt x="635" y="295"/>
                    </a:lnTo>
                    <a:lnTo>
                      <a:pt x="636" y="291"/>
                    </a:lnTo>
                    <a:lnTo>
                      <a:pt x="636" y="291"/>
                    </a:lnTo>
                    <a:lnTo>
                      <a:pt x="637" y="287"/>
                    </a:lnTo>
                    <a:lnTo>
                      <a:pt x="643" y="283"/>
                    </a:lnTo>
                    <a:lnTo>
                      <a:pt x="643" y="283"/>
                    </a:lnTo>
                    <a:lnTo>
                      <a:pt x="643" y="283"/>
                    </a:lnTo>
                    <a:lnTo>
                      <a:pt x="645" y="284"/>
                    </a:lnTo>
                    <a:lnTo>
                      <a:pt x="648" y="284"/>
                    </a:lnTo>
                    <a:lnTo>
                      <a:pt x="648" y="284"/>
                    </a:lnTo>
                    <a:lnTo>
                      <a:pt x="648" y="284"/>
                    </a:lnTo>
                    <a:lnTo>
                      <a:pt x="648" y="284"/>
                    </a:lnTo>
                    <a:lnTo>
                      <a:pt x="647" y="284"/>
                    </a:lnTo>
                    <a:lnTo>
                      <a:pt x="649" y="284"/>
                    </a:lnTo>
                    <a:lnTo>
                      <a:pt x="649" y="284"/>
                    </a:lnTo>
                    <a:lnTo>
                      <a:pt x="652" y="285"/>
                    </a:lnTo>
                    <a:lnTo>
                      <a:pt x="652" y="285"/>
                    </a:lnTo>
                    <a:lnTo>
                      <a:pt x="655" y="285"/>
                    </a:lnTo>
                    <a:lnTo>
                      <a:pt x="657" y="288"/>
                    </a:lnTo>
                    <a:lnTo>
                      <a:pt x="660" y="291"/>
                    </a:lnTo>
                    <a:lnTo>
                      <a:pt x="661" y="295"/>
                    </a:lnTo>
                    <a:lnTo>
                      <a:pt x="659" y="301"/>
                    </a:lnTo>
                    <a:lnTo>
                      <a:pt x="659" y="301"/>
                    </a:lnTo>
                    <a:lnTo>
                      <a:pt x="659" y="300"/>
                    </a:lnTo>
                    <a:lnTo>
                      <a:pt x="659" y="300"/>
                    </a:lnTo>
                    <a:lnTo>
                      <a:pt x="659" y="301"/>
                    </a:lnTo>
                    <a:lnTo>
                      <a:pt x="659" y="303"/>
                    </a:lnTo>
                    <a:lnTo>
                      <a:pt x="659" y="303"/>
                    </a:lnTo>
                    <a:lnTo>
                      <a:pt x="659" y="303"/>
                    </a:lnTo>
                    <a:lnTo>
                      <a:pt x="659" y="303"/>
                    </a:lnTo>
                    <a:lnTo>
                      <a:pt x="662" y="305"/>
                    </a:lnTo>
                    <a:lnTo>
                      <a:pt x="666" y="305"/>
                    </a:lnTo>
                    <a:lnTo>
                      <a:pt x="673" y="313"/>
                    </a:lnTo>
                    <a:lnTo>
                      <a:pt x="673" y="313"/>
                    </a:lnTo>
                    <a:lnTo>
                      <a:pt x="673" y="312"/>
                    </a:lnTo>
                    <a:lnTo>
                      <a:pt x="672" y="309"/>
                    </a:lnTo>
                    <a:lnTo>
                      <a:pt x="672" y="309"/>
                    </a:lnTo>
                    <a:lnTo>
                      <a:pt x="670" y="308"/>
                    </a:lnTo>
                    <a:lnTo>
                      <a:pt x="673" y="309"/>
                    </a:lnTo>
                    <a:lnTo>
                      <a:pt x="673" y="309"/>
                    </a:lnTo>
                    <a:lnTo>
                      <a:pt x="678" y="317"/>
                    </a:lnTo>
                    <a:lnTo>
                      <a:pt x="678" y="317"/>
                    </a:lnTo>
                    <a:lnTo>
                      <a:pt x="681" y="324"/>
                    </a:lnTo>
                    <a:lnTo>
                      <a:pt x="682" y="326"/>
                    </a:lnTo>
                    <a:lnTo>
                      <a:pt x="682" y="328"/>
                    </a:lnTo>
                    <a:lnTo>
                      <a:pt x="682" y="328"/>
                    </a:lnTo>
                    <a:lnTo>
                      <a:pt x="684" y="330"/>
                    </a:lnTo>
                    <a:lnTo>
                      <a:pt x="686" y="332"/>
                    </a:lnTo>
                    <a:lnTo>
                      <a:pt x="686" y="332"/>
                    </a:lnTo>
                    <a:lnTo>
                      <a:pt x="692" y="336"/>
                    </a:lnTo>
                    <a:lnTo>
                      <a:pt x="696" y="337"/>
                    </a:lnTo>
                    <a:lnTo>
                      <a:pt x="700" y="337"/>
                    </a:lnTo>
                    <a:lnTo>
                      <a:pt x="701" y="337"/>
                    </a:lnTo>
                    <a:lnTo>
                      <a:pt x="705" y="348"/>
                    </a:lnTo>
                    <a:lnTo>
                      <a:pt x="703" y="349"/>
                    </a:lnTo>
                    <a:lnTo>
                      <a:pt x="703" y="349"/>
                    </a:lnTo>
                    <a:lnTo>
                      <a:pt x="701" y="353"/>
                    </a:lnTo>
                    <a:lnTo>
                      <a:pt x="700" y="355"/>
                    </a:lnTo>
                    <a:lnTo>
                      <a:pt x="700" y="355"/>
                    </a:lnTo>
                    <a:lnTo>
                      <a:pt x="700" y="355"/>
                    </a:lnTo>
                    <a:lnTo>
                      <a:pt x="701" y="357"/>
                    </a:lnTo>
                    <a:lnTo>
                      <a:pt x="701" y="357"/>
                    </a:lnTo>
                    <a:lnTo>
                      <a:pt x="702" y="357"/>
                    </a:lnTo>
                    <a:lnTo>
                      <a:pt x="702" y="357"/>
                    </a:lnTo>
                    <a:lnTo>
                      <a:pt x="705" y="359"/>
                    </a:lnTo>
                    <a:lnTo>
                      <a:pt x="707" y="362"/>
                    </a:lnTo>
                    <a:lnTo>
                      <a:pt x="710" y="363"/>
                    </a:lnTo>
                    <a:lnTo>
                      <a:pt x="710" y="363"/>
                    </a:lnTo>
                    <a:lnTo>
                      <a:pt x="710" y="363"/>
                    </a:lnTo>
                    <a:lnTo>
                      <a:pt x="710" y="363"/>
                    </a:lnTo>
                    <a:lnTo>
                      <a:pt x="711" y="363"/>
                    </a:lnTo>
                    <a:lnTo>
                      <a:pt x="711" y="363"/>
                    </a:lnTo>
                    <a:lnTo>
                      <a:pt x="715" y="366"/>
                    </a:lnTo>
                    <a:lnTo>
                      <a:pt x="717" y="369"/>
                    </a:lnTo>
                    <a:lnTo>
                      <a:pt x="718" y="371"/>
                    </a:lnTo>
                    <a:lnTo>
                      <a:pt x="718" y="374"/>
                    </a:lnTo>
                    <a:lnTo>
                      <a:pt x="718" y="374"/>
                    </a:lnTo>
                    <a:lnTo>
                      <a:pt x="717" y="378"/>
                    </a:lnTo>
                    <a:lnTo>
                      <a:pt x="715" y="381"/>
                    </a:lnTo>
                    <a:lnTo>
                      <a:pt x="710" y="385"/>
                    </a:lnTo>
                    <a:lnTo>
                      <a:pt x="710" y="385"/>
                    </a:lnTo>
                    <a:lnTo>
                      <a:pt x="707" y="386"/>
                    </a:lnTo>
                    <a:lnTo>
                      <a:pt x="706" y="390"/>
                    </a:lnTo>
                    <a:lnTo>
                      <a:pt x="706" y="390"/>
                    </a:lnTo>
                    <a:lnTo>
                      <a:pt x="707" y="389"/>
                    </a:lnTo>
                    <a:lnTo>
                      <a:pt x="707" y="389"/>
                    </a:lnTo>
                    <a:lnTo>
                      <a:pt x="706" y="393"/>
                    </a:lnTo>
                    <a:lnTo>
                      <a:pt x="707" y="398"/>
                    </a:lnTo>
                    <a:lnTo>
                      <a:pt x="707" y="398"/>
                    </a:lnTo>
                    <a:lnTo>
                      <a:pt x="706" y="396"/>
                    </a:lnTo>
                    <a:lnTo>
                      <a:pt x="709" y="400"/>
                    </a:lnTo>
                    <a:lnTo>
                      <a:pt x="709" y="402"/>
                    </a:lnTo>
                    <a:lnTo>
                      <a:pt x="703" y="408"/>
                    </a:lnTo>
                    <a:lnTo>
                      <a:pt x="703" y="408"/>
                    </a:lnTo>
                    <a:lnTo>
                      <a:pt x="706" y="407"/>
                    </a:lnTo>
                    <a:lnTo>
                      <a:pt x="707" y="404"/>
                    </a:lnTo>
                    <a:lnTo>
                      <a:pt x="707" y="404"/>
                    </a:lnTo>
                    <a:lnTo>
                      <a:pt x="707" y="404"/>
                    </a:lnTo>
                    <a:lnTo>
                      <a:pt x="707" y="407"/>
                    </a:lnTo>
                    <a:lnTo>
                      <a:pt x="700" y="411"/>
                    </a:lnTo>
                    <a:lnTo>
                      <a:pt x="700" y="411"/>
                    </a:lnTo>
                    <a:lnTo>
                      <a:pt x="697" y="410"/>
                    </a:lnTo>
                    <a:lnTo>
                      <a:pt x="694" y="407"/>
                    </a:lnTo>
                    <a:lnTo>
                      <a:pt x="694" y="407"/>
                    </a:lnTo>
                    <a:lnTo>
                      <a:pt x="696" y="408"/>
                    </a:lnTo>
                    <a:lnTo>
                      <a:pt x="698" y="410"/>
                    </a:lnTo>
                    <a:lnTo>
                      <a:pt x="693" y="403"/>
                    </a:lnTo>
                    <a:lnTo>
                      <a:pt x="693" y="402"/>
                    </a:lnTo>
                    <a:lnTo>
                      <a:pt x="693" y="402"/>
                    </a:lnTo>
                    <a:lnTo>
                      <a:pt x="693" y="402"/>
                    </a:lnTo>
                    <a:lnTo>
                      <a:pt x="692" y="402"/>
                    </a:lnTo>
                    <a:lnTo>
                      <a:pt x="692" y="402"/>
                    </a:lnTo>
                    <a:lnTo>
                      <a:pt x="693" y="402"/>
                    </a:lnTo>
                    <a:lnTo>
                      <a:pt x="688" y="403"/>
                    </a:lnTo>
                    <a:lnTo>
                      <a:pt x="686" y="403"/>
                    </a:lnTo>
                    <a:lnTo>
                      <a:pt x="686" y="403"/>
                    </a:lnTo>
                    <a:lnTo>
                      <a:pt x="685" y="403"/>
                    </a:lnTo>
                    <a:lnTo>
                      <a:pt x="685" y="403"/>
                    </a:lnTo>
                    <a:lnTo>
                      <a:pt x="681" y="402"/>
                    </a:lnTo>
                    <a:lnTo>
                      <a:pt x="678" y="400"/>
                    </a:lnTo>
                    <a:lnTo>
                      <a:pt x="674" y="398"/>
                    </a:lnTo>
                    <a:lnTo>
                      <a:pt x="674" y="398"/>
                    </a:lnTo>
                    <a:lnTo>
                      <a:pt x="674" y="398"/>
                    </a:lnTo>
                    <a:lnTo>
                      <a:pt x="672" y="400"/>
                    </a:lnTo>
                    <a:lnTo>
                      <a:pt x="669" y="403"/>
                    </a:lnTo>
                    <a:lnTo>
                      <a:pt x="669" y="403"/>
                    </a:lnTo>
                    <a:lnTo>
                      <a:pt x="666" y="407"/>
                    </a:lnTo>
                    <a:lnTo>
                      <a:pt x="668" y="408"/>
                    </a:lnTo>
                    <a:lnTo>
                      <a:pt x="668" y="410"/>
                    </a:lnTo>
                    <a:lnTo>
                      <a:pt x="668" y="410"/>
                    </a:lnTo>
                    <a:lnTo>
                      <a:pt x="668" y="411"/>
                    </a:lnTo>
                    <a:lnTo>
                      <a:pt x="668" y="411"/>
                    </a:lnTo>
                    <a:lnTo>
                      <a:pt x="668" y="412"/>
                    </a:lnTo>
                    <a:lnTo>
                      <a:pt x="668" y="412"/>
                    </a:lnTo>
                    <a:lnTo>
                      <a:pt x="666" y="410"/>
                    </a:lnTo>
                    <a:lnTo>
                      <a:pt x="664" y="408"/>
                    </a:lnTo>
                    <a:lnTo>
                      <a:pt x="669" y="415"/>
                    </a:lnTo>
                    <a:lnTo>
                      <a:pt x="669" y="416"/>
                    </a:lnTo>
                    <a:lnTo>
                      <a:pt x="669" y="416"/>
                    </a:lnTo>
                    <a:lnTo>
                      <a:pt x="669" y="416"/>
                    </a:lnTo>
                    <a:lnTo>
                      <a:pt x="672" y="420"/>
                    </a:lnTo>
                    <a:lnTo>
                      <a:pt x="673" y="423"/>
                    </a:lnTo>
                    <a:lnTo>
                      <a:pt x="673" y="427"/>
                    </a:lnTo>
                    <a:lnTo>
                      <a:pt x="673" y="427"/>
                    </a:lnTo>
                    <a:lnTo>
                      <a:pt x="669" y="432"/>
                    </a:lnTo>
                    <a:lnTo>
                      <a:pt x="669" y="432"/>
                    </a:lnTo>
                    <a:lnTo>
                      <a:pt x="669" y="432"/>
                    </a:lnTo>
                    <a:lnTo>
                      <a:pt x="672" y="430"/>
                    </a:lnTo>
                    <a:lnTo>
                      <a:pt x="672" y="430"/>
                    </a:lnTo>
                    <a:lnTo>
                      <a:pt x="672" y="431"/>
                    </a:lnTo>
                    <a:lnTo>
                      <a:pt x="672" y="431"/>
                    </a:lnTo>
                    <a:lnTo>
                      <a:pt x="672" y="432"/>
                    </a:lnTo>
                    <a:lnTo>
                      <a:pt x="672" y="433"/>
                    </a:lnTo>
                    <a:lnTo>
                      <a:pt x="670" y="437"/>
                    </a:lnTo>
                    <a:lnTo>
                      <a:pt x="670" y="437"/>
                    </a:lnTo>
                    <a:lnTo>
                      <a:pt x="670" y="437"/>
                    </a:lnTo>
                    <a:lnTo>
                      <a:pt x="670" y="437"/>
                    </a:lnTo>
                    <a:lnTo>
                      <a:pt x="672" y="437"/>
                    </a:lnTo>
                    <a:lnTo>
                      <a:pt x="673" y="436"/>
                    </a:lnTo>
                    <a:lnTo>
                      <a:pt x="677" y="436"/>
                    </a:lnTo>
                    <a:lnTo>
                      <a:pt x="681" y="440"/>
                    </a:lnTo>
                    <a:lnTo>
                      <a:pt x="681" y="440"/>
                    </a:lnTo>
                    <a:lnTo>
                      <a:pt x="680" y="441"/>
                    </a:lnTo>
                    <a:lnTo>
                      <a:pt x="681" y="440"/>
                    </a:lnTo>
                    <a:lnTo>
                      <a:pt x="682" y="441"/>
                    </a:lnTo>
                    <a:lnTo>
                      <a:pt x="682" y="441"/>
                    </a:lnTo>
                    <a:lnTo>
                      <a:pt x="682" y="439"/>
                    </a:lnTo>
                    <a:lnTo>
                      <a:pt x="684" y="437"/>
                    </a:lnTo>
                    <a:lnTo>
                      <a:pt x="684" y="436"/>
                    </a:lnTo>
                    <a:lnTo>
                      <a:pt x="684" y="436"/>
                    </a:lnTo>
                    <a:lnTo>
                      <a:pt x="690" y="435"/>
                    </a:lnTo>
                    <a:lnTo>
                      <a:pt x="697" y="433"/>
                    </a:lnTo>
                    <a:lnTo>
                      <a:pt x="697" y="433"/>
                    </a:lnTo>
                    <a:lnTo>
                      <a:pt x="703" y="432"/>
                    </a:lnTo>
                    <a:lnTo>
                      <a:pt x="709" y="430"/>
                    </a:lnTo>
                    <a:lnTo>
                      <a:pt x="709" y="430"/>
                    </a:lnTo>
                    <a:lnTo>
                      <a:pt x="711" y="428"/>
                    </a:lnTo>
                    <a:lnTo>
                      <a:pt x="715" y="428"/>
                    </a:lnTo>
                    <a:lnTo>
                      <a:pt x="722" y="432"/>
                    </a:lnTo>
                    <a:lnTo>
                      <a:pt x="722" y="432"/>
                    </a:lnTo>
                    <a:lnTo>
                      <a:pt x="721" y="431"/>
                    </a:lnTo>
                    <a:lnTo>
                      <a:pt x="721" y="431"/>
                    </a:lnTo>
                    <a:lnTo>
                      <a:pt x="722" y="432"/>
                    </a:lnTo>
                    <a:lnTo>
                      <a:pt x="723" y="436"/>
                    </a:lnTo>
                    <a:lnTo>
                      <a:pt x="719" y="440"/>
                    </a:lnTo>
                    <a:lnTo>
                      <a:pt x="719" y="440"/>
                    </a:lnTo>
                    <a:lnTo>
                      <a:pt x="718" y="439"/>
                    </a:lnTo>
                    <a:lnTo>
                      <a:pt x="715" y="437"/>
                    </a:lnTo>
                    <a:lnTo>
                      <a:pt x="715" y="440"/>
                    </a:lnTo>
                    <a:lnTo>
                      <a:pt x="717" y="439"/>
                    </a:lnTo>
                    <a:lnTo>
                      <a:pt x="717" y="440"/>
                    </a:lnTo>
                    <a:lnTo>
                      <a:pt x="718" y="441"/>
                    </a:lnTo>
                    <a:lnTo>
                      <a:pt x="718" y="443"/>
                    </a:lnTo>
                    <a:lnTo>
                      <a:pt x="718" y="443"/>
                    </a:lnTo>
                    <a:lnTo>
                      <a:pt x="718" y="443"/>
                    </a:lnTo>
                    <a:lnTo>
                      <a:pt x="715" y="443"/>
                    </a:lnTo>
                    <a:lnTo>
                      <a:pt x="715" y="444"/>
                    </a:lnTo>
                    <a:lnTo>
                      <a:pt x="715" y="444"/>
                    </a:lnTo>
                    <a:lnTo>
                      <a:pt x="718" y="444"/>
                    </a:lnTo>
                    <a:lnTo>
                      <a:pt x="719" y="443"/>
                    </a:lnTo>
                    <a:lnTo>
                      <a:pt x="722" y="445"/>
                    </a:lnTo>
                    <a:lnTo>
                      <a:pt x="722" y="445"/>
                    </a:lnTo>
                    <a:lnTo>
                      <a:pt x="722" y="444"/>
                    </a:lnTo>
                    <a:lnTo>
                      <a:pt x="723" y="445"/>
                    </a:lnTo>
                    <a:lnTo>
                      <a:pt x="723" y="445"/>
                    </a:lnTo>
                    <a:lnTo>
                      <a:pt x="725" y="448"/>
                    </a:lnTo>
                    <a:lnTo>
                      <a:pt x="725" y="448"/>
                    </a:lnTo>
                    <a:lnTo>
                      <a:pt x="725" y="451"/>
                    </a:lnTo>
                    <a:lnTo>
                      <a:pt x="726" y="455"/>
                    </a:lnTo>
                    <a:lnTo>
                      <a:pt x="726" y="455"/>
                    </a:lnTo>
                    <a:lnTo>
                      <a:pt x="729" y="460"/>
                    </a:lnTo>
                    <a:lnTo>
                      <a:pt x="729" y="460"/>
                    </a:lnTo>
                    <a:lnTo>
                      <a:pt x="731" y="467"/>
                    </a:lnTo>
                    <a:lnTo>
                      <a:pt x="733" y="468"/>
                    </a:lnTo>
                    <a:lnTo>
                      <a:pt x="733" y="468"/>
                    </a:lnTo>
                    <a:lnTo>
                      <a:pt x="733" y="471"/>
                    </a:lnTo>
                    <a:lnTo>
                      <a:pt x="733" y="471"/>
                    </a:lnTo>
                    <a:lnTo>
                      <a:pt x="735" y="474"/>
                    </a:lnTo>
                    <a:lnTo>
                      <a:pt x="737" y="481"/>
                    </a:lnTo>
                    <a:lnTo>
                      <a:pt x="737" y="481"/>
                    </a:lnTo>
                    <a:lnTo>
                      <a:pt x="739" y="490"/>
                    </a:lnTo>
                    <a:lnTo>
                      <a:pt x="743" y="498"/>
                    </a:lnTo>
                    <a:lnTo>
                      <a:pt x="743" y="498"/>
                    </a:lnTo>
                    <a:lnTo>
                      <a:pt x="747" y="497"/>
                    </a:lnTo>
                    <a:lnTo>
                      <a:pt x="747" y="497"/>
                    </a:lnTo>
                    <a:lnTo>
                      <a:pt x="750" y="498"/>
                    </a:lnTo>
                    <a:lnTo>
                      <a:pt x="754" y="505"/>
                    </a:lnTo>
                    <a:lnTo>
                      <a:pt x="754" y="505"/>
                    </a:lnTo>
                    <a:lnTo>
                      <a:pt x="752" y="508"/>
                    </a:lnTo>
                    <a:lnTo>
                      <a:pt x="751" y="510"/>
                    </a:lnTo>
                    <a:lnTo>
                      <a:pt x="751" y="510"/>
                    </a:lnTo>
                    <a:lnTo>
                      <a:pt x="751" y="510"/>
                    </a:lnTo>
                    <a:lnTo>
                      <a:pt x="751" y="510"/>
                    </a:lnTo>
                    <a:lnTo>
                      <a:pt x="752" y="515"/>
                    </a:lnTo>
                    <a:lnTo>
                      <a:pt x="752" y="518"/>
                    </a:lnTo>
                    <a:lnTo>
                      <a:pt x="751" y="521"/>
                    </a:lnTo>
                    <a:lnTo>
                      <a:pt x="751" y="521"/>
                    </a:lnTo>
                    <a:lnTo>
                      <a:pt x="748" y="523"/>
                    </a:lnTo>
                    <a:lnTo>
                      <a:pt x="744" y="525"/>
                    </a:lnTo>
                    <a:lnTo>
                      <a:pt x="744" y="525"/>
                    </a:lnTo>
                    <a:lnTo>
                      <a:pt x="744" y="525"/>
                    </a:lnTo>
                    <a:lnTo>
                      <a:pt x="743" y="525"/>
                    </a:lnTo>
                    <a:lnTo>
                      <a:pt x="743" y="525"/>
                    </a:lnTo>
                    <a:lnTo>
                      <a:pt x="743" y="525"/>
                    </a:lnTo>
                    <a:lnTo>
                      <a:pt x="743" y="525"/>
                    </a:lnTo>
                    <a:lnTo>
                      <a:pt x="743" y="525"/>
                    </a:lnTo>
                    <a:lnTo>
                      <a:pt x="739" y="527"/>
                    </a:lnTo>
                    <a:lnTo>
                      <a:pt x="738" y="527"/>
                    </a:lnTo>
                    <a:lnTo>
                      <a:pt x="738" y="527"/>
                    </a:lnTo>
                    <a:lnTo>
                      <a:pt x="735" y="529"/>
                    </a:lnTo>
                    <a:lnTo>
                      <a:pt x="730" y="531"/>
                    </a:lnTo>
                    <a:lnTo>
                      <a:pt x="729" y="531"/>
                    </a:lnTo>
                    <a:lnTo>
                      <a:pt x="729" y="531"/>
                    </a:lnTo>
                    <a:lnTo>
                      <a:pt x="729" y="531"/>
                    </a:lnTo>
                    <a:lnTo>
                      <a:pt x="729" y="531"/>
                    </a:lnTo>
                    <a:lnTo>
                      <a:pt x="729" y="530"/>
                    </a:lnTo>
                    <a:lnTo>
                      <a:pt x="725" y="533"/>
                    </a:lnTo>
                    <a:lnTo>
                      <a:pt x="725" y="534"/>
                    </a:lnTo>
                    <a:lnTo>
                      <a:pt x="725" y="534"/>
                    </a:lnTo>
                    <a:lnTo>
                      <a:pt x="725" y="534"/>
                    </a:lnTo>
                    <a:lnTo>
                      <a:pt x="723" y="534"/>
                    </a:lnTo>
                    <a:lnTo>
                      <a:pt x="723" y="534"/>
                    </a:lnTo>
                    <a:lnTo>
                      <a:pt x="723" y="534"/>
                    </a:lnTo>
                    <a:lnTo>
                      <a:pt x="722" y="534"/>
                    </a:lnTo>
                    <a:lnTo>
                      <a:pt x="722" y="534"/>
                    </a:lnTo>
                    <a:lnTo>
                      <a:pt x="718" y="535"/>
                    </a:lnTo>
                    <a:lnTo>
                      <a:pt x="718" y="535"/>
                    </a:lnTo>
                    <a:lnTo>
                      <a:pt x="718" y="535"/>
                    </a:lnTo>
                    <a:lnTo>
                      <a:pt x="719" y="541"/>
                    </a:lnTo>
                    <a:lnTo>
                      <a:pt x="721" y="546"/>
                    </a:lnTo>
                    <a:lnTo>
                      <a:pt x="721" y="559"/>
                    </a:lnTo>
                    <a:lnTo>
                      <a:pt x="717" y="564"/>
                    </a:lnTo>
                    <a:lnTo>
                      <a:pt x="717" y="564"/>
                    </a:lnTo>
                    <a:lnTo>
                      <a:pt x="714" y="564"/>
                    </a:lnTo>
                    <a:lnTo>
                      <a:pt x="714" y="564"/>
                    </a:lnTo>
                    <a:lnTo>
                      <a:pt x="711" y="564"/>
                    </a:lnTo>
                    <a:lnTo>
                      <a:pt x="711" y="564"/>
                    </a:lnTo>
                    <a:lnTo>
                      <a:pt x="710" y="564"/>
                    </a:lnTo>
                    <a:lnTo>
                      <a:pt x="710" y="564"/>
                    </a:lnTo>
                    <a:lnTo>
                      <a:pt x="710" y="564"/>
                    </a:lnTo>
                    <a:lnTo>
                      <a:pt x="710" y="564"/>
                    </a:lnTo>
                    <a:lnTo>
                      <a:pt x="710" y="566"/>
                    </a:lnTo>
                    <a:lnTo>
                      <a:pt x="710" y="566"/>
                    </a:lnTo>
                    <a:lnTo>
                      <a:pt x="706" y="572"/>
                    </a:lnTo>
                    <a:lnTo>
                      <a:pt x="705" y="580"/>
                    </a:lnTo>
                    <a:lnTo>
                      <a:pt x="705" y="580"/>
                    </a:lnTo>
                    <a:lnTo>
                      <a:pt x="703" y="584"/>
                    </a:lnTo>
                    <a:lnTo>
                      <a:pt x="702" y="586"/>
                    </a:lnTo>
                    <a:lnTo>
                      <a:pt x="700" y="587"/>
                    </a:lnTo>
                    <a:lnTo>
                      <a:pt x="700" y="587"/>
                    </a:lnTo>
                    <a:lnTo>
                      <a:pt x="701" y="586"/>
                    </a:lnTo>
                    <a:lnTo>
                      <a:pt x="702" y="584"/>
                    </a:lnTo>
                    <a:lnTo>
                      <a:pt x="697" y="588"/>
                    </a:lnTo>
                    <a:lnTo>
                      <a:pt x="697" y="588"/>
                    </a:lnTo>
                    <a:lnTo>
                      <a:pt x="697" y="591"/>
                    </a:lnTo>
                    <a:lnTo>
                      <a:pt x="697" y="591"/>
                    </a:lnTo>
                    <a:lnTo>
                      <a:pt x="697" y="595"/>
                    </a:lnTo>
                    <a:lnTo>
                      <a:pt x="696" y="597"/>
                    </a:lnTo>
                    <a:lnTo>
                      <a:pt x="692" y="601"/>
                    </a:lnTo>
                    <a:lnTo>
                      <a:pt x="692" y="601"/>
                    </a:lnTo>
                    <a:lnTo>
                      <a:pt x="690" y="603"/>
                    </a:lnTo>
                    <a:lnTo>
                      <a:pt x="690" y="603"/>
                    </a:lnTo>
                    <a:lnTo>
                      <a:pt x="686" y="604"/>
                    </a:lnTo>
                    <a:lnTo>
                      <a:pt x="681" y="604"/>
                    </a:lnTo>
                    <a:lnTo>
                      <a:pt x="681" y="604"/>
                    </a:lnTo>
                    <a:lnTo>
                      <a:pt x="681" y="604"/>
                    </a:lnTo>
                    <a:lnTo>
                      <a:pt x="678" y="605"/>
                    </a:lnTo>
                    <a:lnTo>
                      <a:pt x="678" y="605"/>
                    </a:lnTo>
                    <a:lnTo>
                      <a:pt x="676" y="607"/>
                    </a:lnTo>
                    <a:lnTo>
                      <a:pt x="672" y="607"/>
                    </a:lnTo>
                    <a:lnTo>
                      <a:pt x="665" y="601"/>
                    </a:lnTo>
                    <a:lnTo>
                      <a:pt x="665" y="601"/>
                    </a:lnTo>
                    <a:lnTo>
                      <a:pt x="665" y="600"/>
                    </a:lnTo>
                    <a:lnTo>
                      <a:pt x="665" y="600"/>
                    </a:lnTo>
                    <a:lnTo>
                      <a:pt x="666" y="601"/>
                    </a:lnTo>
                    <a:lnTo>
                      <a:pt x="669" y="603"/>
                    </a:lnTo>
                    <a:lnTo>
                      <a:pt x="664" y="597"/>
                    </a:lnTo>
                    <a:lnTo>
                      <a:pt x="664" y="596"/>
                    </a:lnTo>
                    <a:lnTo>
                      <a:pt x="664" y="596"/>
                    </a:lnTo>
                    <a:lnTo>
                      <a:pt x="664" y="593"/>
                    </a:lnTo>
                    <a:lnTo>
                      <a:pt x="661" y="591"/>
                    </a:lnTo>
                    <a:lnTo>
                      <a:pt x="661" y="591"/>
                    </a:lnTo>
                    <a:lnTo>
                      <a:pt x="661" y="589"/>
                    </a:lnTo>
                    <a:lnTo>
                      <a:pt x="652" y="589"/>
                    </a:lnTo>
                    <a:lnTo>
                      <a:pt x="652" y="589"/>
                    </a:lnTo>
                    <a:lnTo>
                      <a:pt x="647" y="588"/>
                    </a:lnTo>
                    <a:lnTo>
                      <a:pt x="647" y="588"/>
                    </a:lnTo>
                    <a:lnTo>
                      <a:pt x="645" y="588"/>
                    </a:lnTo>
                    <a:lnTo>
                      <a:pt x="645" y="588"/>
                    </a:lnTo>
                    <a:lnTo>
                      <a:pt x="645" y="588"/>
                    </a:lnTo>
                    <a:lnTo>
                      <a:pt x="647" y="587"/>
                    </a:lnTo>
                    <a:lnTo>
                      <a:pt x="648" y="586"/>
                    </a:lnTo>
                    <a:lnTo>
                      <a:pt x="643" y="589"/>
                    </a:lnTo>
                    <a:lnTo>
                      <a:pt x="641" y="589"/>
                    </a:lnTo>
                    <a:lnTo>
                      <a:pt x="636" y="587"/>
                    </a:lnTo>
                    <a:lnTo>
                      <a:pt x="636" y="587"/>
                    </a:lnTo>
                    <a:lnTo>
                      <a:pt x="635" y="584"/>
                    </a:lnTo>
                    <a:lnTo>
                      <a:pt x="633" y="579"/>
                    </a:lnTo>
                    <a:lnTo>
                      <a:pt x="633" y="579"/>
                    </a:lnTo>
                    <a:lnTo>
                      <a:pt x="633" y="579"/>
                    </a:lnTo>
                    <a:lnTo>
                      <a:pt x="633" y="579"/>
                    </a:lnTo>
                    <a:lnTo>
                      <a:pt x="632" y="580"/>
                    </a:lnTo>
                    <a:lnTo>
                      <a:pt x="632" y="580"/>
                    </a:lnTo>
                    <a:lnTo>
                      <a:pt x="632" y="580"/>
                    </a:lnTo>
                    <a:lnTo>
                      <a:pt x="628" y="586"/>
                    </a:lnTo>
                    <a:lnTo>
                      <a:pt x="624" y="588"/>
                    </a:lnTo>
                    <a:lnTo>
                      <a:pt x="624" y="588"/>
                    </a:lnTo>
                    <a:lnTo>
                      <a:pt x="623" y="589"/>
                    </a:lnTo>
                    <a:lnTo>
                      <a:pt x="622" y="589"/>
                    </a:lnTo>
                    <a:lnTo>
                      <a:pt x="622" y="589"/>
                    </a:lnTo>
                    <a:lnTo>
                      <a:pt x="619" y="591"/>
                    </a:lnTo>
                    <a:lnTo>
                      <a:pt x="616" y="592"/>
                    </a:lnTo>
                    <a:lnTo>
                      <a:pt x="616" y="592"/>
                    </a:lnTo>
                    <a:lnTo>
                      <a:pt x="615" y="592"/>
                    </a:lnTo>
                    <a:lnTo>
                      <a:pt x="607" y="589"/>
                    </a:lnTo>
                    <a:lnTo>
                      <a:pt x="607" y="589"/>
                    </a:lnTo>
                    <a:lnTo>
                      <a:pt x="606" y="589"/>
                    </a:lnTo>
                    <a:lnTo>
                      <a:pt x="606" y="588"/>
                    </a:lnTo>
                    <a:lnTo>
                      <a:pt x="606" y="588"/>
                    </a:lnTo>
                    <a:lnTo>
                      <a:pt x="604" y="588"/>
                    </a:lnTo>
                    <a:lnTo>
                      <a:pt x="604" y="588"/>
                    </a:lnTo>
                    <a:lnTo>
                      <a:pt x="602" y="588"/>
                    </a:lnTo>
                    <a:lnTo>
                      <a:pt x="602" y="588"/>
                    </a:lnTo>
                    <a:lnTo>
                      <a:pt x="600" y="588"/>
                    </a:lnTo>
                    <a:lnTo>
                      <a:pt x="596" y="588"/>
                    </a:lnTo>
                    <a:lnTo>
                      <a:pt x="595" y="588"/>
                    </a:lnTo>
                    <a:lnTo>
                      <a:pt x="595" y="588"/>
                    </a:lnTo>
                    <a:lnTo>
                      <a:pt x="591" y="587"/>
                    </a:lnTo>
                    <a:lnTo>
                      <a:pt x="591" y="587"/>
                    </a:lnTo>
                    <a:lnTo>
                      <a:pt x="588" y="588"/>
                    </a:lnTo>
                    <a:lnTo>
                      <a:pt x="584" y="592"/>
                    </a:lnTo>
                    <a:lnTo>
                      <a:pt x="584" y="592"/>
                    </a:lnTo>
                    <a:lnTo>
                      <a:pt x="579" y="597"/>
                    </a:lnTo>
                    <a:lnTo>
                      <a:pt x="573" y="600"/>
                    </a:lnTo>
                    <a:lnTo>
                      <a:pt x="573" y="600"/>
                    </a:lnTo>
                    <a:lnTo>
                      <a:pt x="570" y="601"/>
                    </a:lnTo>
                    <a:lnTo>
                      <a:pt x="566" y="603"/>
                    </a:lnTo>
                    <a:lnTo>
                      <a:pt x="566" y="603"/>
                    </a:lnTo>
                    <a:lnTo>
                      <a:pt x="566" y="603"/>
                    </a:lnTo>
                    <a:lnTo>
                      <a:pt x="559" y="604"/>
                    </a:lnTo>
                    <a:lnTo>
                      <a:pt x="557" y="607"/>
                    </a:lnTo>
                    <a:lnTo>
                      <a:pt x="553" y="609"/>
                    </a:lnTo>
                    <a:lnTo>
                      <a:pt x="553" y="609"/>
                    </a:lnTo>
                    <a:lnTo>
                      <a:pt x="553" y="609"/>
                    </a:lnTo>
                    <a:lnTo>
                      <a:pt x="551" y="611"/>
                    </a:lnTo>
                    <a:lnTo>
                      <a:pt x="554" y="613"/>
                    </a:lnTo>
                    <a:lnTo>
                      <a:pt x="554" y="615"/>
                    </a:lnTo>
                    <a:lnTo>
                      <a:pt x="554" y="615"/>
                    </a:lnTo>
                    <a:lnTo>
                      <a:pt x="555" y="617"/>
                    </a:lnTo>
                    <a:lnTo>
                      <a:pt x="555" y="621"/>
                    </a:lnTo>
                    <a:lnTo>
                      <a:pt x="554" y="625"/>
                    </a:lnTo>
                    <a:lnTo>
                      <a:pt x="554" y="625"/>
                    </a:lnTo>
                    <a:lnTo>
                      <a:pt x="551" y="627"/>
                    </a:lnTo>
                    <a:lnTo>
                      <a:pt x="551" y="627"/>
                    </a:lnTo>
                    <a:lnTo>
                      <a:pt x="550" y="628"/>
                    </a:lnTo>
                    <a:lnTo>
                      <a:pt x="545" y="630"/>
                    </a:lnTo>
                    <a:lnTo>
                      <a:pt x="543" y="630"/>
                    </a:lnTo>
                    <a:lnTo>
                      <a:pt x="543" y="630"/>
                    </a:lnTo>
                    <a:lnTo>
                      <a:pt x="542" y="630"/>
                    </a:lnTo>
                    <a:lnTo>
                      <a:pt x="542" y="630"/>
                    </a:lnTo>
                    <a:lnTo>
                      <a:pt x="540" y="630"/>
                    </a:lnTo>
                    <a:lnTo>
                      <a:pt x="540" y="630"/>
                    </a:lnTo>
                    <a:lnTo>
                      <a:pt x="537" y="630"/>
                    </a:lnTo>
                    <a:lnTo>
                      <a:pt x="537" y="630"/>
                    </a:lnTo>
                    <a:lnTo>
                      <a:pt x="540" y="629"/>
                    </a:lnTo>
                    <a:lnTo>
                      <a:pt x="541" y="627"/>
                    </a:lnTo>
                    <a:lnTo>
                      <a:pt x="536" y="630"/>
                    </a:lnTo>
                    <a:lnTo>
                      <a:pt x="536" y="630"/>
                    </a:lnTo>
                    <a:lnTo>
                      <a:pt x="536" y="630"/>
                    </a:lnTo>
                    <a:lnTo>
                      <a:pt x="534" y="630"/>
                    </a:lnTo>
                    <a:lnTo>
                      <a:pt x="534" y="632"/>
                    </a:lnTo>
                    <a:lnTo>
                      <a:pt x="534" y="632"/>
                    </a:lnTo>
                    <a:lnTo>
                      <a:pt x="534" y="632"/>
                    </a:lnTo>
                    <a:lnTo>
                      <a:pt x="532" y="632"/>
                    </a:lnTo>
                    <a:lnTo>
                      <a:pt x="532" y="632"/>
                    </a:lnTo>
                    <a:lnTo>
                      <a:pt x="529" y="632"/>
                    </a:lnTo>
                    <a:lnTo>
                      <a:pt x="529" y="632"/>
                    </a:lnTo>
                    <a:lnTo>
                      <a:pt x="528" y="630"/>
                    </a:lnTo>
                    <a:lnTo>
                      <a:pt x="528" y="630"/>
                    </a:lnTo>
                    <a:lnTo>
                      <a:pt x="529" y="630"/>
                    </a:lnTo>
                    <a:lnTo>
                      <a:pt x="530" y="628"/>
                    </a:lnTo>
                    <a:lnTo>
                      <a:pt x="525" y="633"/>
                    </a:lnTo>
                    <a:lnTo>
                      <a:pt x="522" y="633"/>
                    </a:lnTo>
                    <a:lnTo>
                      <a:pt x="521" y="633"/>
                    </a:lnTo>
                    <a:lnTo>
                      <a:pt x="521" y="633"/>
                    </a:lnTo>
                    <a:lnTo>
                      <a:pt x="520" y="632"/>
                    </a:lnTo>
                    <a:lnTo>
                      <a:pt x="520" y="633"/>
                    </a:lnTo>
                    <a:lnTo>
                      <a:pt x="520" y="640"/>
                    </a:lnTo>
                    <a:lnTo>
                      <a:pt x="513" y="645"/>
                    </a:lnTo>
                    <a:lnTo>
                      <a:pt x="513" y="645"/>
                    </a:lnTo>
                    <a:lnTo>
                      <a:pt x="508" y="645"/>
                    </a:lnTo>
                    <a:lnTo>
                      <a:pt x="508" y="645"/>
                    </a:lnTo>
                    <a:lnTo>
                      <a:pt x="504" y="645"/>
                    </a:lnTo>
                    <a:lnTo>
                      <a:pt x="501" y="648"/>
                    </a:lnTo>
                    <a:lnTo>
                      <a:pt x="496" y="649"/>
                    </a:lnTo>
                    <a:lnTo>
                      <a:pt x="496" y="649"/>
                    </a:lnTo>
                    <a:lnTo>
                      <a:pt x="496" y="649"/>
                    </a:lnTo>
                    <a:lnTo>
                      <a:pt x="496" y="649"/>
                    </a:lnTo>
                    <a:lnTo>
                      <a:pt x="499" y="654"/>
                    </a:lnTo>
                    <a:lnTo>
                      <a:pt x="499" y="654"/>
                    </a:lnTo>
                    <a:lnTo>
                      <a:pt x="499" y="654"/>
                    </a:lnTo>
                    <a:lnTo>
                      <a:pt x="499" y="654"/>
                    </a:lnTo>
                    <a:lnTo>
                      <a:pt x="499" y="654"/>
                    </a:lnTo>
                    <a:lnTo>
                      <a:pt x="499" y="654"/>
                    </a:lnTo>
                    <a:lnTo>
                      <a:pt x="499" y="654"/>
                    </a:lnTo>
                    <a:lnTo>
                      <a:pt x="500" y="658"/>
                    </a:lnTo>
                    <a:lnTo>
                      <a:pt x="499" y="661"/>
                    </a:lnTo>
                    <a:lnTo>
                      <a:pt x="499" y="661"/>
                    </a:lnTo>
                    <a:lnTo>
                      <a:pt x="500" y="661"/>
                    </a:lnTo>
                    <a:lnTo>
                      <a:pt x="500" y="661"/>
                    </a:lnTo>
                    <a:lnTo>
                      <a:pt x="501" y="661"/>
                    </a:lnTo>
                    <a:lnTo>
                      <a:pt x="501" y="661"/>
                    </a:lnTo>
                    <a:lnTo>
                      <a:pt x="499" y="662"/>
                    </a:lnTo>
                    <a:lnTo>
                      <a:pt x="499" y="662"/>
                    </a:lnTo>
                    <a:lnTo>
                      <a:pt x="499" y="662"/>
                    </a:lnTo>
                    <a:lnTo>
                      <a:pt x="499" y="662"/>
                    </a:lnTo>
                    <a:lnTo>
                      <a:pt x="499" y="662"/>
                    </a:lnTo>
                    <a:lnTo>
                      <a:pt x="499" y="662"/>
                    </a:lnTo>
                    <a:lnTo>
                      <a:pt x="497" y="664"/>
                    </a:lnTo>
                    <a:lnTo>
                      <a:pt x="497" y="664"/>
                    </a:lnTo>
                    <a:lnTo>
                      <a:pt x="497" y="665"/>
                    </a:lnTo>
                    <a:lnTo>
                      <a:pt x="497" y="665"/>
                    </a:lnTo>
                    <a:lnTo>
                      <a:pt x="497" y="666"/>
                    </a:lnTo>
                    <a:lnTo>
                      <a:pt x="503" y="660"/>
                    </a:lnTo>
                    <a:lnTo>
                      <a:pt x="505" y="660"/>
                    </a:lnTo>
                    <a:lnTo>
                      <a:pt x="505" y="660"/>
                    </a:lnTo>
                    <a:lnTo>
                      <a:pt x="506" y="660"/>
                    </a:lnTo>
                    <a:lnTo>
                      <a:pt x="506" y="660"/>
                    </a:lnTo>
                    <a:lnTo>
                      <a:pt x="509" y="660"/>
                    </a:lnTo>
                    <a:lnTo>
                      <a:pt x="509" y="660"/>
                    </a:lnTo>
                    <a:lnTo>
                      <a:pt x="509" y="660"/>
                    </a:lnTo>
                    <a:lnTo>
                      <a:pt x="510" y="658"/>
                    </a:lnTo>
                    <a:lnTo>
                      <a:pt x="510" y="658"/>
                    </a:lnTo>
                    <a:lnTo>
                      <a:pt x="510" y="658"/>
                    </a:lnTo>
                    <a:lnTo>
                      <a:pt x="510" y="658"/>
                    </a:lnTo>
                    <a:lnTo>
                      <a:pt x="513" y="657"/>
                    </a:lnTo>
                    <a:lnTo>
                      <a:pt x="516" y="656"/>
                    </a:lnTo>
                    <a:lnTo>
                      <a:pt x="516" y="656"/>
                    </a:lnTo>
                    <a:lnTo>
                      <a:pt x="518" y="656"/>
                    </a:lnTo>
                    <a:lnTo>
                      <a:pt x="518" y="656"/>
                    </a:lnTo>
                    <a:lnTo>
                      <a:pt x="520" y="654"/>
                    </a:lnTo>
                    <a:lnTo>
                      <a:pt x="520" y="654"/>
                    </a:lnTo>
                    <a:lnTo>
                      <a:pt x="520" y="656"/>
                    </a:lnTo>
                    <a:lnTo>
                      <a:pt x="524" y="653"/>
                    </a:lnTo>
                    <a:lnTo>
                      <a:pt x="524" y="653"/>
                    </a:lnTo>
                    <a:lnTo>
                      <a:pt x="521" y="653"/>
                    </a:lnTo>
                    <a:lnTo>
                      <a:pt x="521" y="653"/>
                    </a:lnTo>
                    <a:lnTo>
                      <a:pt x="524" y="652"/>
                    </a:lnTo>
                    <a:lnTo>
                      <a:pt x="528" y="652"/>
                    </a:lnTo>
                    <a:lnTo>
                      <a:pt x="528" y="652"/>
                    </a:lnTo>
                    <a:lnTo>
                      <a:pt x="528" y="652"/>
                    </a:lnTo>
                    <a:lnTo>
                      <a:pt x="529" y="650"/>
                    </a:lnTo>
                    <a:lnTo>
                      <a:pt x="529" y="650"/>
                    </a:lnTo>
                    <a:lnTo>
                      <a:pt x="532" y="648"/>
                    </a:lnTo>
                    <a:lnTo>
                      <a:pt x="536" y="645"/>
                    </a:lnTo>
                    <a:lnTo>
                      <a:pt x="538" y="645"/>
                    </a:lnTo>
                    <a:lnTo>
                      <a:pt x="538" y="645"/>
                    </a:lnTo>
                    <a:lnTo>
                      <a:pt x="541" y="645"/>
                    </a:lnTo>
                    <a:lnTo>
                      <a:pt x="541" y="645"/>
                    </a:lnTo>
                    <a:lnTo>
                      <a:pt x="543" y="645"/>
                    </a:lnTo>
                    <a:lnTo>
                      <a:pt x="543" y="645"/>
                    </a:lnTo>
                    <a:lnTo>
                      <a:pt x="542" y="646"/>
                    </a:lnTo>
                    <a:lnTo>
                      <a:pt x="540" y="649"/>
                    </a:lnTo>
                    <a:lnTo>
                      <a:pt x="546" y="644"/>
                    </a:lnTo>
                    <a:lnTo>
                      <a:pt x="547" y="644"/>
                    </a:lnTo>
                    <a:lnTo>
                      <a:pt x="553" y="649"/>
                    </a:lnTo>
                    <a:lnTo>
                      <a:pt x="553" y="649"/>
                    </a:lnTo>
                    <a:lnTo>
                      <a:pt x="554" y="650"/>
                    </a:lnTo>
                    <a:lnTo>
                      <a:pt x="554" y="650"/>
                    </a:lnTo>
                    <a:lnTo>
                      <a:pt x="553" y="650"/>
                    </a:lnTo>
                    <a:lnTo>
                      <a:pt x="557" y="654"/>
                    </a:lnTo>
                    <a:lnTo>
                      <a:pt x="557" y="654"/>
                    </a:lnTo>
                    <a:lnTo>
                      <a:pt x="558" y="656"/>
                    </a:lnTo>
                    <a:lnTo>
                      <a:pt x="558" y="656"/>
                    </a:lnTo>
                    <a:lnTo>
                      <a:pt x="559" y="658"/>
                    </a:lnTo>
                    <a:lnTo>
                      <a:pt x="561" y="662"/>
                    </a:lnTo>
                    <a:lnTo>
                      <a:pt x="561" y="662"/>
                    </a:lnTo>
                    <a:lnTo>
                      <a:pt x="562" y="666"/>
                    </a:lnTo>
                    <a:lnTo>
                      <a:pt x="563" y="670"/>
                    </a:lnTo>
                    <a:lnTo>
                      <a:pt x="561" y="675"/>
                    </a:lnTo>
                    <a:lnTo>
                      <a:pt x="561" y="675"/>
                    </a:lnTo>
                    <a:lnTo>
                      <a:pt x="561" y="678"/>
                    </a:lnTo>
                    <a:lnTo>
                      <a:pt x="559" y="681"/>
                    </a:lnTo>
                    <a:lnTo>
                      <a:pt x="559" y="681"/>
                    </a:lnTo>
                    <a:lnTo>
                      <a:pt x="557" y="682"/>
                    </a:lnTo>
                    <a:lnTo>
                      <a:pt x="553" y="683"/>
                    </a:lnTo>
                    <a:lnTo>
                      <a:pt x="553" y="683"/>
                    </a:lnTo>
                    <a:lnTo>
                      <a:pt x="549" y="682"/>
                    </a:lnTo>
                    <a:lnTo>
                      <a:pt x="546" y="679"/>
                    </a:lnTo>
                    <a:lnTo>
                      <a:pt x="543" y="679"/>
                    </a:lnTo>
                    <a:lnTo>
                      <a:pt x="537" y="673"/>
                    </a:lnTo>
                    <a:lnTo>
                      <a:pt x="537" y="673"/>
                    </a:lnTo>
                    <a:lnTo>
                      <a:pt x="537" y="674"/>
                    </a:lnTo>
                    <a:lnTo>
                      <a:pt x="538" y="675"/>
                    </a:lnTo>
                    <a:lnTo>
                      <a:pt x="538" y="675"/>
                    </a:lnTo>
                    <a:lnTo>
                      <a:pt x="538" y="677"/>
                    </a:lnTo>
                    <a:lnTo>
                      <a:pt x="538" y="677"/>
                    </a:lnTo>
                    <a:lnTo>
                      <a:pt x="541" y="678"/>
                    </a:lnTo>
                    <a:lnTo>
                      <a:pt x="542" y="678"/>
                    </a:lnTo>
                    <a:lnTo>
                      <a:pt x="542" y="678"/>
                    </a:lnTo>
                    <a:lnTo>
                      <a:pt x="541" y="678"/>
                    </a:lnTo>
                    <a:lnTo>
                      <a:pt x="541" y="678"/>
                    </a:lnTo>
                    <a:lnTo>
                      <a:pt x="538" y="678"/>
                    </a:lnTo>
                    <a:lnTo>
                      <a:pt x="538" y="678"/>
                    </a:lnTo>
                    <a:lnTo>
                      <a:pt x="537" y="678"/>
                    </a:lnTo>
                    <a:lnTo>
                      <a:pt x="537" y="678"/>
                    </a:lnTo>
                    <a:lnTo>
                      <a:pt x="536" y="678"/>
                    </a:lnTo>
                    <a:lnTo>
                      <a:pt x="536" y="678"/>
                    </a:lnTo>
                    <a:lnTo>
                      <a:pt x="533" y="678"/>
                    </a:lnTo>
                    <a:lnTo>
                      <a:pt x="533" y="678"/>
                    </a:lnTo>
                    <a:lnTo>
                      <a:pt x="532" y="678"/>
                    </a:lnTo>
                    <a:lnTo>
                      <a:pt x="532" y="678"/>
                    </a:lnTo>
                    <a:lnTo>
                      <a:pt x="533" y="677"/>
                    </a:lnTo>
                    <a:lnTo>
                      <a:pt x="534" y="674"/>
                    </a:lnTo>
                    <a:lnTo>
                      <a:pt x="528" y="679"/>
                    </a:lnTo>
                    <a:lnTo>
                      <a:pt x="528" y="679"/>
                    </a:lnTo>
                    <a:lnTo>
                      <a:pt x="525" y="679"/>
                    </a:lnTo>
                    <a:lnTo>
                      <a:pt x="525" y="679"/>
                    </a:lnTo>
                    <a:lnTo>
                      <a:pt x="524" y="679"/>
                    </a:lnTo>
                    <a:lnTo>
                      <a:pt x="524" y="679"/>
                    </a:lnTo>
                    <a:lnTo>
                      <a:pt x="524" y="681"/>
                    </a:lnTo>
                    <a:lnTo>
                      <a:pt x="524" y="681"/>
                    </a:lnTo>
                    <a:lnTo>
                      <a:pt x="522" y="687"/>
                    </a:lnTo>
                    <a:lnTo>
                      <a:pt x="518" y="694"/>
                    </a:lnTo>
                    <a:lnTo>
                      <a:pt x="518" y="694"/>
                    </a:lnTo>
                    <a:lnTo>
                      <a:pt x="514" y="694"/>
                    </a:lnTo>
                    <a:lnTo>
                      <a:pt x="514" y="694"/>
                    </a:lnTo>
                    <a:lnTo>
                      <a:pt x="510" y="694"/>
                    </a:lnTo>
                    <a:lnTo>
                      <a:pt x="510" y="694"/>
                    </a:lnTo>
                    <a:lnTo>
                      <a:pt x="508" y="694"/>
                    </a:lnTo>
                    <a:lnTo>
                      <a:pt x="508" y="694"/>
                    </a:lnTo>
                    <a:lnTo>
                      <a:pt x="508" y="694"/>
                    </a:lnTo>
                    <a:lnTo>
                      <a:pt x="508" y="694"/>
                    </a:lnTo>
                    <a:lnTo>
                      <a:pt x="509" y="691"/>
                    </a:lnTo>
                    <a:lnTo>
                      <a:pt x="506" y="694"/>
                    </a:lnTo>
                    <a:lnTo>
                      <a:pt x="506" y="694"/>
                    </a:lnTo>
                    <a:lnTo>
                      <a:pt x="506" y="694"/>
                    </a:lnTo>
                    <a:lnTo>
                      <a:pt x="503" y="695"/>
                    </a:lnTo>
                    <a:lnTo>
                      <a:pt x="499" y="697"/>
                    </a:lnTo>
                    <a:lnTo>
                      <a:pt x="499" y="697"/>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90" name="Freeform 9">
                <a:extLst>
                  <a:ext uri="{FF2B5EF4-FFF2-40B4-BE49-F238E27FC236}">
                    <a16:creationId xmlns:a16="http://schemas.microsoft.com/office/drawing/2014/main" xmlns="" id="{3A966B7D-7F44-44EC-A63C-B612559ED86C}"/>
                  </a:ext>
                </a:extLst>
              </p:cNvPr>
              <p:cNvSpPr>
                <a:spLocks/>
              </p:cNvSpPr>
              <p:nvPr/>
            </p:nvSpPr>
            <p:spPr bwMode="auto">
              <a:xfrm>
                <a:off x="6838879" y="1058986"/>
                <a:ext cx="886207" cy="732993"/>
              </a:xfrm>
              <a:custGeom>
                <a:avLst/>
                <a:gdLst>
                  <a:gd name="T0" fmla="*/ 258 w 509"/>
                  <a:gd name="T1" fmla="*/ 404 h 421"/>
                  <a:gd name="T2" fmla="*/ 240 w 509"/>
                  <a:gd name="T3" fmla="*/ 405 h 421"/>
                  <a:gd name="T4" fmla="*/ 211 w 509"/>
                  <a:gd name="T5" fmla="*/ 382 h 421"/>
                  <a:gd name="T6" fmla="*/ 188 w 509"/>
                  <a:gd name="T7" fmla="*/ 380 h 421"/>
                  <a:gd name="T8" fmla="*/ 156 w 509"/>
                  <a:gd name="T9" fmla="*/ 368 h 421"/>
                  <a:gd name="T10" fmla="*/ 125 w 509"/>
                  <a:gd name="T11" fmla="*/ 339 h 421"/>
                  <a:gd name="T12" fmla="*/ 117 w 509"/>
                  <a:gd name="T13" fmla="*/ 320 h 421"/>
                  <a:gd name="T14" fmla="*/ 102 w 509"/>
                  <a:gd name="T15" fmla="*/ 310 h 421"/>
                  <a:gd name="T16" fmla="*/ 117 w 509"/>
                  <a:gd name="T17" fmla="*/ 298 h 421"/>
                  <a:gd name="T18" fmla="*/ 85 w 509"/>
                  <a:gd name="T19" fmla="*/ 279 h 421"/>
                  <a:gd name="T20" fmla="*/ 62 w 509"/>
                  <a:gd name="T21" fmla="*/ 262 h 421"/>
                  <a:gd name="T22" fmla="*/ 40 w 509"/>
                  <a:gd name="T23" fmla="*/ 244 h 421"/>
                  <a:gd name="T24" fmla="*/ 7 w 509"/>
                  <a:gd name="T25" fmla="*/ 236 h 421"/>
                  <a:gd name="T26" fmla="*/ 7 w 509"/>
                  <a:gd name="T27" fmla="*/ 195 h 421"/>
                  <a:gd name="T28" fmla="*/ 15 w 509"/>
                  <a:gd name="T29" fmla="*/ 189 h 421"/>
                  <a:gd name="T30" fmla="*/ 14 w 509"/>
                  <a:gd name="T31" fmla="*/ 152 h 421"/>
                  <a:gd name="T32" fmla="*/ 24 w 509"/>
                  <a:gd name="T33" fmla="*/ 151 h 421"/>
                  <a:gd name="T34" fmla="*/ 45 w 509"/>
                  <a:gd name="T35" fmla="*/ 125 h 421"/>
                  <a:gd name="T36" fmla="*/ 48 w 509"/>
                  <a:gd name="T37" fmla="*/ 78 h 421"/>
                  <a:gd name="T38" fmla="*/ 69 w 509"/>
                  <a:gd name="T39" fmla="*/ 65 h 421"/>
                  <a:gd name="T40" fmla="*/ 84 w 509"/>
                  <a:gd name="T41" fmla="*/ 57 h 421"/>
                  <a:gd name="T42" fmla="*/ 117 w 509"/>
                  <a:gd name="T43" fmla="*/ 78 h 421"/>
                  <a:gd name="T44" fmla="*/ 119 w 509"/>
                  <a:gd name="T45" fmla="*/ 81 h 421"/>
                  <a:gd name="T46" fmla="*/ 131 w 509"/>
                  <a:gd name="T47" fmla="*/ 64 h 421"/>
                  <a:gd name="T48" fmla="*/ 140 w 509"/>
                  <a:gd name="T49" fmla="*/ 41 h 421"/>
                  <a:gd name="T50" fmla="*/ 174 w 509"/>
                  <a:gd name="T51" fmla="*/ 44 h 421"/>
                  <a:gd name="T52" fmla="*/ 193 w 509"/>
                  <a:gd name="T53" fmla="*/ 27 h 421"/>
                  <a:gd name="T54" fmla="*/ 225 w 509"/>
                  <a:gd name="T55" fmla="*/ 2 h 421"/>
                  <a:gd name="T56" fmla="*/ 254 w 509"/>
                  <a:gd name="T57" fmla="*/ 11 h 421"/>
                  <a:gd name="T58" fmla="*/ 277 w 509"/>
                  <a:gd name="T59" fmla="*/ 20 h 421"/>
                  <a:gd name="T60" fmla="*/ 298 w 509"/>
                  <a:gd name="T61" fmla="*/ 31 h 421"/>
                  <a:gd name="T62" fmla="*/ 320 w 509"/>
                  <a:gd name="T63" fmla="*/ 39 h 421"/>
                  <a:gd name="T64" fmla="*/ 348 w 509"/>
                  <a:gd name="T65" fmla="*/ 44 h 421"/>
                  <a:gd name="T66" fmla="*/ 367 w 509"/>
                  <a:gd name="T67" fmla="*/ 37 h 421"/>
                  <a:gd name="T68" fmla="*/ 392 w 509"/>
                  <a:gd name="T69" fmla="*/ 25 h 421"/>
                  <a:gd name="T70" fmla="*/ 401 w 509"/>
                  <a:gd name="T71" fmla="*/ 14 h 421"/>
                  <a:gd name="T72" fmla="*/ 427 w 509"/>
                  <a:gd name="T73" fmla="*/ 37 h 421"/>
                  <a:gd name="T74" fmla="*/ 438 w 509"/>
                  <a:gd name="T75" fmla="*/ 52 h 421"/>
                  <a:gd name="T76" fmla="*/ 437 w 509"/>
                  <a:gd name="T77" fmla="*/ 74 h 421"/>
                  <a:gd name="T78" fmla="*/ 437 w 509"/>
                  <a:gd name="T79" fmla="*/ 89 h 421"/>
                  <a:gd name="T80" fmla="*/ 453 w 509"/>
                  <a:gd name="T81" fmla="*/ 143 h 421"/>
                  <a:gd name="T82" fmla="*/ 478 w 509"/>
                  <a:gd name="T83" fmla="*/ 218 h 421"/>
                  <a:gd name="T84" fmla="*/ 493 w 509"/>
                  <a:gd name="T85" fmla="*/ 270 h 421"/>
                  <a:gd name="T86" fmla="*/ 468 w 509"/>
                  <a:gd name="T87" fmla="*/ 286 h 421"/>
                  <a:gd name="T88" fmla="*/ 450 w 509"/>
                  <a:gd name="T89" fmla="*/ 275 h 421"/>
                  <a:gd name="T90" fmla="*/ 442 w 509"/>
                  <a:gd name="T91" fmla="*/ 278 h 421"/>
                  <a:gd name="T92" fmla="*/ 425 w 509"/>
                  <a:gd name="T93" fmla="*/ 278 h 421"/>
                  <a:gd name="T94" fmla="*/ 423 w 509"/>
                  <a:gd name="T95" fmla="*/ 281 h 421"/>
                  <a:gd name="T96" fmla="*/ 402 w 509"/>
                  <a:gd name="T97" fmla="*/ 277 h 421"/>
                  <a:gd name="T98" fmla="*/ 377 w 509"/>
                  <a:gd name="T99" fmla="*/ 285 h 421"/>
                  <a:gd name="T100" fmla="*/ 359 w 509"/>
                  <a:gd name="T101" fmla="*/ 283 h 421"/>
                  <a:gd name="T102" fmla="*/ 352 w 509"/>
                  <a:gd name="T103" fmla="*/ 291 h 421"/>
                  <a:gd name="T104" fmla="*/ 343 w 509"/>
                  <a:gd name="T105" fmla="*/ 282 h 421"/>
                  <a:gd name="T106" fmla="*/ 320 w 509"/>
                  <a:gd name="T107" fmla="*/ 282 h 421"/>
                  <a:gd name="T108" fmla="*/ 303 w 509"/>
                  <a:gd name="T109" fmla="*/ 283 h 421"/>
                  <a:gd name="T110" fmla="*/ 308 w 509"/>
                  <a:gd name="T111" fmla="*/ 289 h 421"/>
                  <a:gd name="T112" fmla="*/ 299 w 509"/>
                  <a:gd name="T113" fmla="*/ 311 h 421"/>
                  <a:gd name="T114" fmla="*/ 322 w 509"/>
                  <a:gd name="T115" fmla="*/ 347 h 421"/>
                  <a:gd name="T116" fmla="*/ 327 w 509"/>
                  <a:gd name="T117" fmla="*/ 367 h 421"/>
                  <a:gd name="T118" fmla="*/ 322 w 509"/>
                  <a:gd name="T119" fmla="*/ 377 h 421"/>
                  <a:gd name="T120" fmla="*/ 340 w 509"/>
                  <a:gd name="T121" fmla="*/ 409 h 421"/>
                  <a:gd name="T122" fmla="*/ 298 w 509"/>
                  <a:gd name="T123" fmla="*/ 418 h 421"/>
                  <a:gd name="T124" fmla="*/ 270 w 509"/>
                  <a:gd name="T125"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9" h="421">
                    <a:moveTo>
                      <a:pt x="270" y="421"/>
                    </a:moveTo>
                    <a:lnTo>
                      <a:pt x="263" y="415"/>
                    </a:lnTo>
                    <a:lnTo>
                      <a:pt x="263" y="415"/>
                    </a:lnTo>
                    <a:lnTo>
                      <a:pt x="263" y="409"/>
                    </a:lnTo>
                    <a:lnTo>
                      <a:pt x="263" y="409"/>
                    </a:lnTo>
                    <a:lnTo>
                      <a:pt x="265" y="406"/>
                    </a:lnTo>
                    <a:lnTo>
                      <a:pt x="265" y="406"/>
                    </a:lnTo>
                    <a:lnTo>
                      <a:pt x="266" y="408"/>
                    </a:lnTo>
                    <a:lnTo>
                      <a:pt x="263" y="405"/>
                    </a:lnTo>
                    <a:lnTo>
                      <a:pt x="263" y="405"/>
                    </a:lnTo>
                    <a:lnTo>
                      <a:pt x="261" y="405"/>
                    </a:lnTo>
                    <a:lnTo>
                      <a:pt x="261" y="405"/>
                    </a:lnTo>
                    <a:lnTo>
                      <a:pt x="258" y="404"/>
                    </a:lnTo>
                    <a:lnTo>
                      <a:pt x="258" y="404"/>
                    </a:lnTo>
                    <a:lnTo>
                      <a:pt x="257" y="405"/>
                    </a:lnTo>
                    <a:lnTo>
                      <a:pt x="257" y="405"/>
                    </a:lnTo>
                    <a:lnTo>
                      <a:pt x="258" y="404"/>
                    </a:lnTo>
                    <a:lnTo>
                      <a:pt x="254" y="405"/>
                    </a:lnTo>
                    <a:lnTo>
                      <a:pt x="254" y="405"/>
                    </a:lnTo>
                    <a:lnTo>
                      <a:pt x="254" y="405"/>
                    </a:lnTo>
                    <a:lnTo>
                      <a:pt x="254" y="405"/>
                    </a:lnTo>
                    <a:lnTo>
                      <a:pt x="253" y="406"/>
                    </a:lnTo>
                    <a:lnTo>
                      <a:pt x="253" y="406"/>
                    </a:lnTo>
                    <a:lnTo>
                      <a:pt x="253" y="406"/>
                    </a:lnTo>
                    <a:lnTo>
                      <a:pt x="248" y="406"/>
                    </a:lnTo>
                    <a:lnTo>
                      <a:pt x="248" y="406"/>
                    </a:lnTo>
                    <a:lnTo>
                      <a:pt x="244" y="406"/>
                    </a:lnTo>
                    <a:lnTo>
                      <a:pt x="240" y="405"/>
                    </a:lnTo>
                    <a:lnTo>
                      <a:pt x="234" y="401"/>
                    </a:lnTo>
                    <a:lnTo>
                      <a:pt x="232" y="400"/>
                    </a:lnTo>
                    <a:lnTo>
                      <a:pt x="232" y="400"/>
                    </a:lnTo>
                    <a:lnTo>
                      <a:pt x="228" y="397"/>
                    </a:lnTo>
                    <a:lnTo>
                      <a:pt x="228" y="397"/>
                    </a:lnTo>
                    <a:lnTo>
                      <a:pt x="221" y="390"/>
                    </a:lnTo>
                    <a:lnTo>
                      <a:pt x="216" y="384"/>
                    </a:lnTo>
                    <a:lnTo>
                      <a:pt x="216" y="384"/>
                    </a:lnTo>
                    <a:lnTo>
                      <a:pt x="213" y="382"/>
                    </a:lnTo>
                    <a:lnTo>
                      <a:pt x="213" y="382"/>
                    </a:lnTo>
                    <a:lnTo>
                      <a:pt x="215" y="384"/>
                    </a:lnTo>
                    <a:lnTo>
                      <a:pt x="215" y="384"/>
                    </a:lnTo>
                    <a:lnTo>
                      <a:pt x="211" y="382"/>
                    </a:lnTo>
                    <a:lnTo>
                      <a:pt x="211" y="382"/>
                    </a:lnTo>
                    <a:lnTo>
                      <a:pt x="208" y="382"/>
                    </a:lnTo>
                    <a:lnTo>
                      <a:pt x="201" y="377"/>
                    </a:lnTo>
                    <a:lnTo>
                      <a:pt x="201" y="377"/>
                    </a:lnTo>
                    <a:lnTo>
                      <a:pt x="203" y="380"/>
                    </a:lnTo>
                    <a:lnTo>
                      <a:pt x="205" y="381"/>
                    </a:lnTo>
                    <a:lnTo>
                      <a:pt x="205" y="381"/>
                    </a:lnTo>
                    <a:lnTo>
                      <a:pt x="205" y="381"/>
                    </a:lnTo>
                    <a:lnTo>
                      <a:pt x="204" y="381"/>
                    </a:lnTo>
                    <a:lnTo>
                      <a:pt x="204" y="381"/>
                    </a:lnTo>
                    <a:lnTo>
                      <a:pt x="201" y="381"/>
                    </a:lnTo>
                    <a:lnTo>
                      <a:pt x="201" y="381"/>
                    </a:lnTo>
                    <a:lnTo>
                      <a:pt x="200" y="381"/>
                    </a:lnTo>
                    <a:lnTo>
                      <a:pt x="192" y="381"/>
                    </a:lnTo>
                    <a:lnTo>
                      <a:pt x="188" y="380"/>
                    </a:lnTo>
                    <a:lnTo>
                      <a:pt x="188" y="380"/>
                    </a:lnTo>
                    <a:lnTo>
                      <a:pt x="188" y="380"/>
                    </a:lnTo>
                    <a:lnTo>
                      <a:pt x="188" y="380"/>
                    </a:lnTo>
                    <a:lnTo>
                      <a:pt x="187" y="380"/>
                    </a:lnTo>
                    <a:lnTo>
                      <a:pt x="187" y="380"/>
                    </a:lnTo>
                    <a:lnTo>
                      <a:pt x="184" y="377"/>
                    </a:lnTo>
                    <a:lnTo>
                      <a:pt x="175" y="377"/>
                    </a:lnTo>
                    <a:lnTo>
                      <a:pt x="170" y="376"/>
                    </a:lnTo>
                    <a:lnTo>
                      <a:pt x="170" y="376"/>
                    </a:lnTo>
                    <a:lnTo>
                      <a:pt x="167" y="374"/>
                    </a:lnTo>
                    <a:lnTo>
                      <a:pt x="164" y="374"/>
                    </a:lnTo>
                    <a:lnTo>
                      <a:pt x="164" y="374"/>
                    </a:lnTo>
                    <a:lnTo>
                      <a:pt x="162" y="374"/>
                    </a:lnTo>
                    <a:lnTo>
                      <a:pt x="156" y="368"/>
                    </a:lnTo>
                    <a:lnTo>
                      <a:pt x="156" y="367"/>
                    </a:lnTo>
                    <a:lnTo>
                      <a:pt x="156" y="367"/>
                    </a:lnTo>
                    <a:lnTo>
                      <a:pt x="156" y="367"/>
                    </a:lnTo>
                    <a:lnTo>
                      <a:pt x="156" y="367"/>
                    </a:lnTo>
                    <a:lnTo>
                      <a:pt x="155" y="367"/>
                    </a:lnTo>
                    <a:lnTo>
                      <a:pt x="155" y="367"/>
                    </a:lnTo>
                    <a:lnTo>
                      <a:pt x="154" y="365"/>
                    </a:lnTo>
                    <a:lnTo>
                      <a:pt x="151" y="364"/>
                    </a:lnTo>
                    <a:lnTo>
                      <a:pt x="151" y="364"/>
                    </a:lnTo>
                    <a:lnTo>
                      <a:pt x="144" y="357"/>
                    </a:lnTo>
                    <a:lnTo>
                      <a:pt x="138" y="352"/>
                    </a:lnTo>
                    <a:lnTo>
                      <a:pt x="138" y="352"/>
                    </a:lnTo>
                    <a:lnTo>
                      <a:pt x="129" y="343"/>
                    </a:lnTo>
                    <a:lnTo>
                      <a:pt x="125" y="339"/>
                    </a:lnTo>
                    <a:lnTo>
                      <a:pt x="121" y="333"/>
                    </a:lnTo>
                    <a:lnTo>
                      <a:pt x="119" y="331"/>
                    </a:lnTo>
                    <a:lnTo>
                      <a:pt x="119" y="331"/>
                    </a:lnTo>
                    <a:lnTo>
                      <a:pt x="118" y="328"/>
                    </a:lnTo>
                    <a:lnTo>
                      <a:pt x="118" y="327"/>
                    </a:lnTo>
                    <a:lnTo>
                      <a:pt x="118" y="326"/>
                    </a:lnTo>
                    <a:lnTo>
                      <a:pt x="118" y="326"/>
                    </a:lnTo>
                    <a:lnTo>
                      <a:pt x="119" y="328"/>
                    </a:lnTo>
                    <a:lnTo>
                      <a:pt x="122" y="328"/>
                    </a:lnTo>
                    <a:lnTo>
                      <a:pt x="117" y="323"/>
                    </a:lnTo>
                    <a:lnTo>
                      <a:pt x="117" y="322"/>
                    </a:lnTo>
                    <a:lnTo>
                      <a:pt x="117" y="322"/>
                    </a:lnTo>
                    <a:lnTo>
                      <a:pt x="117" y="320"/>
                    </a:lnTo>
                    <a:lnTo>
                      <a:pt x="117" y="320"/>
                    </a:lnTo>
                    <a:lnTo>
                      <a:pt x="117" y="319"/>
                    </a:lnTo>
                    <a:lnTo>
                      <a:pt x="117" y="319"/>
                    </a:lnTo>
                    <a:lnTo>
                      <a:pt x="118" y="322"/>
                    </a:lnTo>
                    <a:lnTo>
                      <a:pt x="121" y="323"/>
                    </a:lnTo>
                    <a:lnTo>
                      <a:pt x="115" y="318"/>
                    </a:lnTo>
                    <a:lnTo>
                      <a:pt x="115" y="316"/>
                    </a:lnTo>
                    <a:lnTo>
                      <a:pt x="115" y="315"/>
                    </a:lnTo>
                    <a:lnTo>
                      <a:pt x="115" y="315"/>
                    </a:lnTo>
                    <a:lnTo>
                      <a:pt x="113" y="315"/>
                    </a:lnTo>
                    <a:lnTo>
                      <a:pt x="113" y="315"/>
                    </a:lnTo>
                    <a:lnTo>
                      <a:pt x="109" y="315"/>
                    </a:lnTo>
                    <a:lnTo>
                      <a:pt x="105" y="314"/>
                    </a:lnTo>
                    <a:lnTo>
                      <a:pt x="102" y="310"/>
                    </a:lnTo>
                    <a:lnTo>
                      <a:pt x="102" y="310"/>
                    </a:lnTo>
                    <a:lnTo>
                      <a:pt x="102" y="304"/>
                    </a:lnTo>
                    <a:lnTo>
                      <a:pt x="103" y="302"/>
                    </a:lnTo>
                    <a:lnTo>
                      <a:pt x="107" y="300"/>
                    </a:lnTo>
                    <a:lnTo>
                      <a:pt x="107" y="300"/>
                    </a:lnTo>
                    <a:lnTo>
                      <a:pt x="106" y="302"/>
                    </a:lnTo>
                    <a:lnTo>
                      <a:pt x="105" y="304"/>
                    </a:lnTo>
                    <a:lnTo>
                      <a:pt x="110" y="299"/>
                    </a:lnTo>
                    <a:lnTo>
                      <a:pt x="110" y="299"/>
                    </a:lnTo>
                    <a:lnTo>
                      <a:pt x="110" y="299"/>
                    </a:lnTo>
                    <a:lnTo>
                      <a:pt x="111" y="299"/>
                    </a:lnTo>
                    <a:lnTo>
                      <a:pt x="111" y="299"/>
                    </a:lnTo>
                    <a:lnTo>
                      <a:pt x="111" y="299"/>
                    </a:lnTo>
                    <a:lnTo>
                      <a:pt x="111" y="299"/>
                    </a:lnTo>
                    <a:lnTo>
                      <a:pt x="117" y="298"/>
                    </a:lnTo>
                    <a:lnTo>
                      <a:pt x="117" y="298"/>
                    </a:lnTo>
                    <a:lnTo>
                      <a:pt x="117" y="298"/>
                    </a:lnTo>
                    <a:lnTo>
                      <a:pt x="117" y="298"/>
                    </a:lnTo>
                    <a:lnTo>
                      <a:pt x="111" y="289"/>
                    </a:lnTo>
                    <a:lnTo>
                      <a:pt x="105" y="281"/>
                    </a:lnTo>
                    <a:lnTo>
                      <a:pt x="105" y="281"/>
                    </a:lnTo>
                    <a:lnTo>
                      <a:pt x="98" y="286"/>
                    </a:lnTo>
                    <a:lnTo>
                      <a:pt x="93" y="287"/>
                    </a:lnTo>
                    <a:lnTo>
                      <a:pt x="93" y="287"/>
                    </a:lnTo>
                    <a:lnTo>
                      <a:pt x="89" y="286"/>
                    </a:lnTo>
                    <a:lnTo>
                      <a:pt x="88" y="283"/>
                    </a:lnTo>
                    <a:lnTo>
                      <a:pt x="86" y="283"/>
                    </a:lnTo>
                    <a:lnTo>
                      <a:pt x="86" y="283"/>
                    </a:lnTo>
                    <a:lnTo>
                      <a:pt x="85" y="279"/>
                    </a:lnTo>
                    <a:lnTo>
                      <a:pt x="84" y="274"/>
                    </a:lnTo>
                    <a:lnTo>
                      <a:pt x="84" y="274"/>
                    </a:lnTo>
                    <a:lnTo>
                      <a:pt x="81" y="273"/>
                    </a:lnTo>
                    <a:lnTo>
                      <a:pt x="81" y="273"/>
                    </a:lnTo>
                    <a:lnTo>
                      <a:pt x="80" y="271"/>
                    </a:lnTo>
                    <a:lnTo>
                      <a:pt x="80" y="271"/>
                    </a:lnTo>
                    <a:lnTo>
                      <a:pt x="76" y="270"/>
                    </a:lnTo>
                    <a:lnTo>
                      <a:pt x="76" y="270"/>
                    </a:lnTo>
                    <a:lnTo>
                      <a:pt x="73" y="267"/>
                    </a:lnTo>
                    <a:lnTo>
                      <a:pt x="68" y="265"/>
                    </a:lnTo>
                    <a:lnTo>
                      <a:pt x="68" y="265"/>
                    </a:lnTo>
                    <a:lnTo>
                      <a:pt x="65" y="262"/>
                    </a:lnTo>
                    <a:lnTo>
                      <a:pt x="65" y="262"/>
                    </a:lnTo>
                    <a:lnTo>
                      <a:pt x="62" y="262"/>
                    </a:lnTo>
                    <a:lnTo>
                      <a:pt x="62" y="262"/>
                    </a:lnTo>
                    <a:lnTo>
                      <a:pt x="55" y="255"/>
                    </a:lnTo>
                    <a:lnTo>
                      <a:pt x="55" y="255"/>
                    </a:lnTo>
                    <a:lnTo>
                      <a:pt x="51" y="253"/>
                    </a:lnTo>
                    <a:lnTo>
                      <a:pt x="47" y="249"/>
                    </a:lnTo>
                    <a:lnTo>
                      <a:pt x="44" y="245"/>
                    </a:lnTo>
                    <a:lnTo>
                      <a:pt x="44" y="245"/>
                    </a:lnTo>
                    <a:lnTo>
                      <a:pt x="44" y="245"/>
                    </a:lnTo>
                    <a:lnTo>
                      <a:pt x="43" y="244"/>
                    </a:lnTo>
                    <a:lnTo>
                      <a:pt x="43" y="244"/>
                    </a:lnTo>
                    <a:lnTo>
                      <a:pt x="40" y="244"/>
                    </a:lnTo>
                    <a:lnTo>
                      <a:pt x="40" y="244"/>
                    </a:lnTo>
                    <a:lnTo>
                      <a:pt x="40" y="244"/>
                    </a:lnTo>
                    <a:lnTo>
                      <a:pt x="40" y="244"/>
                    </a:lnTo>
                    <a:lnTo>
                      <a:pt x="40" y="242"/>
                    </a:lnTo>
                    <a:lnTo>
                      <a:pt x="37" y="244"/>
                    </a:lnTo>
                    <a:lnTo>
                      <a:pt x="37" y="244"/>
                    </a:lnTo>
                    <a:lnTo>
                      <a:pt x="37" y="244"/>
                    </a:lnTo>
                    <a:lnTo>
                      <a:pt x="35" y="246"/>
                    </a:lnTo>
                    <a:lnTo>
                      <a:pt x="29" y="248"/>
                    </a:lnTo>
                    <a:lnTo>
                      <a:pt x="29" y="248"/>
                    </a:lnTo>
                    <a:lnTo>
                      <a:pt x="25" y="246"/>
                    </a:lnTo>
                    <a:lnTo>
                      <a:pt x="20" y="245"/>
                    </a:lnTo>
                    <a:lnTo>
                      <a:pt x="20" y="245"/>
                    </a:lnTo>
                    <a:lnTo>
                      <a:pt x="20" y="245"/>
                    </a:lnTo>
                    <a:lnTo>
                      <a:pt x="16" y="244"/>
                    </a:lnTo>
                    <a:lnTo>
                      <a:pt x="12" y="241"/>
                    </a:lnTo>
                    <a:lnTo>
                      <a:pt x="7" y="236"/>
                    </a:lnTo>
                    <a:lnTo>
                      <a:pt x="7" y="236"/>
                    </a:lnTo>
                    <a:lnTo>
                      <a:pt x="3" y="232"/>
                    </a:lnTo>
                    <a:lnTo>
                      <a:pt x="4" y="230"/>
                    </a:lnTo>
                    <a:lnTo>
                      <a:pt x="0" y="222"/>
                    </a:lnTo>
                    <a:lnTo>
                      <a:pt x="0" y="222"/>
                    </a:lnTo>
                    <a:lnTo>
                      <a:pt x="0" y="222"/>
                    </a:lnTo>
                    <a:lnTo>
                      <a:pt x="4" y="217"/>
                    </a:lnTo>
                    <a:lnTo>
                      <a:pt x="6" y="215"/>
                    </a:lnTo>
                    <a:lnTo>
                      <a:pt x="6" y="212"/>
                    </a:lnTo>
                    <a:lnTo>
                      <a:pt x="6" y="212"/>
                    </a:lnTo>
                    <a:lnTo>
                      <a:pt x="4" y="209"/>
                    </a:lnTo>
                    <a:lnTo>
                      <a:pt x="4" y="207"/>
                    </a:lnTo>
                    <a:lnTo>
                      <a:pt x="4" y="200"/>
                    </a:lnTo>
                    <a:lnTo>
                      <a:pt x="7" y="195"/>
                    </a:lnTo>
                    <a:lnTo>
                      <a:pt x="7" y="195"/>
                    </a:lnTo>
                    <a:lnTo>
                      <a:pt x="6" y="196"/>
                    </a:lnTo>
                    <a:lnTo>
                      <a:pt x="6" y="196"/>
                    </a:lnTo>
                    <a:lnTo>
                      <a:pt x="7" y="195"/>
                    </a:lnTo>
                    <a:lnTo>
                      <a:pt x="7" y="195"/>
                    </a:lnTo>
                    <a:lnTo>
                      <a:pt x="8" y="192"/>
                    </a:lnTo>
                    <a:lnTo>
                      <a:pt x="11" y="191"/>
                    </a:lnTo>
                    <a:lnTo>
                      <a:pt x="14" y="189"/>
                    </a:lnTo>
                    <a:lnTo>
                      <a:pt x="14" y="189"/>
                    </a:lnTo>
                    <a:lnTo>
                      <a:pt x="14" y="188"/>
                    </a:lnTo>
                    <a:lnTo>
                      <a:pt x="14" y="188"/>
                    </a:lnTo>
                    <a:lnTo>
                      <a:pt x="15" y="189"/>
                    </a:lnTo>
                    <a:lnTo>
                      <a:pt x="15" y="189"/>
                    </a:lnTo>
                    <a:lnTo>
                      <a:pt x="15" y="189"/>
                    </a:lnTo>
                    <a:lnTo>
                      <a:pt x="11" y="184"/>
                    </a:lnTo>
                    <a:lnTo>
                      <a:pt x="11" y="180"/>
                    </a:lnTo>
                    <a:lnTo>
                      <a:pt x="11" y="180"/>
                    </a:lnTo>
                    <a:lnTo>
                      <a:pt x="8" y="177"/>
                    </a:lnTo>
                    <a:lnTo>
                      <a:pt x="6" y="172"/>
                    </a:lnTo>
                    <a:lnTo>
                      <a:pt x="6" y="171"/>
                    </a:lnTo>
                    <a:lnTo>
                      <a:pt x="6" y="171"/>
                    </a:lnTo>
                    <a:lnTo>
                      <a:pt x="6" y="167"/>
                    </a:lnTo>
                    <a:lnTo>
                      <a:pt x="7" y="164"/>
                    </a:lnTo>
                    <a:lnTo>
                      <a:pt x="7" y="163"/>
                    </a:lnTo>
                    <a:lnTo>
                      <a:pt x="7" y="159"/>
                    </a:lnTo>
                    <a:lnTo>
                      <a:pt x="14" y="152"/>
                    </a:lnTo>
                    <a:lnTo>
                      <a:pt x="14" y="152"/>
                    </a:lnTo>
                    <a:lnTo>
                      <a:pt x="14" y="152"/>
                    </a:lnTo>
                    <a:lnTo>
                      <a:pt x="15" y="151"/>
                    </a:lnTo>
                    <a:lnTo>
                      <a:pt x="16" y="151"/>
                    </a:lnTo>
                    <a:lnTo>
                      <a:pt x="16" y="151"/>
                    </a:lnTo>
                    <a:lnTo>
                      <a:pt x="19" y="151"/>
                    </a:lnTo>
                    <a:lnTo>
                      <a:pt x="19" y="151"/>
                    </a:lnTo>
                    <a:lnTo>
                      <a:pt x="21" y="151"/>
                    </a:lnTo>
                    <a:lnTo>
                      <a:pt x="21" y="151"/>
                    </a:lnTo>
                    <a:lnTo>
                      <a:pt x="24" y="151"/>
                    </a:lnTo>
                    <a:lnTo>
                      <a:pt x="24" y="151"/>
                    </a:lnTo>
                    <a:lnTo>
                      <a:pt x="21" y="152"/>
                    </a:lnTo>
                    <a:lnTo>
                      <a:pt x="20" y="155"/>
                    </a:lnTo>
                    <a:lnTo>
                      <a:pt x="24" y="152"/>
                    </a:lnTo>
                    <a:lnTo>
                      <a:pt x="24" y="152"/>
                    </a:lnTo>
                    <a:lnTo>
                      <a:pt x="24" y="151"/>
                    </a:lnTo>
                    <a:lnTo>
                      <a:pt x="24" y="151"/>
                    </a:lnTo>
                    <a:lnTo>
                      <a:pt x="24" y="152"/>
                    </a:lnTo>
                    <a:lnTo>
                      <a:pt x="24" y="151"/>
                    </a:lnTo>
                    <a:lnTo>
                      <a:pt x="23" y="144"/>
                    </a:lnTo>
                    <a:lnTo>
                      <a:pt x="23" y="144"/>
                    </a:lnTo>
                    <a:lnTo>
                      <a:pt x="24" y="140"/>
                    </a:lnTo>
                    <a:lnTo>
                      <a:pt x="28" y="138"/>
                    </a:lnTo>
                    <a:lnTo>
                      <a:pt x="33" y="134"/>
                    </a:lnTo>
                    <a:lnTo>
                      <a:pt x="33" y="134"/>
                    </a:lnTo>
                    <a:lnTo>
                      <a:pt x="39" y="131"/>
                    </a:lnTo>
                    <a:lnTo>
                      <a:pt x="43" y="130"/>
                    </a:lnTo>
                    <a:lnTo>
                      <a:pt x="43" y="130"/>
                    </a:lnTo>
                    <a:lnTo>
                      <a:pt x="45" y="127"/>
                    </a:lnTo>
                    <a:lnTo>
                      <a:pt x="45" y="125"/>
                    </a:lnTo>
                    <a:lnTo>
                      <a:pt x="45" y="125"/>
                    </a:lnTo>
                    <a:lnTo>
                      <a:pt x="47" y="119"/>
                    </a:lnTo>
                    <a:lnTo>
                      <a:pt x="47" y="119"/>
                    </a:lnTo>
                    <a:lnTo>
                      <a:pt x="44" y="114"/>
                    </a:lnTo>
                    <a:lnTo>
                      <a:pt x="43" y="107"/>
                    </a:lnTo>
                    <a:lnTo>
                      <a:pt x="43" y="107"/>
                    </a:lnTo>
                    <a:lnTo>
                      <a:pt x="43" y="102"/>
                    </a:lnTo>
                    <a:lnTo>
                      <a:pt x="40" y="98"/>
                    </a:lnTo>
                    <a:lnTo>
                      <a:pt x="45" y="89"/>
                    </a:lnTo>
                    <a:lnTo>
                      <a:pt x="47" y="89"/>
                    </a:lnTo>
                    <a:lnTo>
                      <a:pt x="47" y="89"/>
                    </a:lnTo>
                    <a:lnTo>
                      <a:pt x="48" y="88"/>
                    </a:lnTo>
                    <a:lnTo>
                      <a:pt x="48" y="78"/>
                    </a:lnTo>
                    <a:lnTo>
                      <a:pt x="48" y="78"/>
                    </a:lnTo>
                    <a:lnTo>
                      <a:pt x="48" y="76"/>
                    </a:lnTo>
                    <a:lnTo>
                      <a:pt x="49" y="73"/>
                    </a:lnTo>
                    <a:lnTo>
                      <a:pt x="52" y="72"/>
                    </a:lnTo>
                    <a:lnTo>
                      <a:pt x="53" y="70"/>
                    </a:lnTo>
                    <a:lnTo>
                      <a:pt x="56" y="70"/>
                    </a:lnTo>
                    <a:lnTo>
                      <a:pt x="57" y="70"/>
                    </a:lnTo>
                    <a:lnTo>
                      <a:pt x="57" y="70"/>
                    </a:lnTo>
                    <a:lnTo>
                      <a:pt x="65" y="66"/>
                    </a:lnTo>
                    <a:lnTo>
                      <a:pt x="68" y="65"/>
                    </a:lnTo>
                    <a:lnTo>
                      <a:pt x="68" y="65"/>
                    </a:lnTo>
                    <a:lnTo>
                      <a:pt x="66" y="66"/>
                    </a:lnTo>
                    <a:lnTo>
                      <a:pt x="65" y="68"/>
                    </a:lnTo>
                    <a:lnTo>
                      <a:pt x="68" y="65"/>
                    </a:lnTo>
                    <a:lnTo>
                      <a:pt x="69" y="65"/>
                    </a:lnTo>
                    <a:lnTo>
                      <a:pt x="69" y="65"/>
                    </a:lnTo>
                    <a:lnTo>
                      <a:pt x="69" y="65"/>
                    </a:lnTo>
                    <a:lnTo>
                      <a:pt x="69" y="65"/>
                    </a:lnTo>
                    <a:lnTo>
                      <a:pt x="68" y="65"/>
                    </a:lnTo>
                    <a:lnTo>
                      <a:pt x="69" y="64"/>
                    </a:lnTo>
                    <a:lnTo>
                      <a:pt x="69" y="64"/>
                    </a:lnTo>
                    <a:lnTo>
                      <a:pt x="72" y="64"/>
                    </a:lnTo>
                    <a:lnTo>
                      <a:pt x="72" y="64"/>
                    </a:lnTo>
                    <a:lnTo>
                      <a:pt x="77" y="65"/>
                    </a:lnTo>
                    <a:lnTo>
                      <a:pt x="77" y="65"/>
                    </a:lnTo>
                    <a:lnTo>
                      <a:pt x="77" y="64"/>
                    </a:lnTo>
                    <a:lnTo>
                      <a:pt x="77" y="64"/>
                    </a:lnTo>
                    <a:lnTo>
                      <a:pt x="78" y="60"/>
                    </a:lnTo>
                    <a:lnTo>
                      <a:pt x="84" y="57"/>
                    </a:lnTo>
                    <a:lnTo>
                      <a:pt x="84" y="57"/>
                    </a:lnTo>
                    <a:lnTo>
                      <a:pt x="99" y="57"/>
                    </a:lnTo>
                    <a:lnTo>
                      <a:pt x="99" y="57"/>
                    </a:lnTo>
                    <a:lnTo>
                      <a:pt x="105" y="58"/>
                    </a:lnTo>
                    <a:lnTo>
                      <a:pt x="109" y="60"/>
                    </a:lnTo>
                    <a:lnTo>
                      <a:pt x="111" y="65"/>
                    </a:lnTo>
                    <a:lnTo>
                      <a:pt x="111" y="65"/>
                    </a:lnTo>
                    <a:lnTo>
                      <a:pt x="113" y="66"/>
                    </a:lnTo>
                    <a:lnTo>
                      <a:pt x="114" y="69"/>
                    </a:lnTo>
                    <a:lnTo>
                      <a:pt x="114" y="72"/>
                    </a:lnTo>
                    <a:lnTo>
                      <a:pt x="114" y="72"/>
                    </a:lnTo>
                    <a:lnTo>
                      <a:pt x="115" y="76"/>
                    </a:lnTo>
                    <a:lnTo>
                      <a:pt x="117" y="78"/>
                    </a:lnTo>
                    <a:lnTo>
                      <a:pt x="117" y="78"/>
                    </a:lnTo>
                    <a:lnTo>
                      <a:pt x="117" y="80"/>
                    </a:lnTo>
                    <a:lnTo>
                      <a:pt x="117" y="80"/>
                    </a:lnTo>
                    <a:lnTo>
                      <a:pt x="117" y="80"/>
                    </a:lnTo>
                    <a:lnTo>
                      <a:pt x="117" y="80"/>
                    </a:lnTo>
                    <a:lnTo>
                      <a:pt x="115" y="80"/>
                    </a:lnTo>
                    <a:lnTo>
                      <a:pt x="114" y="81"/>
                    </a:lnTo>
                    <a:lnTo>
                      <a:pt x="114" y="81"/>
                    </a:lnTo>
                    <a:lnTo>
                      <a:pt x="113" y="84"/>
                    </a:lnTo>
                    <a:lnTo>
                      <a:pt x="114" y="86"/>
                    </a:lnTo>
                    <a:lnTo>
                      <a:pt x="118" y="81"/>
                    </a:lnTo>
                    <a:lnTo>
                      <a:pt x="119" y="86"/>
                    </a:lnTo>
                    <a:lnTo>
                      <a:pt x="119" y="86"/>
                    </a:lnTo>
                    <a:lnTo>
                      <a:pt x="119" y="84"/>
                    </a:lnTo>
                    <a:lnTo>
                      <a:pt x="119" y="81"/>
                    </a:lnTo>
                    <a:lnTo>
                      <a:pt x="119" y="81"/>
                    </a:lnTo>
                    <a:lnTo>
                      <a:pt x="118" y="80"/>
                    </a:lnTo>
                    <a:lnTo>
                      <a:pt x="119" y="78"/>
                    </a:lnTo>
                    <a:lnTo>
                      <a:pt x="119" y="78"/>
                    </a:lnTo>
                    <a:lnTo>
                      <a:pt x="119" y="78"/>
                    </a:lnTo>
                    <a:lnTo>
                      <a:pt x="122" y="77"/>
                    </a:lnTo>
                    <a:lnTo>
                      <a:pt x="123" y="77"/>
                    </a:lnTo>
                    <a:lnTo>
                      <a:pt x="123" y="76"/>
                    </a:lnTo>
                    <a:lnTo>
                      <a:pt x="126" y="70"/>
                    </a:lnTo>
                    <a:lnTo>
                      <a:pt x="126" y="70"/>
                    </a:lnTo>
                    <a:lnTo>
                      <a:pt x="129" y="68"/>
                    </a:lnTo>
                    <a:lnTo>
                      <a:pt x="130" y="65"/>
                    </a:lnTo>
                    <a:lnTo>
                      <a:pt x="130" y="65"/>
                    </a:lnTo>
                    <a:lnTo>
                      <a:pt x="131" y="64"/>
                    </a:lnTo>
                    <a:lnTo>
                      <a:pt x="131" y="62"/>
                    </a:lnTo>
                    <a:lnTo>
                      <a:pt x="130" y="57"/>
                    </a:lnTo>
                    <a:lnTo>
                      <a:pt x="130" y="57"/>
                    </a:lnTo>
                    <a:lnTo>
                      <a:pt x="127" y="49"/>
                    </a:lnTo>
                    <a:lnTo>
                      <a:pt x="134" y="43"/>
                    </a:lnTo>
                    <a:lnTo>
                      <a:pt x="134" y="43"/>
                    </a:lnTo>
                    <a:lnTo>
                      <a:pt x="134" y="43"/>
                    </a:lnTo>
                    <a:lnTo>
                      <a:pt x="134" y="43"/>
                    </a:lnTo>
                    <a:lnTo>
                      <a:pt x="135" y="43"/>
                    </a:lnTo>
                    <a:lnTo>
                      <a:pt x="135" y="43"/>
                    </a:lnTo>
                    <a:lnTo>
                      <a:pt x="138" y="41"/>
                    </a:lnTo>
                    <a:lnTo>
                      <a:pt x="140" y="41"/>
                    </a:lnTo>
                    <a:lnTo>
                      <a:pt x="140" y="41"/>
                    </a:lnTo>
                    <a:lnTo>
                      <a:pt x="140" y="41"/>
                    </a:lnTo>
                    <a:lnTo>
                      <a:pt x="146" y="43"/>
                    </a:lnTo>
                    <a:lnTo>
                      <a:pt x="148" y="47"/>
                    </a:lnTo>
                    <a:lnTo>
                      <a:pt x="148" y="47"/>
                    </a:lnTo>
                    <a:lnTo>
                      <a:pt x="152" y="44"/>
                    </a:lnTo>
                    <a:lnTo>
                      <a:pt x="158" y="43"/>
                    </a:lnTo>
                    <a:lnTo>
                      <a:pt x="158" y="43"/>
                    </a:lnTo>
                    <a:lnTo>
                      <a:pt x="164" y="44"/>
                    </a:lnTo>
                    <a:lnTo>
                      <a:pt x="170" y="47"/>
                    </a:lnTo>
                    <a:lnTo>
                      <a:pt x="170" y="47"/>
                    </a:lnTo>
                    <a:lnTo>
                      <a:pt x="174" y="49"/>
                    </a:lnTo>
                    <a:lnTo>
                      <a:pt x="174" y="49"/>
                    </a:lnTo>
                    <a:lnTo>
                      <a:pt x="174" y="45"/>
                    </a:lnTo>
                    <a:lnTo>
                      <a:pt x="174" y="45"/>
                    </a:lnTo>
                    <a:lnTo>
                      <a:pt x="174" y="44"/>
                    </a:lnTo>
                    <a:lnTo>
                      <a:pt x="174" y="44"/>
                    </a:lnTo>
                    <a:lnTo>
                      <a:pt x="175" y="47"/>
                    </a:lnTo>
                    <a:lnTo>
                      <a:pt x="179" y="48"/>
                    </a:lnTo>
                    <a:lnTo>
                      <a:pt x="172" y="41"/>
                    </a:lnTo>
                    <a:lnTo>
                      <a:pt x="172" y="40"/>
                    </a:lnTo>
                    <a:lnTo>
                      <a:pt x="175" y="36"/>
                    </a:lnTo>
                    <a:lnTo>
                      <a:pt x="175" y="36"/>
                    </a:lnTo>
                    <a:lnTo>
                      <a:pt x="176" y="33"/>
                    </a:lnTo>
                    <a:lnTo>
                      <a:pt x="176" y="33"/>
                    </a:lnTo>
                    <a:lnTo>
                      <a:pt x="181" y="28"/>
                    </a:lnTo>
                    <a:lnTo>
                      <a:pt x="185" y="27"/>
                    </a:lnTo>
                    <a:lnTo>
                      <a:pt x="189" y="25"/>
                    </a:lnTo>
                    <a:lnTo>
                      <a:pt x="189" y="25"/>
                    </a:lnTo>
                    <a:lnTo>
                      <a:pt x="193" y="27"/>
                    </a:lnTo>
                    <a:lnTo>
                      <a:pt x="193" y="27"/>
                    </a:lnTo>
                    <a:lnTo>
                      <a:pt x="196" y="25"/>
                    </a:lnTo>
                    <a:lnTo>
                      <a:pt x="196" y="25"/>
                    </a:lnTo>
                    <a:lnTo>
                      <a:pt x="199" y="24"/>
                    </a:lnTo>
                    <a:lnTo>
                      <a:pt x="201" y="24"/>
                    </a:lnTo>
                    <a:lnTo>
                      <a:pt x="203" y="24"/>
                    </a:lnTo>
                    <a:lnTo>
                      <a:pt x="203" y="24"/>
                    </a:lnTo>
                    <a:lnTo>
                      <a:pt x="203" y="24"/>
                    </a:lnTo>
                    <a:lnTo>
                      <a:pt x="204" y="24"/>
                    </a:lnTo>
                    <a:lnTo>
                      <a:pt x="204" y="24"/>
                    </a:lnTo>
                    <a:lnTo>
                      <a:pt x="211" y="19"/>
                    </a:lnTo>
                    <a:lnTo>
                      <a:pt x="216" y="12"/>
                    </a:lnTo>
                    <a:lnTo>
                      <a:pt x="216" y="12"/>
                    </a:lnTo>
                    <a:lnTo>
                      <a:pt x="225" y="2"/>
                    </a:lnTo>
                    <a:lnTo>
                      <a:pt x="229" y="0"/>
                    </a:lnTo>
                    <a:lnTo>
                      <a:pt x="230" y="0"/>
                    </a:lnTo>
                    <a:lnTo>
                      <a:pt x="233" y="0"/>
                    </a:lnTo>
                    <a:lnTo>
                      <a:pt x="233" y="0"/>
                    </a:lnTo>
                    <a:lnTo>
                      <a:pt x="237" y="3"/>
                    </a:lnTo>
                    <a:lnTo>
                      <a:pt x="237" y="3"/>
                    </a:lnTo>
                    <a:lnTo>
                      <a:pt x="238" y="4"/>
                    </a:lnTo>
                    <a:lnTo>
                      <a:pt x="240" y="4"/>
                    </a:lnTo>
                    <a:lnTo>
                      <a:pt x="241" y="4"/>
                    </a:lnTo>
                    <a:lnTo>
                      <a:pt x="242" y="4"/>
                    </a:lnTo>
                    <a:lnTo>
                      <a:pt x="242" y="4"/>
                    </a:lnTo>
                    <a:lnTo>
                      <a:pt x="249" y="7"/>
                    </a:lnTo>
                    <a:lnTo>
                      <a:pt x="254" y="11"/>
                    </a:lnTo>
                    <a:lnTo>
                      <a:pt x="254" y="11"/>
                    </a:lnTo>
                    <a:lnTo>
                      <a:pt x="261" y="14"/>
                    </a:lnTo>
                    <a:lnTo>
                      <a:pt x="261" y="14"/>
                    </a:lnTo>
                    <a:lnTo>
                      <a:pt x="261" y="15"/>
                    </a:lnTo>
                    <a:lnTo>
                      <a:pt x="261" y="15"/>
                    </a:lnTo>
                    <a:lnTo>
                      <a:pt x="262" y="15"/>
                    </a:lnTo>
                    <a:lnTo>
                      <a:pt x="262" y="15"/>
                    </a:lnTo>
                    <a:lnTo>
                      <a:pt x="263" y="16"/>
                    </a:lnTo>
                    <a:lnTo>
                      <a:pt x="263" y="16"/>
                    </a:lnTo>
                    <a:lnTo>
                      <a:pt x="263" y="16"/>
                    </a:lnTo>
                    <a:lnTo>
                      <a:pt x="267" y="19"/>
                    </a:lnTo>
                    <a:lnTo>
                      <a:pt x="269" y="21"/>
                    </a:lnTo>
                    <a:lnTo>
                      <a:pt x="269" y="21"/>
                    </a:lnTo>
                    <a:lnTo>
                      <a:pt x="274" y="20"/>
                    </a:lnTo>
                    <a:lnTo>
                      <a:pt x="277" y="20"/>
                    </a:lnTo>
                    <a:lnTo>
                      <a:pt x="278" y="21"/>
                    </a:lnTo>
                    <a:lnTo>
                      <a:pt x="278" y="21"/>
                    </a:lnTo>
                    <a:lnTo>
                      <a:pt x="282" y="24"/>
                    </a:lnTo>
                    <a:lnTo>
                      <a:pt x="285" y="29"/>
                    </a:lnTo>
                    <a:lnTo>
                      <a:pt x="285" y="29"/>
                    </a:lnTo>
                    <a:lnTo>
                      <a:pt x="282" y="27"/>
                    </a:lnTo>
                    <a:lnTo>
                      <a:pt x="282" y="28"/>
                    </a:lnTo>
                    <a:lnTo>
                      <a:pt x="282" y="28"/>
                    </a:lnTo>
                    <a:lnTo>
                      <a:pt x="283" y="29"/>
                    </a:lnTo>
                    <a:lnTo>
                      <a:pt x="283" y="29"/>
                    </a:lnTo>
                    <a:lnTo>
                      <a:pt x="286" y="29"/>
                    </a:lnTo>
                    <a:lnTo>
                      <a:pt x="286" y="29"/>
                    </a:lnTo>
                    <a:lnTo>
                      <a:pt x="293" y="29"/>
                    </a:lnTo>
                    <a:lnTo>
                      <a:pt x="298" y="31"/>
                    </a:lnTo>
                    <a:lnTo>
                      <a:pt x="306" y="36"/>
                    </a:lnTo>
                    <a:lnTo>
                      <a:pt x="308" y="36"/>
                    </a:lnTo>
                    <a:lnTo>
                      <a:pt x="310" y="36"/>
                    </a:lnTo>
                    <a:lnTo>
                      <a:pt x="310" y="36"/>
                    </a:lnTo>
                    <a:lnTo>
                      <a:pt x="311" y="35"/>
                    </a:lnTo>
                    <a:lnTo>
                      <a:pt x="311" y="35"/>
                    </a:lnTo>
                    <a:lnTo>
                      <a:pt x="315" y="37"/>
                    </a:lnTo>
                    <a:lnTo>
                      <a:pt x="318" y="40"/>
                    </a:lnTo>
                    <a:lnTo>
                      <a:pt x="318" y="40"/>
                    </a:lnTo>
                    <a:lnTo>
                      <a:pt x="319" y="41"/>
                    </a:lnTo>
                    <a:lnTo>
                      <a:pt x="319" y="41"/>
                    </a:lnTo>
                    <a:lnTo>
                      <a:pt x="319" y="41"/>
                    </a:lnTo>
                    <a:lnTo>
                      <a:pt x="319" y="41"/>
                    </a:lnTo>
                    <a:lnTo>
                      <a:pt x="320" y="39"/>
                    </a:lnTo>
                    <a:lnTo>
                      <a:pt x="320" y="39"/>
                    </a:lnTo>
                    <a:lnTo>
                      <a:pt x="324" y="35"/>
                    </a:lnTo>
                    <a:lnTo>
                      <a:pt x="328" y="33"/>
                    </a:lnTo>
                    <a:lnTo>
                      <a:pt x="330" y="33"/>
                    </a:lnTo>
                    <a:lnTo>
                      <a:pt x="332" y="33"/>
                    </a:lnTo>
                    <a:lnTo>
                      <a:pt x="332" y="33"/>
                    </a:lnTo>
                    <a:lnTo>
                      <a:pt x="336" y="36"/>
                    </a:lnTo>
                    <a:lnTo>
                      <a:pt x="339" y="40"/>
                    </a:lnTo>
                    <a:lnTo>
                      <a:pt x="339" y="40"/>
                    </a:lnTo>
                    <a:lnTo>
                      <a:pt x="339" y="41"/>
                    </a:lnTo>
                    <a:lnTo>
                      <a:pt x="343" y="41"/>
                    </a:lnTo>
                    <a:lnTo>
                      <a:pt x="345" y="41"/>
                    </a:lnTo>
                    <a:lnTo>
                      <a:pt x="345" y="41"/>
                    </a:lnTo>
                    <a:lnTo>
                      <a:pt x="348" y="44"/>
                    </a:lnTo>
                    <a:lnTo>
                      <a:pt x="348" y="44"/>
                    </a:lnTo>
                    <a:lnTo>
                      <a:pt x="351" y="45"/>
                    </a:lnTo>
                    <a:lnTo>
                      <a:pt x="352" y="45"/>
                    </a:lnTo>
                    <a:lnTo>
                      <a:pt x="353" y="45"/>
                    </a:lnTo>
                    <a:lnTo>
                      <a:pt x="353" y="45"/>
                    </a:lnTo>
                    <a:lnTo>
                      <a:pt x="355" y="44"/>
                    </a:lnTo>
                    <a:lnTo>
                      <a:pt x="355" y="44"/>
                    </a:lnTo>
                    <a:lnTo>
                      <a:pt x="353" y="45"/>
                    </a:lnTo>
                    <a:lnTo>
                      <a:pt x="359" y="43"/>
                    </a:lnTo>
                    <a:lnTo>
                      <a:pt x="360" y="43"/>
                    </a:lnTo>
                    <a:lnTo>
                      <a:pt x="361" y="43"/>
                    </a:lnTo>
                    <a:lnTo>
                      <a:pt x="361" y="43"/>
                    </a:lnTo>
                    <a:lnTo>
                      <a:pt x="360" y="43"/>
                    </a:lnTo>
                    <a:lnTo>
                      <a:pt x="367" y="37"/>
                    </a:lnTo>
                    <a:lnTo>
                      <a:pt x="367" y="37"/>
                    </a:lnTo>
                    <a:lnTo>
                      <a:pt x="367" y="37"/>
                    </a:lnTo>
                    <a:lnTo>
                      <a:pt x="372" y="36"/>
                    </a:lnTo>
                    <a:lnTo>
                      <a:pt x="376" y="35"/>
                    </a:lnTo>
                    <a:lnTo>
                      <a:pt x="376" y="35"/>
                    </a:lnTo>
                    <a:lnTo>
                      <a:pt x="380" y="35"/>
                    </a:lnTo>
                    <a:lnTo>
                      <a:pt x="380" y="35"/>
                    </a:lnTo>
                    <a:lnTo>
                      <a:pt x="378" y="35"/>
                    </a:lnTo>
                    <a:lnTo>
                      <a:pt x="382" y="33"/>
                    </a:lnTo>
                    <a:lnTo>
                      <a:pt x="382" y="33"/>
                    </a:lnTo>
                    <a:lnTo>
                      <a:pt x="385" y="29"/>
                    </a:lnTo>
                    <a:lnTo>
                      <a:pt x="389" y="27"/>
                    </a:lnTo>
                    <a:lnTo>
                      <a:pt x="389" y="27"/>
                    </a:lnTo>
                    <a:lnTo>
                      <a:pt x="392" y="25"/>
                    </a:lnTo>
                    <a:lnTo>
                      <a:pt x="392" y="25"/>
                    </a:lnTo>
                    <a:lnTo>
                      <a:pt x="396" y="20"/>
                    </a:lnTo>
                    <a:lnTo>
                      <a:pt x="396" y="20"/>
                    </a:lnTo>
                    <a:lnTo>
                      <a:pt x="393" y="21"/>
                    </a:lnTo>
                    <a:lnTo>
                      <a:pt x="392" y="24"/>
                    </a:lnTo>
                    <a:lnTo>
                      <a:pt x="392" y="24"/>
                    </a:lnTo>
                    <a:lnTo>
                      <a:pt x="392" y="23"/>
                    </a:lnTo>
                    <a:lnTo>
                      <a:pt x="392" y="23"/>
                    </a:lnTo>
                    <a:lnTo>
                      <a:pt x="393" y="19"/>
                    </a:lnTo>
                    <a:lnTo>
                      <a:pt x="394" y="16"/>
                    </a:lnTo>
                    <a:lnTo>
                      <a:pt x="397" y="15"/>
                    </a:lnTo>
                    <a:lnTo>
                      <a:pt x="400" y="14"/>
                    </a:lnTo>
                    <a:lnTo>
                      <a:pt x="400" y="14"/>
                    </a:lnTo>
                    <a:lnTo>
                      <a:pt x="401" y="14"/>
                    </a:lnTo>
                    <a:lnTo>
                      <a:pt x="401" y="14"/>
                    </a:lnTo>
                    <a:lnTo>
                      <a:pt x="408" y="15"/>
                    </a:lnTo>
                    <a:lnTo>
                      <a:pt x="412" y="19"/>
                    </a:lnTo>
                    <a:lnTo>
                      <a:pt x="414" y="23"/>
                    </a:lnTo>
                    <a:lnTo>
                      <a:pt x="415" y="25"/>
                    </a:lnTo>
                    <a:lnTo>
                      <a:pt x="415" y="25"/>
                    </a:lnTo>
                    <a:lnTo>
                      <a:pt x="417" y="28"/>
                    </a:lnTo>
                    <a:lnTo>
                      <a:pt x="418" y="28"/>
                    </a:lnTo>
                    <a:lnTo>
                      <a:pt x="418" y="28"/>
                    </a:lnTo>
                    <a:lnTo>
                      <a:pt x="421" y="31"/>
                    </a:lnTo>
                    <a:lnTo>
                      <a:pt x="422" y="32"/>
                    </a:lnTo>
                    <a:lnTo>
                      <a:pt x="422" y="32"/>
                    </a:lnTo>
                    <a:lnTo>
                      <a:pt x="427" y="37"/>
                    </a:lnTo>
                    <a:lnTo>
                      <a:pt x="427" y="37"/>
                    </a:lnTo>
                    <a:lnTo>
                      <a:pt x="430" y="39"/>
                    </a:lnTo>
                    <a:lnTo>
                      <a:pt x="430" y="39"/>
                    </a:lnTo>
                    <a:lnTo>
                      <a:pt x="433" y="40"/>
                    </a:lnTo>
                    <a:lnTo>
                      <a:pt x="435" y="41"/>
                    </a:lnTo>
                    <a:lnTo>
                      <a:pt x="435" y="41"/>
                    </a:lnTo>
                    <a:lnTo>
                      <a:pt x="437" y="44"/>
                    </a:lnTo>
                    <a:lnTo>
                      <a:pt x="437" y="48"/>
                    </a:lnTo>
                    <a:lnTo>
                      <a:pt x="437" y="48"/>
                    </a:lnTo>
                    <a:lnTo>
                      <a:pt x="435" y="45"/>
                    </a:lnTo>
                    <a:lnTo>
                      <a:pt x="434" y="44"/>
                    </a:lnTo>
                    <a:lnTo>
                      <a:pt x="433" y="44"/>
                    </a:lnTo>
                    <a:lnTo>
                      <a:pt x="433" y="44"/>
                    </a:lnTo>
                    <a:lnTo>
                      <a:pt x="438" y="49"/>
                    </a:lnTo>
                    <a:lnTo>
                      <a:pt x="438" y="52"/>
                    </a:lnTo>
                    <a:lnTo>
                      <a:pt x="438" y="52"/>
                    </a:lnTo>
                    <a:lnTo>
                      <a:pt x="441" y="55"/>
                    </a:lnTo>
                    <a:lnTo>
                      <a:pt x="441" y="58"/>
                    </a:lnTo>
                    <a:lnTo>
                      <a:pt x="441" y="61"/>
                    </a:lnTo>
                    <a:lnTo>
                      <a:pt x="437" y="66"/>
                    </a:lnTo>
                    <a:lnTo>
                      <a:pt x="438" y="66"/>
                    </a:lnTo>
                    <a:lnTo>
                      <a:pt x="438" y="66"/>
                    </a:lnTo>
                    <a:lnTo>
                      <a:pt x="439" y="64"/>
                    </a:lnTo>
                    <a:lnTo>
                      <a:pt x="439" y="64"/>
                    </a:lnTo>
                    <a:lnTo>
                      <a:pt x="439" y="64"/>
                    </a:lnTo>
                    <a:lnTo>
                      <a:pt x="439" y="64"/>
                    </a:lnTo>
                    <a:lnTo>
                      <a:pt x="439" y="66"/>
                    </a:lnTo>
                    <a:lnTo>
                      <a:pt x="439" y="68"/>
                    </a:lnTo>
                    <a:lnTo>
                      <a:pt x="437" y="74"/>
                    </a:lnTo>
                    <a:lnTo>
                      <a:pt x="437" y="74"/>
                    </a:lnTo>
                    <a:lnTo>
                      <a:pt x="438" y="73"/>
                    </a:lnTo>
                    <a:lnTo>
                      <a:pt x="438" y="72"/>
                    </a:lnTo>
                    <a:lnTo>
                      <a:pt x="438" y="72"/>
                    </a:lnTo>
                    <a:lnTo>
                      <a:pt x="438" y="74"/>
                    </a:lnTo>
                    <a:lnTo>
                      <a:pt x="438" y="74"/>
                    </a:lnTo>
                    <a:lnTo>
                      <a:pt x="438" y="81"/>
                    </a:lnTo>
                    <a:lnTo>
                      <a:pt x="438" y="82"/>
                    </a:lnTo>
                    <a:lnTo>
                      <a:pt x="435" y="88"/>
                    </a:lnTo>
                    <a:lnTo>
                      <a:pt x="435" y="88"/>
                    </a:lnTo>
                    <a:lnTo>
                      <a:pt x="437" y="86"/>
                    </a:lnTo>
                    <a:lnTo>
                      <a:pt x="437" y="85"/>
                    </a:lnTo>
                    <a:lnTo>
                      <a:pt x="437" y="85"/>
                    </a:lnTo>
                    <a:lnTo>
                      <a:pt x="437" y="89"/>
                    </a:lnTo>
                    <a:lnTo>
                      <a:pt x="437" y="89"/>
                    </a:lnTo>
                    <a:lnTo>
                      <a:pt x="437" y="94"/>
                    </a:lnTo>
                    <a:lnTo>
                      <a:pt x="437" y="97"/>
                    </a:lnTo>
                    <a:lnTo>
                      <a:pt x="437" y="99"/>
                    </a:lnTo>
                    <a:lnTo>
                      <a:pt x="437" y="99"/>
                    </a:lnTo>
                    <a:lnTo>
                      <a:pt x="435" y="107"/>
                    </a:lnTo>
                    <a:lnTo>
                      <a:pt x="437" y="115"/>
                    </a:lnTo>
                    <a:lnTo>
                      <a:pt x="437" y="118"/>
                    </a:lnTo>
                    <a:lnTo>
                      <a:pt x="437" y="119"/>
                    </a:lnTo>
                    <a:lnTo>
                      <a:pt x="437" y="119"/>
                    </a:lnTo>
                    <a:lnTo>
                      <a:pt x="439" y="127"/>
                    </a:lnTo>
                    <a:lnTo>
                      <a:pt x="443" y="133"/>
                    </a:lnTo>
                    <a:lnTo>
                      <a:pt x="453" y="143"/>
                    </a:lnTo>
                    <a:lnTo>
                      <a:pt x="453" y="143"/>
                    </a:lnTo>
                    <a:lnTo>
                      <a:pt x="463" y="156"/>
                    </a:lnTo>
                    <a:lnTo>
                      <a:pt x="464" y="159"/>
                    </a:lnTo>
                    <a:lnTo>
                      <a:pt x="464" y="159"/>
                    </a:lnTo>
                    <a:lnTo>
                      <a:pt x="466" y="166"/>
                    </a:lnTo>
                    <a:lnTo>
                      <a:pt x="467" y="172"/>
                    </a:lnTo>
                    <a:lnTo>
                      <a:pt x="468" y="185"/>
                    </a:lnTo>
                    <a:lnTo>
                      <a:pt x="468" y="185"/>
                    </a:lnTo>
                    <a:lnTo>
                      <a:pt x="470" y="200"/>
                    </a:lnTo>
                    <a:lnTo>
                      <a:pt x="471" y="205"/>
                    </a:lnTo>
                    <a:lnTo>
                      <a:pt x="474" y="211"/>
                    </a:lnTo>
                    <a:lnTo>
                      <a:pt x="475" y="212"/>
                    </a:lnTo>
                    <a:lnTo>
                      <a:pt x="475" y="212"/>
                    </a:lnTo>
                    <a:lnTo>
                      <a:pt x="478" y="218"/>
                    </a:lnTo>
                    <a:lnTo>
                      <a:pt x="478" y="218"/>
                    </a:lnTo>
                    <a:lnTo>
                      <a:pt x="480" y="228"/>
                    </a:lnTo>
                    <a:lnTo>
                      <a:pt x="483" y="237"/>
                    </a:lnTo>
                    <a:lnTo>
                      <a:pt x="483" y="237"/>
                    </a:lnTo>
                    <a:lnTo>
                      <a:pt x="487" y="242"/>
                    </a:lnTo>
                    <a:lnTo>
                      <a:pt x="493" y="246"/>
                    </a:lnTo>
                    <a:lnTo>
                      <a:pt x="493" y="246"/>
                    </a:lnTo>
                    <a:lnTo>
                      <a:pt x="501" y="253"/>
                    </a:lnTo>
                    <a:lnTo>
                      <a:pt x="505" y="257"/>
                    </a:lnTo>
                    <a:lnTo>
                      <a:pt x="509" y="261"/>
                    </a:lnTo>
                    <a:lnTo>
                      <a:pt x="503" y="270"/>
                    </a:lnTo>
                    <a:lnTo>
                      <a:pt x="503" y="270"/>
                    </a:lnTo>
                    <a:lnTo>
                      <a:pt x="499" y="270"/>
                    </a:lnTo>
                    <a:lnTo>
                      <a:pt x="499" y="270"/>
                    </a:lnTo>
                    <a:lnTo>
                      <a:pt x="493" y="270"/>
                    </a:lnTo>
                    <a:lnTo>
                      <a:pt x="492" y="271"/>
                    </a:lnTo>
                    <a:lnTo>
                      <a:pt x="483" y="270"/>
                    </a:lnTo>
                    <a:lnTo>
                      <a:pt x="483" y="270"/>
                    </a:lnTo>
                    <a:lnTo>
                      <a:pt x="483" y="269"/>
                    </a:lnTo>
                    <a:lnTo>
                      <a:pt x="480" y="269"/>
                    </a:lnTo>
                    <a:lnTo>
                      <a:pt x="480" y="269"/>
                    </a:lnTo>
                    <a:lnTo>
                      <a:pt x="476" y="271"/>
                    </a:lnTo>
                    <a:lnTo>
                      <a:pt x="472" y="275"/>
                    </a:lnTo>
                    <a:lnTo>
                      <a:pt x="472" y="278"/>
                    </a:lnTo>
                    <a:lnTo>
                      <a:pt x="472" y="278"/>
                    </a:lnTo>
                    <a:lnTo>
                      <a:pt x="472" y="282"/>
                    </a:lnTo>
                    <a:lnTo>
                      <a:pt x="471" y="285"/>
                    </a:lnTo>
                    <a:lnTo>
                      <a:pt x="471" y="285"/>
                    </a:lnTo>
                    <a:lnTo>
                      <a:pt x="468" y="286"/>
                    </a:lnTo>
                    <a:lnTo>
                      <a:pt x="466" y="287"/>
                    </a:lnTo>
                    <a:lnTo>
                      <a:pt x="462" y="287"/>
                    </a:lnTo>
                    <a:lnTo>
                      <a:pt x="462" y="287"/>
                    </a:lnTo>
                    <a:lnTo>
                      <a:pt x="459" y="287"/>
                    </a:lnTo>
                    <a:lnTo>
                      <a:pt x="458" y="287"/>
                    </a:lnTo>
                    <a:lnTo>
                      <a:pt x="451" y="282"/>
                    </a:lnTo>
                    <a:lnTo>
                      <a:pt x="451" y="281"/>
                    </a:lnTo>
                    <a:lnTo>
                      <a:pt x="451" y="281"/>
                    </a:lnTo>
                    <a:lnTo>
                      <a:pt x="451" y="279"/>
                    </a:lnTo>
                    <a:lnTo>
                      <a:pt x="451" y="279"/>
                    </a:lnTo>
                    <a:lnTo>
                      <a:pt x="451" y="279"/>
                    </a:lnTo>
                    <a:lnTo>
                      <a:pt x="450" y="275"/>
                    </a:lnTo>
                    <a:lnTo>
                      <a:pt x="450" y="275"/>
                    </a:lnTo>
                    <a:lnTo>
                      <a:pt x="450" y="275"/>
                    </a:lnTo>
                    <a:lnTo>
                      <a:pt x="450" y="275"/>
                    </a:lnTo>
                    <a:lnTo>
                      <a:pt x="453" y="277"/>
                    </a:lnTo>
                    <a:lnTo>
                      <a:pt x="449" y="273"/>
                    </a:lnTo>
                    <a:lnTo>
                      <a:pt x="449" y="273"/>
                    </a:lnTo>
                    <a:lnTo>
                      <a:pt x="450" y="271"/>
                    </a:lnTo>
                    <a:lnTo>
                      <a:pt x="449" y="273"/>
                    </a:lnTo>
                    <a:lnTo>
                      <a:pt x="447" y="271"/>
                    </a:lnTo>
                    <a:lnTo>
                      <a:pt x="447" y="271"/>
                    </a:lnTo>
                    <a:lnTo>
                      <a:pt x="447" y="273"/>
                    </a:lnTo>
                    <a:lnTo>
                      <a:pt x="443" y="277"/>
                    </a:lnTo>
                    <a:lnTo>
                      <a:pt x="442" y="277"/>
                    </a:lnTo>
                    <a:lnTo>
                      <a:pt x="442" y="277"/>
                    </a:lnTo>
                    <a:lnTo>
                      <a:pt x="442" y="278"/>
                    </a:lnTo>
                    <a:lnTo>
                      <a:pt x="442" y="278"/>
                    </a:lnTo>
                    <a:lnTo>
                      <a:pt x="439" y="281"/>
                    </a:lnTo>
                    <a:lnTo>
                      <a:pt x="437" y="283"/>
                    </a:lnTo>
                    <a:lnTo>
                      <a:pt x="434" y="283"/>
                    </a:lnTo>
                    <a:lnTo>
                      <a:pt x="426" y="279"/>
                    </a:lnTo>
                    <a:lnTo>
                      <a:pt x="426" y="279"/>
                    </a:lnTo>
                    <a:lnTo>
                      <a:pt x="427" y="281"/>
                    </a:lnTo>
                    <a:lnTo>
                      <a:pt x="427" y="281"/>
                    </a:lnTo>
                    <a:lnTo>
                      <a:pt x="425" y="278"/>
                    </a:lnTo>
                    <a:lnTo>
                      <a:pt x="425" y="278"/>
                    </a:lnTo>
                    <a:lnTo>
                      <a:pt x="426" y="278"/>
                    </a:lnTo>
                    <a:lnTo>
                      <a:pt x="426" y="278"/>
                    </a:lnTo>
                    <a:lnTo>
                      <a:pt x="427" y="278"/>
                    </a:lnTo>
                    <a:lnTo>
                      <a:pt x="426" y="277"/>
                    </a:lnTo>
                    <a:lnTo>
                      <a:pt x="425" y="278"/>
                    </a:lnTo>
                    <a:lnTo>
                      <a:pt x="425" y="278"/>
                    </a:lnTo>
                    <a:lnTo>
                      <a:pt x="423" y="275"/>
                    </a:lnTo>
                    <a:lnTo>
                      <a:pt x="425" y="275"/>
                    </a:lnTo>
                    <a:lnTo>
                      <a:pt x="423" y="271"/>
                    </a:lnTo>
                    <a:lnTo>
                      <a:pt x="423" y="271"/>
                    </a:lnTo>
                    <a:lnTo>
                      <a:pt x="423" y="275"/>
                    </a:lnTo>
                    <a:lnTo>
                      <a:pt x="425" y="278"/>
                    </a:lnTo>
                    <a:lnTo>
                      <a:pt x="425" y="278"/>
                    </a:lnTo>
                    <a:lnTo>
                      <a:pt x="425" y="278"/>
                    </a:lnTo>
                    <a:lnTo>
                      <a:pt x="425" y="278"/>
                    </a:lnTo>
                    <a:lnTo>
                      <a:pt x="426" y="279"/>
                    </a:lnTo>
                    <a:lnTo>
                      <a:pt x="426" y="279"/>
                    </a:lnTo>
                    <a:lnTo>
                      <a:pt x="423" y="281"/>
                    </a:lnTo>
                    <a:lnTo>
                      <a:pt x="423" y="281"/>
                    </a:lnTo>
                    <a:lnTo>
                      <a:pt x="422" y="282"/>
                    </a:lnTo>
                    <a:lnTo>
                      <a:pt x="418" y="283"/>
                    </a:lnTo>
                    <a:lnTo>
                      <a:pt x="418" y="283"/>
                    </a:lnTo>
                    <a:lnTo>
                      <a:pt x="414" y="282"/>
                    </a:lnTo>
                    <a:lnTo>
                      <a:pt x="412" y="281"/>
                    </a:lnTo>
                    <a:lnTo>
                      <a:pt x="412" y="281"/>
                    </a:lnTo>
                    <a:lnTo>
                      <a:pt x="409" y="281"/>
                    </a:lnTo>
                    <a:lnTo>
                      <a:pt x="408" y="279"/>
                    </a:lnTo>
                    <a:lnTo>
                      <a:pt x="408" y="279"/>
                    </a:lnTo>
                    <a:lnTo>
                      <a:pt x="408" y="279"/>
                    </a:lnTo>
                    <a:lnTo>
                      <a:pt x="406" y="278"/>
                    </a:lnTo>
                    <a:lnTo>
                      <a:pt x="406" y="278"/>
                    </a:lnTo>
                    <a:lnTo>
                      <a:pt x="402" y="277"/>
                    </a:lnTo>
                    <a:lnTo>
                      <a:pt x="402" y="277"/>
                    </a:lnTo>
                    <a:lnTo>
                      <a:pt x="405" y="278"/>
                    </a:lnTo>
                    <a:lnTo>
                      <a:pt x="400" y="275"/>
                    </a:lnTo>
                    <a:lnTo>
                      <a:pt x="400" y="275"/>
                    </a:lnTo>
                    <a:lnTo>
                      <a:pt x="398" y="274"/>
                    </a:lnTo>
                    <a:lnTo>
                      <a:pt x="398" y="274"/>
                    </a:lnTo>
                    <a:lnTo>
                      <a:pt x="397" y="275"/>
                    </a:lnTo>
                    <a:lnTo>
                      <a:pt x="396" y="279"/>
                    </a:lnTo>
                    <a:lnTo>
                      <a:pt x="393" y="283"/>
                    </a:lnTo>
                    <a:lnTo>
                      <a:pt x="393" y="283"/>
                    </a:lnTo>
                    <a:lnTo>
                      <a:pt x="390" y="285"/>
                    </a:lnTo>
                    <a:lnTo>
                      <a:pt x="385" y="285"/>
                    </a:lnTo>
                    <a:lnTo>
                      <a:pt x="381" y="282"/>
                    </a:lnTo>
                    <a:lnTo>
                      <a:pt x="381" y="282"/>
                    </a:lnTo>
                    <a:lnTo>
                      <a:pt x="377" y="285"/>
                    </a:lnTo>
                    <a:lnTo>
                      <a:pt x="377" y="285"/>
                    </a:lnTo>
                    <a:lnTo>
                      <a:pt x="373" y="287"/>
                    </a:lnTo>
                    <a:lnTo>
                      <a:pt x="373" y="287"/>
                    </a:lnTo>
                    <a:lnTo>
                      <a:pt x="373" y="287"/>
                    </a:lnTo>
                    <a:lnTo>
                      <a:pt x="371" y="289"/>
                    </a:lnTo>
                    <a:lnTo>
                      <a:pt x="368" y="289"/>
                    </a:lnTo>
                    <a:lnTo>
                      <a:pt x="364" y="289"/>
                    </a:lnTo>
                    <a:lnTo>
                      <a:pt x="361" y="286"/>
                    </a:lnTo>
                    <a:lnTo>
                      <a:pt x="361" y="286"/>
                    </a:lnTo>
                    <a:lnTo>
                      <a:pt x="363" y="283"/>
                    </a:lnTo>
                    <a:lnTo>
                      <a:pt x="360" y="285"/>
                    </a:lnTo>
                    <a:lnTo>
                      <a:pt x="359" y="282"/>
                    </a:lnTo>
                    <a:lnTo>
                      <a:pt x="359" y="282"/>
                    </a:lnTo>
                    <a:lnTo>
                      <a:pt x="359" y="283"/>
                    </a:lnTo>
                    <a:lnTo>
                      <a:pt x="359" y="286"/>
                    </a:lnTo>
                    <a:lnTo>
                      <a:pt x="356" y="287"/>
                    </a:lnTo>
                    <a:lnTo>
                      <a:pt x="356" y="287"/>
                    </a:lnTo>
                    <a:lnTo>
                      <a:pt x="356" y="287"/>
                    </a:lnTo>
                    <a:lnTo>
                      <a:pt x="356" y="287"/>
                    </a:lnTo>
                    <a:lnTo>
                      <a:pt x="357" y="287"/>
                    </a:lnTo>
                    <a:lnTo>
                      <a:pt x="360" y="286"/>
                    </a:lnTo>
                    <a:lnTo>
                      <a:pt x="360" y="286"/>
                    </a:lnTo>
                    <a:lnTo>
                      <a:pt x="360" y="286"/>
                    </a:lnTo>
                    <a:lnTo>
                      <a:pt x="360" y="286"/>
                    </a:lnTo>
                    <a:lnTo>
                      <a:pt x="357" y="289"/>
                    </a:lnTo>
                    <a:lnTo>
                      <a:pt x="356" y="291"/>
                    </a:lnTo>
                    <a:lnTo>
                      <a:pt x="352" y="291"/>
                    </a:lnTo>
                    <a:lnTo>
                      <a:pt x="352" y="291"/>
                    </a:lnTo>
                    <a:lnTo>
                      <a:pt x="349" y="291"/>
                    </a:lnTo>
                    <a:lnTo>
                      <a:pt x="349" y="291"/>
                    </a:lnTo>
                    <a:lnTo>
                      <a:pt x="347" y="290"/>
                    </a:lnTo>
                    <a:lnTo>
                      <a:pt x="345" y="287"/>
                    </a:lnTo>
                    <a:lnTo>
                      <a:pt x="344" y="285"/>
                    </a:lnTo>
                    <a:lnTo>
                      <a:pt x="344" y="285"/>
                    </a:lnTo>
                    <a:lnTo>
                      <a:pt x="345" y="286"/>
                    </a:lnTo>
                    <a:lnTo>
                      <a:pt x="348" y="287"/>
                    </a:lnTo>
                    <a:lnTo>
                      <a:pt x="343" y="282"/>
                    </a:lnTo>
                    <a:lnTo>
                      <a:pt x="343" y="282"/>
                    </a:lnTo>
                    <a:lnTo>
                      <a:pt x="343" y="282"/>
                    </a:lnTo>
                    <a:lnTo>
                      <a:pt x="343" y="282"/>
                    </a:lnTo>
                    <a:lnTo>
                      <a:pt x="343" y="282"/>
                    </a:lnTo>
                    <a:lnTo>
                      <a:pt x="343" y="282"/>
                    </a:lnTo>
                    <a:lnTo>
                      <a:pt x="343" y="282"/>
                    </a:lnTo>
                    <a:lnTo>
                      <a:pt x="340" y="278"/>
                    </a:lnTo>
                    <a:lnTo>
                      <a:pt x="335" y="275"/>
                    </a:lnTo>
                    <a:lnTo>
                      <a:pt x="335" y="275"/>
                    </a:lnTo>
                    <a:lnTo>
                      <a:pt x="334" y="274"/>
                    </a:lnTo>
                    <a:lnTo>
                      <a:pt x="331" y="274"/>
                    </a:lnTo>
                    <a:lnTo>
                      <a:pt x="331" y="274"/>
                    </a:lnTo>
                    <a:lnTo>
                      <a:pt x="330" y="274"/>
                    </a:lnTo>
                    <a:lnTo>
                      <a:pt x="330" y="274"/>
                    </a:lnTo>
                    <a:lnTo>
                      <a:pt x="330" y="275"/>
                    </a:lnTo>
                    <a:lnTo>
                      <a:pt x="330" y="275"/>
                    </a:lnTo>
                    <a:lnTo>
                      <a:pt x="327" y="278"/>
                    </a:lnTo>
                    <a:lnTo>
                      <a:pt x="323" y="282"/>
                    </a:lnTo>
                    <a:lnTo>
                      <a:pt x="320" y="282"/>
                    </a:lnTo>
                    <a:lnTo>
                      <a:pt x="314" y="282"/>
                    </a:lnTo>
                    <a:lnTo>
                      <a:pt x="314" y="282"/>
                    </a:lnTo>
                    <a:lnTo>
                      <a:pt x="311" y="282"/>
                    </a:lnTo>
                    <a:lnTo>
                      <a:pt x="311" y="282"/>
                    </a:lnTo>
                    <a:lnTo>
                      <a:pt x="308" y="283"/>
                    </a:lnTo>
                    <a:lnTo>
                      <a:pt x="308" y="283"/>
                    </a:lnTo>
                    <a:lnTo>
                      <a:pt x="310" y="282"/>
                    </a:lnTo>
                    <a:lnTo>
                      <a:pt x="306" y="285"/>
                    </a:lnTo>
                    <a:lnTo>
                      <a:pt x="306" y="285"/>
                    </a:lnTo>
                    <a:lnTo>
                      <a:pt x="303" y="283"/>
                    </a:lnTo>
                    <a:lnTo>
                      <a:pt x="303" y="283"/>
                    </a:lnTo>
                    <a:lnTo>
                      <a:pt x="303" y="283"/>
                    </a:lnTo>
                    <a:lnTo>
                      <a:pt x="303" y="283"/>
                    </a:lnTo>
                    <a:lnTo>
                      <a:pt x="303" y="283"/>
                    </a:lnTo>
                    <a:lnTo>
                      <a:pt x="303" y="283"/>
                    </a:lnTo>
                    <a:lnTo>
                      <a:pt x="303" y="283"/>
                    </a:lnTo>
                    <a:lnTo>
                      <a:pt x="304" y="285"/>
                    </a:lnTo>
                    <a:lnTo>
                      <a:pt x="304" y="285"/>
                    </a:lnTo>
                    <a:lnTo>
                      <a:pt x="304" y="285"/>
                    </a:lnTo>
                    <a:lnTo>
                      <a:pt x="304" y="285"/>
                    </a:lnTo>
                    <a:lnTo>
                      <a:pt x="304" y="285"/>
                    </a:lnTo>
                    <a:lnTo>
                      <a:pt x="304" y="285"/>
                    </a:lnTo>
                    <a:lnTo>
                      <a:pt x="304" y="285"/>
                    </a:lnTo>
                    <a:lnTo>
                      <a:pt x="304" y="285"/>
                    </a:lnTo>
                    <a:lnTo>
                      <a:pt x="307" y="290"/>
                    </a:lnTo>
                    <a:lnTo>
                      <a:pt x="307" y="290"/>
                    </a:lnTo>
                    <a:lnTo>
                      <a:pt x="307" y="287"/>
                    </a:lnTo>
                    <a:lnTo>
                      <a:pt x="308" y="289"/>
                    </a:lnTo>
                    <a:lnTo>
                      <a:pt x="310" y="293"/>
                    </a:lnTo>
                    <a:lnTo>
                      <a:pt x="310" y="293"/>
                    </a:lnTo>
                    <a:lnTo>
                      <a:pt x="310" y="293"/>
                    </a:lnTo>
                    <a:lnTo>
                      <a:pt x="310" y="293"/>
                    </a:lnTo>
                    <a:lnTo>
                      <a:pt x="306" y="291"/>
                    </a:lnTo>
                    <a:lnTo>
                      <a:pt x="311" y="296"/>
                    </a:lnTo>
                    <a:lnTo>
                      <a:pt x="311" y="299"/>
                    </a:lnTo>
                    <a:lnTo>
                      <a:pt x="310" y="304"/>
                    </a:lnTo>
                    <a:lnTo>
                      <a:pt x="310" y="304"/>
                    </a:lnTo>
                    <a:lnTo>
                      <a:pt x="306" y="307"/>
                    </a:lnTo>
                    <a:lnTo>
                      <a:pt x="306" y="307"/>
                    </a:lnTo>
                    <a:lnTo>
                      <a:pt x="303" y="308"/>
                    </a:lnTo>
                    <a:lnTo>
                      <a:pt x="299" y="311"/>
                    </a:lnTo>
                    <a:lnTo>
                      <a:pt x="299" y="311"/>
                    </a:lnTo>
                    <a:lnTo>
                      <a:pt x="299" y="311"/>
                    </a:lnTo>
                    <a:lnTo>
                      <a:pt x="298" y="312"/>
                    </a:lnTo>
                    <a:lnTo>
                      <a:pt x="298" y="345"/>
                    </a:lnTo>
                    <a:lnTo>
                      <a:pt x="296" y="347"/>
                    </a:lnTo>
                    <a:lnTo>
                      <a:pt x="296" y="347"/>
                    </a:lnTo>
                    <a:lnTo>
                      <a:pt x="299" y="347"/>
                    </a:lnTo>
                    <a:lnTo>
                      <a:pt x="299" y="347"/>
                    </a:lnTo>
                    <a:lnTo>
                      <a:pt x="300" y="347"/>
                    </a:lnTo>
                    <a:lnTo>
                      <a:pt x="302" y="347"/>
                    </a:lnTo>
                    <a:lnTo>
                      <a:pt x="314" y="347"/>
                    </a:lnTo>
                    <a:lnTo>
                      <a:pt x="314" y="347"/>
                    </a:lnTo>
                    <a:lnTo>
                      <a:pt x="316" y="347"/>
                    </a:lnTo>
                    <a:lnTo>
                      <a:pt x="316" y="347"/>
                    </a:lnTo>
                    <a:lnTo>
                      <a:pt x="322" y="347"/>
                    </a:lnTo>
                    <a:lnTo>
                      <a:pt x="326" y="344"/>
                    </a:lnTo>
                    <a:lnTo>
                      <a:pt x="328" y="344"/>
                    </a:lnTo>
                    <a:lnTo>
                      <a:pt x="334" y="347"/>
                    </a:lnTo>
                    <a:lnTo>
                      <a:pt x="334" y="347"/>
                    </a:lnTo>
                    <a:lnTo>
                      <a:pt x="335" y="349"/>
                    </a:lnTo>
                    <a:lnTo>
                      <a:pt x="335" y="349"/>
                    </a:lnTo>
                    <a:lnTo>
                      <a:pt x="337" y="353"/>
                    </a:lnTo>
                    <a:lnTo>
                      <a:pt x="339" y="360"/>
                    </a:lnTo>
                    <a:lnTo>
                      <a:pt x="334" y="367"/>
                    </a:lnTo>
                    <a:lnTo>
                      <a:pt x="332" y="367"/>
                    </a:lnTo>
                    <a:lnTo>
                      <a:pt x="332" y="367"/>
                    </a:lnTo>
                    <a:lnTo>
                      <a:pt x="331" y="367"/>
                    </a:lnTo>
                    <a:lnTo>
                      <a:pt x="331" y="367"/>
                    </a:lnTo>
                    <a:lnTo>
                      <a:pt x="327" y="367"/>
                    </a:lnTo>
                    <a:lnTo>
                      <a:pt x="327" y="367"/>
                    </a:lnTo>
                    <a:lnTo>
                      <a:pt x="324" y="367"/>
                    </a:lnTo>
                    <a:lnTo>
                      <a:pt x="324" y="367"/>
                    </a:lnTo>
                    <a:lnTo>
                      <a:pt x="326" y="364"/>
                    </a:lnTo>
                    <a:lnTo>
                      <a:pt x="322" y="367"/>
                    </a:lnTo>
                    <a:lnTo>
                      <a:pt x="322" y="367"/>
                    </a:lnTo>
                    <a:lnTo>
                      <a:pt x="322" y="367"/>
                    </a:lnTo>
                    <a:lnTo>
                      <a:pt x="322" y="367"/>
                    </a:lnTo>
                    <a:lnTo>
                      <a:pt x="322" y="367"/>
                    </a:lnTo>
                    <a:lnTo>
                      <a:pt x="322" y="368"/>
                    </a:lnTo>
                    <a:lnTo>
                      <a:pt x="322" y="373"/>
                    </a:lnTo>
                    <a:lnTo>
                      <a:pt x="322" y="374"/>
                    </a:lnTo>
                    <a:lnTo>
                      <a:pt x="322" y="374"/>
                    </a:lnTo>
                    <a:lnTo>
                      <a:pt x="322" y="377"/>
                    </a:lnTo>
                    <a:lnTo>
                      <a:pt x="322" y="377"/>
                    </a:lnTo>
                    <a:lnTo>
                      <a:pt x="327" y="377"/>
                    </a:lnTo>
                    <a:lnTo>
                      <a:pt x="331" y="378"/>
                    </a:lnTo>
                    <a:lnTo>
                      <a:pt x="331" y="378"/>
                    </a:lnTo>
                    <a:lnTo>
                      <a:pt x="334" y="382"/>
                    </a:lnTo>
                    <a:lnTo>
                      <a:pt x="336" y="386"/>
                    </a:lnTo>
                    <a:lnTo>
                      <a:pt x="336" y="386"/>
                    </a:lnTo>
                    <a:lnTo>
                      <a:pt x="337" y="389"/>
                    </a:lnTo>
                    <a:lnTo>
                      <a:pt x="339" y="390"/>
                    </a:lnTo>
                    <a:lnTo>
                      <a:pt x="339" y="390"/>
                    </a:lnTo>
                    <a:lnTo>
                      <a:pt x="341" y="396"/>
                    </a:lnTo>
                    <a:lnTo>
                      <a:pt x="343" y="400"/>
                    </a:lnTo>
                    <a:lnTo>
                      <a:pt x="343" y="405"/>
                    </a:lnTo>
                    <a:lnTo>
                      <a:pt x="340" y="409"/>
                    </a:lnTo>
                    <a:lnTo>
                      <a:pt x="340" y="409"/>
                    </a:lnTo>
                    <a:lnTo>
                      <a:pt x="337" y="413"/>
                    </a:lnTo>
                    <a:lnTo>
                      <a:pt x="334" y="415"/>
                    </a:lnTo>
                    <a:lnTo>
                      <a:pt x="327" y="417"/>
                    </a:lnTo>
                    <a:lnTo>
                      <a:pt x="327" y="417"/>
                    </a:lnTo>
                    <a:lnTo>
                      <a:pt x="324" y="418"/>
                    </a:lnTo>
                    <a:lnTo>
                      <a:pt x="322" y="418"/>
                    </a:lnTo>
                    <a:lnTo>
                      <a:pt x="315" y="418"/>
                    </a:lnTo>
                    <a:lnTo>
                      <a:pt x="315" y="418"/>
                    </a:lnTo>
                    <a:lnTo>
                      <a:pt x="311" y="418"/>
                    </a:lnTo>
                    <a:lnTo>
                      <a:pt x="311" y="418"/>
                    </a:lnTo>
                    <a:lnTo>
                      <a:pt x="304" y="418"/>
                    </a:lnTo>
                    <a:lnTo>
                      <a:pt x="304" y="418"/>
                    </a:lnTo>
                    <a:lnTo>
                      <a:pt x="298" y="418"/>
                    </a:lnTo>
                    <a:lnTo>
                      <a:pt x="298" y="418"/>
                    </a:lnTo>
                    <a:lnTo>
                      <a:pt x="291" y="419"/>
                    </a:lnTo>
                    <a:lnTo>
                      <a:pt x="289" y="419"/>
                    </a:lnTo>
                    <a:lnTo>
                      <a:pt x="286" y="419"/>
                    </a:lnTo>
                    <a:lnTo>
                      <a:pt x="286" y="419"/>
                    </a:lnTo>
                    <a:lnTo>
                      <a:pt x="283" y="419"/>
                    </a:lnTo>
                    <a:lnTo>
                      <a:pt x="283" y="419"/>
                    </a:lnTo>
                    <a:lnTo>
                      <a:pt x="279" y="419"/>
                    </a:lnTo>
                    <a:lnTo>
                      <a:pt x="279" y="419"/>
                    </a:lnTo>
                    <a:lnTo>
                      <a:pt x="278" y="419"/>
                    </a:lnTo>
                    <a:lnTo>
                      <a:pt x="278" y="419"/>
                    </a:lnTo>
                    <a:lnTo>
                      <a:pt x="279" y="417"/>
                    </a:lnTo>
                    <a:lnTo>
                      <a:pt x="274" y="421"/>
                    </a:lnTo>
                    <a:lnTo>
                      <a:pt x="270" y="421"/>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91" name="Freeform 11">
                <a:extLst>
                  <a:ext uri="{FF2B5EF4-FFF2-40B4-BE49-F238E27FC236}">
                    <a16:creationId xmlns:a16="http://schemas.microsoft.com/office/drawing/2014/main" xmlns="" id="{CED92E5C-8F17-4364-AE3A-BDE6E6546A8F}"/>
                  </a:ext>
                </a:extLst>
              </p:cNvPr>
              <p:cNvSpPr>
                <a:spLocks/>
              </p:cNvSpPr>
              <p:nvPr/>
            </p:nvSpPr>
            <p:spPr bwMode="auto">
              <a:xfrm>
                <a:off x="6387941" y="1581308"/>
                <a:ext cx="828751" cy="581519"/>
              </a:xfrm>
              <a:custGeom>
                <a:avLst/>
                <a:gdLst>
                  <a:gd name="T0" fmla="*/ 139 w 476"/>
                  <a:gd name="T1" fmla="*/ 324 h 334"/>
                  <a:gd name="T2" fmla="*/ 114 w 476"/>
                  <a:gd name="T3" fmla="*/ 330 h 334"/>
                  <a:gd name="T4" fmla="*/ 86 w 476"/>
                  <a:gd name="T5" fmla="*/ 324 h 334"/>
                  <a:gd name="T6" fmla="*/ 72 w 476"/>
                  <a:gd name="T7" fmla="*/ 318 h 334"/>
                  <a:gd name="T8" fmla="*/ 68 w 476"/>
                  <a:gd name="T9" fmla="*/ 303 h 334"/>
                  <a:gd name="T10" fmla="*/ 53 w 476"/>
                  <a:gd name="T11" fmla="*/ 301 h 334"/>
                  <a:gd name="T12" fmla="*/ 39 w 476"/>
                  <a:gd name="T13" fmla="*/ 291 h 334"/>
                  <a:gd name="T14" fmla="*/ 40 w 476"/>
                  <a:gd name="T15" fmla="*/ 264 h 334"/>
                  <a:gd name="T16" fmla="*/ 48 w 476"/>
                  <a:gd name="T17" fmla="*/ 250 h 334"/>
                  <a:gd name="T18" fmla="*/ 46 w 476"/>
                  <a:gd name="T19" fmla="*/ 236 h 334"/>
                  <a:gd name="T20" fmla="*/ 31 w 476"/>
                  <a:gd name="T21" fmla="*/ 229 h 334"/>
                  <a:gd name="T22" fmla="*/ 28 w 476"/>
                  <a:gd name="T23" fmla="*/ 232 h 334"/>
                  <a:gd name="T24" fmla="*/ 5 w 476"/>
                  <a:gd name="T25" fmla="*/ 211 h 334"/>
                  <a:gd name="T26" fmla="*/ 11 w 476"/>
                  <a:gd name="T27" fmla="*/ 191 h 334"/>
                  <a:gd name="T28" fmla="*/ 33 w 476"/>
                  <a:gd name="T29" fmla="*/ 186 h 334"/>
                  <a:gd name="T30" fmla="*/ 52 w 476"/>
                  <a:gd name="T31" fmla="*/ 200 h 334"/>
                  <a:gd name="T32" fmla="*/ 62 w 476"/>
                  <a:gd name="T33" fmla="*/ 199 h 334"/>
                  <a:gd name="T34" fmla="*/ 80 w 476"/>
                  <a:gd name="T35" fmla="*/ 179 h 334"/>
                  <a:gd name="T36" fmla="*/ 91 w 476"/>
                  <a:gd name="T37" fmla="*/ 159 h 334"/>
                  <a:gd name="T38" fmla="*/ 94 w 476"/>
                  <a:gd name="T39" fmla="*/ 134 h 334"/>
                  <a:gd name="T40" fmla="*/ 117 w 476"/>
                  <a:gd name="T41" fmla="*/ 123 h 334"/>
                  <a:gd name="T42" fmla="*/ 136 w 476"/>
                  <a:gd name="T43" fmla="*/ 104 h 334"/>
                  <a:gd name="T44" fmla="*/ 151 w 476"/>
                  <a:gd name="T45" fmla="*/ 109 h 334"/>
                  <a:gd name="T46" fmla="*/ 169 w 476"/>
                  <a:gd name="T47" fmla="*/ 92 h 334"/>
                  <a:gd name="T48" fmla="*/ 189 w 476"/>
                  <a:gd name="T49" fmla="*/ 69 h 334"/>
                  <a:gd name="T50" fmla="*/ 197 w 476"/>
                  <a:gd name="T51" fmla="*/ 72 h 334"/>
                  <a:gd name="T52" fmla="*/ 217 w 476"/>
                  <a:gd name="T53" fmla="*/ 60 h 334"/>
                  <a:gd name="T54" fmla="*/ 224 w 476"/>
                  <a:gd name="T55" fmla="*/ 26 h 334"/>
                  <a:gd name="T56" fmla="*/ 265 w 476"/>
                  <a:gd name="T57" fmla="*/ 4 h 334"/>
                  <a:gd name="T58" fmla="*/ 283 w 476"/>
                  <a:gd name="T59" fmla="*/ 4 h 334"/>
                  <a:gd name="T60" fmla="*/ 308 w 476"/>
                  <a:gd name="T61" fmla="*/ 10 h 334"/>
                  <a:gd name="T62" fmla="*/ 320 w 476"/>
                  <a:gd name="T63" fmla="*/ 15 h 334"/>
                  <a:gd name="T64" fmla="*/ 328 w 476"/>
                  <a:gd name="T65" fmla="*/ 28 h 334"/>
                  <a:gd name="T66" fmla="*/ 347 w 476"/>
                  <a:gd name="T67" fmla="*/ 26 h 334"/>
                  <a:gd name="T68" fmla="*/ 378 w 476"/>
                  <a:gd name="T69" fmla="*/ 30 h 334"/>
                  <a:gd name="T70" fmla="*/ 413 w 476"/>
                  <a:gd name="T71" fmla="*/ 61 h 334"/>
                  <a:gd name="T72" fmla="*/ 427 w 476"/>
                  <a:gd name="T73" fmla="*/ 72 h 334"/>
                  <a:gd name="T74" fmla="*/ 456 w 476"/>
                  <a:gd name="T75" fmla="*/ 77 h 334"/>
                  <a:gd name="T76" fmla="*/ 475 w 476"/>
                  <a:gd name="T77" fmla="*/ 88 h 334"/>
                  <a:gd name="T78" fmla="*/ 456 w 476"/>
                  <a:gd name="T79" fmla="*/ 125 h 334"/>
                  <a:gd name="T80" fmla="*/ 466 w 476"/>
                  <a:gd name="T81" fmla="*/ 146 h 334"/>
                  <a:gd name="T82" fmla="*/ 444 w 476"/>
                  <a:gd name="T83" fmla="*/ 163 h 334"/>
                  <a:gd name="T84" fmla="*/ 423 w 476"/>
                  <a:gd name="T85" fmla="*/ 201 h 334"/>
                  <a:gd name="T86" fmla="*/ 392 w 476"/>
                  <a:gd name="T87" fmla="*/ 204 h 334"/>
                  <a:gd name="T88" fmla="*/ 384 w 476"/>
                  <a:gd name="T89" fmla="*/ 189 h 334"/>
                  <a:gd name="T90" fmla="*/ 377 w 476"/>
                  <a:gd name="T91" fmla="*/ 186 h 334"/>
                  <a:gd name="T92" fmla="*/ 355 w 476"/>
                  <a:gd name="T93" fmla="*/ 187 h 334"/>
                  <a:gd name="T94" fmla="*/ 347 w 476"/>
                  <a:gd name="T95" fmla="*/ 188 h 334"/>
                  <a:gd name="T96" fmla="*/ 339 w 476"/>
                  <a:gd name="T97" fmla="*/ 188 h 334"/>
                  <a:gd name="T98" fmla="*/ 328 w 476"/>
                  <a:gd name="T99" fmla="*/ 196 h 334"/>
                  <a:gd name="T100" fmla="*/ 324 w 476"/>
                  <a:gd name="T101" fmla="*/ 216 h 334"/>
                  <a:gd name="T102" fmla="*/ 317 w 476"/>
                  <a:gd name="T103" fmla="*/ 234 h 334"/>
                  <a:gd name="T104" fmla="*/ 312 w 476"/>
                  <a:gd name="T105" fmla="*/ 254 h 334"/>
                  <a:gd name="T106" fmla="*/ 287 w 476"/>
                  <a:gd name="T107" fmla="*/ 244 h 334"/>
                  <a:gd name="T108" fmla="*/ 279 w 476"/>
                  <a:gd name="T109" fmla="*/ 270 h 334"/>
                  <a:gd name="T110" fmla="*/ 277 w 476"/>
                  <a:gd name="T111" fmla="*/ 301 h 334"/>
                  <a:gd name="T112" fmla="*/ 258 w 476"/>
                  <a:gd name="T113" fmla="*/ 311 h 334"/>
                  <a:gd name="T114" fmla="*/ 247 w 476"/>
                  <a:gd name="T115" fmla="*/ 316 h 334"/>
                  <a:gd name="T116" fmla="*/ 226 w 476"/>
                  <a:gd name="T117" fmla="*/ 319 h 334"/>
                  <a:gd name="T118" fmla="*/ 224 w 476"/>
                  <a:gd name="T119" fmla="*/ 320 h 334"/>
                  <a:gd name="T120" fmla="*/ 205 w 476"/>
                  <a:gd name="T121" fmla="*/ 327 h 334"/>
                  <a:gd name="T122" fmla="*/ 183 w 476"/>
                  <a:gd name="T123" fmla="*/ 326 h 334"/>
                  <a:gd name="T124" fmla="*/ 163 w 476"/>
                  <a:gd name="T125" fmla="*/ 3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6" h="334">
                    <a:moveTo>
                      <a:pt x="150" y="334"/>
                    </a:moveTo>
                    <a:lnTo>
                      <a:pt x="150" y="334"/>
                    </a:lnTo>
                    <a:lnTo>
                      <a:pt x="147" y="332"/>
                    </a:lnTo>
                    <a:lnTo>
                      <a:pt x="147" y="332"/>
                    </a:lnTo>
                    <a:lnTo>
                      <a:pt x="143" y="331"/>
                    </a:lnTo>
                    <a:lnTo>
                      <a:pt x="143" y="331"/>
                    </a:lnTo>
                    <a:lnTo>
                      <a:pt x="143" y="331"/>
                    </a:lnTo>
                    <a:lnTo>
                      <a:pt x="143" y="331"/>
                    </a:lnTo>
                    <a:lnTo>
                      <a:pt x="139" y="331"/>
                    </a:lnTo>
                    <a:lnTo>
                      <a:pt x="138" y="331"/>
                    </a:lnTo>
                    <a:lnTo>
                      <a:pt x="136" y="328"/>
                    </a:lnTo>
                    <a:lnTo>
                      <a:pt x="136" y="328"/>
                    </a:lnTo>
                    <a:lnTo>
                      <a:pt x="138" y="327"/>
                    </a:lnTo>
                    <a:lnTo>
                      <a:pt x="138" y="327"/>
                    </a:lnTo>
                    <a:lnTo>
                      <a:pt x="139" y="324"/>
                    </a:lnTo>
                    <a:lnTo>
                      <a:pt x="139" y="322"/>
                    </a:lnTo>
                    <a:lnTo>
                      <a:pt x="135" y="327"/>
                    </a:lnTo>
                    <a:lnTo>
                      <a:pt x="132" y="322"/>
                    </a:lnTo>
                    <a:lnTo>
                      <a:pt x="132" y="322"/>
                    </a:lnTo>
                    <a:lnTo>
                      <a:pt x="132" y="324"/>
                    </a:lnTo>
                    <a:lnTo>
                      <a:pt x="132" y="327"/>
                    </a:lnTo>
                    <a:lnTo>
                      <a:pt x="132" y="327"/>
                    </a:lnTo>
                    <a:lnTo>
                      <a:pt x="134" y="328"/>
                    </a:lnTo>
                    <a:lnTo>
                      <a:pt x="132" y="331"/>
                    </a:lnTo>
                    <a:lnTo>
                      <a:pt x="117" y="331"/>
                    </a:lnTo>
                    <a:lnTo>
                      <a:pt x="110" y="324"/>
                    </a:lnTo>
                    <a:lnTo>
                      <a:pt x="110" y="324"/>
                    </a:lnTo>
                    <a:lnTo>
                      <a:pt x="111" y="328"/>
                    </a:lnTo>
                    <a:lnTo>
                      <a:pt x="114" y="330"/>
                    </a:lnTo>
                    <a:lnTo>
                      <a:pt x="114" y="330"/>
                    </a:lnTo>
                    <a:lnTo>
                      <a:pt x="113" y="328"/>
                    </a:lnTo>
                    <a:lnTo>
                      <a:pt x="107" y="323"/>
                    </a:lnTo>
                    <a:lnTo>
                      <a:pt x="107" y="320"/>
                    </a:lnTo>
                    <a:lnTo>
                      <a:pt x="107" y="320"/>
                    </a:lnTo>
                    <a:lnTo>
                      <a:pt x="97" y="320"/>
                    </a:lnTo>
                    <a:lnTo>
                      <a:pt x="91" y="318"/>
                    </a:lnTo>
                    <a:lnTo>
                      <a:pt x="91" y="318"/>
                    </a:lnTo>
                    <a:lnTo>
                      <a:pt x="93" y="319"/>
                    </a:lnTo>
                    <a:lnTo>
                      <a:pt x="93" y="319"/>
                    </a:lnTo>
                    <a:lnTo>
                      <a:pt x="93" y="319"/>
                    </a:lnTo>
                    <a:lnTo>
                      <a:pt x="93" y="319"/>
                    </a:lnTo>
                    <a:lnTo>
                      <a:pt x="90" y="319"/>
                    </a:lnTo>
                    <a:lnTo>
                      <a:pt x="90" y="319"/>
                    </a:lnTo>
                    <a:lnTo>
                      <a:pt x="90" y="318"/>
                    </a:lnTo>
                    <a:lnTo>
                      <a:pt x="86" y="324"/>
                    </a:lnTo>
                    <a:lnTo>
                      <a:pt x="86" y="324"/>
                    </a:lnTo>
                    <a:lnTo>
                      <a:pt x="87" y="323"/>
                    </a:lnTo>
                    <a:lnTo>
                      <a:pt x="87" y="323"/>
                    </a:lnTo>
                    <a:lnTo>
                      <a:pt x="85" y="324"/>
                    </a:lnTo>
                    <a:lnTo>
                      <a:pt x="82" y="327"/>
                    </a:lnTo>
                    <a:lnTo>
                      <a:pt x="82" y="327"/>
                    </a:lnTo>
                    <a:lnTo>
                      <a:pt x="80" y="327"/>
                    </a:lnTo>
                    <a:lnTo>
                      <a:pt x="80" y="327"/>
                    </a:lnTo>
                    <a:lnTo>
                      <a:pt x="77" y="326"/>
                    </a:lnTo>
                    <a:lnTo>
                      <a:pt x="74" y="324"/>
                    </a:lnTo>
                    <a:lnTo>
                      <a:pt x="73" y="322"/>
                    </a:lnTo>
                    <a:lnTo>
                      <a:pt x="73" y="322"/>
                    </a:lnTo>
                    <a:lnTo>
                      <a:pt x="74" y="323"/>
                    </a:lnTo>
                    <a:lnTo>
                      <a:pt x="77" y="324"/>
                    </a:lnTo>
                    <a:lnTo>
                      <a:pt x="72" y="318"/>
                    </a:lnTo>
                    <a:lnTo>
                      <a:pt x="72" y="318"/>
                    </a:lnTo>
                    <a:lnTo>
                      <a:pt x="70" y="318"/>
                    </a:lnTo>
                    <a:lnTo>
                      <a:pt x="70" y="318"/>
                    </a:lnTo>
                    <a:lnTo>
                      <a:pt x="68" y="316"/>
                    </a:lnTo>
                    <a:lnTo>
                      <a:pt x="65" y="315"/>
                    </a:lnTo>
                    <a:lnTo>
                      <a:pt x="64" y="311"/>
                    </a:lnTo>
                    <a:lnTo>
                      <a:pt x="64" y="308"/>
                    </a:lnTo>
                    <a:lnTo>
                      <a:pt x="64" y="307"/>
                    </a:lnTo>
                    <a:lnTo>
                      <a:pt x="66" y="303"/>
                    </a:lnTo>
                    <a:lnTo>
                      <a:pt x="66" y="303"/>
                    </a:lnTo>
                    <a:lnTo>
                      <a:pt x="65" y="303"/>
                    </a:lnTo>
                    <a:lnTo>
                      <a:pt x="65" y="303"/>
                    </a:lnTo>
                    <a:lnTo>
                      <a:pt x="66" y="301"/>
                    </a:lnTo>
                    <a:lnTo>
                      <a:pt x="66" y="301"/>
                    </a:lnTo>
                    <a:lnTo>
                      <a:pt x="68" y="303"/>
                    </a:lnTo>
                    <a:lnTo>
                      <a:pt x="65" y="298"/>
                    </a:lnTo>
                    <a:lnTo>
                      <a:pt x="65" y="298"/>
                    </a:lnTo>
                    <a:lnTo>
                      <a:pt x="65" y="298"/>
                    </a:lnTo>
                    <a:lnTo>
                      <a:pt x="65" y="298"/>
                    </a:lnTo>
                    <a:lnTo>
                      <a:pt x="65" y="298"/>
                    </a:lnTo>
                    <a:lnTo>
                      <a:pt x="65" y="298"/>
                    </a:lnTo>
                    <a:lnTo>
                      <a:pt x="62" y="299"/>
                    </a:lnTo>
                    <a:lnTo>
                      <a:pt x="62" y="299"/>
                    </a:lnTo>
                    <a:lnTo>
                      <a:pt x="64" y="297"/>
                    </a:lnTo>
                    <a:lnTo>
                      <a:pt x="60" y="299"/>
                    </a:lnTo>
                    <a:lnTo>
                      <a:pt x="60" y="299"/>
                    </a:lnTo>
                    <a:lnTo>
                      <a:pt x="60" y="299"/>
                    </a:lnTo>
                    <a:lnTo>
                      <a:pt x="60" y="299"/>
                    </a:lnTo>
                    <a:lnTo>
                      <a:pt x="58" y="301"/>
                    </a:lnTo>
                    <a:lnTo>
                      <a:pt x="53" y="301"/>
                    </a:lnTo>
                    <a:lnTo>
                      <a:pt x="49" y="299"/>
                    </a:lnTo>
                    <a:lnTo>
                      <a:pt x="49" y="299"/>
                    </a:lnTo>
                    <a:lnTo>
                      <a:pt x="46" y="297"/>
                    </a:lnTo>
                    <a:lnTo>
                      <a:pt x="46" y="294"/>
                    </a:lnTo>
                    <a:lnTo>
                      <a:pt x="46" y="294"/>
                    </a:lnTo>
                    <a:lnTo>
                      <a:pt x="46" y="293"/>
                    </a:lnTo>
                    <a:lnTo>
                      <a:pt x="42" y="290"/>
                    </a:lnTo>
                    <a:lnTo>
                      <a:pt x="42" y="290"/>
                    </a:lnTo>
                    <a:lnTo>
                      <a:pt x="44" y="291"/>
                    </a:lnTo>
                    <a:lnTo>
                      <a:pt x="44" y="291"/>
                    </a:lnTo>
                    <a:lnTo>
                      <a:pt x="41" y="291"/>
                    </a:lnTo>
                    <a:lnTo>
                      <a:pt x="41" y="291"/>
                    </a:lnTo>
                    <a:lnTo>
                      <a:pt x="40" y="291"/>
                    </a:lnTo>
                    <a:lnTo>
                      <a:pt x="39" y="291"/>
                    </a:lnTo>
                    <a:lnTo>
                      <a:pt x="39" y="291"/>
                    </a:lnTo>
                    <a:lnTo>
                      <a:pt x="39" y="291"/>
                    </a:lnTo>
                    <a:lnTo>
                      <a:pt x="39" y="290"/>
                    </a:lnTo>
                    <a:lnTo>
                      <a:pt x="39" y="290"/>
                    </a:lnTo>
                    <a:lnTo>
                      <a:pt x="33" y="285"/>
                    </a:lnTo>
                    <a:lnTo>
                      <a:pt x="33" y="285"/>
                    </a:lnTo>
                    <a:lnTo>
                      <a:pt x="33" y="282"/>
                    </a:lnTo>
                    <a:lnTo>
                      <a:pt x="32" y="279"/>
                    </a:lnTo>
                    <a:lnTo>
                      <a:pt x="32" y="279"/>
                    </a:lnTo>
                    <a:lnTo>
                      <a:pt x="32" y="274"/>
                    </a:lnTo>
                    <a:lnTo>
                      <a:pt x="33" y="271"/>
                    </a:lnTo>
                    <a:lnTo>
                      <a:pt x="33" y="271"/>
                    </a:lnTo>
                    <a:lnTo>
                      <a:pt x="33" y="270"/>
                    </a:lnTo>
                    <a:lnTo>
                      <a:pt x="40" y="265"/>
                    </a:lnTo>
                    <a:lnTo>
                      <a:pt x="40" y="264"/>
                    </a:lnTo>
                    <a:lnTo>
                      <a:pt x="40" y="264"/>
                    </a:lnTo>
                    <a:lnTo>
                      <a:pt x="37" y="265"/>
                    </a:lnTo>
                    <a:lnTo>
                      <a:pt x="37" y="264"/>
                    </a:lnTo>
                    <a:lnTo>
                      <a:pt x="37" y="264"/>
                    </a:lnTo>
                    <a:lnTo>
                      <a:pt x="36" y="265"/>
                    </a:lnTo>
                    <a:lnTo>
                      <a:pt x="36" y="265"/>
                    </a:lnTo>
                    <a:lnTo>
                      <a:pt x="36" y="265"/>
                    </a:lnTo>
                    <a:lnTo>
                      <a:pt x="36" y="262"/>
                    </a:lnTo>
                    <a:lnTo>
                      <a:pt x="36" y="262"/>
                    </a:lnTo>
                    <a:lnTo>
                      <a:pt x="36" y="256"/>
                    </a:lnTo>
                    <a:lnTo>
                      <a:pt x="37" y="252"/>
                    </a:lnTo>
                    <a:lnTo>
                      <a:pt x="40" y="249"/>
                    </a:lnTo>
                    <a:lnTo>
                      <a:pt x="42" y="249"/>
                    </a:lnTo>
                    <a:lnTo>
                      <a:pt x="44" y="249"/>
                    </a:lnTo>
                    <a:lnTo>
                      <a:pt x="48" y="250"/>
                    </a:lnTo>
                    <a:lnTo>
                      <a:pt x="48" y="250"/>
                    </a:lnTo>
                    <a:lnTo>
                      <a:pt x="48" y="249"/>
                    </a:lnTo>
                    <a:lnTo>
                      <a:pt x="54" y="244"/>
                    </a:lnTo>
                    <a:lnTo>
                      <a:pt x="54" y="244"/>
                    </a:lnTo>
                    <a:lnTo>
                      <a:pt x="54" y="244"/>
                    </a:lnTo>
                    <a:lnTo>
                      <a:pt x="52" y="242"/>
                    </a:lnTo>
                    <a:lnTo>
                      <a:pt x="52" y="242"/>
                    </a:lnTo>
                    <a:lnTo>
                      <a:pt x="52" y="242"/>
                    </a:lnTo>
                    <a:lnTo>
                      <a:pt x="52" y="242"/>
                    </a:lnTo>
                    <a:lnTo>
                      <a:pt x="54" y="242"/>
                    </a:lnTo>
                    <a:lnTo>
                      <a:pt x="50" y="241"/>
                    </a:lnTo>
                    <a:lnTo>
                      <a:pt x="50" y="241"/>
                    </a:lnTo>
                    <a:lnTo>
                      <a:pt x="48" y="237"/>
                    </a:lnTo>
                    <a:lnTo>
                      <a:pt x="48" y="237"/>
                    </a:lnTo>
                    <a:lnTo>
                      <a:pt x="46" y="236"/>
                    </a:lnTo>
                    <a:lnTo>
                      <a:pt x="46" y="236"/>
                    </a:lnTo>
                    <a:lnTo>
                      <a:pt x="48" y="236"/>
                    </a:lnTo>
                    <a:lnTo>
                      <a:pt x="44" y="233"/>
                    </a:lnTo>
                    <a:lnTo>
                      <a:pt x="44" y="233"/>
                    </a:lnTo>
                    <a:lnTo>
                      <a:pt x="44" y="232"/>
                    </a:lnTo>
                    <a:lnTo>
                      <a:pt x="40" y="230"/>
                    </a:lnTo>
                    <a:lnTo>
                      <a:pt x="40" y="230"/>
                    </a:lnTo>
                    <a:lnTo>
                      <a:pt x="41" y="232"/>
                    </a:lnTo>
                    <a:lnTo>
                      <a:pt x="41" y="232"/>
                    </a:lnTo>
                    <a:lnTo>
                      <a:pt x="40" y="232"/>
                    </a:lnTo>
                    <a:lnTo>
                      <a:pt x="40" y="232"/>
                    </a:lnTo>
                    <a:lnTo>
                      <a:pt x="36" y="230"/>
                    </a:lnTo>
                    <a:lnTo>
                      <a:pt x="32" y="229"/>
                    </a:lnTo>
                    <a:lnTo>
                      <a:pt x="32" y="229"/>
                    </a:lnTo>
                    <a:lnTo>
                      <a:pt x="31" y="229"/>
                    </a:lnTo>
                    <a:lnTo>
                      <a:pt x="31" y="229"/>
                    </a:lnTo>
                    <a:lnTo>
                      <a:pt x="32" y="228"/>
                    </a:lnTo>
                    <a:lnTo>
                      <a:pt x="32" y="228"/>
                    </a:lnTo>
                    <a:lnTo>
                      <a:pt x="32" y="228"/>
                    </a:lnTo>
                    <a:lnTo>
                      <a:pt x="32" y="228"/>
                    </a:lnTo>
                    <a:lnTo>
                      <a:pt x="32" y="228"/>
                    </a:lnTo>
                    <a:lnTo>
                      <a:pt x="32" y="227"/>
                    </a:lnTo>
                    <a:lnTo>
                      <a:pt x="32" y="228"/>
                    </a:lnTo>
                    <a:lnTo>
                      <a:pt x="32" y="227"/>
                    </a:lnTo>
                    <a:lnTo>
                      <a:pt x="32" y="227"/>
                    </a:lnTo>
                    <a:lnTo>
                      <a:pt x="32" y="228"/>
                    </a:lnTo>
                    <a:lnTo>
                      <a:pt x="28" y="232"/>
                    </a:lnTo>
                    <a:lnTo>
                      <a:pt x="28" y="232"/>
                    </a:lnTo>
                    <a:lnTo>
                      <a:pt x="29" y="230"/>
                    </a:lnTo>
                    <a:lnTo>
                      <a:pt x="29" y="230"/>
                    </a:lnTo>
                    <a:lnTo>
                      <a:pt x="28" y="232"/>
                    </a:lnTo>
                    <a:lnTo>
                      <a:pt x="24" y="233"/>
                    </a:lnTo>
                    <a:lnTo>
                      <a:pt x="21" y="232"/>
                    </a:lnTo>
                    <a:lnTo>
                      <a:pt x="21" y="232"/>
                    </a:lnTo>
                    <a:lnTo>
                      <a:pt x="19" y="230"/>
                    </a:lnTo>
                    <a:lnTo>
                      <a:pt x="17" y="229"/>
                    </a:lnTo>
                    <a:lnTo>
                      <a:pt x="16" y="227"/>
                    </a:lnTo>
                    <a:lnTo>
                      <a:pt x="15" y="224"/>
                    </a:lnTo>
                    <a:lnTo>
                      <a:pt x="15" y="224"/>
                    </a:lnTo>
                    <a:lnTo>
                      <a:pt x="15" y="220"/>
                    </a:lnTo>
                    <a:lnTo>
                      <a:pt x="15" y="220"/>
                    </a:lnTo>
                    <a:lnTo>
                      <a:pt x="12" y="216"/>
                    </a:lnTo>
                    <a:lnTo>
                      <a:pt x="11" y="213"/>
                    </a:lnTo>
                    <a:lnTo>
                      <a:pt x="9" y="213"/>
                    </a:lnTo>
                    <a:lnTo>
                      <a:pt x="5" y="211"/>
                    </a:lnTo>
                    <a:lnTo>
                      <a:pt x="5" y="211"/>
                    </a:lnTo>
                    <a:lnTo>
                      <a:pt x="3" y="207"/>
                    </a:lnTo>
                    <a:lnTo>
                      <a:pt x="3" y="207"/>
                    </a:lnTo>
                    <a:lnTo>
                      <a:pt x="3" y="205"/>
                    </a:lnTo>
                    <a:lnTo>
                      <a:pt x="3" y="205"/>
                    </a:lnTo>
                    <a:lnTo>
                      <a:pt x="3" y="207"/>
                    </a:lnTo>
                    <a:lnTo>
                      <a:pt x="0" y="203"/>
                    </a:lnTo>
                    <a:lnTo>
                      <a:pt x="0" y="203"/>
                    </a:lnTo>
                    <a:lnTo>
                      <a:pt x="0" y="197"/>
                    </a:lnTo>
                    <a:lnTo>
                      <a:pt x="2" y="195"/>
                    </a:lnTo>
                    <a:lnTo>
                      <a:pt x="2" y="195"/>
                    </a:lnTo>
                    <a:lnTo>
                      <a:pt x="2" y="195"/>
                    </a:lnTo>
                    <a:lnTo>
                      <a:pt x="2" y="197"/>
                    </a:lnTo>
                    <a:lnTo>
                      <a:pt x="7" y="191"/>
                    </a:lnTo>
                    <a:lnTo>
                      <a:pt x="11" y="191"/>
                    </a:lnTo>
                    <a:lnTo>
                      <a:pt x="11" y="191"/>
                    </a:lnTo>
                    <a:lnTo>
                      <a:pt x="11" y="191"/>
                    </a:lnTo>
                    <a:lnTo>
                      <a:pt x="11" y="191"/>
                    </a:lnTo>
                    <a:lnTo>
                      <a:pt x="12" y="188"/>
                    </a:lnTo>
                    <a:lnTo>
                      <a:pt x="13" y="187"/>
                    </a:lnTo>
                    <a:lnTo>
                      <a:pt x="13" y="187"/>
                    </a:lnTo>
                    <a:lnTo>
                      <a:pt x="16" y="184"/>
                    </a:lnTo>
                    <a:lnTo>
                      <a:pt x="20" y="184"/>
                    </a:lnTo>
                    <a:lnTo>
                      <a:pt x="20" y="184"/>
                    </a:lnTo>
                    <a:lnTo>
                      <a:pt x="29" y="184"/>
                    </a:lnTo>
                    <a:lnTo>
                      <a:pt x="35" y="187"/>
                    </a:lnTo>
                    <a:lnTo>
                      <a:pt x="35" y="187"/>
                    </a:lnTo>
                    <a:lnTo>
                      <a:pt x="32" y="186"/>
                    </a:lnTo>
                    <a:lnTo>
                      <a:pt x="32" y="186"/>
                    </a:lnTo>
                    <a:lnTo>
                      <a:pt x="33" y="186"/>
                    </a:lnTo>
                    <a:lnTo>
                      <a:pt x="33" y="186"/>
                    </a:lnTo>
                    <a:lnTo>
                      <a:pt x="36" y="186"/>
                    </a:lnTo>
                    <a:lnTo>
                      <a:pt x="36" y="186"/>
                    </a:lnTo>
                    <a:lnTo>
                      <a:pt x="40" y="186"/>
                    </a:lnTo>
                    <a:lnTo>
                      <a:pt x="40" y="186"/>
                    </a:lnTo>
                    <a:lnTo>
                      <a:pt x="42" y="186"/>
                    </a:lnTo>
                    <a:lnTo>
                      <a:pt x="46" y="187"/>
                    </a:lnTo>
                    <a:lnTo>
                      <a:pt x="46" y="187"/>
                    </a:lnTo>
                    <a:lnTo>
                      <a:pt x="48" y="189"/>
                    </a:lnTo>
                    <a:lnTo>
                      <a:pt x="49" y="193"/>
                    </a:lnTo>
                    <a:lnTo>
                      <a:pt x="49" y="193"/>
                    </a:lnTo>
                    <a:lnTo>
                      <a:pt x="49" y="195"/>
                    </a:lnTo>
                    <a:lnTo>
                      <a:pt x="49" y="195"/>
                    </a:lnTo>
                    <a:lnTo>
                      <a:pt x="49" y="193"/>
                    </a:lnTo>
                    <a:lnTo>
                      <a:pt x="52" y="199"/>
                    </a:lnTo>
                    <a:lnTo>
                      <a:pt x="52" y="200"/>
                    </a:lnTo>
                    <a:lnTo>
                      <a:pt x="52" y="200"/>
                    </a:lnTo>
                    <a:lnTo>
                      <a:pt x="52" y="201"/>
                    </a:lnTo>
                    <a:lnTo>
                      <a:pt x="52" y="201"/>
                    </a:lnTo>
                    <a:lnTo>
                      <a:pt x="52" y="203"/>
                    </a:lnTo>
                    <a:lnTo>
                      <a:pt x="52" y="203"/>
                    </a:lnTo>
                    <a:lnTo>
                      <a:pt x="50" y="200"/>
                    </a:lnTo>
                    <a:lnTo>
                      <a:pt x="48" y="199"/>
                    </a:lnTo>
                    <a:lnTo>
                      <a:pt x="50" y="203"/>
                    </a:lnTo>
                    <a:lnTo>
                      <a:pt x="53" y="201"/>
                    </a:lnTo>
                    <a:lnTo>
                      <a:pt x="56" y="201"/>
                    </a:lnTo>
                    <a:lnTo>
                      <a:pt x="56" y="201"/>
                    </a:lnTo>
                    <a:lnTo>
                      <a:pt x="58" y="201"/>
                    </a:lnTo>
                    <a:lnTo>
                      <a:pt x="58" y="201"/>
                    </a:lnTo>
                    <a:lnTo>
                      <a:pt x="61" y="200"/>
                    </a:lnTo>
                    <a:lnTo>
                      <a:pt x="62" y="199"/>
                    </a:lnTo>
                    <a:lnTo>
                      <a:pt x="62" y="199"/>
                    </a:lnTo>
                    <a:lnTo>
                      <a:pt x="65" y="197"/>
                    </a:lnTo>
                    <a:lnTo>
                      <a:pt x="70" y="196"/>
                    </a:lnTo>
                    <a:lnTo>
                      <a:pt x="72" y="196"/>
                    </a:lnTo>
                    <a:lnTo>
                      <a:pt x="72" y="196"/>
                    </a:lnTo>
                    <a:lnTo>
                      <a:pt x="72" y="196"/>
                    </a:lnTo>
                    <a:lnTo>
                      <a:pt x="72" y="193"/>
                    </a:lnTo>
                    <a:lnTo>
                      <a:pt x="72" y="193"/>
                    </a:lnTo>
                    <a:lnTo>
                      <a:pt x="73" y="188"/>
                    </a:lnTo>
                    <a:lnTo>
                      <a:pt x="76" y="184"/>
                    </a:lnTo>
                    <a:lnTo>
                      <a:pt x="77" y="183"/>
                    </a:lnTo>
                    <a:lnTo>
                      <a:pt x="78" y="183"/>
                    </a:lnTo>
                    <a:lnTo>
                      <a:pt x="78" y="182"/>
                    </a:lnTo>
                    <a:lnTo>
                      <a:pt x="78" y="182"/>
                    </a:lnTo>
                    <a:lnTo>
                      <a:pt x="80" y="179"/>
                    </a:lnTo>
                    <a:lnTo>
                      <a:pt x="80" y="178"/>
                    </a:lnTo>
                    <a:lnTo>
                      <a:pt x="80" y="178"/>
                    </a:lnTo>
                    <a:lnTo>
                      <a:pt x="82" y="174"/>
                    </a:lnTo>
                    <a:lnTo>
                      <a:pt x="83" y="170"/>
                    </a:lnTo>
                    <a:lnTo>
                      <a:pt x="83" y="170"/>
                    </a:lnTo>
                    <a:lnTo>
                      <a:pt x="83" y="166"/>
                    </a:lnTo>
                    <a:lnTo>
                      <a:pt x="83" y="166"/>
                    </a:lnTo>
                    <a:lnTo>
                      <a:pt x="83" y="166"/>
                    </a:lnTo>
                    <a:lnTo>
                      <a:pt x="83" y="166"/>
                    </a:lnTo>
                    <a:lnTo>
                      <a:pt x="83" y="166"/>
                    </a:lnTo>
                    <a:lnTo>
                      <a:pt x="85" y="166"/>
                    </a:lnTo>
                    <a:lnTo>
                      <a:pt x="87" y="160"/>
                    </a:lnTo>
                    <a:lnTo>
                      <a:pt x="87" y="160"/>
                    </a:lnTo>
                    <a:lnTo>
                      <a:pt x="91" y="159"/>
                    </a:lnTo>
                    <a:lnTo>
                      <a:pt x="91" y="159"/>
                    </a:lnTo>
                    <a:lnTo>
                      <a:pt x="94" y="159"/>
                    </a:lnTo>
                    <a:lnTo>
                      <a:pt x="94" y="159"/>
                    </a:lnTo>
                    <a:lnTo>
                      <a:pt x="94" y="159"/>
                    </a:lnTo>
                    <a:lnTo>
                      <a:pt x="94" y="159"/>
                    </a:lnTo>
                    <a:lnTo>
                      <a:pt x="94" y="159"/>
                    </a:lnTo>
                    <a:lnTo>
                      <a:pt x="95" y="158"/>
                    </a:lnTo>
                    <a:lnTo>
                      <a:pt x="97" y="154"/>
                    </a:lnTo>
                    <a:lnTo>
                      <a:pt x="97" y="143"/>
                    </a:lnTo>
                    <a:lnTo>
                      <a:pt x="97" y="143"/>
                    </a:lnTo>
                    <a:lnTo>
                      <a:pt x="97" y="142"/>
                    </a:lnTo>
                    <a:lnTo>
                      <a:pt x="97" y="142"/>
                    </a:lnTo>
                    <a:lnTo>
                      <a:pt x="97" y="143"/>
                    </a:lnTo>
                    <a:lnTo>
                      <a:pt x="94" y="138"/>
                    </a:lnTo>
                    <a:lnTo>
                      <a:pt x="94" y="138"/>
                    </a:lnTo>
                    <a:lnTo>
                      <a:pt x="94" y="134"/>
                    </a:lnTo>
                    <a:lnTo>
                      <a:pt x="97" y="131"/>
                    </a:lnTo>
                    <a:lnTo>
                      <a:pt x="101" y="130"/>
                    </a:lnTo>
                    <a:lnTo>
                      <a:pt x="101" y="130"/>
                    </a:lnTo>
                    <a:lnTo>
                      <a:pt x="99" y="131"/>
                    </a:lnTo>
                    <a:lnTo>
                      <a:pt x="98" y="134"/>
                    </a:lnTo>
                    <a:lnTo>
                      <a:pt x="102" y="129"/>
                    </a:lnTo>
                    <a:lnTo>
                      <a:pt x="102" y="129"/>
                    </a:lnTo>
                    <a:lnTo>
                      <a:pt x="101" y="129"/>
                    </a:lnTo>
                    <a:lnTo>
                      <a:pt x="101" y="129"/>
                    </a:lnTo>
                    <a:lnTo>
                      <a:pt x="103" y="127"/>
                    </a:lnTo>
                    <a:lnTo>
                      <a:pt x="106" y="126"/>
                    </a:lnTo>
                    <a:lnTo>
                      <a:pt x="109" y="126"/>
                    </a:lnTo>
                    <a:lnTo>
                      <a:pt x="109" y="126"/>
                    </a:lnTo>
                    <a:lnTo>
                      <a:pt x="113" y="125"/>
                    </a:lnTo>
                    <a:lnTo>
                      <a:pt x="117" y="123"/>
                    </a:lnTo>
                    <a:lnTo>
                      <a:pt x="117" y="123"/>
                    </a:lnTo>
                    <a:lnTo>
                      <a:pt x="117" y="123"/>
                    </a:lnTo>
                    <a:lnTo>
                      <a:pt x="123" y="121"/>
                    </a:lnTo>
                    <a:lnTo>
                      <a:pt x="127" y="119"/>
                    </a:lnTo>
                    <a:lnTo>
                      <a:pt x="128" y="119"/>
                    </a:lnTo>
                    <a:lnTo>
                      <a:pt x="128" y="119"/>
                    </a:lnTo>
                    <a:lnTo>
                      <a:pt x="127" y="118"/>
                    </a:lnTo>
                    <a:lnTo>
                      <a:pt x="127" y="118"/>
                    </a:lnTo>
                    <a:lnTo>
                      <a:pt x="126" y="114"/>
                    </a:lnTo>
                    <a:lnTo>
                      <a:pt x="126" y="110"/>
                    </a:lnTo>
                    <a:lnTo>
                      <a:pt x="127" y="106"/>
                    </a:lnTo>
                    <a:lnTo>
                      <a:pt x="127" y="106"/>
                    </a:lnTo>
                    <a:lnTo>
                      <a:pt x="131" y="105"/>
                    </a:lnTo>
                    <a:lnTo>
                      <a:pt x="136" y="104"/>
                    </a:lnTo>
                    <a:lnTo>
                      <a:pt x="136" y="104"/>
                    </a:lnTo>
                    <a:lnTo>
                      <a:pt x="136" y="104"/>
                    </a:lnTo>
                    <a:lnTo>
                      <a:pt x="138" y="104"/>
                    </a:lnTo>
                    <a:lnTo>
                      <a:pt x="138" y="104"/>
                    </a:lnTo>
                    <a:lnTo>
                      <a:pt x="142" y="105"/>
                    </a:lnTo>
                    <a:lnTo>
                      <a:pt x="144" y="106"/>
                    </a:lnTo>
                    <a:lnTo>
                      <a:pt x="146" y="109"/>
                    </a:lnTo>
                    <a:lnTo>
                      <a:pt x="146" y="109"/>
                    </a:lnTo>
                    <a:lnTo>
                      <a:pt x="144" y="109"/>
                    </a:lnTo>
                    <a:lnTo>
                      <a:pt x="143" y="108"/>
                    </a:lnTo>
                    <a:lnTo>
                      <a:pt x="147" y="110"/>
                    </a:lnTo>
                    <a:lnTo>
                      <a:pt x="147" y="110"/>
                    </a:lnTo>
                    <a:lnTo>
                      <a:pt x="148" y="113"/>
                    </a:lnTo>
                    <a:lnTo>
                      <a:pt x="148" y="113"/>
                    </a:lnTo>
                    <a:lnTo>
                      <a:pt x="151" y="109"/>
                    </a:lnTo>
                    <a:lnTo>
                      <a:pt x="151" y="109"/>
                    </a:lnTo>
                    <a:lnTo>
                      <a:pt x="156" y="102"/>
                    </a:lnTo>
                    <a:lnTo>
                      <a:pt x="161" y="98"/>
                    </a:lnTo>
                    <a:lnTo>
                      <a:pt x="161" y="98"/>
                    </a:lnTo>
                    <a:lnTo>
                      <a:pt x="159" y="100"/>
                    </a:lnTo>
                    <a:lnTo>
                      <a:pt x="158" y="100"/>
                    </a:lnTo>
                    <a:lnTo>
                      <a:pt x="158" y="100"/>
                    </a:lnTo>
                    <a:lnTo>
                      <a:pt x="160" y="98"/>
                    </a:lnTo>
                    <a:lnTo>
                      <a:pt x="164" y="96"/>
                    </a:lnTo>
                    <a:lnTo>
                      <a:pt x="164" y="96"/>
                    </a:lnTo>
                    <a:lnTo>
                      <a:pt x="167" y="94"/>
                    </a:lnTo>
                    <a:lnTo>
                      <a:pt x="167" y="94"/>
                    </a:lnTo>
                    <a:lnTo>
                      <a:pt x="169" y="93"/>
                    </a:lnTo>
                    <a:lnTo>
                      <a:pt x="169" y="93"/>
                    </a:lnTo>
                    <a:lnTo>
                      <a:pt x="169" y="92"/>
                    </a:lnTo>
                    <a:lnTo>
                      <a:pt x="169" y="92"/>
                    </a:lnTo>
                    <a:lnTo>
                      <a:pt x="169" y="88"/>
                    </a:lnTo>
                    <a:lnTo>
                      <a:pt x="171" y="84"/>
                    </a:lnTo>
                    <a:lnTo>
                      <a:pt x="171" y="84"/>
                    </a:lnTo>
                    <a:lnTo>
                      <a:pt x="173" y="82"/>
                    </a:lnTo>
                    <a:lnTo>
                      <a:pt x="173" y="82"/>
                    </a:lnTo>
                    <a:lnTo>
                      <a:pt x="175" y="81"/>
                    </a:lnTo>
                    <a:lnTo>
                      <a:pt x="175" y="81"/>
                    </a:lnTo>
                    <a:lnTo>
                      <a:pt x="179" y="74"/>
                    </a:lnTo>
                    <a:lnTo>
                      <a:pt x="181" y="71"/>
                    </a:lnTo>
                    <a:lnTo>
                      <a:pt x="185" y="69"/>
                    </a:lnTo>
                    <a:lnTo>
                      <a:pt x="193" y="74"/>
                    </a:lnTo>
                    <a:lnTo>
                      <a:pt x="193" y="74"/>
                    </a:lnTo>
                    <a:lnTo>
                      <a:pt x="192" y="71"/>
                    </a:lnTo>
                    <a:lnTo>
                      <a:pt x="189" y="69"/>
                    </a:lnTo>
                    <a:lnTo>
                      <a:pt x="189" y="69"/>
                    </a:lnTo>
                    <a:lnTo>
                      <a:pt x="192" y="69"/>
                    </a:lnTo>
                    <a:lnTo>
                      <a:pt x="193" y="71"/>
                    </a:lnTo>
                    <a:lnTo>
                      <a:pt x="193" y="71"/>
                    </a:lnTo>
                    <a:lnTo>
                      <a:pt x="195" y="71"/>
                    </a:lnTo>
                    <a:lnTo>
                      <a:pt x="196" y="72"/>
                    </a:lnTo>
                    <a:lnTo>
                      <a:pt x="196" y="72"/>
                    </a:lnTo>
                    <a:lnTo>
                      <a:pt x="196" y="72"/>
                    </a:lnTo>
                    <a:lnTo>
                      <a:pt x="196" y="72"/>
                    </a:lnTo>
                    <a:lnTo>
                      <a:pt x="196" y="72"/>
                    </a:lnTo>
                    <a:lnTo>
                      <a:pt x="196" y="72"/>
                    </a:lnTo>
                    <a:lnTo>
                      <a:pt x="196" y="74"/>
                    </a:lnTo>
                    <a:lnTo>
                      <a:pt x="197" y="73"/>
                    </a:lnTo>
                    <a:lnTo>
                      <a:pt x="199" y="74"/>
                    </a:lnTo>
                    <a:lnTo>
                      <a:pt x="199" y="74"/>
                    </a:lnTo>
                    <a:lnTo>
                      <a:pt x="197" y="72"/>
                    </a:lnTo>
                    <a:lnTo>
                      <a:pt x="201" y="68"/>
                    </a:lnTo>
                    <a:lnTo>
                      <a:pt x="202" y="68"/>
                    </a:lnTo>
                    <a:lnTo>
                      <a:pt x="206" y="69"/>
                    </a:lnTo>
                    <a:lnTo>
                      <a:pt x="206" y="69"/>
                    </a:lnTo>
                    <a:lnTo>
                      <a:pt x="206" y="69"/>
                    </a:lnTo>
                    <a:lnTo>
                      <a:pt x="206" y="69"/>
                    </a:lnTo>
                    <a:lnTo>
                      <a:pt x="206" y="69"/>
                    </a:lnTo>
                    <a:lnTo>
                      <a:pt x="206" y="69"/>
                    </a:lnTo>
                    <a:lnTo>
                      <a:pt x="210" y="69"/>
                    </a:lnTo>
                    <a:lnTo>
                      <a:pt x="213" y="68"/>
                    </a:lnTo>
                    <a:lnTo>
                      <a:pt x="213" y="68"/>
                    </a:lnTo>
                    <a:lnTo>
                      <a:pt x="214" y="67"/>
                    </a:lnTo>
                    <a:lnTo>
                      <a:pt x="214" y="65"/>
                    </a:lnTo>
                    <a:lnTo>
                      <a:pt x="214" y="64"/>
                    </a:lnTo>
                    <a:lnTo>
                      <a:pt x="217" y="60"/>
                    </a:lnTo>
                    <a:lnTo>
                      <a:pt x="217" y="60"/>
                    </a:lnTo>
                    <a:lnTo>
                      <a:pt x="218" y="57"/>
                    </a:lnTo>
                    <a:lnTo>
                      <a:pt x="218" y="53"/>
                    </a:lnTo>
                    <a:lnTo>
                      <a:pt x="218" y="53"/>
                    </a:lnTo>
                    <a:lnTo>
                      <a:pt x="221" y="47"/>
                    </a:lnTo>
                    <a:lnTo>
                      <a:pt x="222" y="43"/>
                    </a:lnTo>
                    <a:lnTo>
                      <a:pt x="225" y="40"/>
                    </a:lnTo>
                    <a:lnTo>
                      <a:pt x="225" y="40"/>
                    </a:lnTo>
                    <a:lnTo>
                      <a:pt x="224" y="39"/>
                    </a:lnTo>
                    <a:lnTo>
                      <a:pt x="222" y="36"/>
                    </a:lnTo>
                    <a:lnTo>
                      <a:pt x="222" y="36"/>
                    </a:lnTo>
                    <a:lnTo>
                      <a:pt x="224" y="32"/>
                    </a:lnTo>
                    <a:lnTo>
                      <a:pt x="224" y="28"/>
                    </a:lnTo>
                    <a:lnTo>
                      <a:pt x="224" y="28"/>
                    </a:lnTo>
                    <a:lnTo>
                      <a:pt x="224" y="26"/>
                    </a:lnTo>
                    <a:lnTo>
                      <a:pt x="225" y="23"/>
                    </a:lnTo>
                    <a:lnTo>
                      <a:pt x="225" y="23"/>
                    </a:lnTo>
                    <a:lnTo>
                      <a:pt x="225" y="24"/>
                    </a:lnTo>
                    <a:lnTo>
                      <a:pt x="228" y="19"/>
                    </a:lnTo>
                    <a:lnTo>
                      <a:pt x="228" y="19"/>
                    </a:lnTo>
                    <a:lnTo>
                      <a:pt x="234" y="15"/>
                    </a:lnTo>
                    <a:lnTo>
                      <a:pt x="243" y="14"/>
                    </a:lnTo>
                    <a:lnTo>
                      <a:pt x="243" y="14"/>
                    </a:lnTo>
                    <a:lnTo>
                      <a:pt x="250" y="12"/>
                    </a:lnTo>
                    <a:lnTo>
                      <a:pt x="254" y="10"/>
                    </a:lnTo>
                    <a:lnTo>
                      <a:pt x="255" y="8"/>
                    </a:lnTo>
                    <a:lnTo>
                      <a:pt x="255" y="8"/>
                    </a:lnTo>
                    <a:lnTo>
                      <a:pt x="258" y="6"/>
                    </a:lnTo>
                    <a:lnTo>
                      <a:pt x="261" y="6"/>
                    </a:lnTo>
                    <a:lnTo>
                      <a:pt x="265" y="4"/>
                    </a:lnTo>
                    <a:lnTo>
                      <a:pt x="265" y="4"/>
                    </a:lnTo>
                    <a:lnTo>
                      <a:pt x="269" y="4"/>
                    </a:lnTo>
                    <a:lnTo>
                      <a:pt x="270" y="4"/>
                    </a:lnTo>
                    <a:lnTo>
                      <a:pt x="270" y="4"/>
                    </a:lnTo>
                    <a:lnTo>
                      <a:pt x="271" y="4"/>
                    </a:lnTo>
                    <a:lnTo>
                      <a:pt x="271" y="4"/>
                    </a:lnTo>
                    <a:lnTo>
                      <a:pt x="273" y="4"/>
                    </a:lnTo>
                    <a:lnTo>
                      <a:pt x="273" y="4"/>
                    </a:lnTo>
                    <a:lnTo>
                      <a:pt x="278" y="3"/>
                    </a:lnTo>
                    <a:lnTo>
                      <a:pt x="278" y="3"/>
                    </a:lnTo>
                    <a:lnTo>
                      <a:pt x="280" y="4"/>
                    </a:lnTo>
                    <a:lnTo>
                      <a:pt x="283" y="6"/>
                    </a:lnTo>
                    <a:lnTo>
                      <a:pt x="283" y="6"/>
                    </a:lnTo>
                    <a:lnTo>
                      <a:pt x="283" y="4"/>
                    </a:lnTo>
                    <a:lnTo>
                      <a:pt x="283" y="4"/>
                    </a:lnTo>
                    <a:lnTo>
                      <a:pt x="287" y="2"/>
                    </a:lnTo>
                    <a:lnTo>
                      <a:pt x="290" y="0"/>
                    </a:lnTo>
                    <a:lnTo>
                      <a:pt x="294" y="0"/>
                    </a:lnTo>
                    <a:lnTo>
                      <a:pt x="294" y="0"/>
                    </a:lnTo>
                    <a:lnTo>
                      <a:pt x="296" y="0"/>
                    </a:lnTo>
                    <a:lnTo>
                      <a:pt x="296" y="0"/>
                    </a:lnTo>
                    <a:lnTo>
                      <a:pt x="296" y="2"/>
                    </a:lnTo>
                    <a:lnTo>
                      <a:pt x="296" y="2"/>
                    </a:lnTo>
                    <a:lnTo>
                      <a:pt x="298" y="2"/>
                    </a:lnTo>
                    <a:lnTo>
                      <a:pt x="298" y="2"/>
                    </a:lnTo>
                    <a:lnTo>
                      <a:pt x="302" y="4"/>
                    </a:lnTo>
                    <a:lnTo>
                      <a:pt x="302" y="4"/>
                    </a:lnTo>
                    <a:lnTo>
                      <a:pt x="304" y="7"/>
                    </a:lnTo>
                    <a:lnTo>
                      <a:pt x="306" y="10"/>
                    </a:lnTo>
                    <a:lnTo>
                      <a:pt x="308" y="10"/>
                    </a:lnTo>
                    <a:lnTo>
                      <a:pt x="312" y="11"/>
                    </a:lnTo>
                    <a:lnTo>
                      <a:pt x="312" y="11"/>
                    </a:lnTo>
                    <a:lnTo>
                      <a:pt x="312" y="11"/>
                    </a:lnTo>
                    <a:lnTo>
                      <a:pt x="312" y="11"/>
                    </a:lnTo>
                    <a:lnTo>
                      <a:pt x="314" y="11"/>
                    </a:lnTo>
                    <a:lnTo>
                      <a:pt x="320" y="19"/>
                    </a:lnTo>
                    <a:lnTo>
                      <a:pt x="320" y="19"/>
                    </a:lnTo>
                    <a:lnTo>
                      <a:pt x="320" y="19"/>
                    </a:lnTo>
                    <a:lnTo>
                      <a:pt x="321" y="20"/>
                    </a:lnTo>
                    <a:lnTo>
                      <a:pt x="321" y="20"/>
                    </a:lnTo>
                    <a:lnTo>
                      <a:pt x="321" y="18"/>
                    </a:lnTo>
                    <a:lnTo>
                      <a:pt x="320" y="16"/>
                    </a:lnTo>
                    <a:lnTo>
                      <a:pt x="320" y="16"/>
                    </a:lnTo>
                    <a:lnTo>
                      <a:pt x="320" y="15"/>
                    </a:lnTo>
                    <a:lnTo>
                      <a:pt x="320" y="15"/>
                    </a:lnTo>
                    <a:lnTo>
                      <a:pt x="319" y="15"/>
                    </a:lnTo>
                    <a:lnTo>
                      <a:pt x="319" y="15"/>
                    </a:lnTo>
                    <a:lnTo>
                      <a:pt x="319" y="14"/>
                    </a:lnTo>
                    <a:lnTo>
                      <a:pt x="319" y="14"/>
                    </a:lnTo>
                    <a:lnTo>
                      <a:pt x="320" y="14"/>
                    </a:lnTo>
                    <a:lnTo>
                      <a:pt x="320" y="14"/>
                    </a:lnTo>
                    <a:lnTo>
                      <a:pt x="324" y="15"/>
                    </a:lnTo>
                    <a:lnTo>
                      <a:pt x="325" y="16"/>
                    </a:lnTo>
                    <a:lnTo>
                      <a:pt x="325" y="16"/>
                    </a:lnTo>
                    <a:lnTo>
                      <a:pt x="327" y="18"/>
                    </a:lnTo>
                    <a:lnTo>
                      <a:pt x="327" y="22"/>
                    </a:lnTo>
                    <a:lnTo>
                      <a:pt x="327" y="27"/>
                    </a:lnTo>
                    <a:lnTo>
                      <a:pt x="327" y="27"/>
                    </a:lnTo>
                    <a:lnTo>
                      <a:pt x="328" y="28"/>
                    </a:lnTo>
                    <a:lnTo>
                      <a:pt x="328" y="28"/>
                    </a:lnTo>
                    <a:lnTo>
                      <a:pt x="331" y="28"/>
                    </a:lnTo>
                    <a:lnTo>
                      <a:pt x="331" y="28"/>
                    </a:lnTo>
                    <a:lnTo>
                      <a:pt x="333" y="30"/>
                    </a:lnTo>
                    <a:lnTo>
                      <a:pt x="333" y="30"/>
                    </a:lnTo>
                    <a:lnTo>
                      <a:pt x="331" y="30"/>
                    </a:lnTo>
                    <a:lnTo>
                      <a:pt x="331" y="31"/>
                    </a:lnTo>
                    <a:lnTo>
                      <a:pt x="336" y="27"/>
                    </a:lnTo>
                    <a:lnTo>
                      <a:pt x="336" y="27"/>
                    </a:lnTo>
                    <a:lnTo>
                      <a:pt x="336" y="26"/>
                    </a:lnTo>
                    <a:lnTo>
                      <a:pt x="336" y="26"/>
                    </a:lnTo>
                    <a:lnTo>
                      <a:pt x="339" y="26"/>
                    </a:lnTo>
                    <a:lnTo>
                      <a:pt x="341" y="26"/>
                    </a:lnTo>
                    <a:lnTo>
                      <a:pt x="341" y="26"/>
                    </a:lnTo>
                    <a:lnTo>
                      <a:pt x="345" y="26"/>
                    </a:lnTo>
                    <a:lnTo>
                      <a:pt x="347" y="26"/>
                    </a:lnTo>
                    <a:lnTo>
                      <a:pt x="347" y="26"/>
                    </a:lnTo>
                    <a:lnTo>
                      <a:pt x="353" y="31"/>
                    </a:lnTo>
                    <a:lnTo>
                      <a:pt x="353" y="31"/>
                    </a:lnTo>
                    <a:lnTo>
                      <a:pt x="356" y="35"/>
                    </a:lnTo>
                    <a:lnTo>
                      <a:pt x="358" y="36"/>
                    </a:lnTo>
                    <a:lnTo>
                      <a:pt x="358" y="36"/>
                    </a:lnTo>
                    <a:lnTo>
                      <a:pt x="361" y="35"/>
                    </a:lnTo>
                    <a:lnTo>
                      <a:pt x="364" y="33"/>
                    </a:lnTo>
                    <a:lnTo>
                      <a:pt x="364" y="33"/>
                    </a:lnTo>
                    <a:lnTo>
                      <a:pt x="366" y="33"/>
                    </a:lnTo>
                    <a:lnTo>
                      <a:pt x="366" y="33"/>
                    </a:lnTo>
                    <a:lnTo>
                      <a:pt x="368" y="33"/>
                    </a:lnTo>
                    <a:lnTo>
                      <a:pt x="368" y="33"/>
                    </a:lnTo>
                    <a:lnTo>
                      <a:pt x="373" y="31"/>
                    </a:lnTo>
                    <a:lnTo>
                      <a:pt x="378" y="30"/>
                    </a:lnTo>
                    <a:lnTo>
                      <a:pt x="378" y="30"/>
                    </a:lnTo>
                    <a:lnTo>
                      <a:pt x="381" y="30"/>
                    </a:lnTo>
                    <a:lnTo>
                      <a:pt x="384" y="31"/>
                    </a:lnTo>
                    <a:lnTo>
                      <a:pt x="389" y="36"/>
                    </a:lnTo>
                    <a:lnTo>
                      <a:pt x="390" y="39"/>
                    </a:lnTo>
                    <a:lnTo>
                      <a:pt x="390" y="39"/>
                    </a:lnTo>
                    <a:lnTo>
                      <a:pt x="394" y="44"/>
                    </a:lnTo>
                    <a:lnTo>
                      <a:pt x="399" y="48"/>
                    </a:lnTo>
                    <a:lnTo>
                      <a:pt x="398" y="49"/>
                    </a:lnTo>
                    <a:lnTo>
                      <a:pt x="399" y="49"/>
                    </a:lnTo>
                    <a:lnTo>
                      <a:pt x="399" y="49"/>
                    </a:lnTo>
                    <a:lnTo>
                      <a:pt x="399" y="49"/>
                    </a:lnTo>
                    <a:lnTo>
                      <a:pt x="407" y="53"/>
                    </a:lnTo>
                    <a:lnTo>
                      <a:pt x="413" y="60"/>
                    </a:lnTo>
                    <a:lnTo>
                      <a:pt x="413" y="61"/>
                    </a:lnTo>
                    <a:lnTo>
                      <a:pt x="415" y="64"/>
                    </a:lnTo>
                    <a:lnTo>
                      <a:pt x="415" y="64"/>
                    </a:lnTo>
                    <a:lnTo>
                      <a:pt x="414" y="61"/>
                    </a:lnTo>
                    <a:lnTo>
                      <a:pt x="414" y="61"/>
                    </a:lnTo>
                    <a:lnTo>
                      <a:pt x="415" y="61"/>
                    </a:lnTo>
                    <a:lnTo>
                      <a:pt x="415" y="61"/>
                    </a:lnTo>
                    <a:lnTo>
                      <a:pt x="418" y="63"/>
                    </a:lnTo>
                    <a:lnTo>
                      <a:pt x="419" y="64"/>
                    </a:lnTo>
                    <a:lnTo>
                      <a:pt x="419" y="64"/>
                    </a:lnTo>
                    <a:lnTo>
                      <a:pt x="422" y="68"/>
                    </a:lnTo>
                    <a:lnTo>
                      <a:pt x="422" y="72"/>
                    </a:lnTo>
                    <a:lnTo>
                      <a:pt x="422" y="72"/>
                    </a:lnTo>
                    <a:lnTo>
                      <a:pt x="423" y="73"/>
                    </a:lnTo>
                    <a:lnTo>
                      <a:pt x="422" y="74"/>
                    </a:lnTo>
                    <a:lnTo>
                      <a:pt x="427" y="72"/>
                    </a:lnTo>
                    <a:lnTo>
                      <a:pt x="427" y="72"/>
                    </a:lnTo>
                    <a:lnTo>
                      <a:pt x="429" y="72"/>
                    </a:lnTo>
                    <a:lnTo>
                      <a:pt x="429" y="72"/>
                    </a:lnTo>
                    <a:lnTo>
                      <a:pt x="431" y="73"/>
                    </a:lnTo>
                    <a:lnTo>
                      <a:pt x="431" y="73"/>
                    </a:lnTo>
                    <a:lnTo>
                      <a:pt x="435" y="73"/>
                    </a:lnTo>
                    <a:lnTo>
                      <a:pt x="435" y="73"/>
                    </a:lnTo>
                    <a:lnTo>
                      <a:pt x="442" y="73"/>
                    </a:lnTo>
                    <a:lnTo>
                      <a:pt x="450" y="76"/>
                    </a:lnTo>
                    <a:lnTo>
                      <a:pt x="452" y="76"/>
                    </a:lnTo>
                    <a:lnTo>
                      <a:pt x="458" y="78"/>
                    </a:lnTo>
                    <a:lnTo>
                      <a:pt x="458" y="78"/>
                    </a:lnTo>
                    <a:lnTo>
                      <a:pt x="456" y="77"/>
                    </a:lnTo>
                    <a:lnTo>
                      <a:pt x="456" y="77"/>
                    </a:lnTo>
                    <a:lnTo>
                      <a:pt x="456" y="77"/>
                    </a:lnTo>
                    <a:lnTo>
                      <a:pt x="456" y="77"/>
                    </a:lnTo>
                    <a:lnTo>
                      <a:pt x="460" y="77"/>
                    </a:lnTo>
                    <a:lnTo>
                      <a:pt x="460" y="77"/>
                    </a:lnTo>
                    <a:lnTo>
                      <a:pt x="463" y="77"/>
                    </a:lnTo>
                    <a:lnTo>
                      <a:pt x="463" y="77"/>
                    </a:lnTo>
                    <a:lnTo>
                      <a:pt x="466" y="77"/>
                    </a:lnTo>
                    <a:lnTo>
                      <a:pt x="471" y="77"/>
                    </a:lnTo>
                    <a:lnTo>
                      <a:pt x="476" y="82"/>
                    </a:lnTo>
                    <a:lnTo>
                      <a:pt x="476" y="82"/>
                    </a:lnTo>
                    <a:lnTo>
                      <a:pt x="476" y="86"/>
                    </a:lnTo>
                    <a:lnTo>
                      <a:pt x="475" y="89"/>
                    </a:lnTo>
                    <a:lnTo>
                      <a:pt x="475" y="89"/>
                    </a:lnTo>
                    <a:lnTo>
                      <a:pt x="475" y="89"/>
                    </a:lnTo>
                    <a:lnTo>
                      <a:pt x="475" y="89"/>
                    </a:lnTo>
                    <a:lnTo>
                      <a:pt x="475" y="88"/>
                    </a:lnTo>
                    <a:lnTo>
                      <a:pt x="472" y="92"/>
                    </a:lnTo>
                    <a:lnTo>
                      <a:pt x="472" y="92"/>
                    </a:lnTo>
                    <a:lnTo>
                      <a:pt x="471" y="93"/>
                    </a:lnTo>
                    <a:lnTo>
                      <a:pt x="471" y="93"/>
                    </a:lnTo>
                    <a:lnTo>
                      <a:pt x="471" y="94"/>
                    </a:lnTo>
                    <a:lnTo>
                      <a:pt x="471" y="114"/>
                    </a:lnTo>
                    <a:lnTo>
                      <a:pt x="463" y="119"/>
                    </a:lnTo>
                    <a:lnTo>
                      <a:pt x="463" y="119"/>
                    </a:lnTo>
                    <a:lnTo>
                      <a:pt x="462" y="119"/>
                    </a:lnTo>
                    <a:lnTo>
                      <a:pt x="462" y="119"/>
                    </a:lnTo>
                    <a:lnTo>
                      <a:pt x="460" y="119"/>
                    </a:lnTo>
                    <a:lnTo>
                      <a:pt x="460" y="119"/>
                    </a:lnTo>
                    <a:lnTo>
                      <a:pt x="462" y="119"/>
                    </a:lnTo>
                    <a:lnTo>
                      <a:pt x="462" y="119"/>
                    </a:lnTo>
                    <a:lnTo>
                      <a:pt x="456" y="125"/>
                    </a:lnTo>
                    <a:lnTo>
                      <a:pt x="456" y="125"/>
                    </a:lnTo>
                    <a:lnTo>
                      <a:pt x="459" y="123"/>
                    </a:lnTo>
                    <a:lnTo>
                      <a:pt x="459" y="123"/>
                    </a:lnTo>
                    <a:lnTo>
                      <a:pt x="458" y="123"/>
                    </a:lnTo>
                    <a:lnTo>
                      <a:pt x="458" y="123"/>
                    </a:lnTo>
                    <a:lnTo>
                      <a:pt x="458" y="126"/>
                    </a:lnTo>
                    <a:lnTo>
                      <a:pt x="458" y="126"/>
                    </a:lnTo>
                    <a:lnTo>
                      <a:pt x="458" y="127"/>
                    </a:lnTo>
                    <a:lnTo>
                      <a:pt x="458" y="127"/>
                    </a:lnTo>
                    <a:lnTo>
                      <a:pt x="460" y="131"/>
                    </a:lnTo>
                    <a:lnTo>
                      <a:pt x="460" y="131"/>
                    </a:lnTo>
                    <a:lnTo>
                      <a:pt x="463" y="138"/>
                    </a:lnTo>
                    <a:lnTo>
                      <a:pt x="463" y="138"/>
                    </a:lnTo>
                    <a:lnTo>
                      <a:pt x="464" y="142"/>
                    </a:lnTo>
                    <a:lnTo>
                      <a:pt x="466" y="146"/>
                    </a:lnTo>
                    <a:lnTo>
                      <a:pt x="466" y="149"/>
                    </a:lnTo>
                    <a:lnTo>
                      <a:pt x="462" y="154"/>
                    </a:lnTo>
                    <a:lnTo>
                      <a:pt x="462" y="154"/>
                    </a:lnTo>
                    <a:lnTo>
                      <a:pt x="460" y="155"/>
                    </a:lnTo>
                    <a:lnTo>
                      <a:pt x="460" y="155"/>
                    </a:lnTo>
                    <a:lnTo>
                      <a:pt x="455" y="158"/>
                    </a:lnTo>
                    <a:lnTo>
                      <a:pt x="452" y="159"/>
                    </a:lnTo>
                    <a:lnTo>
                      <a:pt x="448" y="159"/>
                    </a:lnTo>
                    <a:lnTo>
                      <a:pt x="448" y="159"/>
                    </a:lnTo>
                    <a:lnTo>
                      <a:pt x="444" y="159"/>
                    </a:lnTo>
                    <a:lnTo>
                      <a:pt x="443" y="159"/>
                    </a:lnTo>
                    <a:lnTo>
                      <a:pt x="443" y="159"/>
                    </a:lnTo>
                    <a:lnTo>
                      <a:pt x="443" y="160"/>
                    </a:lnTo>
                    <a:lnTo>
                      <a:pt x="443" y="160"/>
                    </a:lnTo>
                    <a:lnTo>
                      <a:pt x="444" y="163"/>
                    </a:lnTo>
                    <a:lnTo>
                      <a:pt x="446" y="166"/>
                    </a:lnTo>
                    <a:lnTo>
                      <a:pt x="450" y="171"/>
                    </a:lnTo>
                    <a:lnTo>
                      <a:pt x="450" y="172"/>
                    </a:lnTo>
                    <a:lnTo>
                      <a:pt x="448" y="176"/>
                    </a:lnTo>
                    <a:lnTo>
                      <a:pt x="448" y="176"/>
                    </a:lnTo>
                    <a:lnTo>
                      <a:pt x="447" y="179"/>
                    </a:lnTo>
                    <a:lnTo>
                      <a:pt x="447" y="179"/>
                    </a:lnTo>
                    <a:lnTo>
                      <a:pt x="444" y="184"/>
                    </a:lnTo>
                    <a:lnTo>
                      <a:pt x="442" y="188"/>
                    </a:lnTo>
                    <a:lnTo>
                      <a:pt x="439" y="189"/>
                    </a:lnTo>
                    <a:lnTo>
                      <a:pt x="439" y="189"/>
                    </a:lnTo>
                    <a:lnTo>
                      <a:pt x="434" y="193"/>
                    </a:lnTo>
                    <a:lnTo>
                      <a:pt x="434" y="193"/>
                    </a:lnTo>
                    <a:lnTo>
                      <a:pt x="427" y="199"/>
                    </a:lnTo>
                    <a:lnTo>
                      <a:pt x="423" y="201"/>
                    </a:lnTo>
                    <a:lnTo>
                      <a:pt x="419" y="203"/>
                    </a:lnTo>
                    <a:lnTo>
                      <a:pt x="419" y="203"/>
                    </a:lnTo>
                    <a:lnTo>
                      <a:pt x="419" y="203"/>
                    </a:lnTo>
                    <a:lnTo>
                      <a:pt x="413" y="205"/>
                    </a:lnTo>
                    <a:lnTo>
                      <a:pt x="406" y="205"/>
                    </a:lnTo>
                    <a:lnTo>
                      <a:pt x="406" y="205"/>
                    </a:lnTo>
                    <a:lnTo>
                      <a:pt x="406" y="207"/>
                    </a:lnTo>
                    <a:lnTo>
                      <a:pt x="405" y="207"/>
                    </a:lnTo>
                    <a:lnTo>
                      <a:pt x="399" y="211"/>
                    </a:lnTo>
                    <a:lnTo>
                      <a:pt x="399" y="211"/>
                    </a:lnTo>
                    <a:lnTo>
                      <a:pt x="397" y="211"/>
                    </a:lnTo>
                    <a:lnTo>
                      <a:pt x="394" y="208"/>
                    </a:lnTo>
                    <a:lnTo>
                      <a:pt x="393" y="205"/>
                    </a:lnTo>
                    <a:lnTo>
                      <a:pt x="393" y="205"/>
                    </a:lnTo>
                    <a:lnTo>
                      <a:pt x="392" y="204"/>
                    </a:lnTo>
                    <a:lnTo>
                      <a:pt x="392" y="204"/>
                    </a:lnTo>
                    <a:lnTo>
                      <a:pt x="393" y="205"/>
                    </a:lnTo>
                    <a:lnTo>
                      <a:pt x="390" y="204"/>
                    </a:lnTo>
                    <a:lnTo>
                      <a:pt x="390" y="204"/>
                    </a:lnTo>
                    <a:lnTo>
                      <a:pt x="389" y="199"/>
                    </a:lnTo>
                    <a:lnTo>
                      <a:pt x="389" y="192"/>
                    </a:lnTo>
                    <a:lnTo>
                      <a:pt x="389" y="192"/>
                    </a:lnTo>
                    <a:lnTo>
                      <a:pt x="389" y="192"/>
                    </a:lnTo>
                    <a:lnTo>
                      <a:pt x="389" y="192"/>
                    </a:lnTo>
                    <a:lnTo>
                      <a:pt x="388" y="192"/>
                    </a:lnTo>
                    <a:lnTo>
                      <a:pt x="386" y="189"/>
                    </a:lnTo>
                    <a:lnTo>
                      <a:pt x="386" y="189"/>
                    </a:lnTo>
                    <a:lnTo>
                      <a:pt x="385" y="189"/>
                    </a:lnTo>
                    <a:lnTo>
                      <a:pt x="384" y="189"/>
                    </a:lnTo>
                    <a:lnTo>
                      <a:pt x="384" y="189"/>
                    </a:lnTo>
                    <a:lnTo>
                      <a:pt x="381" y="187"/>
                    </a:lnTo>
                    <a:lnTo>
                      <a:pt x="381" y="187"/>
                    </a:lnTo>
                    <a:lnTo>
                      <a:pt x="380" y="187"/>
                    </a:lnTo>
                    <a:lnTo>
                      <a:pt x="378" y="187"/>
                    </a:lnTo>
                    <a:lnTo>
                      <a:pt x="378" y="187"/>
                    </a:lnTo>
                    <a:lnTo>
                      <a:pt x="380" y="187"/>
                    </a:lnTo>
                    <a:lnTo>
                      <a:pt x="380" y="187"/>
                    </a:lnTo>
                    <a:lnTo>
                      <a:pt x="381" y="187"/>
                    </a:lnTo>
                    <a:lnTo>
                      <a:pt x="377" y="182"/>
                    </a:lnTo>
                    <a:lnTo>
                      <a:pt x="377" y="182"/>
                    </a:lnTo>
                    <a:lnTo>
                      <a:pt x="377" y="184"/>
                    </a:lnTo>
                    <a:lnTo>
                      <a:pt x="378" y="186"/>
                    </a:lnTo>
                    <a:lnTo>
                      <a:pt x="378" y="186"/>
                    </a:lnTo>
                    <a:lnTo>
                      <a:pt x="378" y="187"/>
                    </a:lnTo>
                    <a:lnTo>
                      <a:pt x="377" y="186"/>
                    </a:lnTo>
                    <a:lnTo>
                      <a:pt x="377" y="186"/>
                    </a:lnTo>
                    <a:lnTo>
                      <a:pt x="378" y="187"/>
                    </a:lnTo>
                    <a:lnTo>
                      <a:pt x="378" y="187"/>
                    </a:lnTo>
                    <a:lnTo>
                      <a:pt x="380" y="188"/>
                    </a:lnTo>
                    <a:lnTo>
                      <a:pt x="380" y="188"/>
                    </a:lnTo>
                    <a:lnTo>
                      <a:pt x="377" y="189"/>
                    </a:lnTo>
                    <a:lnTo>
                      <a:pt x="374" y="189"/>
                    </a:lnTo>
                    <a:lnTo>
                      <a:pt x="374" y="189"/>
                    </a:lnTo>
                    <a:lnTo>
                      <a:pt x="372" y="188"/>
                    </a:lnTo>
                    <a:lnTo>
                      <a:pt x="372" y="188"/>
                    </a:lnTo>
                    <a:lnTo>
                      <a:pt x="369" y="192"/>
                    </a:lnTo>
                    <a:lnTo>
                      <a:pt x="368" y="193"/>
                    </a:lnTo>
                    <a:lnTo>
                      <a:pt x="364" y="195"/>
                    </a:lnTo>
                    <a:lnTo>
                      <a:pt x="360" y="195"/>
                    </a:lnTo>
                    <a:lnTo>
                      <a:pt x="355" y="187"/>
                    </a:lnTo>
                    <a:lnTo>
                      <a:pt x="355" y="187"/>
                    </a:lnTo>
                    <a:lnTo>
                      <a:pt x="355" y="189"/>
                    </a:lnTo>
                    <a:lnTo>
                      <a:pt x="356" y="191"/>
                    </a:lnTo>
                    <a:lnTo>
                      <a:pt x="356" y="191"/>
                    </a:lnTo>
                    <a:lnTo>
                      <a:pt x="356" y="191"/>
                    </a:lnTo>
                    <a:lnTo>
                      <a:pt x="353" y="191"/>
                    </a:lnTo>
                    <a:lnTo>
                      <a:pt x="353" y="191"/>
                    </a:lnTo>
                    <a:lnTo>
                      <a:pt x="355" y="191"/>
                    </a:lnTo>
                    <a:lnTo>
                      <a:pt x="355" y="191"/>
                    </a:lnTo>
                    <a:lnTo>
                      <a:pt x="353" y="191"/>
                    </a:lnTo>
                    <a:lnTo>
                      <a:pt x="352" y="191"/>
                    </a:lnTo>
                    <a:lnTo>
                      <a:pt x="345" y="184"/>
                    </a:lnTo>
                    <a:lnTo>
                      <a:pt x="345" y="184"/>
                    </a:lnTo>
                    <a:lnTo>
                      <a:pt x="347" y="188"/>
                    </a:lnTo>
                    <a:lnTo>
                      <a:pt x="347" y="188"/>
                    </a:lnTo>
                    <a:lnTo>
                      <a:pt x="348" y="189"/>
                    </a:lnTo>
                    <a:lnTo>
                      <a:pt x="349" y="189"/>
                    </a:lnTo>
                    <a:lnTo>
                      <a:pt x="349" y="189"/>
                    </a:lnTo>
                    <a:lnTo>
                      <a:pt x="348" y="189"/>
                    </a:lnTo>
                    <a:lnTo>
                      <a:pt x="348" y="189"/>
                    </a:lnTo>
                    <a:lnTo>
                      <a:pt x="347" y="189"/>
                    </a:lnTo>
                    <a:lnTo>
                      <a:pt x="347" y="189"/>
                    </a:lnTo>
                    <a:lnTo>
                      <a:pt x="344" y="189"/>
                    </a:lnTo>
                    <a:lnTo>
                      <a:pt x="343" y="189"/>
                    </a:lnTo>
                    <a:lnTo>
                      <a:pt x="337" y="186"/>
                    </a:lnTo>
                    <a:lnTo>
                      <a:pt x="337" y="187"/>
                    </a:lnTo>
                    <a:lnTo>
                      <a:pt x="337" y="187"/>
                    </a:lnTo>
                    <a:lnTo>
                      <a:pt x="340" y="188"/>
                    </a:lnTo>
                    <a:lnTo>
                      <a:pt x="339" y="188"/>
                    </a:lnTo>
                    <a:lnTo>
                      <a:pt x="339" y="188"/>
                    </a:lnTo>
                    <a:lnTo>
                      <a:pt x="337" y="188"/>
                    </a:lnTo>
                    <a:lnTo>
                      <a:pt x="336" y="188"/>
                    </a:lnTo>
                    <a:lnTo>
                      <a:pt x="331" y="184"/>
                    </a:lnTo>
                    <a:lnTo>
                      <a:pt x="331" y="186"/>
                    </a:lnTo>
                    <a:lnTo>
                      <a:pt x="331" y="186"/>
                    </a:lnTo>
                    <a:lnTo>
                      <a:pt x="331" y="186"/>
                    </a:lnTo>
                    <a:lnTo>
                      <a:pt x="333" y="187"/>
                    </a:lnTo>
                    <a:lnTo>
                      <a:pt x="332" y="187"/>
                    </a:lnTo>
                    <a:lnTo>
                      <a:pt x="332" y="187"/>
                    </a:lnTo>
                    <a:lnTo>
                      <a:pt x="331" y="187"/>
                    </a:lnTo>
                    <a:lnTo>
                      <a:pt x="331" y="187"/>
                    </a:lnTo>
                    <a:lnTo>
                      <a:pt x="331" y="192"/>
                    </a:lnTo>
                    <a:lnTo>
                      <a:pt x="328" y="196"/>
                    </a:lnTo>
                    <a:lnTo>
                      <a:pt x="328" y="196"/>
                    </a:lnTo>
                    <a:lnTo>
                      <a:pt x="328" y="196"/>
                    </a:lnTo>
                    <a:lnTo>
                      <a:pt x="328" y="197"/>
                    </a:lnTo>
                    <a:lnTo>
                      <a:pt x="328" y="203"/>
                    </a:lnTo>
                    <a:lnTo>
                      <a:pt x="323" y="208"/>
                    </a:lnTo>
                    <a:lnTo>
                      <a:pt x="323" y="208"/>
                    </a:lnTo>
                    <a:lnTo>
                      <a:pt x="325" y="207"/>
                    </a:lnTo>
                    <a:lnTo>
                      <a:pt x="327" y="204"/>
                    </a:lnTo>
                    <a:lnTo>
                      <a:pt x="327" y="204"/>
                    </a:lnTo>
                    <a:lnTo>
                      <a:pt x="327" y="207"/>
                    </a:lnTo>
                    <a:lnTo>
                      <a:pt x="325" y="208"/>
                    </a:lnTo>
                    <a:lnTo>
                      <a:pt x="325" y="208"/>
                    </a:lnTo>
                    <a:lnTo>
                      <a:pt x="325" y="208"/>
                    </a:lnTo>
                    <a:lnTo>
                      <a:pt x="325" y="208"/>
                    </a:lnTo>
                    <a:lnTo>
                      <a:pt x="325" y="211"/>
                    </a:lnTo>
                    <a:lnTo>
                      <a:pt x="325" y="212"/>
                    </a:lnTo>
                    <a:lnTo>
                      <a:pt x="324" y="216"/>
                    </a:lnTo>
                    <a:lnTo>
                      <a:pt x="324" y="216"/>
                    </a:lnTo>
                    <a:lnTo>
                      <a:pt x="324" y="215"/>
                    </a:lnTo>
                    <a:lnTo>
                      <a:pt x="324" y="215"/>
                    </a:lnTo>
                    <a:lnTo>
                      <a:pt x="324" y="220"/>
                    </a:lnTo>
                    <a:lnTo>
                      <a:pt x="324" y="220"/>
                    </a:lnTo>
                    <a:lnTo>
                      <a:pt x="323" y="219"/>
                    </a:lnTo>
                    <a:lnTo>
                      <a:pt x="327" y="224"/>
                    </a:lnTo>
                    <a:lnTo>
                      <a:pt x="327" y="225"/>
                    </a:lnTo>
                    <a:lnTo>
                      <a:pt x="327" y="225"/>
                    </a:lnTo>
                    <a:lnTo>
                      <a:pt x="327" y="228"/>
                    </a:lnTo>
                    <a:lnTo>
                      <a:pt x="325" y="230"/>
                    </a:lnTo>
                    <a:lnTo>
                      <a:pt x="323" y="233"/>
                    </a:lnTo>
                    <a:lnTo>
                      <a:pt x="321" y="233"/>
                    </a:lnTo>
                    <a:lnTo>
                      <a:pt x="320" y="234"/>
                    </a:lnTo>
                    <a:lnTo>
                      <a:pt x="317" y="234"/>
                    </a:lnTo>
                    <a:lnTo>
                      <a:pt x="317" y="240"/>
                    </a:lnTo>
                    <a:lnTo>
                      <a:pt x="312" y="245"/>
                    </a:lnTo>
                    <a:lnTo>
                      <a:pt x="312" y="245"/>
                    </a:lnTo>
                    <a:lnTo>
                      <a:pt x="315" y="244"/>
                    </a:lnTo>
                    <a:lnTo>
                      <a:pt x="316" y="241"/>
                    </a:lnTo>
                    <a:lnTo>
                      <a:pt x="316" y="241"/>
                    </a:lnTo>
                    <a:lnTo>
                      <a:pt x="316" y="242"/>
                    </a:lnTo>
                    <a:lnTo>
                      <a:pt x="316" y="242"/>
                    </a:lnTo>
                    <a:lnTo>
                      <a:pt x="316" y="248"/>
                    </a:lnTo>
                    <a:lnTo>
                      <a:pt x="316" y="248"/>
                    </a:lnTo>
                    <a:lnTo>
                      <a:pt x="316" y="249"/>
                    </a:lnTo>
                    <a:lnTo>
                      <a:pt x="316" y="249"/>
                    </a:lnTo>
                    <a:lnTo>
                      <a:pt x="316" y="249"/>
                    </a:lnTo>
                    <a:lnTo>
                      <a:pt x="316" y="249"/>
                    </a:lnTo>
                    <a:lnTo>
                      <a:pt x="312" y="254"/>
                    </a:lnTo>
                    <a:lnTo>
                      <a:pt x="312" y="254"/>
                    </a:lnTo>
                    <a:lnTo>
                      <a:pt x="315" y="253"/>
                    </a:lnTo>
                    <a:lnTo>
                      <a:pt x="315" y="250"/>
                    </a:lnTo>
                    <a:lnTo>
                      <a:pt x="315" y="250"/>
                    </a:lnTo>
                    <a:lnTo>
                      <a:pt x="314" y="254"/>
                    </a:lnTo>
                    <a:lnTo>
                      <a:pt x="312" y="257"/>
                    </a:lnTo>
                    <a:lnTo>
                      <a:pt x="308" y="258"/>
                    </a:lnTo>
                    <a:lnTo>
                      <a:pt x="307" y="258"/>
                    </a:lnTo>
                    <a:lnTo>
                      <a:pt x="307" y="258"/>
                    </a:lnTo>
                    <a:lnTo>
                      <a:pt x="302" y="256"/>
                    </a:lnTo>
                    <a:lnTo>
                      <a:pt x="298" y="254"/>
                    </a:lnTo>
                    <a:lnTo>
                      <a:pt x="292" y="248"/>
                    </a:lnTo>
                    <a:lnTo>
                      <a:pt x="292" y="248"/>
                    </a:lnTo>
                    <a:lnTo>
                      <a:pt x="287" y="244"/>
                    </a:lnTo>
                    <a:lnTo>
                      <a:pt x="287" y="244"/>
                    </a:lnTo>
                    <a:lnTo>
                      <a:pt x="286" y="244"/>
                    </a:lnTo>
                    <a:lnTo>
                      <a:pt x="286" y="244"/>
                    </a:lnTo>
                    <a:lnTo>
                      <a:pt x="282" y="246"/>
                    </a:lnTo>
                    <a:lnTo>
                      <a:pt x="275" y="249"/>
                    </a:lnTo>
                    <a:lnTo>
                      <a:pt x="278" y="252"/>
                    </a:lnTo>
                    <a:lnTo>
                      <a:pt x="278" y="253"/>
                    </a:lnTo>
                    <a:lnTo>
                      <a:pt x="278" y="253"/>
                    </a:lnTo>
                    <a:lnTo>
                      <a:pt x="278" y="254"/>
                    </a:lnTo>
                    <a:lnTo>
                      <a:pt x="278" y="254"/>
                    </a:lnTo>
                    <a:lnTo>
                      <a:pt x="277" y="253"/>
                    </a:lnTo>
                    <a:lnTo>
                      <a:pt x="280" y="258"/>
                    </a:lnTo>
                    <a:lnTo>
                      <a:pt x="280" y="260"/>
                    </a:lnTo>
                    <a:lnTo>
                      <a:pt x="280" y="260"/>
                    </a:lnTo>
                    <a:lnTo>
                      <a:pt x="279" y="270"/>
                    </a:lnTo>
                    <a:lnTo>
                      <a:pt x="279" y="270"/>
                    </a:lnTo>
                    <a:lnTo>
                      <a:pt x="279" y="275"/>
                    </a:lnTo>
                    <a:lnTo>
                      <a:pt x="280" y="281"/>
                    </a:lnTo>
                    <a:lnTo>
                      <a:pt x="280" y="283"/>
                    </a:lnTo>
                    <a:lnTo>
                      <a:pt x="280" y="290"/>
                    </a:lnTo>
                    <a:lnTo>
                      <a:pt x="279" y="294"/>
                    </a:lnTo>
                    <a:lnTo>
                      <a:pt x="279" y="294"/>
                    </a:lnTo>
                    <a:lnTo>
                      <a:pt x="280" y="294"/>
                    </a:lnTo>
                    <a:lnTo>
                      <a:pt x="280" y="294"/>
                    </a:lnTo>
                    <a:lnTo>
                      <a:pt x="280" y="295"/>
                    </a:lnTo>
                    <a:lnTo>
                      <a:pt x="274" y="301"/>
                    </a:lnTo>
                    <a:lnTo>
                      <a:pt x="274" y="301"/>
                    </a:lnTo>
                    <a:lnTo>
                      <a:pt x="274" y="301"/>
                    </a:lnTo>
                    <a:lnTo>
                      <a:pt x="277" y="299"/>
                    </a:lnTo>
                    <a:lnTo>
                      <a:pt x="277" y="301"/>
                    </a:lnTo>
                    <a:lnTo>
                      <a:pt x="277" y="301"/>
                    </a:lnTo>
                    <a:lnTo>
                      <a:pt x="278" y="299"/>
                    </a:lnTo>
                    <a:lnTo>
                      <a:pt x="278" y="299"/>
                    </a:lnTo>
                    <a:lnTo>
                      <a:pt x="278" y="305"/>
                    </a:lnTo>
                    <a:lnTo>
                      <a:pt x="278" y="305"/>
                    </a:lnTo>
                    <a:lnTo>
                      <a:pt x="278" y="311"/>
                    </a:lnTo>
                    <a:lnTo>
                      <a:pt x="271" y="316"/>
                    </a:lnTo>
                    <a:lnTo>
                      <a:pt x="265" y="316"/>
                    </a:lnTo>
                    <a:lnTo>
                      <a:pt x="259" y="311"/>
                    </a:lnTo>
                    <a:lnTo>
                      <a:pt x="259" y="311"/>
                    </a:lnTo>
                    <a:lnTo>
                      <a:pt x="261" y="314"/>
                    </a:lnTo>
                    <a:lnTo>
                      <a:pt x="263" y="315"/>
                    </a:lnTo>
                    <a:lnTo>
                      <a:pt x="263" y="315"/>
                    </a:lnTo>
                    <a:lnTo>
                      <a:pt x="261" y="315"/>
                    </a:lnTo>
                    <a:lnTo>
                      <a:pt x="258" y="311"/>
                    </a:lnTo>
                    <a:lnTo>
                      <a:pt x="258" y="311"/>
                    </a:lnTo>
                    <a:lnTo>
                      <a:pt x="258" y="311"/>
                    </a:lnTo>
                    <a:lnTo>
                      <a:pt x="257" y="311"/>
                    </a:lnTo>
                    <a:lnTo>
                      <a:pt x="257" y="311"/>
                    </a:lnTo>
                    <a:lnTo>
                      <a:pt x="257" y="311"/>
                    </a:lnTo>
                    <a:lnTo>
                      <a:pt x="257" y="311"/>
                    </a:lnTo>
                    <a:lnTo>
                      <a:pt x="253" y="315"/>
                    </a:lnTo>
                    <a:lnTo>
                      <a:pt x="251" y="315"/>
                    </a:lnTo>
                    <a:lnTo>
                      <a:pt x="250" y="315"/>
                    </a:lnTo>
                    <a:lnTo>
                      <a:pt x="250" y="315"/>
                    </a:lnTo>
                    <a:lnTo>
                      <a:pt x="249" y="315"/>
                    </a:lnTo>
                    <a:lnTo>
                      <a:pt x="249" y="315"/>
                    </a:lnTo>
                    <a:lnTo>
                      <a:pt x="243" y="320"/>
                    </a:lnTo>
                    <a:lnTo>
                      <a:pt x="243" y="320"/>
                    </a:lnTo>
                    <a:lnTo>
                      <a:pt x="246" y="319"/>
                    </a:lnTo>
                    <a:lnTo>
                      <a:pt x="247" y="316"/>
                    </a:lnTo>
                    <a:lnTo>
                      <a:pt x="247" y="318"/>
                    </a:lnTo>
                    <a:lnTo>
                      <a:pt x="247" y="318"/>
                    </a:lnTo>
                    <a:lnTo>
                      <a:pt x="247" y="320"/>
                    </a:lnTo>
                    <a:lnTo>
                      <a:pt x="246" y="323"/>
                    </a:lnTo>
                    <a:lnTo>
                      <a:pt x="243" y="324"/>
                    </a:lnTo>
                    <a:lnTo>
                      <a:pt x="241" y="326"/>
                    </a:lnTo>
                    <a:lnTo>
                      <a:pt x="241" y="326"/>
                    </a:lnTo>
                    <a:lnTo>
                      <a:pt x="237" y="326"/>
                    </a:lnTo>
                    <a:lnTo>
                      <a:pt x="237" y="326"/>
                    </a:lnTo>
                    <a:lnTo>
                      <a:pt x="234" y="326"/>
                    </a:lnTo>
                    <a:lnTo>
                      <a:pt x="233" y="324"/>
                    </a:lnTo>
                    <a:lnTo>
                      <a:pt x="230" y="322"/>
                    </a:lnTo>
                    <a:lnTo>
                      <a:pt x="228" y="322"/>
                    </a:lnTo>
                    <a:lnTo>
                      <a:pt x="226" y="319"/>
                    </a:lnTo>
                    <a:lnTo>
                      <a:pt x="226" y="319"/>
                    </a:lnTo>
                    <a:lnTo>
                      <a:pt x="229" y="318"/>
                    </a:lnTo>
                    <a:lnTo>
                      <a:pt x="229" y="318"/>
                    </a:lnTo>
                    <a:lnTo>
                      <a:pt x="229" y="315"/>
                    </a:lnTo>
                    <a:lnTo>
                      <a:pt x="229" y="312"/>
                    </a:lnTo>
                    <a:lnTo>
                      <a:pt x="226" y="318"/>
                    </a:lnTo>
                    <a:lnTo>
                      <a:pt x="222" y="312"/>
                    </a:lnTo>
                    <a:lnTo>
                      <a:pt x="222" y="312"/>
                    </a:lnTo>
                    <a:lnTo>
                      <a:pt x="222" y="315"/>
                    </a:lnTo>
                    <a:lnTo>
                      <a:pt x="222" y="318"/>
                    </a:lnTo>
                    <a:lnTo>
                      <a:pt x="222" y="318"/>
                    </a:lnTo>
                    <a:lnTo>
                      <a:pt x="225" y="319"/>
                    </a:lnTo>
                    <a:lnTo>
                      <a:pt x="224" y="322"/>
                    </a:lnTo>
                    <a:lnTo>
                      <a:pt x="224" y="322"/>
                    </a:lnTo>
                    <a:lnTo>
                      <a:pt x="224" y="320"/>
                    </a:lnTo>
                    <a:lnTo>
                      <a:pt x="224" y="320"/>
                    </a:lnTo>
                    <a:lnTo>
                      <a:pt x="224" y="322"/>
                    </a:lnTo>
                    <a:lnTo>
                      <a:pt x="224" y="322"/>
                    </a:lnTo>
                    <a:lnTo>
                      <a:pt x="220" y="326"/>
                    </a:lnTo>
                    <a:lnTo>
                      <a:pt x="217" y="328"/>
                    </a:lnTo>
                    <a:lnTo>
                      <a:pt x="213" y="330"/>
                    </a:lnTo>
                    <a:lnTo>
                      <a:pt x="212" y="330"/>
                    </a:lnTo>
                    <a:lnTo>
                      <a:pt x="208" y="327"/>
                    </a:lnTo>
                    <a:lnTo>
                      <a:pt x="208" y="327"/>
                    </a:lnTo>
                    <a:lnTo>
                      <a:pt x="206" y="327"/>
                    </a:lnTo>
                    <a:lnTo>
                      <a:pt x="206" y="327"/>
                    </a:lnTo>
                    <a:lnTo>
                      <a:pt x="208" y="327"/>
                    </a:lnTo>
                    <a:lnTo>
                      <a:pt x="208" y="327"/>
                    </a:lnTo>
                    <a:lnTo>
                      <a:pt x="206" y="327"/>
                    </a:lnTo>
                    <a:lnTo>
                      <a:pt x="206" y="327"/>
                    </a:lnTo>
                    <a:lnTo>
                      <a:pt x="205" y="327"/>
                    </a:lnTo>
                    <a:lnTo>
                      <a:pt x="205" y="327"/>
                    </a:lnTo>
                    <a:lnTo>
                      <a:pt x="202" y="326"/>
                    </a:lnTo>
                    <a:lnTo>
                      <a:pt x="200" y="326"/>
                    </a:lnTo>
                    <a:lnTo>
                      <a:pt x="197" y="323"/>
                    </a:lnTo>
                    <a:lnTo>
                      <a:pt x="197" y="323"/>
                    </a:lnTo>
                    <a:lnTo>
                      <a:pt x="195" y="323"/>
                    </a:lnTo>
                    <a:lnTo>
                      <a:pt x="195" y="323"/>
                    </a:lnTo>
                    <a:lnTo>
                      <a:pt x="189" y="323"/>
                    </a:lnTo>
                    <a:lnTo>
                      <a:pt x="185" y="326"/>
                    </a:lnTo>
                    <a:lnTo>
                      <a:pt x="185" y="326"/>
                    </a:lnTo>
                    <a:lnTo>
                      <a:pt x="184" y="327"/>
                    </a:lnTo>
                    <a:lnTo>
                      <a:pt x="181" y="328"/>
                    </a:lnTo>
                    <a:lnTo>
                      <a:pt x="181" y="328"/>
                    </a:lnTo>
                    <a:lnTo>
                      <a:pt x="183" y="327"/>
                    </a:lnTo>
                    <a:lnTo>
                      <a:pt x="183" y="326"/>
                    </a:lnTo>
                    <a:lnTo>
                      <a:pt x="176" y="330"/>
                    </a:lnTo>
                    <a:lnTo>
                      <a:pt x="176" y="330"/>
                    </a:lnTo>
                    <a:lnTo>
                      <a:pt x="172" y="328"/>
                    </a:lnTo>
                    <a:lnTo>
                      <a:pt x="172" y="328"/>
                    </a:lnTo>
                    <a:lnTo>
                      <a:pt x="175" y="330"/>
                    </a:lnTo>
                    <a:lnTo>
                      <a:pt x="169" y="326"/>
                    </a:lnTo>
                    <a:lnTo>
                      <a:pt x="169" y="326"/>
                    </a:lnTo>
                    <a:lnTo>
                      <a:pt x="172" y="328"/>
                    </a:lnTo>
                    <a:lnTo>
                      <a:pt x="172" y="328"/>
                    </a:lnTo>
                    <a:lnTo>
                      <a:pt x="169" y="327"/>
                    </a:lnTo>
                    <a:lnTo>
                      <a:pt x="169" y="327"/>
                    </a:lnTo>
                    <a:lnTo>
                      <a:pt x="167" y="328"/>
                    </a:lnTo>
                    <a:lnTo>
                      <a:pt x="167" y="328"/>
                    </a:lnTo>
                    <a:lnTo>
                      <a:pt x="169" y="326"/>
                    </a:lnTo>
                    <a:lnTo>
                      <a:pt x="163" y="330"/>
                    </a:lnTo>
                    <a:lnTo>
                      <a:pt x="161" y="330"/>
                    </a:lnTo>
                    <a:lnTo>
                      <a:pt x="161" y="330"/>
                    </a:lnTo>
                    <a:lnTo>
                      <a:pt x="160" y="330"/>
                    </a:lnTo>
                    <a:lnTo>
                      <a:pt x="160" y="330"/>
                    </a:lnTo>
                    <a:lnTo>
                      <a:pt x="158" y="330"/>
                    </a:lnTo>
                    <a:lnTo>
                      <a:pt x="158" y="330"/>
                    </a:lnTo>
                    <a:lnTo>
                      <a:pt x="156" y="328"/>
                    </a:lnTo>
                    <a:lnTo>
                      <a:pt x="156" y="328"/>
                    </a:lnTo>
                    <a:lnTo>
                      <a:pt x="154" y="331"/>
                    </a:lnTo>
                    <a:lnTo>
                      <a:pt x="152" y="332"/>
                    </a:lnTo>
                    <a:lnTo>
                      <a:pt x="150" y="334"/>
                    </a:lnTo>
                    <a:lnTo>
                      <a:pt x="150" y="334"/>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19" name="Group 18">
              <a:extLst>
                <a:ext uri="{FF2B5EF4-FFF2-40B4-BE49-F238E27FC236}">
                  <a16:creationId xmlns:a16="http://schemas.microsoft.com/office/drawing/2014/main" xmlns="" id="{7E5C4456-5D5C-4FCC-9638-A309F6D5C427}"/>
                </a:ext>
              </a:extLst>
            </p:cNvPr>
            <p:cNvGrpSpPr/>
            <p:nvPr/>
          </p:nvGrpSpPr>
          <p:grpSpPr>
            <a:xfrm>
              <a:off x="7496208" y="2609347"/>
              <a:ext cx="1284457" cy="1225814"/>
              <a:chOff x="6088476" y="1520370"/>
              <a:chExt cx="1680136" cy="1638350"/>
            </a:xfrm>
            <a:solidFill>
              <a:srgbClr val="D8D8CD"/>
            </a:solidFill>
          </p:grpSpPr>
          <p:sp>
            <p:nvSpPr>
              <p:cNvPr id="84" name="Freeform 10">
                <a:extLst>
                  <a:ext uri="{FF2B5EF4-FFF2-40B4-BE49-F238E27FC236}">
                    <a16:creationId xmlns:a16="http://schemas.microsoft.com/office/drawing/2014/main" xmlns="" id="{85872BCA-861F-447E-9DEA-C4E548AD9E8D}"/>
                  </a:ext>
                </a:extLst>
              </p:cNvPr>
              <p:cNvSpPr>
                <a:spLocks/>
              </p:cNvSpPr>
              <p:nvPr/>
            </p:nvSpPr>
            <p:spPr bwMode="auto">
              <a:xfrm>
                <a:off x="6859771" y="1520370"/>
                <a:ext cx="908841" cy="971520"/>
              </a:xfrm>
              <a:custGeom>
                <a:avLst/>
                <a:gdLst>
                  <a:gd name="T0" fmla="*/ 429 w 522"/>
                  <a:gd name="T1" fmla="*/ 537 h 558"/>
                  <a:gd name="T2" fmla="*/ 396 w 522"/>
                  <a:gd name="T3" fmla="*/ 510 h 558"/>
                  <a:gd name="T4" fmla="*/ 341 w 522"/>
                  <a:gd name="T5" fmla="*/ 476 h 558"/>
                  <a:gd name="T6" fmla="*/ 295 w 522"/>
                  <a:gd name="T7" fmla="*/ 510 h 558"/>
                  <a:gd name="T8" fmla="*/ 242 w 522"/>
                  <a:gd name="T9" fmla="*/ 523 h 558"/>
                  <a:gd name="T10" fmla="*/ 216 w 522"/>
                  <a:gd name="T11" fmla="*/ 525 h 558"/>
                  <a:gd name="T12" fmla="*/ 199 w 522"/>
                  <a:gd name="T13" fmla="*/ 509 h 558"/>
                  <a:gd name="T14" fmla="*/ 184 w 522"/>
                  <a:gd name="T15" fmla="*/ 494 h 558"/>
                  <a:gd name="T16" fmla="*/ 163 w 522"/>
                  <a:gd name="T17" fmla="*/ 462 h 558"/>
                  <a:gd name="T18" fmla="*/ 154 w 522"/>
                  <a:gd name="T19" fmla="*/ 437 h 558"/>
                  <a:gd name="T20" fmla="*/ 146 w 522"/>
                  <a:gd name="T21" fmla="*/ 418 h 558"/>
                  <a:gd name="T22" fmla="*/ 140 w 522"/>
                  <a:gd name="T23" fmla="*/ 396 h 558"/>
                  <a:gd name="T24" fmla="*/ 110 w 522"/>
                  <a:gd name="T25" fmla="*/ 363 h 558"/>
                  <a:gd name="T26" fmla="*/ 107 w 522"/>
                  <a:gd name="T27" fmla="*/ 378 h 558"/>
                  <a:gd name="T28" fmla="*/ 76 w 522"/>
                  <a:gd name="T29" fmla="*/ 384 h 558"/>
                  <a:gd name="T30" fmla="*/ 60 w 522"/>
                  <a:gd name="T31" fmla="*/ 370 h 558"/>
                  <a:gd name="T32" fmla="*/ 50 w 522"/>
                  <a:gd name="T33" fmla="*/ 341 h 558"/>
                  <a:gd name="T34" fmla="*/ 35 w 522"/>
                  <a:gd name="T35" fmla="*/ 332 h 558"/>
                  <a:gd name="T36" fmla="*/ 8 w 522"/>
                  <a:gd name="T37" fmla="*/ 343 h 558"/>
                  <a:gd name="T38" fmla="*/ 11 w 522"/>
                  <a:gd name="T39" fmla="*/ 318 h 558"/>
                  <a:gd name="T40" fmla="*/ 11 w 522"/>
                  <a:gd name="T41" fmla="*/ 279 h 558"/>
                  <a:gd name="T42" fmla="*/ 33 w 522"/>
                  <a:gd name="T43" fmla="*/ 289 h 558"/>
                  <a:gd name="T44" fmla="*/ 41 w 522"/>
                  <a:gd name="T45" fmla="*/ 280 h 558"/>
                  <a:gd name="T46" fmla="*/ 49 w 522"/>
                  <a:gd name="T47" fmla="*/ 247 h 558"/>
                  <a:gd name="T48" fmla="*/ 52 w 522"/>
                  <a:gd name="T49" fmla="*/ 230 h 558"/>
                  <a:gd name="T50" fmla="*/ 78 w 522"/>
                  <a:gd name="T51" fmla="*/ 223 h 558"/>
                  <a:gd name="T52" fmla="*/ 106 w 522"/>
                  <a:gd name="T53" fmla="*/ 221 h 558"/>
                  <a:gd name="T54" fmla="*/ 123 w 522"/>
                  <a:gd name="T55" fmla="*/ 231 h 558"/>
                  <a:gd name="T56" fmla="*/ 134 w 522"/>
                  <a:gd name="T57" fmla="*/ 236 h 558"/>
                  <a:gd name="T58" fmla="*/ 172 w 522"/>
                  <a:gd name="T59" fmla="*/ 209 h 558"/>
                  <a:gd name="T60" fmla="*/ 195 w 522"/>
                  <a:gd name="T61" fmla="*/ 186 h 558"/>
                  <a:gd name="T62" fmla="*/ 188 w 522"/>
                  <a:gd name="T63" fmla="*/ 177 h 558"/>
                  <a:gd name="T64" fmla="*/ 195 w 522"/>
                  <a:gd name="T65" fmla="*/ 140 h 558"/>
                  <a:gd name="T66" fmla="*/ 221 w 522"/>
                  <a:gd name="T67" fmla="*/ 131 h 558"/>
                  <a:gd name="T68" fmla="*/ 250 w 522"/>
                  <a:gd name="T69" fmla="*/ 135 h 558"/>
                  <a:gd name="T70" fmla="*/ 259 w 522"/>
                  <a:gd name="T71" fmla="*/ 158 h 558"/>
                  <a:gd name="T72" fmla="*/ 287 w 522"/>
                  <a:gd name="T73" fmla="*/ 149 h 558"/>
                  <a:gd name="T74" fmla="*/ 323 w 522"/>
                  <a:gd name="T75" fmla="*/ 127 h 558"/>
                  <a:gd name="T76" fmla="*/ 316 w 522"/>
                  <a:gd name="T77" fmla="*/ 98 h 558"/>
                  <a:gd name="T78" fmla="*/ 306 w 522"/>
                  <a:gd name="T79" fmla="*/ 86 h 558"/>
                  <a:gd name="T80" fmla="*/ 299 w 522"/>
                  <a:gd name="T81" fmla="*/ 20 h 558"/>
                  <a:gd name="T82" fmla="*/ 327 w 522"/>
                  <a:gd name="T83" fmla="*/ 6 h 558"/>
                  <a:gd name="T84" fmla="*/ 360 w 522"/>
                  <a:gd name="T85" fmla="*/ 17 h 558"/>
                  <a:gd name="T86" fmla="*/ 396 w 522"/>
                  <a:gd name="T87" fmla="*/ 8 h 558"/>
                  <a:gd name="T88" fmla="*/ 425 w 522"/>
                  <a:gd name="T89" fmla="*/ 13 h 558"/>
                  <a:gd name="T90" fmla="*/ 444 w 522"/>
                  <a:gd name="T91" fmla="*/ 14 h 558"/>
                  <a:gd name="T92" fmla="*/ 462 w 522"/>
                  <a:gd name="T93" fmla="*/ 2 h 558"/>
                  <a:gd name="T94" fmla="*/ 499 w 522"/>
                  <a:gd name="T95" fmla="*/ 12 h 558"/>
                  <a:gd name="T96" fmla="*/ 503 w 522"/>
                  <a:gd name="T97" fmla="*/ 59 h 558"/>
                  <a:gd name="T98" fmla="*/ 521 w 522"/>
                  <a:gd name="T99" fmla="*/ 120 h 558"/>
                  <a:gd name="T100" fmla="*/ 520 w 522"/>
                  <a:gd name="T101" fmla="*/ 160 h 558"/>
                  <a:gd name="T102" fmla="*/ 519 w 522"/>
                  <a:gd name="T103" fmla="*/ 177 h 558"/>
                  <a:gd name="T104" fmla="*/ 512 w 522"/>
                  <a:gd name="T105" fmla="*/ 191 h 558"/>
                  <a:gd name="T106" fmla="*/ 512 w 522"/>
                  <a:gd name="T107" fmla="*/ 332 h 558"/>
                  <a:gd name="T108" fmla="*/ 508 w 522"/>
                  <a:gd name="T109" fmla="*/ 357 h 558"/>
                  <a:gd name="T110" fmla="*/ 512 w 522"/>
                  <a:gd name="T111" fmla="*/ 361 h 558"/>
                  <a:gd name="T112" fmla="*/ 508 w 522"/>
                  <a:gd name="T113" fmla="*/ 381 h 558"/>
                  <a:gd name="T114" fmla="*/ 500 w 522"/>
                  <a:gd name="T115" fmla="*/ 406 h 558"/>
                  <a:gd name="T116" fmla="*/ 500 w 522"/>
                  <a:gd name="T117" fmla="*/ 445 h 558"/>
                  <a:gd name="T118" fmla="*/ 491 w 522"/>
                  <a:gd name="T119" fmla="*/ 478 h 558"/>
                  <a:gd name="T120" fmla="*/ 481 w 522"/>
                  <a:gd name="T121" fmla="*/ 510 h 558"/>
                  <a:gd name="T122" fmla="*/ 483 w 522"/>
                  <a:gd name="T123" fmla="*/ 526 h 558"/>
                  <a:gd name="T124" fmla="*/ 466 w 522"/>
                  <a:gd name="T125" fmla="*/ 555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2" h="558">
                    <a:moveTo>
                      <a:pt x="452" y="551"/>
                    </a:moveTo>
                    <a:lnTo>
                      <a:pt x="452" y="551"/>
                    </a:lnTo>
                    <a:lnTo>
                      <a:pt x="454" y="555"/>
                    </a:lnTo>
                    <a:lnTo>
                      <a:pt x="452" y="554"/>
                    </a:lnTo>
                    <a:lnTo>
                      <a:pt x="452" y="554"/>
                    </a:lnTo>
                    <a:lnTo>
                      <a:pt x="450" y="552"/>
                    </a:lnTo>
                    <a:lnTo>
                      <a:pt x="447" y="550"/>
                    </a:lnTo>
                    <a:lnTo>
                      <a:pt x="447" y="550"/>
                    </a:lnTo>
                    <a:lnTo>
                      <a:pt x="443" y="547"/>
                    </a:lnTo>
                    <a:lnTo>
                      <a:pt x="443" y="546"/>
                    </a:lnTo>
                    <a:lnTo>
                      <a:pt x="441" y="544"/>
                    </a:lnTo>
                    <a:lnTo>
                      <a:pt x="441" y="544"/>
                    </a:lnTo>
                    <a:lnTo>
                      <a:pt x="439" y="543"/>
                    </a:lnTo>
                    <a:lnTo>
                      <a:pt x="437" y="540"/>
                    </a:lnTo>
                    <a:lnTo>
                      <a:pt x="437" y="540"/>
                    </a:lnTo>
                    <a:lnTo>
                      <a:pt x="431" y="538"/>
                    </a:lnTo>
                    <a:lnTo>
                      <a:pt x="431" y="538"/>
                    </a:lnTo>
                    <a:lnTo>
                      <a:pt x="429" y="537"/>
                    </a:lnTo>
                    <a:lnTo>
                      <a:pt x="429" y="537"/>
                    </a:lnTo>
                    <a:lnTo>
                      <a:pt x="427" y="534"/>
                    </a:lnTo>
                    <a:lnTo>
                      <a:pt x="425" y="533"/>
                    </a:lnTo>
                    <a:lnTo>
                      <a:pt x="425" y="533"/>
                    </a:lnTo>
                    <a:lnTo>
                      <a:pt x="421" y="529"/>
                    </a:lnTo>
                    <a:lnTo>
                      <a:pt x="421" y="529"/>
                    </a:lnTo>
                    <a:lnTo>
                      <a:pt x="418" y="527"/>
                    </a:lnTo>
                    <a:lnTo>
                      <a:pt x="418" y="527"/>
                    </a:lnTo>
                    <a:lnTo>
                      <a:pt x="415" y="525"/>
                    </a:lnTo>
                    <a:lnTo>
                      <a:pt x="413" y="523"/>
                    </a:lnTo>
                    <a:lnTo>
                      <a:pt x="413" y="523"/>
                    </a:lnTo>
                    <a:lnTo>
                      <a:pt x="409" y="519"/>
                    </a:lnTo>
                    <a:lnTo>
                      <a:pt x="409" y="519"/>
                    </a:lnTo>
                    <a:lnTo>
                      <a:pt x="406" y="518"/>
                    </a:lnTo>
                    <a:lnTo>
                      <a:pt x="406" y="518"/>
                    </a:lnTo>
                    <a:lnTo>
                      <a:pt x="405" y="517"/>
                    </a:lnTo>
                    <a:lnTo>
                      <a:pt x="402" y="514"/>
                    </a:lnTo>
                    <a:lnTo>
                      <a:pt x="402" y="514"/>
                    </a:lnTo>
                    <a:lnTo>
                      <a:pt x="398" y="511"/>
                    </a:lnTo>
                    <a:lnTo>
                      <a:pt x="396" y="510"/>
                    </a:lnTo>
                    <a:lnTo>
                      <a:pt x="396" y="510"/>
                    </a:lnTo>
                    <a:lnTo>
                      <a:pt x="388" y="502"/>
                    </a:lnTo>
                    <a:lnTo>
                      <a:pt x="377" y="496"/>
                    </a:lnTo>
                    <a:lnTo>
                      <a:pt x="377" y="496"/>
                    </a:lnTo>
                    <a:lnTo>
                      <a:pt x="369" y="489"/>
                    </a:lnTo>
                    <a:lnTo>
                      <a:pt x="368" y="489"/>
                    </a:lnTo>
                    <a:lnTo>
                      <a:pt x="368" y="489"/>
                    </a:lnTo>
                    <a:lnTo>
                      <a:pt x="361" y="482"/>
                    </a:lnTo>
                    <a:lnTo>
                      <a:pt x="361" y="482"/>
                    </a:lnTo>
                    <a:lnTo>
                      <a:pt x="356" y="477"/>
                    </a:lnTo>
                    <a:lnTo>
                      <a:pt x="352" y="476"/>
                    </a:lnTo>
                    <a:lnTo>
                      <a:pt x="349" y="476"/>
                    </a:lnTo>
                    <a:lnTo>
                      <a:pt x="349" y="476"/>
                    </a:lnTo>
                    <a:lnTo>
                      <a:pt x="348" y="476"/>
                    </a:lnTo>
                    <a:lnTo>
                      <a:pt x="345" y="476"/>
                    </a:lnTo>
                    <a:lnTo>
                      <a:pt x="345" y="476"/>
                    </a:lnTo>
                    <a:lnTo>
                      <a:pt x="344" y="476"/>
                    </a:lnTo>
                    <a:lnTo>
                      <a:pt x="344" y="476"/>
                    </a:lnTo>
                    <a:lnTo>
                      <a:pt x="341" y="476"/>
                    </a:lnTo>
                    <a:lnTo>
                      <a:pt x="341" y="476"/>
                    </a:lnTo>
                    <a:lnTo>
                      <a:pt x="344" y="474"/>
                    </a:lnTo>
                    <a:lnTo>
                      <a:pt x="345" y="472"/>
                    </a:lnTo>
                    <a:lnTo>
                      <a:pt x="339" y="477"/>
                    </a:lnTo>
                    <a:lnTo>
                      <a:pt x="335" y="477"/>
                    </a:lnTo>
                    <a:lnTo>
                      <a:pt x="335" y="477"/>
                    </a:lnTo>
                    <a:lnTo>
                      <a:pt x="337" y="476"/>
                    </a:lnTo>
                    <a:lnTo>
                      <a:pt x="339" y="473"/>
                    </a:lnTo>
                    <a:lnTo>
                      <a:pt x="333" y="478"/>
                    </a:lnTo>
                    <a:lnTo>
                      <a:pt x="329" y="478"/>
                    </a:lnTo>
                    <a:lnTo>
                      <a:pt x="329" y="478"/>
                    </a:lnTo>
                    <a:lnTo>
                      <a:pt x="331" y="477"/>
                    </a:lnTo>
                    <a:lnTo>
                      <a:pt x="332" y="474"/>
                    </a:lnTo>
                    <a:lnTo>
                      <a:pt x="328" y="478"/>
                    </a:lnTo>
                    <a:lnTo>
                      <a:pt x="328" y="478"/>
                    </a:lnTo>
                    <a:lnTo>
                      <a:pt x="322" y="486"/>
                    </a:lnTo>
                    <a:lnTo>
                      <a:pt x="314" y="494"/>
                    </a:lnTo>
                    <a:lnTo>
                      <a:pt x="295" y="509"/>
                    </a:lnTo>
                    <a:lnTo>
                      <a:pt x="295" y="510"/>
                    </a:lnTo>
                    <a:lnTo>
                      <a:pt x="295" y="510"/>
                    </a:lnTo>
                    <a:lnTo>
                      <a:pt x="290" y="515"/>
                    </a:lnTo>
                    <a:lnTo>
                      <a:pt x="290" y="515"/>
                    </a:lnTo>
                    <a:lnTo>
                      <a:pt x="286" y="519"/>
                    </a:lnTo>
                    <a:lnTo>
                      <a:pt x="281" y="522"/>
                    </a:lnTo>
                    <a:lnTo>
                      <a:pt x="274" y="525"/>
                    </a:lnTo>
                    <a:lnTo>
                      <a:pt x="266" y="526"/>
                    </a:lnTo>
                    <a:lnTo>
                      <a:pt x="266" y="526"/>
                    </a:lnTo>
                    <a:lnTo>
                      <a:pt x="258" y="525"/>
                    </a:lnTo>
                    <a:lnTo>
                      <a:pt x="253" y="521"/>
                    </a:lnTo>
                    <a:lnTo>
                      <a:pt x="253" y="521"/>
                    </a:lnTo>
                    <a:lnTo>
                      <a:pt x="253" y="514"/>
                    </a:lnTo>
                    <a:lnTo>
                      <a:pt x="253" y="514"/>
                    </a:lnTo>
                    <a:lnTo>
                      <a:pt x="254" y="511"/>
                    </a:lnTo>
                    <a:lnTo>
                      <a:pt x="254" y="511"/>
                    </a:lnTo>
                    <a:lnTo>
                      <a:pt x="249" y="515"/>
                    </a:lnTo>
                    <a:lnTo>
                      <a:pt x="249" y="515"/>
                    </a:lnTo>
                    <a:lnTo>
                      <a:pt x="246" y="519"/>
                    </a:lnTo>
                    <a:lnTo>
                      <a:pt x="242" y="523"/>
                    </a:lnTo>
                    <a:lnTo>
                      <a:pt x="237" y="526"/>
                    </a:lnTo>
                    <a:lnTo>
                      <a:pt x="230" y="526"/>
                    </a:lnTo>
                    <a:lnTo>
                      <a:pt x="228" y="526"/>
                    </a:lnTo>
                    <a:lnTo>
                      <a:pt x="225" y="525"/>
                    </a:lnTo>
                    <a:lnTo>
                      <a:pt x="225" y="519"/>
                    </a:lnTo>
                    <a:lnTo>
                      <a:pt x="224" y="523"/>
                    </a:lnTo>
                    <a:lnTo>
                      <a:pt x="222" y="522"/>
                    </a:lnTo>
                    <a:lnTo>
                      <a:pt x="222" y="523"/>
                    </a:lnTo>
                    <a:lnTo>
                      <a:pt x="222" y="523"/>
                    </a:lnTo>
                    <a:lnTo>
                      <a:pt x="224" y="525"/>
                    </a:lnTo>
                    <a:lnTo>
                      <a:pt x="224" y="525"/>
                    </a:lnTo>
                    <a:lnTo>
                      <a:pt x="224" y="526"/>
                    </a:lnTo>
                    <a:lnTo>
                      <a:pt x="224" y="526"/>
                    </a:lnTo>
                    <a:lnTo>
                      <a:pt x="222" y="525"/>
                    </a:lnTo>
                    <a:lnTo>
                      <a:pt x="217" y="525"/>
                    </a:lnTo>
                    <a:lnTo>
                      <a:pt x="212" y="519"/>
                    </a:lnTo>
                    <a:lnTo>
                      <a:pt x="212" y="519"/>
                    </a:lnTo>
                    <a:lnTo>
                      <a:pt x="213" y="523"/>
                    </a:lnTo>
                    <a:lnTo>
                      <a:pt x="216" y="525"/>
                    </a:lnTo>
                    <a:lnTo>
                      <a:pt x="216" y="525"/>
                    </a:lnTo>
                    <a:lnTo>
                      <a:pt x="213" y="523"/>
                    </a:lnTo>
                    <a:lnTo>
                      <a:pt x="212" y="522"/>
                    </a:lnTo>
                    <a:lnTo>
                      <a:pt x="212" y="522"/>
                    </a:lnTo>
                    <a:lnTo>
                      <a:pt x="210" y="523"/>
                    </a:lnTo>
                    <a:lnTo>
                      <a:pt x="210" y="523"/>
                    </a:lnTo>
                    <a:lnTo>
                      <a:pt x="208" y="523"/>
                    </a:lnTo>
                    <a:lnTo>
                      <a:pt x="208" y="523"/>
                    </a:lnTo>
                    <a:lnTo>
                      <a:pt x="205" y="523"/>
                    </a:lnTo>
                    <a:lnTo>
                      <a:pt x="205" y="523"/>
                    </a:lnTo>
                    <a:lnTo>
                      <a:pt x="205" y="523"/>
                    </a:lnTo>
                    <a:lnTo>
                      <a:pt x="205" y="523"/>
                    </a:lnTo>
                    <a:lnTo>
                      <a:pt x="204" y="522"/>
                    </a:lnTo>
                    <a:lnTo>
                      <a:pt x="201" y="522"/>
                    </a:lnTo>
                    <a:lnTo>
                      <a:pt x="199" y="519"/>
                    </a:lnTo>
                    <a:lnTo>
                      <a:pt x="197" y="515"/>
                    </a:lnTo>
                    <a:lnTo>
                      <a:pt x="199" y="511"/>
                    </a:lnTo>
                    <a:lnTo>
                      <a:pt x="199" y="511"/>
                    </a:lnTo>
                    <a:lnTo>
                      <a:pt x="199" y="509"/>
                    </a:lnTo>
                    <a:lnTo>
                      <a:pt x="199" y="507"/>
                    </a:lnTo>
                    <a:lnTo>
                      <a:pt x="199" y="507"/>
                    </a:lnTo>
                    <a:lnTo>
                      <a:pt x="197" y="506"/>
                    </a:lnTo>
                    <a:lnTo>
                      <a:pt x="196" y="506"/>
                    </a:lnTo>
                    <a:lnTo>
                      <a:pt x="189" y="501"/>
                    </a:lnTo>
                    <a:lnTo>
                      <a:pt x="189" y="501"/>
                    </a:lnTo>
                    <a:lnTo>
                      <a:pt x="192" y="503"/>
                    </a:lnTo>
                    <a:lnTo>
                      <a:pt x="193" y="505"/>
                    </a:lnTo>
                    <a:lnTo>
                      <a:pt x="193" y="505"/>
                    </a:lnTo>
                    <a:lnTo>
                      <a:pt x="193" y="505"/>
                    </a:lnTo>
                    <a:lnTo>
                      <a:pt x="191" y="505"/>
                    </a:lnTo>
                    <a:lnTo>
                      <a:pt x="187" y="498"/>
                    </a:lnTo>
                    <a:lnTo>
                      <a:pt x="187" y="498"/>
                    </a:lnTo>
                    <a:lnTo>
                      <a:pt x="187" y="498"/>
                    </a:lnTo>
                    <a:lnTo>
                      <a:pt x="187" y="498"/>
                    </a:lnTo>
                    <a:lnTo>
                      <a:pt x="187" y="498"/>
                    </a:lnTo>
                    <a:lnTo>
                      <a:pt x="185" y="498"/>
                    </a:lnTo>
                    <a:lnTo>
                      <a:pt x="185" y="498"/>
                    </a:lnTo>
                    <a:lnTo>
                      <a:pt x="184" y="494"/>
                    </a:lnTo>
                    <a:lnTo>
                      <a:pt x="183" y="490"/>
                    </a:lnTo>
                    <a:lnTo>
                      <a:pt x="183" y="490"/>
                    </a:lnTo>
                    <a:lnTo>
                      <a:pt x="181" y="486"/>
                    </a:lnTo>
                    <a:lnTo>
                      <a:pt x="181" y="485"/>
                    </a:lnTo>
                    <a:lnTo>
                      <a:pt x="181" y="485"/>
                    </a:lnTo>
                    <a:lnTo>
                      <a:pt x="179" y="480"/>
                    </a:lnTo>
                    <a:lnTo>
                      <a:pt x="177" y="473"/>
                    </a:lnTo>
                    <a:lnTo>
                      <a:pt x="177" y="473"/>
                    </a:lnTo>
                    <a:lnTo>
                      <a:pt x="176" y="469"/>
                    </a:lnTo>
                    <a:lnTo>
                      <a:pt x="176" y="469"/>
                    </a:lnTo>
                    <a:lnTo>
                      <a:pt x="175" y="468"/>
                    </a:lnTo>
                    <a:lnTo>
                      <a:pt x="173" y="468"/>
                    </a:lnTo>
                    <a:lnTo>
                      <a:pt x="167" y="464"/>
                    </a:lnTo>
                    <a:lnTo>
                      <a:pt x="167" y="464"/>
                    </a:lnTo>
                    <a:lnTo>
                      <a:pt x="168" y="465"/>
                    </a:lnTo>
                    <a:lnTo>
                      <a:pt x="168" y="465"/>
                    </a:lnTo>
                    <a:lnTo>
                      <a:pt x="167" y="465"/>
                    </a:lnTo>
                    <a:lnTo>
                      <a:pt x="167" y="465"/>
                    </a:lnTo>
                    <a:lnTo>
                      <a:pt x="163" y="462"/>
                    </a:lnTo>
                    <a:lnTo>
                      <a:pt x="160" y="460"/>
                    </a:lnTo>
                    <a:lnTo>
                      <a:pt x="159" y="456"/>
                    </a:lnTo>
                    <a:lnTo>
                      <a:pt x="159" y="456"/>
                    </a:lnTo>
                    <a:lnTo>
                      <a:pt x="160" y="452"/>
                    </a:lnTo>
                    <a:lnTo>
                      <a:pt x="162" y="451"/>
                    </a:lnTo>
                    <a:lnTo>
                      <a:pt x="162" y="451"/>
                    </a:lnTo>
                    <a:lnTo>
                      <a:pt x="162" y="451"/>
                    </a:lnTo>
                    <a:lnTo>
                      <a:pt x="162" y="451"/>
                    </a:lnTo>
                    <a:lnTo>
                      <a:pt x="160" y="452"/>
                    </a:lnTo>
                    <a:lnTo>
                      <a:pt x="162" y="451"/>
                    </a:lnTo>
                    <a:lnTo>
                      <a:pt x="159" y="448"/>
                    </a:lnTo>
                    <a:lnTo>
                      <a:pt x="159" y="448"/>
                    </a:lnTo>
                    <a:lnTo>
                      <a:pt x="159" y="449"/>
                    </a:lnTo>
                    <a:lnTo>
                      <a:pt x="159" y="449"/>
                    </a:lnTo>
                    <a:lnTo>
                      <a:pt x="159" y="449"/>
                    </a:lnTo>
                    <a:lnTo>
                      <a:pt x="159" y="449"/>
                    </a:lnTo>
                    <a:lnTo>
                      <a:pt x="154" y="447"/>
                    </a:lnTo>
                    <a:lnTo>
                      <a:pt x="154" y="437"/>
                    </a:lnTo>
                    <a:lnTo>
                      <a:pt x="154" y="437"/>
                    </a:lnTo>
                    <a:lnTo>
                      <a:pt x="154" y="435"/>
                    </a:lnTo>
                    <a:lnTo>
                      <a:pt x="154" y="433"/>
                    </a:lnTo>
                    <a:lnTo>
                      <a:pt x="151" y="428"/>
                    </a:lnTo>
                    <a:lnTo>
                      <a:pt x="151" y="427"/>
                    </a:lnTo>
                    <a:lnTo>
                      <a:pt x="151" y="427"/>
                    </a:lnTo>
                    <a:lnTo>
                      <a:pt x="150" y="425"/>
                    </a:lnTo>
                    <a:lnTo>
                      <a:pt x="150" y="425"/>
                    </a:lnTo>
                    <a:lnTo>
                      <a:pt x="151" y="427"/>
                    </a:lnTo>
                    <a:lnTo>
                      <a:pt x="148" y="423"/>
                    </a:lnTo>
                    <a:lnTo>
                      <a:pt x="148" y="423"/>
                    </a:lnTo>
                    <a:lnTo>
                      <a:pt x="148" y="424"/>
                    </a:lnTo>
                    <a:lnTo>
                      <a:pt x="148" y="424"/>
                    </a:lnTo>
                    <a:lnTo>
                      <a:pt x="147" y="423"/>
                    </a:lnTo>
                    <a:lnTo>
                      <a:pt x="147" y="419"/>
                    </a:lnTo>
                    <a:lnTo>
                      <a:pt x="147" y="419"/>
                    </a:lnTo>
                    <a:lnTo>
                      <a:pt x="146" y="418"/>
                    </a:lnTo>
                    <a:lnTo>
                      <a:pt x="146" y="418"/>
                    </a:lnTo>
                    <a:lnTo>
                      <a:pt x="146" y="418"/>
                    </a:lnTo>
                    <a:lnTo>
                      <a:pt x="146" y="418"/>
                    </a:lnTo>
                    <a:lnTo>
                      <a:pt x="142" y="418"/>
                    </a:lnTo>
                    <a:lnTo>
                      <a:pt x="142" y="418"/>
                    </a:lnTo>
                    <a:lnTo>
                      <a:pt x="138" y="418"/>
                    </a:lnTo>
                    <a:lnTo>
                      <a:pt x="135" y="415"/>
                    </a:lnTo>
                    <a:lnTo>
                      <a:pt x="135" y="415"/>
                    </a:lnTo>
                    <a:lnTo>
                      <a:pt x="134" y="412"/>
                    </a:lnTo>
                    <a:lnTo>
                      <a:pt x="132" y="408"/>
                    </a:lnTo>
                    <a:lnTo>
                      <a:pt x="132" y="407"/>
                    </a:lnTo>
                    <a:lnTo>
                      <a:pt x="138" y="403"/>
                    </a:lnTo>
                    <a:lnTo>
                      <a:pt x="136" y="403"/>
                    </a:lnTo>
                    <a:lnTo>
                      <a:pt x="136" y="402"/>
                    </a:lnTo>
                    <a:lnTo>
                      <a:pt x="136" y="402"/>
                    </a:lnTo>
                    <a:lnTo>
                      <a:pt x="135" y="403"/>
                    </a:lnTo>
                    <a:lnTo>
                      <a:pt x="135" y="403"/>
                    </a:lnTo>
                    <a:lnTo>
                      <a:pt x="136" y="402"/>
                    </a:lnTo>
                    <a:lnTo>
                      <a:pt x="136" y="402"/>
                    </a:lnTo>
                    <a:lnTo>
                      <a:pt x="138" y="399"/>
                    </a:lnTo>
                    <a:lnTo>
                      <a:pt x="138" y="399"/>
                    </a:lnTo>
                    <a:lnTo>
                      <a:pt x="140" y="396"/>
                    </a:lnTo>
                    <a:lnTo>
                      <a:pt x="140" y="396"/>
                    </a:lnTo>
                    <a:lnTo>
                      <a:pt x="139" y="395"/>
                    </a:lnTo>
                    <a:lnTo>
                      <a:pt x="138" y="394"/>
                    </a:lnTo>
                    <a:lnTo>
                      <a:pt x="138" y="394"/>
                    </a:lnTo>
                    <a:lnTo>
                      <a:pt x="130" y="392"/>
                    </a:lnTo>
                    <a:lnTo>
                      <a:pt x="125" y="390"/>
                    </a:lnTo>
                    <a:lnTo>
                      <a:pt x="125" y="390"/>
                    </a:lnTo>
                    <a:lnTo>
                      <a:pt x="122" y="388"/>
                    </a:lnTo>
                    <a:lnTo>
                      <a:pt x="119" y="387"/>
                    </a:lnTo>
                    <a:lnTo>
                      <a:pt x="118" y="384"/>
                    </a:lnTo>
                    <a:lnTo>
                      <a:pt x="117" y="381"/>
                    </a:lnTo>
                    <a:lnTo>
                      <a:pt x="117" y="379"/>
                    </a:lnTo>
                    <a:lnTo>
                      <a:pt x="117" y="379"/>
                    </a:lnTo>
                    <a:lnTo>
                      <a:pt x="114" y="375"/>
                    </a:lnTo>
                    <a:lnTo>
                      <a:pt x="114" y="375"/>
                    </a:lnTo>
                    <a:lnTo>
                      <a:pt x="111" y="371"/>
                    </a:lnTo>
                    <a:lnTo>
                      <a:pt x="111" y="371"/>
                    </a:lnTo>
                    <a:lnTo>
                      <a:pt x="110" y="366"/>
                    </a:lnTo>
                    <a:lnTo>
                      <a:pt x="110" y="363"/>
                    </a:lnTo>
                    <a:lnTo>
                      <a:pt x="111" y="361"/>
                    </a:lnTo>
                    <a:lnTo>
                      <a:pt x="111" y="362"/>
                    </a:lnTo>
                    <a:lnTo>
                      <a:pt x="109" y="362"/>
                    </a:lnTo>
                    <a:lnTo>
                      <a:pt x="109" y="362"/>
                    </a:lnTo>
                    <a:lnTo>
                      <a:pt x="107" y="363"/>
                    </a:lnTo>
                    <a:lnTo>
                      <a:pt x="107" y="363"/>
                    </a:lnTo>
                    <a:lnTo>
                      <a:pt x="107" y="365"/>
                    </a:lnTo>
                    <a:lnTo>
                      <a:pt x="107" y="365"/>
                    </a:lnTo>
                    <a:lnTo>
                      <a:pt x="106" y="367"/>
                    </a:lnTo>
                    <a:lnTo>
                      <a:pt x="106" y="367"/>
                    </a:lnTo>
                    <a:lnTo>
                      <a:pt x="106" y="367"/>
                    </a:lnTo>
                    <a:lnTo>
                      <a:pt x="106" y="367"/>
                    </a:lnTo>
                    <a:lnTo>
                      <a:pt x="106" y="366"/>
                    </a:lnTo>
                    <a:lnTo>
                      <a:pt x="106" y="366"/>
                    </a:lnTo>
                    <a:lnTo>
                      <a:pt x="105" y="367"/>
                    </a:lnTo>
                    <a:lnTo>
                      <a:pt x="107" y="370"/>
                    </a:lnTo>
                    <a:lnTo>
                      <a:pt x="107" y="374"/>
                    </a:lnTo>
                    <a:lnTo>
                      <a:pt x="107" y="374"/>
                    </a:lnTo>
                    <a:lnTo>
                      <a:pt x="107" y="378"/>
                    </a:lnTo>
                    <a:lnTo>
                      <a:pt x="106" y="381"/>
                    </a:lnTo>
                    <a:lnTo>
                      <a:pt x="103" y="383"/>
                    </a:lnTo>
                    <a:lnTo>
                      <a:pt x="103" y="383"/>
                    </a:lnTo>
                    <a:lnTo>
                      <a:pt x="103" y="383"/>
                    </a:lnTo>
                    <a:lnTo>
                      <a:pt x="103" y="382"/>
                    </a:lnTo>
                    <a:lnTo>
                      <a:pt x="99" y="386"/>
                    </a:lnTo>
                    <a:lnTo>
                      <a:pt x="99" y="386"/>
                    </a:lnTo>
                    <a:lnTo>
                      <a:pt x="99" y="386"/>
                    </a:lnTo>
                    <a:lnTo>
                      <a:pt x="98" y="388"/>
                    </a:lnTo>
                    <a:lnTo>
                      <a:pt x="98" y="388"/>
                    </a:lnTo>
                    <a:lnTo>
                      <a:pt x="95" y="392"/>
                    </a:lnTo>
                    <a:lnTo>
                      <a:pt x="89" y="394"/>
                    </a:lnTo>
                    <a:lnTo>
                      <a:pt x="89" y="394"/>
                    </a:lnTo>
                    <a:lnTo>
                      <a:pt x="85" y="392"/>
                    </a:lnTo>
                    <a:lnTo>
                      <a:pt x="82" y="391"/>
                    </a:lnTo>
                    <a:lnTo>
                      <a:pt x="78" y="387"/>
                    </a:lnTo>
                    <a:lnTo>
                      <a:pt x="78" y="387"/>
                    </a:lnTo>
                    <a:lnTo>
                      <a:pt x="76" y="384"/>
                    </a:lnTo>
                    <a:lnTo>
                      <a:pt x="76" y="384"/>
                    </a:lnTo>
                    <a:lnTo>
                      <a:pt x="76" y="384"/>
                    </a:lnTo>
                    <a:lnTo>
                      <a:pt x="76" y="384"/>
                    </a:lnTo>
                    <a:lnTo>
                      <a:pt x="76" y="384"/>
                    </a:lnTo>
                    <a:lnTo>
                      <a:pt x="76" y="384"/>
                    </a:lnTo>
                    <a:lnTo>
                      <a:pt x="76" y="384"/>
                    </a:lnTo>
                    <a:lnTo>
                      <a:pt x="73" y="386"/>
                    </a:lnTo>
                    <a:lnTo>
                      <a:pt x="73" y="386"/>
                    </a:lnTo>
                    <a:lnTo>
                      <a:pt x="73" y="386"/>
                    </a:lnTo>
                    <a:lnTo>
                      <a:pt x="70" y="387"/>
                    </a:lnTo>
                    <a:lnTo>
                      <a:pt x="66" y="388"/>
                    </a:lnTo>
                    <a:lnTo>
                      <a:pt x="61" y="382"/>
                    </a:lnTo>
                    <a:lnTo>
                      <a:pt x="58" y="378"/>
                    </a:lnTo>
                    <a:lnTo>
                      <a:pt x="58" y="377"/>
                    </a:lnTo>
                    <a:lnTo>
                      <a:pt x="61" y="371"/>
                    </a:lnTo>
                    <a:lnTo>
                      <a:pt x="61" y="371"/>
                    </a:lnTo>
                    <a:lnTo>
                      <a:pt x="60" y="373"/>
                    </a:lnTo>
                    <a:lnTo>
                      <a:pt x="60" y="373"/>
                    </a:lnTo>
                    <a:lnTo>
                      <a:pt x="60" y="370"/>
                    </a:lnTo>
                    <a:lnTo>
                      <a:pt x="60" y="370"/>
                    </a:lnTo>
                    <a:lnTo>
                      <a:pt x="60" y="366"/>
                    </a:lnTo>
                    <a:lnTo>
                      <a:pt x="61" y="362"/>
                    </a:lnTo>
                    <a:lnTo>
                      <a:pt x="61" y="362"/>
                    </a:lnTo>
                    <a:lnTo>
                      <a:pt x="61" y="361"/>
                    </a:lnTo>
                    <a:lnTo>
                      <a:pt x="64" y="358"/>
                    </a:lnTo>
                    <a:lnTo>
                      <a:pt x="62" y="358"/>
                    </a:lnTo>
                    <a:lnTo>
                      <a:pt x="62" y="358"/>
                    </a:lnTo>
                    <a:lnTo>
                      <a:pt x="58" y="358"/>
                    </a:lnTo>
                    <a:lnTo>
                      <a:pt x="58" y="358"/>
                    </a:lnTo>
                    <a:lnTo>
                      <a:pt x="54" y="358"/>
                    </a:lnTo>
                    <a:lnTo>
                      <a:pt x="50" y="353"/>
                    </a:lnTo>
                    <a:lnTo>
                      <a:pt x="50" y="353"/>
                    </a:lnTo>
                    <a:lnTo>
                      <a:pt x="50" y="347"/>
                    </a:lnTo>
                    <a:lnTo>
                      <a:pt x="52" y="345"/>
                    </a:lnTo>
                    <a:lnTo>
                      <a:pt x="52" y="345"/>
                    </a:lnTo>
                    <a:lnTo>
                      <a:pt x="52" y="343"/>
                    </a:lnTo>
                    <a:lnTo>
                      <a:pt x="52" y="342"/>
                    </a:lnTo>
                    <a:lnTo>
                      <a:pt x="52" y="342"/>
                    </a:lnTo>
                    <a:lnTo>
                      <a:pt x="50" y="341"/>
                    </a:lnTo>
                    <a:lnTo>
                      <a:pt x="50" y="341"/>
                    </a:lnTo>
                    <a:lnTo>
                      <a:pt x="50" y="340"/>
                    </a:lnTo>
                    <a:lnTo>
                      <a:pt x="50" y="340"/>
                    </a:lnTo>
                    <a:lnTo>
                      <a:pt x="52" y="341"/>
                    </a:lnTo>
                    <a:lnTo>
                      <a:pt x="49" y="336"/>
                    </a:lnTo>
                    <a:lnTo>
                      <a:pt x="49" y="336"/>
                    </a:lnTo>
                    <a:lnTo>
                      <a:pt x="49" y="336"/>
                    </a:lnTo>
                    <a:lnTo>
                      <a:pt x="46" y="333"/>
                    </a:lnTo>
                    <a:lnTo>
                      <a:pt x="43" y="330"/>
                    </a:lnTo>
                    <a:lnTo>
                      <a:pt x="43" y="330"/>
                    </a:lnTo>
                    <a:lnTo>
                      <a:pt x="40" y="329"/>
                    </a:lnTo>
                    <a:lnTo>
                      <a:pt x="37" y="324"/>
                    </a:lnTo>
                    <a:lnTo>
                      <a:pt x="37" y="324"/>
                    </a:lnTo>
                    <a:lnTo>
                      <a:pt x="37" y="324"/>
                    </a:lnTo>
                    <a:lnTo>
                      <a:pt x="37" y="321"/>
                    </a:lnTo>
                    <a:lnTo>
                      <a:pt x="37" y="321"/>
                    </a:lnTo>
                    <a:lnTo>
                      <a:pt x="37" y="322"/>
                    </a:lnTo>
                    <a:lnTo>
                      <a:pt x="37" y="326"/>
                    </a:lnTo>
                    <a:lnTo>
                      <a:pt x="35" y="332"/>
                    </a:lnTo>
                    <a:lnTo>
                      <a:pt x="35" y="332"/>
                    </a:lnTo>
                    <a:lnTo>
                      <a:pt x="29" y="336"/>
                    </a:lnTo>
                    <a:lnTo>
                      <a:pt x="25" y="342"/>
                    </a:lnTo>
                    <a:lnTo>
                      <a:pt x="25" y="342"/>
                    </a:lnTo>
                    <a:lnTo>
                      <a:pt x="17" y="350"/>
                    </a:lnTo>
                    <a:lnTo>
                      <a:pt x="15" y="354"/>
                    </a:lnTo>
                    <a:lnTo>
                      <a:pt x="9" y="355"/>
                    </a:lnTo>
                    <a:lnTo>
                      <a:pt x="2" y="350"/>
                    </a:lnTo>
                    <a:lnTo>
                      <a:pt x="2" y="349"/>
                    </a:lnTo>
                    <a:lnTo>
                      <a:pt x="4" y="347"/>
                    </a:lnTo>
                    <a:lnTo>
                      <a:pt x="4" y="347"/>
                    </a:lnTo>
                    <a:lnTo>
                      <a:pt x="6" y="349"/>
                    </a:lnTo>
                    <a:lnTo>
                      <a:pt x="8" y="350"/>
                    </a:lnTo>
                    <a:lnTo>
                      <a:pt x="8" y="349"/>
                    </a:lnTo>
                    <a:lnTo>
                      <a:pt x="8" y="349"/>
                    </a:lnTo>
                    <a:lnTo>
                      <a:pt x="8" y="347"/>
                    </a:lnTo>
                    <a:lnTo>
                      <a:pt x="6" y="346"/>
                    </a:lnTo>
                    <a:lnTo>
                      <a:pt x="8" y="345"/>
                    </a:lnTo>
                    <a:lnTo>
                      <a:pt x="8" y="343"/>
                    </a:lnTo>
                    <a:lnTo>
                      <a:pt x="8" y="343"/>
                    </a:lnTo>
                    <a:lnTo>
                      <a:pt x="6" y="343"/>
                    </a:lnTo>
                    <a:lnTo>
                      <a:pt x="4" y="345"/>
                    </a:lnTo>
                    <a:lnTo>
                      <a:pt x="2" y="343"/>
                    </a:lnTo>
                    <a:lnTo>
                      <a:pt x="2" y="337"/>
                    </a:lnTo>
                    <a:lnTo>
                      <a:pt x="2" y="337"/>
                    </a:lnTo>
                    <a:lnTo>
                      <a:pt x="2" y="333"/>
                    </a:lnTo>
                    <a:lnTo>
                      <a:pt x="3" y="330"/>
                    </a:lnTo>
                    <a:lnTo>
                      <a:pt x="3" y="330"/>
                    </a:lnTo>
                    <a:lnTo>
                      <a:pt x="3" y="325"/>
                    </a:lnTo>
                    <a:lnTo>
                      <a:pt x="4" y="322"/>
                    </a:lnTo>
                    <a:lnTo>
                      <a:pt x="7" y="321"/>
                    </a:lnTo>
                    <a:lnTo>
                      <a:pt x="7" y="321"/>
                    </a:lnTo>
                    <a:lnTo>
                      <a:pt x="8" y="322"/>
                    </a:lnTo>
                    <a:lnTo>
                      <a:pt x="11" y="322"/>
                    </a:lnTo>
                    <a:lnTo>
                      <a:pt x="8" y="320"/>
                    </a:lnTo>
                    <a:lnTo>
                      <a:pt x="11" y="318"/>
                    </a:lnTo>
                    <a:lnTo>
                      <a:pt x="11" y="318"/>
                    </a:lnTo>
                    <a:lnTo>
                      <a:pt x="11" y="318"/>
                    </a:lnTo>
                    <a:lnTo>
                      <a:pt x="11" y="318"/>
                    </a:lnTo>
                    <a:lnTo>
                      <a:pt x="7" y="318"/>
                    </a:lnTo>
                    <a:lnTo>
                      <a:pt x="4" y="316"/>
                    </a:lnTo>
                    <a:lnTo>
                      <a:pt x="4" y="296"/>
                    </a:lnTo>
                    <a:lnTo>
                      <a:pt x="4" y="296"/>
                    </a:lnTo>
                    <a:lnTo>
                      <a:pt x="4" y="295"/>
                    </a:lnTo>
                    <a:lnTo>
                      <a:pt x="4" y="295"/>
                    </a:lnTo>
                    <a:lnTo>
                      <a:pt x="6" y="295"/>
                    </a:lnTo>
                    <a:lnTo>
                      <a:pt x="2" y="289"/>
                    </a:lnTo>
                    <a:lnTo>
                      <a:pt x="2" y="288"/>
                    </a:lnTo>
                    <a:lnTo>
                      <a:pt x="0" y="287"/>
                    </a:lnTo>
                    <a:lnTo>
                      <a:pt x="0" y="287"/>
                    </a:lnTo>
                    <a:lnTo>
                      <a:pt x="0" y="284"/>
                    </a:lnTo>
                    <a:lnTo>
                      <a:pt x="3" y="281"/>
                    </a:lnTo>
                    <a:lnTo>
                      <a:pt x="3" y="281"/>
                    </a:lnTo>
                    <a:lnTo>
                      <a:pt x="4" y="279"/>
                    </a:lnTo>
                    <a:lnTo>
                      <a:pt x="8" y="279"/>
                    </a:lnTo>
                    <a:lnTo>
                      <a:pt x="8" y="279"/>
                    </a:lnTo>
                    <a:lnTo>
                      <a:pt x="11" y="279"/>
                    </a:lnTo>
                    <a:lnTo>
                      <a:pt x="11" y="279"/>
                    </a:lnTo>
                    <a:lnTo>
                      <a:pt x="11" y="279"/>
                    </a:lnTo>
                    <a:lnTo>
                      <a:pt x="11" y="279"/>
                    </a:lnTo>
                    <a:lnTo>
                      <a:pt x="11" y="279"/>
                    </a:lnTo>
                    <a:lnTo>
                      <a:pt x="13" y="277"/>
                    </a:lnTo>
                    <a:lnTo>
                      <a:pt x="17" y="276"/>
                    </a:lnTo>
                    <a:lnTo>
                      <a:pt x="24" y="280"/>
                    </a:lnTo>
                    <a:lnTo>
                      <a:pt x="24" y="280"/>
                    </a:lnTo>
                    <a:lnTo>
                      <a:pt x="25" y="281"/>
                    </a:lnTo>
                    <a:lnTo>
                      <a:pt x="25" y="281"/>
                    </a:lnTo>
                    <a:lnTo>
                      <a:pt x="28" y="283"/>
                    </a:lnTo>
                    <a:lnTo>
                      <a:pt x="31" y="287"/>
                    </a:lnTo>
                    <a:lnTo>
                      <a:pt x="31" y="288"/>
                    </a:lnTo>
                    <a:lnTo>
                      <a:pt x="31" y="288"/>
                    </a:lnTo>
                    <a:lnTo>
                      <a:pt x="32" y="288"/>
                    </a:lnTo>
                    <a:lnTo>
                      <a:pt x="32" y="288"/>
                    </a:lnTo>
                    <a:lnTo>
                      <a:pt x="32" y="289"/>
                    </a:lnTo>
                    <a:lnTo>
                      <a:pt x="32" y="289"/>
                    </a:lnTo>
                    <a:lnTo>
                      <a:pt x="33" y="289"/>
                    </a:lnTo>
                    <a:lnTo>
                      <a:pt x="33" y="289"/>
                    </a:lnTo>
                    <a:lnTo>
                      <a:pt x="32" y="289"/>
                    </a:lnTo>
                    <a:lnTo>
                      <a:pt x="32" y="289"/>
                    </a:lnTo>
                    <a:lnTo>
                      <a:pt x="32" y="289"/>
                    </a:lnTo>
                    <a:lnTo>
                      <a:pt x="35" y="288"/>
                    </a:lnTo>
                    <a:lnTo>
                      <a:pt x="37" y="288"/>
                    </a:lnTo>
                    <a:lnTo>
                      <a:pt x="40" y="291"/>
                    </a:lnTo>
                    <a:lnTo>
                      <a:pt x="40" y="291"/>
                    </a:lnTo>
                    <a:lnTo>
                      <a:pt x="40" y="289"/>
                    </a:lnTo>
                    <a:lnTo>
                      <a:pt x="40" y="289"/>
                    </a:lnTo>
                    <a:lnTo>
                      <a:pt x="39" y="289"/>
                    </a:lnTo>
                    <a:lnTo>
                      <a:pt x="39" y="289"/>
                    </a:lnTo>
                    <a:lnTo>
                      <a:pt x="40" y="289"/>
                    </a:lnTo>
                    <a:lnTo>
                      <a:pt x="40" y="289"/>
                    </a:lnTo>
                    <a:lnTo>
                      <a:pt x="40" y="289"/>
                    </a:lnTo>
                    <a:lnTo>
                      <a:pt x="40" y="289"/>
                    </a:lnTo>
                    <a:lnTo>
                      <a:pt x="40" y="285"/>
                    </a:lnTo>
                    <a:lnTo>
                      <a:pt x="40" y="281"/>
                    </a:lnTo>
                    <a:lnTo>
                      <a:pt x="41" y="280"/>
                    </a:lnTo>
                    <a:lnTo>
                      <a:pt x="41" y="275"/>
                    </a:lnTo>
                    <a:lnTo>
                      <a:pt x="43" y="273"/>
                    </a:lnTo>
                    <a:lnTo>
                      <a:pt x="43" y="273"/>
                    </a:lnTo>
                    <a:lnTo>
                      <a:pt x="43" y="269"/>
                    </a:lnTo>
                    <a:lnTo>
                      <a:pt x="44" y="267"/>
                    </a:lnTo>
                    <a:lnTo>
                      <a:pt x="44" y="267"/>
                    </a:lnTo>
                    <a:lnTo>
                      <a:pt x="46" y="265"/>
                    </a:lnTo>
                    <a:lnTo>
                      <a:pt x="50" y="264"/>
                    </a:lnTo>
                    <a:lnTo>
                      <a:pt x="52" y="264"/>
                    </a:lnTo>
                    <a:lnTo>
                      <a:pt x="52" y="264"/>
                    </a:lnTo>
                    <a:lnTo>
                      <a:pt x="52" y="264"/>
                    </a:lnTo>
                    <a:lnTo>
                      <a:pt x="50" y="262"/>
                    </a:lnTo>
                    <a:lnTo>
                      <a:pt x="50" y="256"/>
                    </a:lnTo>
                    <a:lnTo>
                      <a:pt x="50" y="256"/>
                    </a:lnTo>
                    <a:lnTo>
                      <a:pt x="50" y="256"/>
                    </a:lnTo>
                    <a:lnTo>
                      <a:pt x="50" y="256"/>
                    </a:lnTo>
                    <a:lnTo>
                      <a:pt x="49" y="254"/>
                    </a:lnTo>
                    <a:lnTo>
                      <a:pt x="49" y="248"/>
                    </a:lnTo>
                    <a:lnTo>
                      <a:pt x="49" y="247"/>
                    </a:lnTo>
                    <a:lnTo>
                      <a:pt x="53" y="242"/>
                    </a:lnTo>
                    <a:lnTo>
                      <a:pt x="52" y="242"/>
                    </a:lnTo>
                    <a:lnTo>
                      <a:pt x="52" y="242"/>
                    </a:lnTo>
                    <a:lnTo>
                      <a:pt x="50" y="244"/>
                    </a:lnTo>
                    <a:lnTo>
                      <a:pt x="50" y="244"/>
                    </a:lnTo>
                    <a:lnTo>
                      <a:pt x="50" y="243"/>
                    </a:lnTo>
                    <a:lnTo>
                      <a:pt x="50" y="243"/>
                    </a:lnTo>
                    <a:lnTo>
                      <a:pt x="50" y="240"/>
                    </a:lnTo>
                    <a:lnTo>
                      <a:pt x="50" y="240"/>
                    </a:lnTo>
                    <a:lnTo>
                      <a:pt x="54" y="235"/>
                    </a:lnTo>
                    <a:lnTo>
                      <a:pt x="52" y="235"/>
                    </a:lnTo>
                    <a:lnTo>
                      <a:pt x="52" y="235"/>
                    </a:lnTo>
                    <a:lnTo>
                      <a:pt x="52" y="238"/>
                    </a:lnTo>
                    <a:lnTo>
                      <a:pt x="52" y="238"/>
                    </a:lnTo>
                    <a:lnTo>
                      <a:pt x="52" y="236"/>
                    </a:lnTo>
                    <a:lnTo>
                      <a:pt x="52" y="236"/>
                    </a:lnTo>
                    <a:lnTo>
                      <a:pt x="52" y="235"/>
                    </a:lnTo>
                    <a:lnTo>
                      <a:pt x="52" y="235"/>
                    </a:lnTo>
                    <a:lnTo>
                      <a:pt x="52" y="230"/>
                    </a:lnTo>
                    <a:lnTo>
                      <a:pt x="54" y="224"/>
                    </a:lnTo>
                    <a:lnTo>
                      <a:pt x="54" y="224"/>
                    </a:lnTo>
                    <a:lnTo>
                      <a:pt x="54" y="224"/>
                    </a:lnTo>
                    <a:lnTo>
                      <a:pt x="54" y="223"/>
                    </a:lnTo>
                    <a:lnTo>
                      <a:pt x="60" y="218"/>
                    </a:lnTo>
                    <a:lnTo>
                      <a:pt x="65" y="218"/>
                    </a:lnTo>
                    <a:lnTo>
                      <a:pt x="68" y="219"/>
                    </a:lnTo>
                    <a:lnTo>
                      <a:pt x="68" y="224"/>
                    </a:lnTo>
                    <a:lnTo>
                      <a:pt x="68" y="221"/>
                    </a:lnTo>
                    <a:lnTo>
                      <a:pt x="70" y="222"/>
                    </a:lnTo>
                    <a:lnTo>
                      <a:pt x="70" y="221"/>
                    </a:lnTo>
                    <a:lnTo>
                      <a:pt x="70" y="221"/>
                    </a:lnTo>
                    <a:lnTo>
                      <a:pt x="69" y="219"/>
                    </a:lnTo>
                    <a:lnTo>
                      <a:pt x="69" y="219"/>
                    </a:lnTo>
                    <a:lnTo>
                      <a:pt x="69" y="219"/>
                    </a:lnTo>
                    <a:lnTo>
                      <a:pt x="69" y="219"/>
                    </a:lnTo>
                    <a:lnTo>
                      <a:pt x="70" y="219"/>
                    </a:lnTo>
                    <a:lnTo>
                      <a:pt x="73" y="219"/>
                    </a:lnTo>
                    <a:lnTo>
                      <a:pt x="78" y="223"/>
                    </a:lnTo>
                    <a:lnTo>
                      <a:pt x="78" y="222"/>
                    </a:lnTo>
                    <a:lnTo>
                      <a:pt x="78" y="222"/>
                    </a:lnTo>
                    <a:lnTo>
                      <a:pt x="76" y="221"/>
                    </a:lnTo>
                    <a:lnTo>
                      <a:pt x="77" y="221"/>
                    </a:lnTo>
                    <a:lnTo>
                      <a:pt x="77" y="221"/>
                    </a:lnTo>
                    <a:lnTo>
                      <a:pt x="78" y="221"/>
                    </a:lnTo>
                    <a:lnTo>
                      <a:pt x="81" y="221"/>
                    </a:lnTo>
                    <a:lnTo>
                      <a:pt x="86" y="223"/>
                    </a:lnTo>
                    <a:lnTo>
                      <a:pt x="86" y="223"/>
                    </a:lnTo>
                    <a:lnTo>
                      <a:pt x="86" y="224"/>
                    </a:lnTo>
                    <a:lnTo>
                      <a:pt x="89" y="224"/>
                    </a:lnTo>
                    <a:lnTo>
                      <a:pt x="94" y="224"/>
                    </a:lnTo>
                    <a:lnTo>
                      <a:pt x="95" y="226"/>
                    </a:lnTo>
                    <a:lnTo>
                      <a:pt x="95" y="226"/>
                    </a:lnTo>
                    <a:lnTo>
                      <a:pt x="98" y="222"/>
                    </a:lnTo>
                    <a:lnTo>
                      <a:pt x="101" y="221"/>
                    </a:lnTo>
                    <a:lnTo>
                      <a:pt x="103" y="221"/>
                    </a:lnTo>
                    <a:lnTo>
                      <a:pt x="103" y="221"/>
                    </a:lnTo>
                    <a:lnTo>
                      <a:pt x="106" y="221"/>
                    </a:lnTo>
                    <a:lnTo>
                      <a:pt x="109" y="223"/>
                    </a:lnTo>
                    <a:lnTo>
                      <a:pt x="109" y="223"/>
                    </a:lnTo>
                    <a:lnTo>
                      <a:pt x="109" y="223"/>
                    </a:lnTo>
                    <a:lnTo>
                      <a:pt x="111" y="224"/>
                    </a:lnTo>
                    <a:lnTo>
                      <a:pt x="111" y="224"/>
                    </a:lnTo>
                    <a:lnTo>
                      <a:pt x="109" y="223"/>
                    </a:lnTo>
                    <a:lnTo>
                      <a:pt x="113" y="219"/>
                    </a:lnTo>
                    <a:lnTo>
                      <a:pt x="114" y="219"/>
                    </a:lnTo>
                    <a:lnTo>
                      <a:pt x="117" y="219"/>
                    </a:lnTo>
                    <a:lnTo>
                      <a:pt x="117" y="219"/>
                    </a:lnTo>
                    <a:lnTo>
                      <a:pt x="119" y="221"/>
                    </a:lnTo>
                    <a:lnTo>
                      <a:pt x="121" y="223"/>
                    </a:lnTo>
                    <a:lnTo>
                      <a:pt x="122" y="227"/>
                    </a:lnTo>
                    <a:lnTo>
                      <a:pt x="122" y="227"/>
                    </a:lnTo>
                    <a:lnTo>
                      <a:pt x="122" y="227"/>
                    </a:lnTo>
                    <a:lnTo>
                      <a:pt x="121" y="224"/>
                    </a:lnTo>
                    <a:lnTo>
                      <a:pt x="118" y="224"/>
                    </a:lnTo>
                    <a:lnTo>
                      <a:pt x="123" y="230"/>
                    </a:lnTo>
                    <a:lnTo>
                      <a:pt x="123" y="231"/>
                    </a:lnTo>
                    <a:lnTo>
                      <a:pt x="123" y="231"/>
                    </a:lnTo>
                    <a:lnTo>
                      <a:pt x="123" y="232"/>
                    </a:lnTo>
                    <a:lnTo>
                      <a:pt x="123" y="232"/>
                    </a:lnTo>
                    <a:lnTo>
                      <a:pt x="123" y="234"/>
                    </a:lnTo>
                    <a:lnTo>
                      <a:pt x="123" y="234"/>
                    </a:lnTo>
                    <a:lnTo>
                      <a:pt x="122" y="231"/>
                    </a:lnTo>
                    <a:lnTo>
                      <a:pt x="119" y="230"/>
                    </a:lnTo>
                    <a:lnTo>
                      <a:pt x="123" y="235"/>
                    </a:lnTo>
                    <a:lnTo>
                      <a:pt x="125" y="235"/>
                    </a:lnTo>
                    <a:lnTo>
                      <a:pt x="125" y="235"/>
                    </a:lnTo>
                    <a:lnTo>
                      <a:pt x="125" y="236"/>
                    </a:lnTo>
                    <a:lnTo>
                      <a:pt x="125" y="236"/>
                    </a:lnTo>
                    <a:lnTo>
                      <a:pt x="127" y="240"/>
                    </a:lnTo>
                    <a:lnTo>
                      <a:pt x="130" y="244"/>
                    </a:lnTo>
                    <a:lnTo>
                      <a:pt x="130" y="243"/>
                    </a:lnTo>
                    <a:lnTo>
                      <a:pt x="131" y="240"/>
                    </a:lnTo>
                    <a:lnTo>
                      <a:pt x="131" y="240"/>
                    </a:lnTo>
                    <a:lnTo>
                      <a:pt x="132" y="238"/>
                    </a:lnTo>
                    <a:lnTo>
                      <a:pt x="134" y="236"/>
                    </a:lnTo>
                    <a:lnTo>
                      <a:pt x="138" y="235"/>
                    </a:lnTo>
                    <a:lnTo>
                      <a:pt x="138" y="235"/>
                    </a:lnTo>
                    <a:lnTo>
                      <a:pt x="138" y="235"/>
                    </a:lnTo>
                    <a:lnTo>
                      <a:pt x="140" y="234"/>
                    </a:lnTo>
                    <a:lnTo>
                      <a:pt x="144" y="232"/>
                    </a:lnTo>
                    <a:lnTo>
                      <a:pt x="148" y="232"/>
                    </a:lnTo>
                    <a:lnTo>
                      <a:pt x="152" y="234"/>
                    </a:lnTo>
                    <a:lnTo>
                      <a:pt x="155" y="230"/>
                    </a:lnTo>
                    <a:lnTo>
                      <a:pt x="155" y="230"/>
                    </a:lnTo>
                    <a:lnTo>
                      <a:pt x="160" y="227"/>
                    </a:lnTo>
                    <a:lnTo>
                      <a:pt x="164" y="223"/>
                    </a:lnTo>
                    <a:lnTo>
                      <a:pt x="164" y="223"/>
                    </a:lnTo>
                    <a:lnTo>
                      <a:pt x="168" y="221"/>
                    </a:lnTo>
                    <a:lnTo>
                      <a:pt x="168" y="221"/>
                    </a:lnTo>
                    <a:lnTo>
                      <a:pt x="171" y="214"/>
                    </a:lnTo>
                    <a:lnTo>
                      <a:pt x="171" y="214"/>
                    </a:lnTo>
                    <a:lnTo>
                      <a:pt x="172" y="211"/>
                    </a:lnTo>
                    <a:lnTo>
                      <a:pt x="172" y="210"/>
                    </a:lnTo>
                    <a:lnTo>
                      <a:pt x="172" y="209"/>
                    </a:lnTo>
                    <a:lnTo>
                      <a:pt x="172" y="209"/>
                    </a:lnTo>
                    <a:lnTo>
                      <a:pt x="173" y="205"/>
                    </a:lnTo>
                    <a:lnTo>
                      <a:pt x="173" y="205"/>
                    </a:lnTo>
                    <a:lnTo>
                      <a:pt x="173" y="207"/>
                    </a:lnTo>
                    <a:lnTo>
                      <a:pt x="175" y="203"/>
                    </a:lnTo>
                    <a:lnTo>
                      <a:pt x="175" y="203"/>
                    </a:lnTo>
                    <a:lnTo>
                      <a:pt x="173" y="203"/>
                    </a:lnTo>
                    <a:lnTo>
                      <a:pt x="173" y="191"/>
                    </a:lnTo>
                    <a:lnTo>
                      <a:pt x="173" y="191"/>
                    </a:lnTo>
                    <a:lnTo>
                      <a:pt x="183" y="189"/>
                    </a:lnTo>
                    <a:lnTo>
                      <a:pt x="187" y="186"/>
                    </a:lnTo>
                    <a:lnTo>
                      <a:pt x="189" y="184"/>
                    </a:lnTo>
                    <a:lnTo>
                      <a:pt x="191" y="184"/>
                    </a:lnTo>
                    <a:lnTo>
                      <a:pt x="191" y="184"/>
                    </a:lnTo>
                    <a:lnTo>
                      <a:pt x="191" y="184"/>
                    </a:lnTo>
                    <a:lnTo>
                      <a:pt x="191" y="184"/>
                    </a:lnTo>
                    <a:lnTo>
                      <a:pt x="193" y="186"/>
                    </a:lnTo>
                    <a:lnTo>
                      <a:pt x="193" y="186"/>
                    </a:lnTo>
                    <a:lnTo>
                      <a:pt x="195" y="186"/>
                    </a:lnTo>
                    <a:lnTo>
                      <a:pt x="195" y="185"/>
                    </a:lnTo>
                    <a:lnTo>
                      <a:pt x="195" y="185"/>
                    </a:lnTo>
                    <a:lnTo>
                      <a:pt x="195" y="185"/>
                    </a:lnTo>
                    <a:lnTo>
                      <a:pt x="192" y="184"/>
                    </a:lnTo>
                    <a:lnTo>
                      <a:pt x="195" y="181"/>
                    </a:lnTo>
                    <a:lnTo>
                      <a:pt x="195" y="180"/>
                    </a:lnTo>
                    <a:lnTo>
                      <a:pt x="195" y="180"/>
                    </a:lnTo>
                    <a:lnTo>
                      <a:pt x="192" y="181"/>
                    </a:lnTo>
                    <a:lnTo>
                      <a:pt x="191" y="182"/>
                    </a:lnTo>
                    <a:lnTo>
                      <a:pt x="188" y="181"/>
                    </a:lnTo>
                    <a:lnTo>
                      <a:pt x="188" y="180"/>
                    </a:lnTo>
                    <a:lnTo>
                      <a:pt x="188" y="180"/>
                    </a:lnTo>
                    <a:lnTo>
                      <a:pt x="188" y="177"/>
                    </a:lnTo>
                    <a:lnTo>
                      <a:pt x="188" y="177"/>
                    </a:lnTo>
                    <a:lnTo>
                      <a:pt x="188" y="177"/>
                    </a:lnTo>
                    <a:lnTo>
                      <a:pt x="188" y="176"/>
                    </a:lnTo>
                    <a:lnTo>
                      <a:pt x="188" y="176"/>
                    </a:lnTo>
                    <a:lnTo>
                      <a:pt x="188" y="177"/>
                    </a:lnTo>
                    <a:lnTo>
                      <a:pt x="188" y="177"/>
                    </a:lnTo>
                    <a:lnTo>
                      <a:pt x="187" y="174"/>
                    </a:lnTo>
                    <a:lnTo>
                      <a:pt x="187" y="174"/>
                    </a:lnTo>
                    <a:lnTo>
                      <a:pt x="185" y="170"/>
                    </a:lnTo>
                    <a:lnTo>
                      <a:pt x="185" y="170"/>
                    </a:lnTo>
                    <a:lnTo>
                      <a:pt x="184" y="168"/>
                    </a:lnTo>
                    <a:lnTo>
                      <a:pt x="183" y="164"/>
                    </a:lnTo>
                    <a:lnTo>
                      <a:pt x="183" y="157"/>
                    </a:lnTo>
                    <a:lnTo>
                      <a:pt x="183" y="157"/>
                    </a:lnTo>
                    <a:lnTo>
                      <a:pt x="187" y="153"/>
                    </a:lnTo>
                    <a:lnTo>
                      <a:pt x="191" y="152"/>
                    </a:lnTo>
                    <a:lnTo>
                      <a:pt x="191" y="152"/>
                    </a:lnTo>
                    <a:lnTo>
                      <a:pt x="195" y="153"/>
                    </a:lnTo>
                    <a:lnTo>
                      <a:pt x="196" y="149"/>
                    </a:lnTo>
                    <a:lnTo>
                      <a:pt x="196" y="149"/>
                    </a:lnTo>
                    <a:lnTo>
                      <a:pt x="195" y="150"/>
                    </a:lnTo>
                    <a:lnTo>
                      <a:pt x="195" y="150"/>
                    </a:lnTo>
                    <a:lnTo>
                      <a:pt x="195" y="146"/>
                    </a:lnTo>
                    <a:lnTo>
                      <a:pt x="195" y="146"/>
                    </a:lnTo>
                    <a:lnTo>
                      <a:pt x="195" y="140"/>
                    </a:lnTo>
                    <a:lnTo>
                      <a:pt x="195" y="129"/>
                    </a:lnTo>
                    <a:lnTo>
                      <a:pt x="197" y="125"/>
                    </a:lnTo>
                    <a:lnTo>
                      <a:pt x="197" y="125"/>
                    </a:lnTo>
                    <a:lnTo>
                      <a:pt x="199" y="123"/>
                    </a:lnTo>
                    <a:lnTo>
                      <a:pt x="199" y="123"/>
                    </a:lnTo>
                    <a:lnTo>
                      <a:pt x="200" y="121"/>
                    </a:lnTo>
                    <a:lnTo>
                      <a:pt x="200" y="121"/>
                    </a:lnTo>
                    <a:lnTo>
                      <a:pt x="205" y="119"/>
                    </a:lnTo>
                    <a:lnTo>
                      <a:pt x="205" y="119"/>
                    </a:lnTo>
                    <a:lnTo>
                      <a:pt x="209" y="119"/>
                    </a:lnTo>
                    <a:lnTo>
                      <a:pt x="212" y="121"/>
                    </a:lnTo>
                    <a:lnTo>
                      <a:pt x="216" y="125"/>
                    </a:lnTo>
                    <a:lnTo>
                      <a:pt x="216" y="125"/>
                    </a:lnTo>
                    <a:lnTo>
                      <a:pt x="216" y="125"/>
                    </a:lnTo>
                    <a:lnTo>
                      <a:pt x="216" y="125"/>
                    </a:lnTo>
                    <a:lnTo>
                      <a:pt x="218" y="127"/>
                    </a:lnTo>
                    <a:lnTo>
                      <a:pt x="220" y="128"/>
                    </a:lnTo>
                    <a:lnTo>
                      <a:pt x="221" y="131"/>
                    </a:lnTo>
                    <a:lnTo>
                      <a:pt x="221" y="131"/>
                    </a:lnTo>
                    <a:lnTo>
                      <a:pt x="221" y="129"/>
                    </a:lnTo>
                    <a:lnTo>
                      <a:pt x="218" y="129"/>
                    </a:lnTo>
                    <a:lnTo>
                      <a:pt x="224" y="133"/>
                    </a:lnTo>
                    <a:lnTo>
                      <a:pt x="224" y="133"/>
                    </a:lnTo>
                    <a:lnTo>
                      <a:pt x="224" y="132"/>
                    </a:lnTo>
                    <a:lnTo>
                      <a:pt x="224" y="132"/>
                    </a:lnTo>
                    <a:lnTo>
                      <a:pt x="225" y="133"/>
                    </a:lnTo>
                    <a:lnTo>
                      <a:pt x="225" y="133"/>
                    </a:lnTo>
                    <a:lnTo>
                      <a:pt x="226" y="133"/>
                    </a:lnTo>
                    <a:lnTo>
                      <a:pt x="226" y="133"/>
                    </a:lnTo>
                    <a:lnTo>
                      <a:pt x="230" y="135"/>
                    </a:lnTo>
                    <a:lnTo>
                      <a:pt x="232" y="136"/>
                    </a:lnTo>
                    <a:lnTo>
                      <a:pt x="233" y="136"/>
                    </a:lnTo>
                    <a:lnTo>
                      <a:pt x="233" y="136"/>
                    </a:lnTo>
                    <a:lnTo>
                      <a:pt x="236" y="137"/>
                    </a:lnTo>
                    <a:lnTo>
                      <a:pt x="236" y="137"/>
                    </a:lnTo>
                    <a:lnTo>
                      <a:pt x="237" y="137"/>
                    </a:lnTo>
                    <a:lnTo>
                      <a:pt x="241" y="135"/>
                    </a:lnTo>
                    <a:lnTo>
                      <a:pt x="250" y="135"/>
                    </a:lnTo>
                    <a:lnTo>
                      <a:pt x="257" y="141"/>
                    </a:lnTo>
                    <a:lnTo>
                      <a:pt x="257" y="145"/>
                    </a:lnTo>
                    <a:lnTo>
                      <a:pt x="257" y="145"/>
                    </a:lnTo>
                    <a:lnTo>
                      <a:pt x="257" y="150"/>
                    </a:lnTo>
                    <a:lnTo>
                      <a:pt x="257" y="150"/>
                    </a:lnTo>
                    <a:lnTo>
                      <a:pt x="257" y="153"/>
                    </a:lnTo>
                    <a:lnTo>
                      <a:pt x="257" y="153"/>
                    </a:lnTo>
                    <a:lnTo>
                      <a:pt x="257" y="153"/>
                    </a:lnTo>
                    <a:lnTo>
                      <a:pt x="257" y="153"/>
                    </a:lnTo>
                    <a:lnTo>
                      <a:pt x="254" y="150"/>
                    </a:lnTo>
                    <a:lnTo>
                      <a:pt x="257" y="153"/>
                    </a:lnTo>
                    <a:lnTo>
                      <a:pt x="257" y="153"/>
                    </a:lnTo>
                    <a:lnTo>
                      <a:pt x="255" y="153"/>
                    </a:lnTo>
                    <a:lnTo>
                      <a:pt x="255" y="153"/>
                    </a:lnTo>
                    <a:lnTo>
                      <a:pt x="254" y="156"/>
                    </a:lnTo>
                    <a:lnTo>
                      <a:pt x="254" y="158"/>
                    </a:lnTo>
                    <a:lnTo>
                      <a:pt x="257" y="154"/>
                    </a:lnTo>
                    <a:lnTo>
                      <a:pt x="259" y="158"/>
                    </a:lnTo>
                    <a:lnTo>
                      <a:pt x="259" y="158"/>
                    </a:lnTo>
                    <a:lnTo>
                      <a:pt x="261" y="156"/>
                    </a:lnTo>
                    <a:lnTo>
                      <a:pt x="259" y="153"/>
                    </a:lnTo>
                    <a:lnTo>
                      <a:pt x="259" y="153"/>
                    </a:lnTo>
                    <a:lnTo>
                      <a:pt x="258" y="153"/>
                    </a:lnTo>
                    <a:lnTo>
                      <a:pt x="261" y="150"/>
                    </a:lnTo>
                    <a:lnTo>
                      <a:pt x="262" y="150"/>
                    </a:lnTo>
                    <a:lnTo>
                      <a:pt x="262" y="150"/>
                    </a:lnTo>
                    <a:lnTo>
                      <a:pt x="265" y="150"/>
                    </a:lnTo>
                    <a:lnTo>
                      <a:pt x="265" y="150"/>
                    </a:lnTo>
                    <a:lnTo>
                      <a:pt x="269" y="150"/>
                    </a:lnTo>
                    <a:lnTo>
                      <a:pt x="269" y="150"/>
                    </a:lnTo>
                    <a:lnTo>
                      <a:pt x="271" y="150"/>
                    </a:lnTo>
                    <a:lnTo>
                      <a:pt x="271" y="150"/>
                    </a:lnTo>
                    <a:lnTo>
                      <a:pt x="273" y="150"/>
                    </a:lnTo>
                    <a:lnTo>
                      <a:pt x="273" y="150"/>
                    </a:lnTo>
                    <a:lnTo>
                      <a:pt x="271" y="152"/>
                    </a:lnTo>
                    <a:lnTo>
                      <a:pt x="275" y="149"/>
                    </a:lnTo>
                    <a:lnTo>
                      <a:pt x="287" y="149"/>
                    </a:lnTo>
                    <a:lnTo>
                      <a:pt x="287" y="149"/>
                    </a:lnTo>
                    <a:lnTo>
                      <a:pt x="290" y="149"/>
                    </a:lnTo>
                    <a:lnTo>
                      <a:pt x="290" y="149"/>
                    </a:lnTo>
                    <a:lnTo>
                      <a:pt x="295" y="149"/>
                    </a:lnTo>
                    <a:lnTo>
                      <a:pt x="295" y="149"/>
                    </a:lnTo>
                    <a:lnTo>
                      <a:pt x="300" y="149"/>
                    </a:lnTo>
                    <a:lnTo>
                      <a:pt x="300" y="149"/>
                    </a:lnTo>
                    <a:lnTo>
                      <a:pt x="304" y="149"/>
                    </a:lnTo>
                    <a:lnTo>
                      <a:pt x="307" y="148"/>
                    </a:lnTo>
                    <a:lnTo>
                      <a:pt x="319" y="148"/>
                    </a:lnTo>
                    <a:lnTo>
                      <a:pt x="319" y="148"/>
                    </a:lnTo>
                    <a:lnTo>
                      <a:pt x="324" y="141"/>
                    </a:lnTo>
                    <a:lnTo>
                      <a:pt x="325" y="136"/>
                    </a:lnTo>
                    <a:lnTo>
                      <a:pt x="325" y="136"/>
                    </a:lnTo>
                    <a:lnTo>
                      <a:pt x="324" y="132"/>
                    </a:lnTo>
                    <a:lnTo>
                      <a:pt x="324" y="132"/>
                    </a:lnTo>
                    <a:lnTo>
                      <a:pt x="323" y="129"/>
                    </a:lnTo>
                    <a:lnTo>
                      <a:pt x="323" y="129"/>
                    </a:lnTo>
                    <a:lnTo>
                      <a:pt x="323" y="127"/>
                    </a:lnTo>
                    <a:lnTo>
                      <a:pt x="323" y="127"/>
                    </a:lnTo>
                    <a:lnTo>
                      <a:pt x="323" y="128"/>
                    </a:lnTo>
                    <a:lnTo>
                      <a:pt x="320" y="123"/>
                    </a:lnTo>
                    <a:lnTo>
                      <a:pt x="320" y="123"/>
                    </a:lnTo>
                    <a:lnTo>
                      <a:pt x="320" y="123"/>
                    </a:lnTo>
                    <a:lnTo>
                      <a:pt x="319" y="123"/>
                    </a:lnTo>
                    <a:lnTo>
                      <a:pt x="319" y="121"/>
                    </a:lnTo>
                    <a:lnTo>
                      <a:pt x="319" y="121"/>
                    </a:lnTo>
                    <a:lnTo>
                      <a:pt x="319" y="121"/>
                    </a:lnTo>
                    <a:lnTo>
                      <a:pt x="316" y="116"/>
                    </a:lnTo>
                    <a:lnTo>
                      <a:pt x="314" y="117"/>
                    </a:lnTo>
                    <a:lnTo>
                      <a:pt x="311" y="117"/>
                    </a:lnTo>
                    <a:lnTo>
                      <a:pt x="306" y="112"/>
                    </a:lnTo>
                    <a:lnTo>
                      <a:pt x="306" y="103"/>
                    </a:lnTo>
                    <a:lnTo>
                      <a:pt x="310" y="98"/>
                    </a:lnTo>
                    <a:lnTo>
                      <a:pt x="310" y="98"/>
                    </a:lnTo>
                    <a:lnTo>
                      <a:pt x="314" y="96"/>
                    </a:lnTo>
                    <a:lnTo>
                      <a:pt x="314" y="96"/>
                    </a:lnTo>
                    <a:lnTo>
                      <a:pt x="316" y="98"/>
                    </a:lnTo>
                    <a:lnTo>
                      <a:pt x="316" y="98"/>
                    </a:lnTo>
                    <a:lnTo>
                      <a:pt x="319" y="98"/>
                    </a:lnTo>
                    <a:lnTo>
                      <a:pt x="319" y="98"/>
                    </a:lnTo>
                    <a:lnTo>
                      <a:pt x="318" y="99"/>
                    </a:lnTo>
                    <a:lnTo>
                      <a:pt x="323" y="96"/>
                    </a:lnTo>
                    <a:lnTo>
                      <a:pt x="324" y="96"/>
                    </a:lnTo>
                    <a:lnTo>
                      <a:pt x="324" y="96"/>
                    </a:lnTo>
                    <a:lnTo>
                      <a:pt x="323" y="94"/>
                    </a:lnTo>
                    <a:lnTo>
                      <a:pt x="322" y="92"/>
                    </a:lnTo>
                    <a:lnTo>
                      <a:pt x="322" y="92"/>
                    </a:lnTo>
                    <a:lnTo>
                      <a:pt x="320" y="90"/>
                    </a:lnTo>
                    <a:lnTo>
                      <a:pt x="319" y="86"/>
                    </a:lnTo>
                    <a:lnTo>
                      <a:pt x="319" y="86"/>
                    </a:lnTo>
                    <a:lnTo>
                      <a:pt x="318" y="83"/>
                    </a:lnTo>
                    <a:lnTo>
                      <a:pt x="314" y="84"/>
                    </a:lnTo>
                    <a:lnTo>
                      <a:pt x="314" y="84"/>
                    </a:lnTo>
                    <a:lnTo>
                      <a:pt x="314" y="84"/>
                    </a:lnTo>
                    <a:lnTo>
                      <a:pt x="310" y="86"/>
                    </a:lnTo>
                    <a:lnTo>
                      <a:pt x="306" y="86"/>
                    </a:lnTo>
                    <a:lnTo>
                      <a:pt x="306" y="86"/>
                    </a:lnTo>
                    <a:lnTo>
                      <a:pt x="300" y="86"/>
                    </a:lnTo>
                    <a:lnTo>
                      <a:pt x="298" y="87"/>
                    </a:lnTo>
                    <a:lnTo>
                      <a:pt x="291" y="87"/>
                    </a:lnTo>
                    <a:lnTo>
                      <a:pt x="290" y="87"/>
                    </a:lnTo>
                    <a:lnTo>
                      <a:pt x="290" y="87"/>
                    </a:lnTo>
                    <a:lnTo>
                      <a:pt x="287" y="86"/>
                    </a:lnTo>
                    <a:lnTo>
                      <a:pt x="283" y="83"/>
                    </a:lnTo>
                    <a:lnTo>
                      <a:pt x="282" y="79"/>
                    </a:lnTo>
                    <a:lnTo>
                      <a:pt x="281" y="72"/>
                    </a:lnTo>
                    <a:lnTo>
                      <a:pt x="281" y="47"/>
                    </a:lnTo>
                    <a:lnTo>
                      <a:pt x="286" y="42"/>
                    </a:lnTo>
                    <a:lnTo>
                      <a:pt x="286" y="42"/>
                    </a:lnTo>
                    <a:lnTo>
                      <a:pt x="290" y="39"/>
                    </a:lnTo>
                    <a:lnTo>
                      <a:pt x="294" y="37"/>
                    </a:lnTo>
                    <a:lnTo>
                      <a:pt x="296" y="33"/>
                    </a:lnTo>
                    <a:lnTo>
                      <a:pt x="298" y="28"/>
                    </a:lnTo>
                    <a:lnTo>
                      <a:pt x="298" y="28"/>
                    </a:lnTo>
                    <a:lnTo>
                      <a:pt x="298" y="24"/>
                    </a:lnTo>
                    <a:lnTo>
                      <a:pt x="299" y="20"/>
                    </a:lnTo>
                    <a:lnTo>
                      <a:pt x="299" y="20"/>
                    </a:lnTo>
                    <a:lnTo>
                      <a:pt x="302" y="17"/>
                    </a:lnTo>
                    <a:lnTo>
                      <a:pt x="304" y="16"/>
                    </a:lnTo>
                    <a:lnTo>
                      <a:pt x="304" y="16"/>
                    </a:lnTo>
                    <a:lnTo>
                      <a:pt x="302" y="17"/>
                    </a:lnTo>
                    <a:lnTo>
                      <a:pt x="302" y="20"/>
                    </a:lnTo>
                    <a:lnTo>
                      <a:pt x="307" y="13"/>
                    </a:lnTo>
                    <a:lnTo>
                      <a:pt x="308" y="13"/>
                    </a:lnTo>
                    <a:lnTo>
                      <a:pt x="308" y="13"/>
                    </a:lnTo>
                    <a:lnTo>
                      <a:pt x="311" y="13"/>
                    </a:lnTo>
                    <a:lnTo>
                      <a:pt x="314" y="10"/>
                    </a:lnTo>
                    <a:lnTo>
                      <a:pt x="314" y="10"/>
                    </a:lnTo>
                    <a:lnTo>
                      <a:pt x="318" y="5"/>
                    </a:lnTo>
                    <a:lnTo>
                      <a:pt x="322" y="8"/>
                    </a:lnTo>
                    <a:lnTo>
                      <a:pt x="322" y="5"/>
                    </a:lnTo>
                    <a:lnTo>
                      <a:pt x="322" y="5"/>
                    </a:lnTo>
                    <a:lnTo>
                      <a:pt x="323" y="5"/>
                    </a:lnTo>
                    <a:lnTo>
                      <a:pt x="323" y="5"/>
                    </a:lnTo>
                    <a:lnTo>
                      <a:pt x="327" y="6"/>
                    </a:lnTo>
                    <a:lnTo>
                      <a:pt x="328" y="8"/>
                    </a:lnTo>
                    <a:lnTo>
                      <a:pt x="328" y="8"/>
                    </a:lnTo>
                    <a:lnTo>
                      <a:pt x="328" y="8"/>
                    </a:lnTo>
                    <a:lnTo>
                      <a:pt x="328" y="8"/>
                    </a:lnTo>
                    <a:lnTo>
                      <a:pt x="327" y="6"/>
                    </a:lnTo>
                    <a:lnTo>
                      <a:pt x="332" y="9"/>
                    </a:lnTo>
                    <a:lnTo>
                      <a:pt x="332" y="9"/>
                    </a:lnTo>
                    <a:lnTo>
                      <a:pt x="336" y="17"/>
                    </a:lnTo>
                    <a:lnTo>
                      <a:pt x="336" y="17"/>
                    </a:lnTo>
                    <a:lnTo>
                      <a:pt x="337" y="21"/>
                    </a:lnTo>
                    <a:lnTo>
                      <a:pt x="337" y="22"/>
                    </a:lnTo>
                    <a:lnTo>
                      <a:pt x="337" y="22"/>
                    </a:lnTo>
                    <a:lnTo>
                      <a:pt x="340" y="20"/>
                    </a:lnTo>
                    <a:lnTo>
                      <a:pt x="344" y="18"/>
                    </a:lnTo>
                    <a:lnTo>
                      <a:pt x="349" y="18"/>
                    </a:lnTo>
                    <a:lnTo>
                      <a:pt x="349" y="18"/>
                    </a:lnTo>
                    <a:lnTo>
                      <a:pt x="355" y="17"/>
                    </a:lnTo>
                    <a:lnTo>
                      <a:pt x="356" y="17"/>
                    </a:lnTo>
                    <a:lnTo>
                      <a:pt x="360" y="17"/>
                    </a:lnTo>
                    <a:lnTo>
                      <a:pt x="360" y="17"/>
                    </a:lnTo>
                    <a:lnTo>
                      <a:pt x="360" y="17"/>
                    </a:lnTo>
                    <a:lnTo>
                      <a:pt x="360" y="17"/>
                    </a:lnTo>
                    <a:lnTo>
                      <a:pt x="362" y="17"/>
                    </a:lnTo>
                    <a:lnTo>
                      <a:pt x="362" y="17"/>
                    </a:lnTo>
                    <a:lnTo>
                      <a:pt x="365" y="16"/>
                    </a:lnTo>
                    <a:lnTo>
                      <a:pt x="369" y="14"/>
                    </a:lnTo>
                    <a:lnTo>
                      <a:pt x="369" y="14"/>
                    </a:lnTo>
                    <a:lnTo>
                      <a:pt x="373" y="16"/>
                    </a:lnTo>
                    <a:lnTo>
                      <a:pt x="373" y="16"/>
                    </a:lnTo>
                    <a:lnTo>
                      <a:pt x="376" y="14"/>
                    </a:lnTo>
                    <a:lnTo>
                      <a:pt x="378" y="13"/>
                    </a:lnTo>
                    <a:lnTo>
                      <a:pt x="378" y="13"/>
                    </a:lnTo>
                    <a:lnTo>
                      <a:pt x="384" y="9"/>
                    </a:lnTo>
                    <a:lnTo>
                      <a:pt x="386" y="8"/>
                    </a:lnTo>
                    <a:lnTo>
                      <a:pt x="390" y="6"/>
                    </a:lnTo>
                    <a:lnTo>
                      <a:pt x="393" y="6"/>
                    </a:lnTo>
                    <a:lnTo>
                      <a:pt x="396" y="8"/>
                    </a:lnTo>
                    <a:lnTo>
                      <a:pt x="396" y="8"/>
                    </a:lnTo>
                    <a:lnTo>
                      <a:pt x="401" y="12"/>
                    </a:lnTo>
                    <a:lnTo>
                      <a:pt x="401" y="12"/>
                    </a:lnTo>
                    <a:lnTo>
                      <a:pt x="405" y="14"/>
                    </a:lnTo>
                    <a:lnTo>
                      <a:pt x="407" y="14"/>
                    </a:lnTo>
                    <a:lnTo>
                      <a:pt x="407" y="14"/>
                    </a:lnTo>
                    <a:lnTo>
                      <a:pt x="407" y="14"/>
                    </a:lnTo>
                    <a:lnTo>
                      <a:pt x="407" y="14"/>
                    </a:lnTo>
                    <a:lnTo>
                      <a:pt x="407" y="14"/>
                    </a:lnTo>
                    <a:lnTo>
                      <a:pt x="409" y="14"/>
                    </a:lnTo>
                    <a:lnTo>
                      <a:pt x="414" y="9"/>
                    </a:lnTo>
                    <a:lnTo>
                      <a:pt x="414" y="9"/>
                    </a:lnTo>
                    <a:lnTo>
                      <a:pt x="419" y="12"/>
                    </a:lnTo>
                    <a:lnTo>
                      <a:pt x="421" y="14"/>
                    </a:lnTo>
                    <a:lnTo>
                      <a:pt x="421" y="14"/>
                    </a:lnTo>
                    <a:lnTo>
                      <a:pt x="422" y="16"/>
                    </a:lnTo>
                    <a:lnTo>
                      <a:pt x="425" y="21"/>
                    </a:lnTo>
                    <a:lnTo>
                      <a:pt x="423" y="16"/>
                    </a:lnTo>
                    <a:lnTo>
                      <a:pt x="423" y="16"/>
                    </a:lnTo>
                    <a:lnTo>
                      <a:pt x="425" y="13"/>
                    </a:lnTo>
                    <a:lnTo>
                      <a:pt x="425" y="13"/>
                    </a:lnTo>
                    <a:lnTo>
                      <a:pt x="426" y="10"/>
                    </a:lnTo>
                    <a:lnTo>
                      <a:pt x="430" y="6"/>
                    </a:lnTo>
                    <a:lnTo>
                      <a:pt x="433" y="5"/>
                    </a:lnTo>
                    <a:lnTo>
                      <a:pt x="434" y="5"/>
                    </a:lnTo>
                    <a:lnTo>
                      <a:pt x="434" y="5"/>
                    </a:lnTo>
                    <a:lnTo>
                      <a:pt x="437" y="5"/>
                    </a:lnTo>
                    <a:lnTo>
                      <a:pt x="437" y="5"/>
                    </a:lnTo>
                    <a:lnTo>
                      <a:pt x="438" y="5"/>
                    </a:lnTo>
                    <a:lnTo>
                      <a:pt x="441" y="6"/>
                    </a:lnTo>
                    <a:lnTo>
                      <a:pt x="443" y="9"/>
                    </a:lnTo>
                    <a:lnTo>
                      <a:pt x="444" y="13"/>
                    </a:lnTo>
                    <a:lnTo>
                      <a:pt x="444" y="14"/>
                    </a:lnTo>
                    <a:lnTo>
                      <a:pt x="444" y="14"/>
                    </a:lnTo>
                    <a:lnTo>
                      <a:pt x="443" y="12"/>
                    </a:lnTo>
                    <a:lnTo>
                      <a:pt x="441" y="10"/>
                    </a:lnTo>
                    <a:lnTo>
                      <a:pt x="446" y="16"/>
                    </a:lnTo>
                    <a:lnTo>
                      <a:pt x="446" y="16"/>
                    </a:lnTo>
                    <a:lnTo>
                      <a:pt x="444" y="14"/>
                    </a:lnTo>
                    <a:lnTo>
                      <a:pt x="444" y="14"/>
                    </a:lnTo>
                    <a:lnTo>
                      <a:pt x="447" y="17"/>
                    </a:lnTo>
                    <a:lnTo>
                      <a:pt x="447" y="17"/>
                    </a:lnTo>
                    <a:lnTo>
                      <a:pt x="450" y="18"/>
                    </a:lnTo>
                    <a:lnTo>
                      <a:pt x="450" y="18"/>
                    </a:lnTo>
                    <a:lnTo>
                      <a:pt x="451" y="18"/>
                    </a:lnTo>
                    <a:lnTo>
                      <a:pt x="452" y="18"/>
                    </a:lnTo>
                    <a:lnTo>
                      <a:pt x="454" y="17"/>
                    </a:lnTo>
                    <a:lnTo>
                      <a:pt x="454" y="17"/>
                    </a:lnTo>
                    <a:lnTo>
                      <a:pt x="455" y="16"/>
                    </a:lnTo>
                    <a:lnTo>
                      <a:pt x="455" y="16"/>
                    </a:lnTo>
                    <a:lnTo>
                      <a:pt x="456" y="14"/>
                    </a:lnTo>
                    <a:lnTo>
                      <a:pt x="456" y="14"/>
                    </a:lnTo>
                    <a:lnTo>
                      <a:pt x="456" y="13"/>
                    </a:lnTo>
                    <a:lnTo>
                      <a:pt x="456" y="13"/>
                    </a:lnTo>
                    <a:lnTo>
                      <a:pt x="456" y="8"/>
                    </a:lnTo>
                    <a:lnTo>
                      <a:pt x="458" y="5"/>
                    </a:lnTo>
                    <a:lnTo>
                      <a:pt x="462" y="2"/>
                    </a:lnTo>
                    <a:lnTo>
                      <a:pt x="462" y="2"/>
                    </a:lnTo>
                    <a:lnTo>
                      <a:pt x="462" y="2"/>
                    </a:lnTo>
                    <a:lnTo>
                      <a:pt x="466" y="0"/>
                    </a:lnTo>
                    <a:lnTo>
                      <a:pt x="468" y="0"/>
                    </a:lnTo>
                    <a:lnTo>
                      <a:pt x="468" y="0"/>
                    </a:lnTo>
                    <a:lnTo>
                      <a:pt x="472" y="1"/>
                    </a:lnTo>
                    <a:lnTo>
                      <a:pt x="475" y="2"/>
                    </a:lnTo>
                    <a:lnTo>
                      <a:pt x="475" y="2"/>
                    </a:lnTo>
                    <a:lnTo>
                      <a:pt x="478" y="2"/>
                    </a:lnTo>
                    <a:lnTo>
                      <a:pt x="480" y="2"/>
                    </a:lnTo>
                    <a:lnTo>
                      <a:pt x="480" y="2"/>
                    </a:lnTo>
                    <a:lnTo>
                      <a:pt x="481" y="1"/>
                    </a:lnTo>
                    <a:lnTo>
                      <a:pt x="485" y="0"/>
                    </a:lnTo>
                    <a:lnTo>
                      <a:pt x="485" y="0"/>
                    </a:lnTo>
                    <a:lnTo>
                      <a:pt x="488" y="1"/>
                    </a:lnTo>
                    <a:lnTo>
                      <a:pt x="493" y="1"/>
                    </a:lnTo>
                    <a:lnTo>
                      <a:pt x="499" y="5"/>
                    </a:lnTo>
                    <a:lnTo>
                      <a:pt x="499" y="5"/>
                    </a:lnTo>
                    <a:lnTo>
                      <a:pt x="499" y="12"/>
                    </a:lnTo>
                    <a:lnTo>
                      <a:pt x="499" y="12"/>
                    </a:lnTo>
                    <a:lnTo>
                      <a:pt x="499" y="16"/>
                    </a:lnTo>
                    <a:lnTo>
                      <a:pt x="499" y="16"/>
                    </a:lnTo>
                    <a:lnTo>
                      <a:pt x="497" y="14"/>
                    </a:lnTo>
                    <a:lnTo>
                      <a:pt x="500" y="20"/>
                    </a:lnTo>
                    <a:lnTo>
                      <a:pt x="500" y="25"/>
                    </a:lnTo>
                    <a:lnTo>
                      <a:pt x="500" y="25"/>
                    </a:lnTo>
                    <a:lnTo>
                      <a:pt x="500" y="34"/>
                    </a:lnTo>
                    <a:lnTo>
                      <a:pt x="500" y="34"/>
                    </a:lnTo>
                    <a:lnTo>
                      <a:pt x="500" y="39"/>
                    </a:lnTo>
                    <a:lnTo>
                      <a:pt x="500" y="43"/>
                    </a:lnTo>
                    <a:lnTo>
                      <a:pt x="501" y="47"/>
                    </a:lnTo>
                    <a:lnTo>
                      <a:pt x="501" y="51"/>
                    </a:lnTo>
                    <a:lnTo>
                      <a:pt x="501" y="51"/>
                    </a:lnTo>
                    <a:lnTo>
                      <a:pt x="501" y="57"/>
                    </a:lnTo>
                    <a:lnTo>
                      <a:pt x="501" y="57"/>
                    </a:lnTo>
                    <a:lnTo>
                      <a:pt x="501" y="57"/>
                    </a:lnTo>
                    <a:lnTo>
                      <a:pt x="501" y="57"/>
                    </a:lnTo>
                    <a:lnTo>
                      <a:pt x="501" y="57"/>
                    </a:lnTo>
                    <a:lnTo>
                      <a:pt x="503" y="59"/>
                    </a:lnTo>
                    <a:lnTo>
                      <a:pt x="504" y="62"/>
                    </a:lnTo>
                    <a:lnTo>
                      <a:pt x="504" y="62"/>
                    </a:lnTo>
                    <a:lnTo>
                      <a:pt x="509" y="72"/>
                    </a:lnTo>
                    <a:lnTo>
                      <a:pt x="509" y="72"/>
                    </a:lnTo>
                    <a:lnTo>
                      <a:pt x="515" y="84"/>
                    </a:lnTo>
                    <a:lnTo>
                      <a:pt x="520" y="98"/>
                    </a:lnTo>
                    <a:lnTo>
                      <a:pt x="520" y="99"/>
                    </a:lnTo>
                    <a:lnTo>
                      <a:pt x="520" y="102"/>
                    </a:lnTo>
                    <a:lnTo>
                      <a:pt x="520" y="102"/>
                    </a:lnTo>
                    <a:lnTo>
                      <a:pt x="520" y="107"/>
                    </a:lnTo>
                    <a:lnTo>
                      <a:pt x="520" y="107"/>
                    </a:lnTo>
                    <a:lnTo>
                      <a:pt x="520" y="109"/>
                    </a:lnTo>
                    <a:lnTo>
                      <a:pt x="520" y="109"/>
                    </a:lnTo>
                    <a:lnTo>
                      <a:pt x="520" y="109"/>
                    </a:lnTo>
                    <a:lnTo>
                      <a:pt x="519" y="108"/>
                    </a:lnTo>
                    <a:lnTo>
                      <a:pt x="521" y="113"/>
                    </a:lnTo>
                    <a:lnTo>
                      <a:pt x="521" y="115"/>
                    </a:lnTo>
                    <a:lnTo>
                      <a:pt x="521" y="115"/>
                    </a:lnTo>
                    <a:lnTo>
                      <a:pt x="521" y="120"/>
                    </a:lnTo>
                    <a:lnTo>
                      <a:pt x="521" y="120"/>
                    </a:lnTo>
                    <a:lnTo>
                      <a:pt x="521" y="123"/>
                    </a:lnTo>
                    <a:lnTo>
                      <a:pt x="521" y="123"/>
                    </a:lnTo>
                    <a:lnTo>
                      <a:pt x="521" y="121"/>
                    </a:lnTo>
                    <a:lnTo>
                      <a:pt x="519" y="120"/>
                    </a:lnTo>
                    <a:lnTo>
                      <a:pt x="522" y="125"/>
                    </a:lnTo>
                    <a:lnTo>
                      <a:pt x="522" y="143"/>
                    </a:lnTo>
                    <a:lnTo>
                      <a:pt x="519" y="148"/>
                    </a:lnTo>
                    <a:lnTo>
                      <a:pt x="519" y="148"/>
                    </a:lnTo>
                    <a:lnTo>
                      <a:pt x="521" y="146"/>
                    </a:lnTo>
                    <a:lnTo>
                      <a:pt x="521" y="145"/>
                    </a:lnTo>
                    <a:lnTo>
                      <a:pt x="521" y="145"/>
                    </a:lnTo>
                    <a:lnTo>
                      <a:pt x="521" y="148"/>
                    </a:lnTo>
                    <a:lnTo>
                      <a:pt x="521" y="148"/>
                    </a:lnTo>
                    <a:lnTo>
                      <a:pt x="521" y="153"/>
                    </a:lnTo>
                    <a:lnTo>
                      <a:pt x="521" y="154"/>
                    </a:lnTo>
                    <a:lnTo>
                      <a:pt x="519" y="161"/>
                    </a:lnTo>
                    <a:lnTo>
                      <a:pt x="519" y="161"/>
                    </a:lnTo>
                    <a:lnTo>
                      <a:pt x="520" y="160"/>
                    </a:lnTo>
                    <a:lnTo>
                      <a:pt x="520" y="158"/>
                    </a:lnTo>
                    <a:lnTo>
                      <a:pt x="520" y="158"/>
                    </a:lnTo>
                    <a:lnTo>
                      <a:pt x="520" y="161"/>
                    </a:lnTo>
                    <a:lnTo>
                      <a:pt x="520" y="161"/>
                    </a:lnTo>
                    <a:lnTo>
                      <a:pt x="520" y="166"/>
                    </a:lnTo>
                    <a:lnTo>
                      <a:pt x="520" y="169"/>
                    </a:lnTo>
                    <a:lnTo>
                      <a:pt x="515" y="174"/>
                    </a:lnTo>
                    <a:lnTo>
                      <a:pt x="515" y="174"/>
                    </a:lnTo>
                    <a:lnTo>
                      <a:pt x="515" y="174"/>
                    </a:lnTo>
                    <a:lnTo>
                      <a:pt x="515" y="174"/>
                    </a:lnTo>
                    <a:lnTo>
                      <a:pt x="516" y="174"/>
                    </a:lnTo>
                    <a:lnTo>
                      <a:pt x="517" y="173"/>
                    </a:lnTo>
                    <a:lnTo>
                      <a:pt x="517" y="173"/>
                    </a:lnTo>
                    <a:lnTo>
                      <a:pt x="519" y="170"/>
                    </a:lnTo>
                    <a:lnTo>
                      <a:pt x="519" y="170"/>
                    </a:lnTo>
                    <a:lnTo>
                      <a:pt x="519" y="172"/>
                    </a:lnTo>
                    <a:lnTo>
                      <a:pt x="519" y="172"/>
                    </a:lnTo>
                    <a:lnTo>
                      <a:pt x="519" y="176"/>
                    </a:lnTo>
                    <a:lnTo>
                      <a:pt x="519" y="177"/>
                    </a:lnTo>
                    <a:lnTo>
                      <a:pt x="519" y="177"/>
                    </a:lnTo>
                    <a:lnTo>
                      <a:pt x="519" y="177"/>
                    </a:lnTo>
                    <a:lnTo>
                      <a:pt x="519" y="177"/>
                    </a:lnTo>
                    <a:lnTo>
                      <a:pt x="519" y="177"/>
                    </a:lnTo>
                    <a:lnTo>
                      <a:pt x="513" y="182"/>
                    </a:lnTo>
                    <a:lnTo>
                      <a:pt x="513" y="182"/>
                    </a:lnTo>
                    <a:lnTo>
                      <a:pt x="513" y="182"/>
                    </a:lnTo>
                    <a:lnTo>
                      <a:pt x="513" y="182"/>
                    </a:lnTo>
                    <a:lnTo>
                      <a:pt x="515" y="182"/>
                    </a:lnTo>
                    <a:lnTo>
                      <a:pt x="516" y="181"/>
                    </a:lnTo>
                    <a:lnTo>
                      <a:pt x="516" y="181"/>
                    </a:lnTo>
                    <a:lnTo>
                      <a:pt x="517" y="178"/>
                    </a:lnTo>
                    <a:lnTo>
                      <a:pt x="517" y="178"/>
                    </a:lnTo>
                    <a:lnTo>
                      <a:pt x="517" y="180"/>
                    </a:lnTo>
                    <a:lnTo>
                      <a:pt x="517" y="180"/>
                    </a:lnTo>
                    <a:lnTo>
                      <a:pt x="517" y="184"/>
                    </a:lnTo>
                    <a:lnTo>
                      <a:pt x="517" y="185"/>
                    </a:lnTo>
                    <a:lnTo>
                      <a:pt x="512" y="191"/>
                    </a:lnTo>
                    <a:lnTo>
                      <a:pt x="512" y="191"/>
                    </a:lnTo>
                    <a:lnTo>
                      <a:pt x="512" y="191"/>
                    </a:lnTo>
                    <a:lnTo>
                      <a:pt x="512" y="191"/>
                    </a:lnTo>
                    <a:lnTo>
                      <a:pt x="513" y="191"/>
                    </a:lnTo>
                    <a:lnTo>
                      <a:pt x="515" y="190"/>
                    </a:lnTo>
                    <a:lnTo>
                      <a:pt x="515" y="190"/>
                    </a:lnTo>
                    <a:lnTo>
                      <a:pt x="516" y="187"/>
                    </a:lnTo>
                    <a:lnTo>
                      <a:pt x="516" y="187"/>
                    </a:lnTo>
                    <a:lnTo>
                      <a:pt x="516" y="189"/>
                    </a:lnTo>
                    <a:lnTo>
                      <a:pt x="516" y="189"/>
                    </a:lnTo>
                    <a:lnTo>
                      <a:pt x="517" y="193"/>
                    </a:lnTo>
                    <a:lnTo>
                      <a:pt x="517" y="194"/>
                    </a:lnTo>
                    <a:lnTo>
                      <a:pt x="517" y="194"/>
                    </a:lnTo>
                    <a:lnTo>
                      <a:pt x="516" y="214"/>
                    </a:lnTo>
                    <a:lnTo>
                      <a:pt x="515" y="235"/>
                    </a:lnTo>
                    <a:lnTo>
                      <a:pt x="516" y="256"/>
                    </a:lnTo>
                    <a:lnTo>
                      <a:pt x="517" y="276"/>
                    </a:lnTo>
                    <a:lnTo>
                      <a:pt x="517" y="326"/>
                    </a:lnTo>
                    <a:lnTo>
                      <a:pt x="512" y="332"/>
                    </a:lnTo>
                    <a:lnTo>
                      <a:pt x="512" y="332"/>
                    </a:lnTo>
                    <a:lnTo>
                      <a:pt x="515" y="330"/>
                    </a:lnTo>
                    <a:lnTo>
                      <a:pt x="515" y="329"/>
                    </a:lnTo>
                    <a:lnTo>
                      <a:pt x="515" y="329"/>
                    </a:lnTo>
                    <a:lnTo>
                      <a:pt x="516" y="332"/>
                    </a:lnTo>
                    <a:lnTo>
                      <a:pt x="516" y="332"/>
                    </a:lnTo>
                    <a:lnTo>
                      <a:pt x="516" y="337"/>
                    </a:lnTo>
                    <a:lnTo>
                      <a:pt x="516" y="340"/>
                    </a:lnTo>
                    <a:lnTo>
                      <a:pt x="511" y="345"/>
                    </a:lnTo>
                    <a:lnTo>
                      <a:pt x="511" y="345"/>
                    </a:lnTo>
                    <a:lnTo>
                      <a:pt x="513" y="343"/>
                    </a:lnTo>
                    <a:lnTo>
                      <a:pt x="513" y="342"/>
                    </a:lnTo>
                    <a:lnTo>
                      <a:pt x="513" y="342"/>
                    </a:lnTo>
                    <a:lnTo>
                      <a:pt x="515" y="343"/>
                    </a:lnTo>
                    <a:lnTo>
                      <a:pt x="515" y="343"/>
                    </a:lnTo>
                    <a:lnTo>
                      <a:pt x="515" y="349"/>
                    </a:lnTo>
                    <a:lnTo>
                      <a:pt x="515" y="350"/>
                    </a:lnTo>
                    <a:lnTo>
                      <a:pt x="508" y="357"/>
                    </a:lnTo>
                    <a:lnTo>
                      <a:pt x="508" y="357"/>
                    </a:lnTo>
                    <a:lnTo>
                      <a:pt x="508" y="357"/>
                    </a:lnTo>
                    <a:lnTo>
                      <a:pt x="508" y="357"/>
                    </a:lnTo>
                    <a:lnTo>
                      <a:pt x="509" y="355"/>
                    </a:lnTo>
                    <a:lnTo>
                      <a:pt x="511" y="355"/>
                    </a:lnTo>
                    <a:lnTo>
                      <a:pt x="511" y="355"/>
                    </a:lnTo>
                    <a:lnTo>
                      <a:pt x="513" y="353"/>
                    </a:lnTo>
                    <a:lnTo>
                      <a:pt x="513" y="353"/>
                    </a:lnTo>
                    <a:lnTo>
                      <a:pt x="513" y="353"/>
                    </a:lnTo>
                    <a:lnTo>
                      <a:pt x="513" y="353"/>
                    </a:lnTo>
                    <a:lnTo>
                      <a:pt x="513" y="358"/>
                    </a:lnTo>
                    <a:lnTo>
                      <a:pt x="513" y="359"/>
                    </a:lnTo>
                    <a:lnTo>
                      <a:pt x="507" y="365"/>
                    </a:lnTo>
                    <a:lnTo>
                      <a:pt x="507" y="365"/>
                    </a:lnTo>
                    <a:lnTo>
                      <a:pt x="507" y="365"/>
                    </a:lnTo>
                    <a:lnTo>
                      <a:pt x="507" y="365"/>
                    </a:lnTo>
                    <a:lnTo>
                      <a:pt x="508" y="365"/>
                    </a:lnTo>
                    <a:lnTo>
                      <a:pt x="511" y="363"/>
                    </a:lnTo>
                    <a:lnTo>
                      <a:pt x="511" y="363"/>
                    </a:lnTo>
                    <a:lnTo>
                      <a:pt x="512" y="361"/>
                    </a:lnTo>
                    <a:lnTo>
                      <a:pt x="512" y="361"/>
                    </a:lnTo>
                    <a:lnTo>
                      <a:pt x="512" y="362"/>
                    </a:lnTo>
                    <a:lnTo>
                      <a:pt x="512" y="362"/>
                    </a:lnTo>
                    <a:lnTo>
                      <a:pt x="512" y="366"/>
                    </a:lnTo>
                    <a:lnTo>
                      <a:pt x="512" y="369"/>
                    </a:lnTo>
                    <a:lnTo>
                      <a:pt x="508" y="374"/>
                    </a:lnTo>
                    <a:lnTo>
                      <a:pt x="508" y="374"/>
                    </a:lnTo>
                    <a:lnTo>
                      <a:pt x="508" y="374"/>
                    </a:lnTo>
                    <a:lnTo>
                      <a:pt x="511" y="371"/>
                    </a:lnTo>
                    <a:lnTo>
                      <a:pt x="511" y="371"/>
                    </a:lnTo>
                    <a:lnTo>
                      <a:pt x="511" y="371"/>
                    </a:lnTo>
                    <a:lnTo>
                      <a:pt x="511" y="371"/>
                    </a:lnTo>
                    <a:lnTo>
                      <a:pt x="511" y="374"/>
                    </a:lnTo>
                    <a:lnTo>
                      <a:pt x="511" y="375"/>
                    </a:lnTo>
                    <a:lnTo>
                      <a:pt x="504" y="382"/>
                    </a:lnTo>
                    <a:lnTo>
                      <a:pt x="504" y="382"/>
                    </a:lnTo>
                    <a:lnTo>
                      <a:pt x="504" y="382"/>
                    </a:lnTo>
                    <a:lnTo>
                      <a:pt x="504" y="382"/>
                    </a:lnTo>
                    <a:lnTo>
                      <a:pt x="505" y="382"/>
                    </a:lnTo>
                    <a:lnTo>
                      <a:pt x="508" y="381"/>
                    </a:lnTo>
                    <a:lnTo>
                      <a:pt x="508" y="381"/>
                    </a:lnTo>
                    <a:lnTo>
                      <a:pt x="509" y="378"/>
                    </a:lnTo>
                    <a:lnTo>
                      <a:pt x="509" y="378"/>
                    </a:lnTo>
                    <a:lnTo>
                      <a:pt x="509" y="379"/>
                    </a:lnTo>
                    <a:lnTo>
                      <a:pt x="509" y="379"/>
                    </a:lnTo>
                    <a:lnTo>
                      <a:pt x="509" y="383"/>
                    </a:lnTo>
                    <a:lnTo>
                      <a:pt x="509" y="384"/>
                    </a:lnTo>
                    <a:lnTo>
                      <a:pt x="508" y="388"/>
                    </a:lnTo>
                    <a:lnTo>
                      <a:pt x="508" y="388"/>
                    </a:lnTo>
                    <a:lnTo>
                      <a:pt x="505" y="392"/>
                    </a:lnTo>
                    <a:lnTo>
                      <a:pt x="505" y="392"/>
                    </a:lnTo>
                    <a:lnTo>
                      <a:pt x="504" y="396"/>
                    </a:lnTo>
                    <a:lnTo>
                      <a:pt x="504" y="396"/>
                    </a:lnTo>
                    <a:lnTo>
                      <a:pt x="503" y="400"/>
                    </a:lnTo>
                    <a:lnTo>
                      <a:pt x="503" y="400"/>
                    </a:lnTo>
                    <a:lnTo>
                      <a:pt x="500" y="403"/>
                    </a:lnTo>
                    <a:lnTo>
                      <a:pt x="500" y="403"/>
                    </a:lnTo>
                    <a:lnTo>
                      <a:pt x="501" y="402"/>
                    </a:lnTo>
                    <a:lnTo>
                      <a:pt x="500" y="406"/>
                    </a:lnTo>
                    <a:lnTo>
                      <a:pt x="500" y="406"/>
                    </a:lnTo>
                    <a:lnTo>
                      <a:pt x="497" y="407"/>
                    </a:lnTo>
                    <a:lnTo>
                      <a:pt x="497" y="410"/>
                    </a:lnTo>
                    <a:lnTo>
                      <a:pt x="497" y="411"/>
                    </a:lnTo>
                    <a:lnTo>
                      <a:pt x="496" y="415"/>
                    </a:lnTo>
                    <a:lnTo>
                      <a:pt x="496" y="415"/>
                    </a:lnTo>
                    <a:lnTo>
                      <a:pt x="496" y="415"/>
                    </a:lnTo>
                    <a:lnTo>
                      <a:pt x="496" y="415"/>
                    </a:lnTo>
                    <a:lnTo>
                      <a:pt x="496" y="419"/>
                    </a:lnTo>
                    <a:lnTo>
                      <a:pt x="496" y="423"/>
                    </a:lnTo>
                    <a:lnTo>
                      <a:pt x="496" y="423"/>
                    </a:lnTo>
                    <a:lnTo>
                      <a:pt x="496" y="423"/>
                    </a:lnTo>
                    <a:lnTo>
                      <a:pt x="496" y="424"/>
                    </a:lnTo>
                    <a:lnTo>
                      <a:pt x="496" y="424"/>
                    </a:lnTo>
                    <a:lnTo>
                      <a:pt x="499" y="427"/>
                    </a:lnTo>
                    <a:lnTo>
                      <a:pt x="500" y="431"/>
                    </a:lnTo>
                    <a:lnTo>
                      <a:pt x="500" y="439"/>
                    </a:lnTo>
                    <a:lnTo>
                      <a:pt x="500" y="439"/>
                    </a:lnTo>
                    <a:lnTo>
                      <a:pt x="500" y="445"/>
                    </a:lnTo>
                    <a:lnTo>
                      <a:pt x="501" y="448"/>
                    </a:lnTo>
                    <a:lnTo>
                      <a:pt x="501" y="460"/>
                    </a:lnTo>
                    <a:lnTo>
                      <a:pt x="499" y="465"/>
                    </a:lnTo>
                    <a:lnTo>
                      <a:pt x="499" y="465"/>
                    </a:lnTo>
                    <a:lnTo>
                      <a:pt x="500" y="464"/>
                    </a:lnTo>
                    <a:lnTo>
                      <a:pt x="500" y="464"/>
                    </a:lnTo>
                    <a:lnTo>
                      <a:pt x="499" y="465"/>
                    </a:lnTo>
                    <a:lnTo>
                      <a:pt x="499" y="465"/>
                    </a:lnTo>
                    <a:lnTo>
                      <a:pt x="499" y="466"/>
                    </a:lnTo>
                    <a:lnTo>
                      <a:pt x="499" y="468"/>
                    </a:lnTo>
                    <a:lnTo>
                      <a:pt x="499" y="468"/>
                    </a:lnTo>
                    <a:lnTo>
                      <a:pt x="499" y="468"/>
                    </a:lnTo>
                    <a:lnTo>
                      <a:pt x="499" y="468"/>
                    </a:lnTo>
                    <a:lnTo>
                      <a:pt x="499" y="468"/>
                    </a:lnTo>
                    <a:lnTo>
                      <a:pt x="496" y="473"/>
                    </a:lnTo>
                    <a:lnTo>
                      <a:pt x="496" y="473"/>
                    </a:lnTo>
                    <a:lnTo>
                      <a:pt x="493" y="474"/>
                    </a:lnTo>
                    <a:lnTo>
                      <a:pt x="493" y="474"/>
                    </a:lnTo>
                    <a:lnTo>
                      <a:pt x="491" y="478"/>
                    </a:lnTo>
                    <a:lnTo>
                      <a:pt x="491" y="478"/>
                    </a:lnTo>
                    <a:lnTo>
                      <a:pt x="491" y="478"/>
                    </a:lnTo>
                    <a:lnTo>
                      <a:pt x="491" y="478"/>
                    </a:lnTo>
                    <a:lnTo>
                      <a:pt x="491" y="478"/>
                    </a:lnTo>
                    <a:lnTo>
                      <a:pt x="491" y="478"/>
                    </a:lnTo>
                    <a:lnTo>
                      <a:pt x="491" y="478"/>
                    </a:lnTo>
                    <a:lnTo>
                      <a:pt x="491" y="478"/>
                    </a:lnTo>
                    <a:lnTo>
                      <a:pt x="491" y="482"/>
                    </a:lnTo>
                    <a:lnTo>
                      <a:pt x="489" y="485"/>
                    </a:lnTo>
                    <a:lnTo>
                      <a:pt x="487" y="489"/>
                    </a:lnTo>
                    <a:lnTo>
                      <a:pt x="487" y="489"/>
                    </a:lnTo>
                    <a:lnTo>
                      <a:pt x="487" y="493"/>
                    </a:lnTo>
                    <a:lnTo>
                      <a:pt x="487" y="493"/>
                    </a:lnTo>
                    <a:lnTo>
                      <a:pt x="485" y="497"/>
                    </a:lnTo>
                    <a:lnTo>
                      <a:pt x="484" y="499"/>
                    </a:lnTo>
                    <a:lnTo>
                      <a:pt x="481" y="502"/>
                    </a:lnTo>
                    <a:lnTo>
                      <a:pt x="481" y="502"/>
                    </a:lnTo>
                    <a:lnTo>
                      <a:pt x="481" y="507"/>
                    </a:lnTo>
                    <a:lnTo>
                      <a:pt x="481" y="510"/>
                    </a:lnTo>
                    <a:lnTo>
                      <a:pt x="479" y="511"/>
                    </a:lnTo>
                    <a:lnTo>
                      <a:pt x="479" y="511"/>
                    </a:lnTo>
                    <a:lnTo>
                      <a:pt x="478" y="510"/>
                    </a:lnTo>
                    <a:lnTo>
                      <a:pt x="475" y="510"/>
                    </a:lnTo>
                    <a:lnTo>
                      <a:pt x="475" y="511"/>
                    </a:lnTo>
                    <a:lnTo>
                      <a:pt x="475" y="510"/>
                    </a:lnTo>
                    <a:lnTo>
                      <a:pt x="475" y="511"/>
                    </a:lnTo>
                    <a:lnTo>
                      <a:pt x="478" y="513"/>
                    </a:lnTo>
                    <a:lnTo>
                      <a:pt x="475" y="514"/>
                    </a:lnTo>
                    <a:lnTo>
                      <a:pt x="475" y="517"/>
                    </a:lnTo>
                    <a:lnTo>
                      <a:pt x="475" y="517"/>
                    </a:lnTo>
                    <a:lnTo>
                      <a:pt x="478" y="515"/>
                    </a:lnTo>
                    <a:lnTo>
                      <a:pt x="479" y="514"/>
                    </a:lnTo>
                    <a:lnTo>
                      <a:pt x="481" y="515"/>
                    </a:lnTo>
                    <a:lnTo>
                      <a:pt x="481" y="521"/>
                    </a:lnTo>
                    <a:lnTo>
                      <a:pt x="481" y="521"/>
                    </a:lnTo>
                    <a:lnTo>
                      <a:pt x="481" y="523"/>
                    </a:lnTo>
                    <a:lnTo>
                      <a:pt x="483" y="526"/>
                    </a:lnTo>
                    <a:lnTo>
                      <a:pt x="483" y="526"/>
                    </a:lnTo>
                    <a:lnTo>
                      <a:pt x="485" y="531"/>
                    </a:lnTo>
                    <a:lnTo>
                      <a:pt x="485" y="538"/>
                    </a:lnTo>
                    <a:lnTo>
                      <a:pt x="485" y="542"/>
                    </a:lnTo>
                    <a:lnTo>
                      <a:pt x="484" y="547"/>
                    </a:lnTo>
                    <a:lnTo>
                      <a:pt x="484" y="547"/>
                    </a:lnTo>
                    <a:lnTo>
                      <a:pt x="480" y="548"/>
                    </a:lnTo>
                    <a:lnTo>
                      <a:pt x="480" y="548"/>
                    </a:lnTo>
                    <a:lnTo>
                      <a:pt x="479" y="550"/>
                    </a:lnTo>
                    <a:lnTo>
                      <a:pt x="479" y="550"/>
                    </a:lnTo>
                    <a:lnTo>
                      <a:pt x="479" y="548"/>
                    </a:lnTo>
                    <a:lnTo>
                      <a:pt x="474" y="552"/>
                    </a:lnTo>
                    <a:lnTo>
                      <a:pt x="472" y="552"/>
                    </a:lnTo>
                    <a:lnTo>
                      <a:pt x="472" y="552"/>
                    </a:lnTo>
                    <a:lnTo>
                      <a:pt x="472" y="552"/>
                    </a:lnTo>
                    <a:lnTo>
                      <a:pt x="472" y="552"/>
                    </a:lnTo>
                    <a:lnTo>
                      <a:pt x="472" y="551"/>
                    </a:lnTo>
                    <a:lnTo>
                      <a:pt x="467" y="555"/>
                    </a:lnTo>
                    <a:lnTo>
                      <a:pt x="466" y="555"/>
                    </a:lnTo>
                    <a:lnTo>
                      <a:pt x="466" y="555"/>
                    </a:lnTo>
                    <a:lnTo>
                      <a:pt x="466" y="555"/>
                    </a:lnTo>
                    <a:lnTo>
                      <a:pt x="466" y="555"/>
                    </a:lnTo>
                    <a:lnTo>
                      <a:pt x="467" y="554"/>
                    </a:lnTo>
                    <a:lnTo>
                      <a:pt x="463" y="556"/>
                    </a:lnTo>
                    <a:lnTo>
                      <a:pt x="463" y="556"/>
                    </a:lnTo>
                    <a:lnTo>
                      <a:pt x="464" y="556"/>
                    </a:lnTo>
                    <a:lnTo>
                      <a:pt x="464" y="556"/>
                    </a:lnTo>
                    <a:lnTo>
                      <a:pt x="462" y="558"/>
                    </a:lnTo>
                    <a:lnTo>
                      <a:pt x="459" y="558"/>
                    </a:lnTo>
                    <a:lnTo>
                      <a:pt x="452" y="551"/>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5" name="Freeform 15">
                <a:extLst>
                  <a:ext uri="{FF2B5EF4-FFF2-40B4-BE49-F238E27FC236}">
                    <a16:creationId xmlns:a16="http://schemas.microsoft.com/office/drawing/2014/main" xmlns="" id="{3871706C-B2CF-48D8-B98C-4C3BAAEC5263}"/>
                  </a:ext>
                </a:extLst>
              </p:cNvPr>
              <p:cNvSpPr>
                <a:spLocks/>
              </p:cNvSpPr>
              <p:nvPr/>
            </p:nvSpPr>
            <p:spPr bwMode="auto">
              <a:xfrm>
                <a:off x="6166824" y="1899923"/>
                <a:ext cx="978484" cy="713841"/>
              </a:xfrm>
              <a:custGeom>
                <a:avLst/>
                <a:gdLst>
                  <a:gd name="T0" fmla="*/ 152 w 562"/>
                  <a:gd name="T1" fmla="*/ 379 h 410"/>
                  <a:gd name="T2" fmla="*/ 148 w 562"/>
                  <a:gd name="T3" fmla="*/ 363 h 410"/>
                  <a:gd name="T4" fmla="*/ 119 w 562"/>
                  <a:gd name="T5" fmla="*/ 375 h 410"/>
                  <a:gd name="T6" fmla="*/ 117 w 562"/>
                  <a:gd name="T7" fmla="*/ 375 h 410"/>
                  <a:gd name="T8" fmla="*/ 94 w 562"/>
                  <a:gd name="T9" fmla="*/ 393 h 410"/>
                  <a:gd name="T10" fmla="*/ 58 w 562"/>
                  <a:gd name="T11" fmla="*/ 386 h 410"/>
                  <a:gd name="T12" fmla="*/ 27 w 562"/>
                  <a:gd name="T13" fmla="*/ 362 h 410"/>
                  <a:gd name="T14" fmla="*/ 20 w 562"/>
                  <a:gd name="T15" fmla="*/ 320 h 410"/>
                  <a:gd name="T16" fmla="*/ 44 w 562"/>
                  <a:gd name="T17" fmla="*/ 295 h 410"/>
                  <a:gd name="T18" fmla="*/ 69 w 562"/>
                  <a:gd name="T19" fmla="*/ 293 h 410"/>
                  <a:gd name="T20" fmla="*/ 107 w 562"/>
                  <a:gd name="T21" fmla="*/ 303 h 410"/>
                  <a:gd name="T22" fmla="*/ 122 w 562"/>
                  <a:gd name="T23" fmla="*/ 266 h 410"/>
                  <a:gd name="T24" fmla="*/ 134 w 562"/>
                  <a:gd name="T25" fmla="*/ 241 h 410"/>
                  <a:gd name="T26" fmla="*/ 158 w 562"/>
                  <a:gd name="T27" fmla="*/ 190 h 410"/>
                  <a:gd name="T28" fmla="*/ 158 w 562"/>
                  <a:gd name="T29" fmla="*/ 170 h 410"/>
                  <a:gd name="T30" fmla="*/ 130 w 562"/>
                  <a:gd name="T31" fmla="*/ 188 h 410"/>
                  <a:gd name="T32" fmla="*/ 102 w 562"/>
                  <a:gd name="T33" fmla="*/ 176 h 410"/>
                  <a:gd name="T34" fmla="*/ 105 w 562"/>
                  <a:gd name="T35" fmla="*/ 205 h 410"/>
                  <a:gd name="T36" fmla="*/ 85 w 562"/>
                  <a:gd name="T37" fmla="*/ 202 h 410"/>
                  <a:gd name="T38" fmla="*/ 64 w 562"/>
                  <a:gd name="T39" fmla="*/ 202 h 410"/>
                  <a:gd name="T40" fmla="*/ 57 w 562"/>
                  <a:gd name="T41" fmla="*/ 163 h 410"/>
                  <a:gd name="T42" fmla="*/ 57 w 562"/>
                  <a:gd name="T43" fmla="*/ 123 h 410"/>
                  <a:gd name="T44" fmla="*/ 88 w 562"/>
                  <a:gd name="T45" fmla="*/ 92 h 410"/>
                  <a:gd name="T46" fmla="*/ 90 w 562"/>
                  <a:gd name="T47" fmla="*/ 61 h 410"/>
                  <a:gd name="T48" fmla="*/ 60 w 562"/>
                  <a:gd name="T49" fmla="*/ 63 h 410"/>
                  <a:gd name="T50" fmla="*/ 41 w 562"/>
                  <a:gd name="T51" fmla="*/ 67 h 410"/>
                  <a:gd name="T52" fmla="*/ 12 w 562"/>
                  <a:gd name="T53" fmla="*/ 82 h 410"/>
                  <a:gd name="T54" fmla="*/ 24 w 562"/>
                  <a:gd name="T55" fmla="*/ 57 h 410"/>
                  <a:gd name="T56" fmla="*/ 48 w 562"/>
                  <a:gd name="T57" fmla="*/ 42 h 410"/>
                  <a:gd name="T58" fmla="*/ 62 w 562"/>
                  <a:gd name="T59" fmla="*/ 18 h 410"/>
                  <a:gd name="T60" fmla="*/ 107 w 562"/>
                  <a:gd name="T61" fmla="*/ 1 h 410"/>
                  <a:gd name="T62" fmla="*/ 142 w 562"/>
                  <a:gd name="T63" fmla="*/ 5 h 410"/>
                  <a:gd name="T64" fmla="*/ 146 w 562"/>
                  <a:gd name="T65" fmla="*/ 36 h 410"/>
                  <a:gd name="T66" fmla="*/ 180 w 562"/>
                  <a:gd name="T67" fmla="*/ 55 h 410"/>
                  <a:gd name="T68" fmla="*/ 162 w 562"/>
                  <a:gd name="T69" fmla="*/ 95 h 410"/>
                  <a:gd name="T70" fmla="*/ 183 w 562"/>
                  <a:gd name="T71" fmla="*/ 112 h 410"/>
                  <a:gd name="T72" fmla="*/ 192 w 562"/>
                  <a:gd name="T73" fmla="*/ 132 h 410"/>
                  <a:gd name="T74" fmla="*/ 228 w 562"/>
                  <a:gd name="T75" fmla="*/ 133 h 410"/>
                  <a:gd name="T76" fmla="*/ 270 w 562"/>
                  <a:gd name="T77" fmla="*/ 144 h 410"/>
                  <a:gd name="T78" fmla="*/ 288 w 562"/>
                  <a:gd name="T79" fmla="*/ 140 h 410"/>
                  <a:gd name="T80" fmla="*/ 336 w 562"/>
                  <a:gd name="T81" fmla="*/ 140 h 410"/>
                  <a:gd name="T82" fmla="*/ 389 w 562"/>
                  <a:gd name="T83" fmla="*/ 127 h 410"/>
                  <a:gd name="T84" fmla="*/ 437 w 562"/>
                  <a:gd name="T85" fmla="*/ 106 h 410"/>
                  <a:gd name="T86" fmla="*/ 454 w 562"/>
                  <a:gd name="T87" fmla="*/ 136 h 410"/>
                  <a:gd name="T88" fmla="*/ 462 w 562"/>
                  <a:gd name="T89" fmla="*/ 161 h 410"/>
                  <a:gd name="T90" fmla="*/ 484 w 562"/>
                  <a:gd name="T91" fmla="*/ 170 h 410"/>
                  <a:gd name="T92" fmla="*/ 511 w 562"/>
                  <a:gd name="T93" fmla="*/ 145 h 410"/>
                  <a:gd name="T94" fmla="*/ 534 w 562"/>
                  <a:gd name="T95" fmla="*/ 169 h 410"/>
                  <a:gd name="T96" fmla="*/ 540 w 562"/>
                  <a:gd name="T97" fmla="*/ 196 h 410"/>
                  <a:gd name="T98" fmla="*/ 562 w 562"/>
                  <a:gd name="T99" fmla="*/ 237 h 410"/>
                  <a:gd name="T100" fmla="*/ 521 w 562"/>
                  <a:gd name="T101" fmla="*/ 252 h 410"/>
                  <a:gd name="T102" fmla="*/ 478 w 562"/>
                  <a:gd name="T103" fmla="*/ 287 h 410"/>
                  <a:gd name="T104" fmla="*/ 451 w 562"/>
                  <a:gd name="T105" fmla="*/ 264 h 410"/>
                  <a:gd name="T106" fmla="*/ 405 w 562"/>
                  <a:gd name="T107" fmla="*/ 281 h 410"/>
                  <a:gd name="T108" fmla="*/ 376 w 562"/>
                  <a:gd name="T109" fmla="*/ 285 h 410"/>
                  <a:gd name="T110" fmla="*/ 364 w 562"/>
                  <a:gd name="T111" fmla="*/ 297 h 410"/>
                  <a:gd name="T112" fmla="*/ 353 w 562"/>
                  <a:gd name="T113" fmla="*/ 330 h 410"/>
                  <a:gd name="T114" fmla="*/ 335 w 562"/>
                  <a:gd name="T115" fmla="*/ 373 h 410"/>
                  <a:gd name="T116" fmla="*/ 299 w 562"/>
                  <a:gd name="T117" fmla="*/ 377 h 410"/>
                  <a:gd name="T118" fmla="*/ 267 w 562"/>
                  <a:gd name="T119" fmla="*/ 358 h 410"/>
                  <a:gd name="T120" fmla="*/ 245 w 562"/>
                  <a:gd name="T121" fmla="*/ 366 h 410"/>
                  <a:gd name="T122" fmla="*/ 232 w 562"/>
                  <a:gd name="T123" fmla="*/ 393 h 410"/>
                  <a:gd name="T124" fmla="*/ 203 w 562"/>
                  <a:gd name="T125" fmla="*/ 40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2" h="410">
                    <a:moveTo>
                      <a:pt x="173" y="410"/>
                    </a:moveTo>
                    <a:lnTo>
                      <a:pt x="173" y="410"/>
                    </a:lnTo>
                    <a:lnTo>
                      <a:pt x="169" y="408"/>
                    </a:lnTo>
                    <a:lnTo>
                      <a:pt x="168" y="407"/>
                    </a:lnTo>
                    <a:lnTo>
                      <a:pt x="167" y="403"/>
                    </a:lnTo>
                    <a:lnTo>
                      <a:pt x="167" y="403"/>
                    </a:lnTo>
                    <a:lnTo>
                      <a:pt x="166" y="400"/>
                    </a:lnTo>
                    <a:lnTo>
                      <a:pt x="166" y="400"/>
                    </a:lnTo>
                    <a:lnTo>
                      <a:pt x="166" y="399"/>
                    </a:lnTo>
                    <a:lnTo>
                      <a:pt x="166" y="399"/>
                    </a:lnTo>
                    <a:lnTo>
                      <a:pt x="167" y="400"/>
                    </a:lnTo>
                    <a:lnTo>
                      <a:pt x="164" y="397"/>
                    </a:lnTo>
                    <a:lnTo>
                      <a:pt x="164" y="397"/>
                    </a:lnTo>
                    <a:lnTo>
                      <a:pt x="164" y="398"/>
                    </a:lnTo>
                    <a:lnTo>
                      <a:pt x="164" y="398"/>
                    </a:lnTo>
                    <a:lnTo>
                      <a:pt x="163" y="395"/>
                    </a:lnTo>
                    <a:lnTo>
                      <a:pt x="163" y="395"/>
                    </a:lnTo>
                    <a:lnTo>
                      <a:pt x="162" y="395"/>
                    </a:lnTo>
                    <a:lnTo>
                      <a:pt x="162" y="395"/>
                    </a:lnTo>
                    <a:lnTo>
                      <a:pt x="158" y="391"/>
                    </a:lnTo>
                    <a:lnTo>
                      <a:pt x="155" y="389"/>
                    </a:lnTo>
                    <a:lnTo>
                      <a:pt x="154" y="385"/>
                    </a:lnTo>
                    <a:lnTo>
                      <a:pt x="154" y="385"/>
                    </a:lnTo>
                    <a:lnTo>
                      <a:pt x="154" y="383"/>
                    </a:lnTo>
                    <a:lnTo>
                      <a:pt x="154" y="383"/>
                    </a:lnTo>
                    <a:lnTo>
                      <a:pt x="152" y="379"/>
                    </a:lnTo>
                    <a:lnTo>
                      <a:pt x="150" y="375"/>
                    </a:lnTo>
                    <a:lnTo>
                      <a:pt x="150" y="375"/>
                    </a:lnTo>
                    <a:lnTo>
                      <a:pt x="150" y="375"/>
                    </a:lnTo>
                    <a:lnTo>
                      <a:pt x="150" y="375"/>
                    </a:lnTo>
                    <a:lnTo>
                      <a:pt x="150" y="375"/>
                    </a:lnTo>
                    <a:lnTo>
                      <a:pt x="150" y="374"/>
                    </a:lnTo>
                    <a:lnTo>
                      <a:pt x="150" y="374"/>
                    </a:lnTo>
                    <a:lnTo>
                      <a:pt x="150" y="370"/>
                    </a:lnTo>
                    <a:lnTo>
                      <a:pt x="150" y="370"/>
                    </a:lnTo>
                    <a:lnTo>
                      <a:pt x="150" y="369"/>
                    </a:lnTo>
                    <a:lnTo>
                      <a:pt x="150" y="369"/>
                    </a:lnTo>
                    <a:lnTo>
                      <a:pt x="151" y="371"/>
                    </a:lnTo>
                    <a:lnTo>
                      <a:pt x="151" y="371"/>
                    </a:lnTo>
                    <a:lnTo>
                      <a:pt x="155" y="373"/>
                    </a:lnTo>
                    <a:lnTo>
                      <a:pt x="148" y="367"/>
                    </a:lnTo>
                    <a:lnTo>
                      <a:pt x="148" y="367"/>
                    </a:lnTo>
                    <a:lnTo>
                      <a:pt x="148" y="367"/>
                    </a:lnTo>
                    <a:lnTo>
                      <a:pt x="146" y="366"/>
                    </a:lnTo>
                    <a:lnTo>
                      <a:pt x="146" y="366"/>
                    </a:lnTo>
                    <a:lnTo>
                      <a:pt x="147" y="366"/>
                    </a:lnTo>
                    <a:lnTo>
                      <a:pt x="147" y="366"/>
                    </a:lnTo>
                    <a:lnTo>
                      <a:pt x="148" y="366"/>
                    </a:lnTo>
                    <a:lnTo>
                      <a:pt x="148" y="366"/>
                    </a:lnTo>
                    <a:lnTo>
                      <a:pt x="147" y="365"/>
                    </a:lnTo>
                    <a:lnTo>
                      <a:pt x="147" y="365"/>
                    </a:lnTo>
                    <a:lnTo>
                      <a:pt x="148" y="363"/>
                    </a:lnTo>
                    <a:lnTo>
                      <a:pt x="147" y="365"/>
                    </a:lnTo>
                    <a:lnTo>
                      <a:pt x="147" y="365"/>
                    </a:lnTo>
                    <a:lnTo>
                      <a:pt x="147" y="365"/>
                    </a:lnTo>
                    <a:lnTo>
                      <a:pt x="147" y="365"/>
                    </a:lnTo>
                    <a:lnTo>
                      <a:pt x="143" y="367"/>
                    </a:lnTo>
                    <a:lnTo>
                      <a:pt x="143" y="369"/>
                    </a:lnTo>
                    <a:lnTo>
                      <a:pt x="143" y="369"/>
                    </a:lnTo>
                    <a:lnTo>
                      <a:pt x="143" y="367"/>
                    </a:lnTo>
                    <a:lnTo>
                      <a:pt x="142" y="370"/>
                    </a:lnTo>
                    <a:lnTo>
                      <a:pt x="140" y="370"/>
                    </a:lnTo>
                    <a:lnTo>
                      <a:pt x="140" y="370"/>
                    </a:lnTo>
                    <a:lnTo>
                      <a:pt x="139" y="370"/>
                    </a:lnTo>
                    <a:lnTo>
                      <a:pt x="135" y="371"/>
                    </a:lnTo>
                    <a:lnTo>
                      <a:pt x="135" y="371"/>
                    </a:lnTo>
                    <a:lnTo>
                      <a:pt x="135" y="371"/>
                    </a:lnTo>
                    <a:lnTo>
                      <a:pt x="135" y="371"/>
                    </a:lnTo>
                    <a:lnTo>
                      <a:pt x="134" y="371"/>
                    </a:lnTo>
                    <a:lnTo>
                      <a:pt x="134" y="371"/>
                    </a:lnTo>
                    <a:lnTo>
                      <a:pt x="130" y="374"/>
                    </a:lnTo>
                    <a:lnTo>
                      <a:pt x="127" y="375"/>
                    </a:lnTo>
                    <a:lnTo>
                      <a:pt x="123" y="377"/>
                    </a:lnTo>
                    <a:lnTo>
                      <a:pt x="123" y="377"/>
                    </a:lnTo>
                    <a:lnTo>
                      <a:pt x="119" y="375"/>
                    </a:lnTo>
                    <a:lnTo>
                      <a:pt x="119" y="375"/>
                    </a:lnTo>
                    <a:lnTo>
                      <a:pt x="119" y="375"/>
                    </a:lnTo>
                    <a:lnTo>
                      <a:pt x="119" y="375"/>
                    </a:lnTo>
                    <a:lnTo>
                      <a:pt x="119" y="375"/>
                    </a:lnTo>
                    <a:lnTo>
                      <a:pt x="119" y="375"/>
                    </a:lnTo>
                    <a:lnTo>
                      <a:pt x="118" y="374"/>
                    </a:lnTo>
                    <a:lnTo>
                      <a:pt x="118" y="374"/>
                    </a:lnTo>
                    <a:lnTo>
                      <a:pt x="119" y="373"/>
                    </a:lnTo>
                    <a:lnTo>
                      <a:pt x="119" y="373"/>
                    </a:lnTo>
                    <a:lnTo>
                      <a:pt x="119" y="370"/>
                    </a:lnTo>
                    <a:lnTo>
                      <a:pt x="119" y="367"/>
                    </a:lnTo>
                    <a:lnTo>
                      <a:pt x="118" y="373"/>
                    </a:lnTo>
                    <a:lnTo>
                      <a:pt x="114" y="367"/>
                    </a:lnTo>
                    <a:lnTo>
                      <a:pt x="114" y="367"/>
                    </a:lnTo>
                    <a:lnTo>
                      <a:pt x="113" y="370"/>
                    </a:lnTo>
                    <a:lnTo>
                      <a:pt x="114" y="373"/>
                    </a:lnTo>
                    <a:lnTo>
                      <a:pt x="114" y="373"/>
                    </a:lnTo>
                    <a:lnTo>
                      <a:pt x="117" y="374"/>
                    </a:lnTo>
                    <a:lnTo>
                      <a:pt x="117" y="374"/>
                    </a:lnTo>
                    <a:lnTo>
                      <a:pt x="117" y="374"/>
                    </a:lnTo>
                    <a:lnTo>
                      <a:pt x="117" y="374"/>
                    </a:lnTo>
                    <a:lnTo>
                      <a:pt x="117" y="374"/>
                    </a:lnTo>
                    <a:lnTo>
                      <a:pt x="117" y="375"/>
                    </a:lnTo>
                    <a:lnTo>
                      <a:pt x="117" y="375"/>
                    </a:lnTo>
                    <a:lnTo>
                      <a:pt x="117" y="374"/>
                    </a:lnTo>
                    <a:lnTo>
                      <a:pt x="117" y="375"/>
                    </a:lnTo>
                    <a:lnTo>
                      <a:pt x="117" y="375"/>
                    </a:lnTo>
                    <a:lnTo>
                      <a:pt x="117" y="375"/>
                    </a:lnTo>
                    <a:lnTo>
                      <a:pt x="117" y="375"/>
                    </a:lnTo>
                    <a:lnTo>
                      <a:pt x="117" y="379"/>
                    </a:lnTo>
                    <a:lnTo>
                      <a:pt x="117" y="379"/>
                    </a:lnTo>
                    <a:lnTo>
                      <a:pt x="117" y="381"/>
                    </a:lnTo>
                    <a:lnTo>
                      <a:pt x="117" y="381"/>
                    </a:lnTo>
                    <a:lnTo>
                      <a:pt x="115" y="381"/>
                    </a:lnTo>
                    <a:lnTo>
                      <a:pt x="115" y="381"/>
                    </a:lnTo>
                    <a:lnTo>
                      <a:pt x="113" y="386"/>
                    </a:lnTo>
                    <a:lnTo>
                      <a:pt x="113" y="386"/>
                    </a:lnTo>
                    <a:lnTo>
                      <a:pt x="114" y="385"/>
                    </a:lnTo>
                    <a:lnTo>
                      <a:pt x="114" y="385"/>
                    </a:lnTo>
                    <a:lnTo>
                      <a:pt x="114" y="386"/>
                    </a:lnTo>
                    <a:lnTo>
                      <a:pt x="114" y="386"/>
                    </a:lnTo>
                    <a:lnTo>
                      <a:pt x="110" y="391"/>
                    </a:lnTo>
                    <a:lnTo>
                      <a:pt x="110" y="391"/>
                    </a:lnTo>
                    <a:lnTo>
                      <a:pt x="110" y="393"/>
                    </a:lnTo>
                    <a:lnTo>
                      <a:pt x="105" y="395"/>
                    </a:lnTo>
                    <a:lnTo>
                      <a:pt x="105" y="395"/>
                    </a:lnTo>
                    <a:lnTo>
                      <a:pt x="105" y="395"/>
                    </a:lnTo>
                    <a:lnTo>
                      <a:pt x="105" y="397"/>
                    </a:lnTo>
                    <a:lnTo>
                      <a:pt x="103" y="397"/>
                    </a:lnTo>
                    <a:lnTo>
                      <a:pt x="103" y="397"/>
                    </a:lnTo>
                    <a:lnTo>
                      <a:pt x="103" y="397"/>
                    </a:lnTo>
                    <a:lnTo>
                      <a:pt x="101" y="397"/>
                    </a:lnTo>
                    <a:lnTo>
                      <a:pt x="101" y="397"/>
                    </a:lnTo>
                    <a:lnTo>
                      <a:pt x="97" y="395"/>
                    </a:lnTo>
                    <a:lnTo>
                      <a:pt x="94" y="393"/>
                    </a:lnTo>
                    <a:lnTo>
                      <a:pt x="94" y="393"/>
                    </a:lnTo>
                    <a:lnTo>
                      <a:pt x="95" y="394"/>
                    </a:lnTo>
                    <a:lnTo>
                      <a:pt x="91" y="389"/>
                    </a:lnTo>
                    <a:lnTo>
                      <a:pt x="91" y="389"/>
                    </a:lnTo>
                    <a:lnTo>
                      <a:pt x="93" y="390"/>
                    </a:lnTo>
                    <a:lnTo>
                      <a:pt x="93" y="390"/>
                    </a:lnTo>
                    <a:lnTo>
                      <a:pt x="91" y="389"/>
                    </a:lnTo>
                    <a:lnTo>
                      <a:pt x="90" y="390"/>
                    </a:lnTo>
                    <a:lnTo>
                      <a:pt x="90" y="390"/>
                    </a:lnTo>
                    <a:lnTo>
                      <a:pt x="86" y="390"/>
                    </a:lnTo>
                    <a:lnTo>
                      <a:pt x="86" y="390"/>
                    </a:lnTo>
                    <a:lnTo>
                      <a:pt x="84" y="390"/>
                    </a:lnTo>
                    <a:lnTo>
                      <a:pt x="84" y="390"/>
                    </a:lnTo>
                    <a:lnTo>
                      <a:pt x="85" y="389"/>
                    </a:lnTo>
                    <a:lnTo>
                      <a:pt x="88" y="386"/>
                    </a:lnTo>
                    <a:lnTo>
                      <a:pt x="81" y="391"/>
                    </a:lnTo>
                    <a:lnTo>
                      <a:pt x="80" y="391"/>
                    </a:lnTo>
                    <a:lnTo>
                      <a:pt x="80" y="391"/>
                    </a:lnTo>
                    <a:lnTo>
                      <a:pt x="76" y="393"/>
                    </a:lnTo>
                    <a:lnTo>
                      <a:pt x="76" y="393"/>
                    </a:lnTo>
                    <a:lnTo>
                      <a:pt x="72" y="395"/>
                    </a:lnTo>
                    <a:lnTo>
                      <a:pt x="69" y="395"/>
                    </a:lnTo>
                    <a:lnTo>
                      <a:pt x="68" y="395"/>
                    </a:lnTo>
                    <a:lnTo>
                      <a:pt x="64" y="393"/>
                    </a:lnTo>
                    <a:lnTo>
                      <a:pt x="64" y="393"/>
                    </a:lnTo>
                    <a:lnTo>
                      <a:pt x="58" y="386"/>
                    </a:lnTo>
                    <a:lnTo>
                      <a:pt x="56" y="385"/>
                    </a:lnTo>
                    <a:lnTo>
                      <a:pt x="52" y="383"/>
                    </a:lnTo>
                    <a:lnTo>
                      <a:pt x="48" y="379"/>
                    </a:lnTo>
                    <a:lnTo>
                      <a:pt x="48" y="379"/>
                    </a:lnTo>
                    <a:lnTo>
                      <a:pt x="47" y="373"/>
                    </a:lnTo>
                    <a:lnTo>
                      <a:pt x="47" y="373"/>
                    </a:lnTo>
                    <a:lnTo>
                      <a:pt x="48" y="370"/>
                    </a:lnTo>
                    <a:lnTo>
                      <a:pt x="48" y="370"/>
                    </a:lnTo>
                    <a:lnTo>
                      <a:pt x="48" y="371"/>
                    </a:lnTo>
                    <a:lnTo>
                      <a:pt x="50" y="373"/>
                    </a:lnTo>
                    <a:lnTo>
                      <a:pt x="47" y="369"/>
                    </a:lnTo>
                    <a:lnTo>
                      <a:pt x="47" y="369"/>
                    </a:lnTo>
                    <a:lnTo>
                      <a:pt x="47" y="369"/>
                    </a:lnTo>
                    <a:lnTo>
                      <a:pt x="41" y="367"/>
                    </a:lnTo>
                    <a:lnTo>
                      <a:pt x="40" y="367"/>
                    </a:lnTo>
                    <a:lnTo>
                      <a:pt x="36" y="365"/>
                    </a:lnTo>
                    <a:lnTo>
                      <a:pt x="36" y="365"/>
                    </a:lnTo>
                    <a:lnTo>
                      <a:pt x="36" y="365"/>
                    </a:lnTo>
                    <a:lnTo>
                      <a:pt x="36" y="365"/>
                    </a:lnTo>
                    <a:lnTo>
                      <a:pt x="33" y="365"/>
                    </a:lnTo>
                    <a:lnTo>
                      <a:pt x="33" y="365"/>
                    </a:lnTo>
                    <a:lnTo>
                      <a:pt x="32" y="365"/>
                    </a:lnTo>
                    <a:lnTo>
                      <a:pt x="32" y="365"/>
                    </a:lnTo>
                    <a:lnTo>
                      <a:pt x="28" y="363"/>
                    </a:lnTo>
                    <a:lnTo>
                      <a:pt x="27" y="362"/>
                    </a:lnTo>
                    <a:lnTo>
                      <a:pt x="27" y="362"/>
                    </a:lnTo>
                    <a:lnTo>
                      <a:pt x="24" y="358"/>
                    </a:lnTo>
                    <a:lnTo>
                      <a:pt x="24" y="354"/>
                    </a:lnTo>
                    <a:lnTo>
                      <a:pt x="24" y="354"/>
                    </a:lnTo>
                    <a:lnTo>
                      <a:pt x="24" y="354"/>
                    </a:lnTo>
                    <a:lnTo>
                      <a:pt x="24" y="352"/>
                    </a:lnTo>
                    <a:lnTo>
                      <a:pt x="24" y="352"/>
                    </a:lnTo>
                    <a:lnTo>
                      <a:pt x="25" y="346"/>
                    </a:lnTo>
                    <a:lnTo>
                      <a:pt x="24" y="342"/>
                    </a:lnTo>
                    <a:lnTo>
                      <a:pt x="21" y="338"/>
                    </a:lnTo>
                    <a:lnTo>
                      <a:pt x="19" y="334"/>
                    </a:lnTo>
                    <a:lnTo>
                      <a:pt x="16" y="332"/>
                    </a:lnTo>
                    <a:lnTo>
                      <a:pt x="16" y="332"/>
                    </a:lnTo>
                    <a:lnTo>
                      <a:pt x="17" y="328"/>
                    </a:lnTo>
                    <a:lnTo>
                      <a:pt x="17" y="325"/>
                    </a:lnTo>
                    <a:lnTo>
                      <a:pt x="17" y="325"/>
                    </a:lnTo>
                    <a:lnTo>
                      <a:pt x="19" y="321"/>
                    </a:lnTo>
                    <a:lnTo>
                      <a:pt x="20" y="321"/>
                    </a:lnTo>
                    <a:lnTo>
                      <a:pt x="20" y="321"/>
                    </a:lnTo>
                    <a:lnTo>
                      <a:pt x="19" y="321"/>
                    </a:lnTo>
                    <a:lnTo>
                      <a:pt x="25" y="316"/>
                    </a:lnTo>
                    <a:lnTo>
                      <a:pt x="25" y="316"/>
                    </a:lnTo>
                    <a:lnTo>
                      <a:pt x="25" y="316"/>
                    </a:lnTo>
                    <a:lnTo>
                      <a:pt x="24" y="316"/>
                    </a:lnTo>
                    <a:lnTo>
                      <a:pt x="21" y="317"/>
                    </a:lnTo>
                    <a:lnTo>
                      <a:pt x="20" y="320"/>
                    </a:lnTo>
                    <a:lnTo>
                      <a:pt x="20" y="320"/>
                    </a:lnTo>
                    <a:lnTo>
                      <a:pt x="20" y="317"/>
                    </a:lnTo>
                    <a:lnTo>
                      <a:pt x="23" y="313"/>
                    </a:lnTo>
                    <a:lnTo>
                      <a:pt x="23" y="313"/>
                    </a:lnTo>
                    <a:lnTo>
                      <a:pt x="25" y="312"/>
                    </a:lnTo>
                    <a:lnTo>
                      <a:pt x="28" y="312"/>
                    </a:lnTo>
                    <a:lnTo>
                      <a:pt x="28" y="312"/>
                    </a:lnTo>
                    <a:lnTo>
                      <a:pt x="28" y="312"/>
                    </a:lnTo>
                    <a:lnTo>
                      <a:pt x="28" y="312"/>
                    </a:lnTo>
                    <a:lnTo>
                      <a:pt x="33" y="311"/>
                    </a:lnTo>
                    <a:lnTo>
                      <a:pt x="37" y="311"/>
                    </a:lnTo>
                    <a:lnTo>
                      <a:pt x="39" y="311"/>
                    </a:lnTo>
                    <a:lnTo>
                      <a:pt x="39" y="311"/>
                    </a:lnTo>
                    <a:lnTo>
                      <a:pt x="43" y="305"/>
                    </a:lnTo>
                    <a:lnTo>
                      <a:pt x="41" y="305"/>
                    </a:lnTo>
                    <a:lnTo>
                      <a:pt x="41" y="305"/>
                    </a:lnTo>
                    <a:lnTo>
                      <a:pt x="40" y="308"/>
                    </a:lnTo>
                    <a:lnTo>
                      <a:pt x="40" y="308"/>
                    </a:lnTo>
                    <a:lnTo>
                      <a:pt x="40" y="307"/>
                    </a:lnTo>
                    <a:lnTo>
                      <a:pt x="40" y="307"/>
                    </a:lnTo>
                    <a:lnTo>
                      <a:pt x="40" y="305"/>
                    </a:lnTo>
                    <a:lnTo>
                      <a:pt x="40" y="304"/>
                    </a:lnTo>
                    <a:lnTo>
                      <a:pt x="43" y="299"/>
                    </a:lnTo>
                    <a:lnTo>
                      <a:pt x="43" y="299"/>
                    </a:lnTo>
                    <a:lnTo>
                      <a:pt x="43" y="297"/>
                    </a:lnTo>
                    <a:lnTo>
                      <a:pt x="43" y="297"/>
                    </a:lnTo>
                    <a:lnTo>
                      <a:pt x="44" y="295"/>
                    </a:lnTo>
                    <a:lnTo>
                      <a:pt x="47" y="293"/>
                    </a:lnTo>
                    <a:lnTo>
                      <a:pt x="47" y="293"/>
                    </a:lnTo>
                    <a:lnTo>
                      <a:pt x="49" y="292"/>
                    </a:lnTo>
                    <a:lnTo>
                      <a:pt x="49" y="292"/>
                    </a:lnTo>
                    <a:lnTo>
                      <a:pt x="50" y="291"/>
                    </a:lnTo>
                    <a:lnTo>
                      <a:pt x="56" y="289"/>
                    </a:lnTo>
                    <a:lnTo>
                      <a:pt x="57" y="289"/>
                    </a:lnTo>
                    <a:lnTo>
                      <a:pt x="62" y="292"/>
                    </a:lnTo>
                    <a:lnTo>
                      <a:pt x="62" y="292"/>
                    </a:lnTo>
                    <a:lnTo>
                      <a:pt x="62" y="292"/>
                    </a:lnTo>
                    <a:lnTo>
                      <a:pt x="62" y="292"/>
                    </a:lnTo>
                    <a:lnTo>
                      <a:pt x="62" y="292"/>
                    </a:lnTo>
                    <a:lnTo>
                      <a:pt x="61" y="291"/>
                    </a:lnTo>
                    <a:lnTo>
                      <a:pt x="61" y="291"/>
                    </a:lnTo>
                    <a:lnTo>
                      <a:pt x="62" y="291"/>
                    </a:lnTo>
                    <a:lnTo>
                      <a:pt x="62" y="291"/>
                    </a:lnTo>
                    <a:lnTo>
                      <a:pt x="64" y="291"/>
                    </a:lnTo>
                    <a:lnTo>
                      <a:pt x="64" y="291"/>
                    </a:lnTo>
                    <a:lnTo>
                      <a:pt x="65" y="291"/>
                    </a:lnTo>
                    <a:lnTo>
                      <a:pt x="65" y="291"/>
                    </a:lnTo>
                    <a:lnTo>
                      <a:pt x="68" y="292"/>
                    </a:lnTo>
                    <a:lnTo>
                      <a:pt x="70" y="293"/>
                    </a:lnTo>
                    <a:lnTo>
                      <a:pt x="70" y="293"/>
                    </a:lnTo>
                    <a:lnTo>
                      <a:pt x="70" y="293"/>
                    </a:lnTo>
                    <a:lnTo>
                      <a:pt x="70" y="293"/>
                    </a:lnTo>
                    <a:lnTo>
                      <a:pt x="69" y="293"/>
                    </a:lnTo>
                    <a:lnTo>
                      <a:pt x="77" y="300"/>
                    </a:lnTo>
                    <a:lnTo>
                      <a:pt x="77" y="300"/>
                    </a:lnTo>
                    <a:lnTo>
                      <a:pt x="77" y="297"/>
                    </a:lnTo>
                    <a:lnTo>
                      <a:pt x="76" y="296"/>
                    </a:lnTo>
                    <a:lnTo>
                      <a:pt x="76" y="296"/>
                    </a:lnTo>
                    <a:lnTo>
                      <a:pt x="73" y="295"/>
                    </a:lnTo>
                    <a:lnTo>
                      <a:pt x="74" y="295"/>
                    </a:lnTo>
                    <a:lnTo>
                      <a:pt x="74" y="295"/>
                    </a:lnTo>
                    <a:lnTo>
                      <a:pt x="78" y="295"/>
                    </a:lnTo>
                    <a:lnTo>
                      <a:pt x="78" y="295"/>
                    </a:lnTo>
                    <a:lnTo>
                      <a:pt x="85" y="296"/>
                    </a:lnTo>
                    <a:lnTo>
                      <a:pt x="88" y="297"/>
                    </a:lnTo>
                    <a:lnTo>
                      <a:pt x="90" y="300"/>
                    </a:lnTo>
                    <a:lnTo>
                      <a:pt x="90" y="300"/>
                    </a:lnTo>
                    <a:lnTo>
                      <a:pt x="91" y="300"/>
                    </a:lnTo>
                    <a:lnTo>
                      <a:pt x="91" y="300"/>
                    </a:lnTo>
                    <a:lnTo>
                      <a:pt x="99" y="299"/>
                    </a:lnTo>
                    <a:lnTo>
                      <a:pt x="99" y="299"/>
                    </a:lnTo>
                    <a:lnTo>
                      <a:pt x="103" y="299"/>
                    </a:lnTo>
                    <a:lnTo>
                      <a:pt x="106" y="303"/>
                    </a:lnTo>
                    <a:lnTo>
                      <a:pt x="106" y="303"/>
                    </a:lnTo>
                    <a:lnTo>
                      <a:pt x="106" y="304"/>
                    </a:lnTo>
                    <a:lnTo>
                      <a:pt x="107" y="303"/>
                    </a:lnTo>
                    <a:lnTo>
                      <a:pt x="109" y="304"/>
                    </a:lnTo>
                    <a:lnTo>
                      <a:pt x="109" y="304"/>
                    </a:lnTo>
                    <a:lnTo>
                      <a:pt x="107" y="303"/>
                    </a:lnTo>
                    <a:lnTo>
                      <a:pt x="111" y="299"/>
                    </a:lnTo>
                    <a:lnTo>
                      <a:pt x="111" y="299"/>
                    </a:lnTo>
                    <a:lnTo>
                      <a:pt x="111" y="299"/>
                    </a:lnTo>
                    <a:lnTo>
                      <a:pt x="111" y="299"/>
                    </a:lnTo>
                    <a:lnTo>
                      <a:pt x="111" y="299"/>
                    </a:lnTo>
                    <a:lnTo>
                      <a:pt x="113" y="296"/>
                    </a:lnTo>
                    <a:lnTo>
                      <a:pt x="114" y="295"/>
                    </a:lnTo>
                    <a:lnTo>
                      <a:pt x="114" y="295"/>
                    </a:lnTo>
                    <a:lnTo>
                      <a:pt x="114" y="295"/>
                    </a:lnTo>
                    <a:lnTo>
                      <a:pt x="114" y="295"/>
                    </a:lnTo>
                    <a:lnTo>
                      <a:pt x="113" y="296"/>
                    </a:lnTo>
                    <a:lnTo>
                      <a:pt x="114" y="292"/>
                    </a:lnTo>
                    <a:lnTo>
                      <a:pt x="114" y="292"/>
                    </a:lnTo>
                    <a:lnTo>
                      <a:pt x="114" y="285"/>
                    </a:lnTo>
                    <a:lnTo>
                      <a:pt x="114" y="285"/>
                    </a:lnTo>
                    <a:lnTo>
                      <a:pt x="114" y="276"/>
                    </a:lnTo>
                    <a:lnTo>
                      <a:pt x="114" y="276"/>
                    </a:lnTo>
                    <a:lnTo>
                      <a:pt x="119" y="270"/>
                    </a:lnTo>
                    <a:lnTo>
                      <a:pt x="119" y="270"/>
                    </a:lnTo>
                    <a:lnTo>
                      <a:pt x="117" y="271"/>
                    </a:lnTo>
                    <a:lnTo>
                      <a:pt x="115" y="274"/>
                    </a:lnTo>
                    <a:lnTo>
                      <a:pt x="115" y="274"/>
                    </a:lnTo>
                    <a:lnTo>
                      <a:pt x="115" y="274"/>
                    </a:lnTo>
                    <a:lnTo>
                      <a:pt x="115" y="271"/>
                    </a:lnTo>
                    <a:lnTo>
                      <a:pt x="121" y="266"/>
                    </a:lnTo>
                    <a:lnTo>
                      <a:pt x="122" y="266"/>
                    </a:lnTo>
                    <a:lnTo>
                      <a:pt x="122" y="266"/>
                    </a:lnTo>
                    <a:lnTo>
                      <a:pt x="125" y="267"/>
                    </a:lnTo>
                    <a:lnTo>
                      <a:pt x="127" y="267"/>
                    </a:lnTo>
                    <a:lnTo>
                      <a:pt x="129" y="267"/>
                    </a:lnTo>
                    <a:lnTo>
                      <a:pt x="130" y="268"/>
                    </a:lnTo>
                    <a:lnTo>
                      <a:pt x="130" y="267"/>
                    </a:lnTo>
                    <a:lnTo>
                      <a:pt x="130" y="262"/>
                    </a:lnTo>
                    <a:lnTo>
                      <a:pt x="132" y="259"/>
                    </a:lnTo>
                    <a:lnTo>
                      <a:pt x="132" y="259"/>
                    </a:lnTo>
                    <a:lnTo>
                      <a:pt x="135" y="262"/>
                    </a:lnTo>
                    <a:lnTo>
                      <a:pt x="135" y="259"/>
                    </a:lnTo>
                    <a:lnTo>
                      <a:pt x="135" y="258"/>
                    </a:lnTo>
                    <a:lnTo>
                      <a:pt x="136" y="258"/>
                    </a:lnTo>
                    <a:lnTo>
                      <a:pt x="136" y="256"/>
                    </a:lnTo>
                    <a:lnTo>
                      <a:pt x="136" y="256"/>
                    </a:lnTo>
                    <a:lnTo>
                      <a:pt x="136" y="256"/>
                    </a:lnTo>
                    <a:lnTo>
                      <a:pt x="136" y="256"/>
                    </a:lnTo>
                    <a:lnTo>
                      <a:pt x="138" y="255"/>
                    </a:lnTo>
                    <a:lnTo>
                      <a:pt x="138" y="255"/>
                    </a:lnTo>
                    <a:lnTo>
                      <a:pt x="135" y="255"/>
                    </a:lnTo>
                    <a:lnTo>
                      <a:pt x="132" y="256"/>
                    </a:lnTo>
                    <a:lnTo>
                      <a:pt x="131" y="255"/>
                    </a:lnTo>
                    <a:lnTo>
                      <a:pt x="131" y="248"/>
                    </a:lnTo>
                    <a:lnTo>
                      <a:pt x="131" y="244"/>
                    </a:lnTo>
                    <a:lnTo>
                      <a:pt x="131" y="244"/>
                    </a:lnTo>
                    <a:lnTo>
                      <a:pt x="134" y="241"/>
                    </a:lnTo>
                    <a:lnTo>
                      <a:pt x="134" y="241"/>
                    </a:lnTo>
                    <a:lnTo>
                      <a:pt x="139" y="233"/>
                    </a:lnTo>
                    <a:lnTo>
                      <a:pt x="139" y="233"/>
                    </a:lnTo>
                    <a:lnTo>
                      <a:pt x="138" y="230"/>
                    </a:lnTo>
                    <a:lnTo>
                      <a:pt x="135" y="227"/>
                    </a:lnTo>
                    <a:lnTo>
                      <a:pt x="135" y="225"/>
                    </a:lnTo>
                    <a:lnTo>
                      <a:pt x="135" y="225"/>
                    </a:lnTo>
                    <a:lnTo>
                      <a:pt x="138" y="215"/>
                    </a:lnTo>
                    <a:lnTo>
                      <a:pt x="139" y="211"/>
                    </a:lnTo>
                    <a:lnTo>
                      <a:pt x="143" y="209"/>
                    </a:lnTo>
                    <a:lnTo>
                      <a:pt x="143" y="209"/>
                    </a:lnTo>
                    <a:lnTo>
                      <a:pt x="147" y="207"/>
                    </a:lnTo>
                    <a:lnTo>
                      <a:pt x="151" y="206"/>
                    </a:lnTo>
                    <a:lnTo>
                      <a:pt x="151" y="206"/>
                    </a:lnTo>
                    <a:lnTo>
                      <a:pt x="155" y="206"/>
                    </a:lnTo>
                    <a:lnTo>
                      <a:pt x="155" y="206"/>
                    </a:lnTo>
                    <a:lnTo>
                      <a:pt x="159" y="205"/>
                    </a:lnTo>
                    <a:lnTo>
                      <a:pt x="162" y="203"/>
                    </a:lnTo>
                    <a:lnTo>
                      <a:pt x="162" y="203"/>
                    </a:lnTo>
                    <a:lnTo>
                      <a:pt x="163" y="201"/>
                    </a:lnTo>
                    <a:lnTo>
                      <a:pt x="160" y="200"/>
                    </a:lnTo>
                    <a:lnTo>
                      <a:pt x="160" y="200"/>
                    </a:lnTo>
                    <a:lnTo>
                      <a:pt x="159" y="197"/>
                    </a:lnTo>
                    <a:lnTo>
                      <a:pt x="158" y="192"/>
                    </a:lnTo>
                    <a:lnTo>
                      <a:pt x="158" y="190"/>
                    </a:lnTo>
                    <a:lnTo>
                      <a:pt x="158" y="190"/>
                    </a:lnTo>
                    <a:lnTo>
                      <a:pt x="158" y="185"/>
                    </a:lnTo>
                    <a:lnTo>
                      <a:pt x="159" y="181"/>
                    </a:lnTo>
                    <a:lnTo>
                      <a:pt x="160" y="178"/>
                    </a:lnTo>
                    <a:lnTo>
                      <a:pt x="166" y="177"/>
                    </a:lnTo>
                    <a:lnTo>
                      <a:pt x="166" y="177"/>
                    </a:lnTo>
                    <a:lnTo>
                      <a:pt x="167" y="177"/>
                    </a:lnTo>
                    <a:lnTo>
                      <a:pt x="167" y="177"/>
                    </a:lnTo>
                    <a:lnTo>
                      <a:pt x="168" y="177"/>
                    </a:lnTo>
                    <a:lnTo>
                      <a:pt x="169" y="176"/>
                    </a:lnTo>
                    <a:lnTo>
                      <a:pt x="169" y="176"/>
                    </a:lnTo>
                    <a:lnTo>
                      <a:pt x="169" y="173"/>
                    </a:lnTo>
                    <a:lnTo>
                      <a:pt x="169" y="172"/>
                    </a:lnTo>
                    <a:lnTo>
                      <a:pt x="169" y="172"/>
                    </a:lnTo>
                    <a:lnTo>
                      <a:pt x="171" y="174"/>
                    </a:lnTo>
                    <a:lnTo>
                      <a:pt x="172" y="176"/>
                    </a:lnTo>
                    <a:lnTo>
                      <a:pt x="172" y="176"/>
                    </a:lnTo>
                    <a:lnTo>
                      <a:pt x="173" y="174"/>
                    </a:lnTo>
                    <a:lnTo>
                      <a:pt x="168" y="170"/>
                    </a:lnTo>
                    <a:lnTo>
                      <a:pt x="163" y="174"/>
                    </a:lnTo>
                    <a:lnTo>
                      <a:pt x="162" y="174"/>
                    </a:lnTo>
                    <a:lnTo>
                      <a:pt x="160" y="172"/>
                    </a:lnTo>
                    <a:lnTo>
                      <a:pt x="159" y="166"/>
                    </a:lnTo>
                    <a:lnTo>
                      <a:pt x="159" y="172"/>
                    </a:lnTo>
                    <a:lnTo>
                      <a:pt x="158" y="170"/>
                    </a:lnTo>
                    <a:lnTo>
                      <a:pt x="158" y="170"/>
                    </a:lnTo>
                    <a:lnTo>
                      <a:pt x="158" y="170"/>
                    </a:lnTo>
                    <a:lnTo>
                      <a:pt x="159" y="173"/>
                    </a:lnTo>
                    <a:lnTo>
                      <a:pt x="159" y="173"/>
                    </a:lnTo>
                    <a:lnTo>
                      <a:pt x="159" y="173"/>
                    </a:lnTo>
                    <a:lnTo>
                      <a:pt x="159" y="173"/>
                    </a:lnTo>
                    <a:lnTo>
                      <a:pt x="156" y="173"/>
                    </a:lnTo>
                    <a:lnTo>
                      <a:pt x="156" y="173"/>
                    </a:lnTo>
                    <a:lnTo>
                      <a:pt x="156" y="173"/>
                    </a:lnTo>
                    <a:lnTo>
                      <a:pt x="156" y="173"/>
                    </a:lnTo>
                    <a:lnTo>
                      <a:pt x="156" y="173"/>
                    </a:lnTo>
                    <a:lnTo>
                      <a:pt x="150" y="178"/>
                    </a:lnTo>
                    <a:lnTo>
                      <a:pt x="150" y="178"/>
                    </a:lnTo>
                    <a:lnTo>
                      <a:pt x="151" y="181"/>
                    </a:lnTo>
                    <a:lnTo>
                      <a:pt x="152" y="185"/>
                    </a:lnTo>
                    <a:lnTo>
                      <a:pt x="144" y="190"/>
                    </a:lnTo>
                    <a:lnTo>
                      <a:pt x="144" y="190"/>
                    </a:lnTo>
                    <a:lnTo>
                      <a:pt x="144" y="190"/>
                    </a:lnTo>
                    <a:lnTo>
                      <a:pt x="143" y="192"/>
                    </a:lnTo>
                    <a:lnTo>
                      <a:pt x="142" y="192"/>
                    </a:lnTo>
                    <a:lnTo>
                      <a:pt x="142" y="192"/>
                    </a:lnTo>
                    <a:lnTo>
                      <a:pt x="140" y="193"/>
                    </a:lnTo>
                    <a:lnTo>
                      <a:pt x="138" y="193"/>
                    </a:lnTo>
                    <a:lnTo>
                      <a:pt x="136" y="193"/>
                    </a:lnTo>
                    <a:lnTo>
                      <a:pt x="132" y="190"/>
                    </a:lnTo>
                    <a:lnTo>
                      <a:pt x="132" y="190"/>
                    </a:lnTo>
                    <a:lnTo>
                      <a:pt x="130" y="188"/>
                    </a:lnTo>
                    <a:lnTo>
                      <a:pt x="130" y="188"/>
                    </a:lnTo>
                    <a:lnTo>
                      <a:pt x="130" y="186"/>
                    </a:lnTo>
                    <a:lnTo>
                      <a:pt x="129" y="185"/>
                    </a:lnTo>
                    <a:lnTo>
                      <a:pt x="129" y="185"/>
                    </a:lnTo>
                    <a:lnTo>
                      <a:pt x="127" y="182"/>
                    </a:lnTo>
                    <a:lnTo>
                      <a:pt x="126" y="178"/>
                    </a:lnTo>
                    <a:lnTo>
                      <a:pt x="126" y="178"/>
                    </a:lnTo>
                    <a:lnTo>
                      <a:pt x="126" y="176"/>
                    </a:lnTo>
                    <a:lnTo>
                      <a:pt x="126" y="176"/>
                    </a:lnTo>
                    <a:lnTo>
                      <a:pt x="122" y="176"/>
                    </a:lnTo>
                    <a:lnTo>
                      <a:pt x="122" y="176"/>
                    </a:lnTo>
                    <a:lnTo>
                      <a:pt x="119" y="176"/>
                    </a:lnTo>
                    <a:lnTo>
                      <a:pt x="117" y="173"/>
                    </a:lnTo>
                    <a:lnTo>
                      <a:pt x="114" y="169"/>
                    </a:lnTo>
                    <a:lnTo>
                      <a:pt x="114" y="169"/>
                    </a:lnTo>
                    <a:lnTo>
                      <a:pt x="114" y="168"/>
                    </a:lnTo>
                    <a:lnTo>
                      <a:pt x="114" y="168"/>
                    </a:lnTo>
                    <a:lnTo>
                      <a:pt x="111" y="169"/>
                    </a:lnTo>
                    <a:lnTo>
                      <a:pt x="111" y="169"/>
                    </a:lnTo>
                    <a:lnTo>
                      <a:pt x="110" y="169"/>
                    </a:lnTo>
                    <a:lnTo>
                      <a:pt x="110" y="169"/>
                    </a:lnTo>
                    <a:lnTo>
                      <a:pt x="107" y="172"/>
                    </a:lnTo>
                    <a:lnTo>
                      <a:pt x="106" y="173"/>
                    </a:lnTo>
                    <a:lnTo>
                      <a:pt x="102" y="176"/>
                    </a:lnTo>
                    <a:lnTo>
                      <a:pt x="102" y="176"/>
                    </a:lnTo>
                    <a:lnTo>
                      <a:pt x="102" y="176"/>
                    </a:lnTo>
                    <a:lnTo>
                      <a:pt x="102" y="176"/>
                    </a:lnTo>
                    <a:lnTo>
                      <a:pt x="102" y="177"/>
                    </a:lnTo>
                    <a:lnTo>
                      <a:pt x="102" y="177"/>
                    </a:lnTo>
                    <a:lnTo>
                      <a:pt x="103" y="181"/>
                    </a:lnTo>
                    <a:lnTo>
                      <a:pt x="107" y="181"/>
                    </a:lnTo>
                    <a:lnTo>
                      <a:pt x="114" y="186"/>
                    </a:lnTo>
                    <a:lnTo>
                      <a:pt x="114" y="186"/>
                    </a:lnTo>
                    <a:lnTo>
                      <a:pt x="114" y="189"/>
                    </a:lnTo>
                    <a:lnTo>
                      <a:pt x="114" y="189"/>
                    </a:lnTo>
                    <a:lnTo>
                      <a:pt x="114" y="190"/>
                    </a:lnTo>
                    <a:lnTo>
                      <a:pt x="114" y="190"/>
                    </a:lnTo>
                    <a:lnTo>
                      <a:pt x="113" y="188"/>
                    </a:lnTo>
                    <a:lnTo>
                      <a:pt x="110" y="186"/>
                    </a:lnTo>
                    <a:lnTo>
                      <a:pt x="115" y="192"/>
                    </a:lnTo>
                    <a:lnTo>
                      <a:pt x="115" y="193"/>
                    </a:lnTo>
                    <a:lnTo>
                      <a:pt x="115" y="193"/>
                    </a:lnTo>
                    <a:lnTo>
                      <a:pt x="115" y="194"/>
                    </a:lnTo>
                    <a:lnTo>
                      <a:pt x="115" y="194"/>
                    </a:lnTo>
                    <a:lnTo>
                      <a:pt x="114" y="200"/>
                    </a:lnTo>
                    <a:lnTo>
                      <a:pt x="113" y="202"/>
                    </a:lnTo>
                    <a:lnTo>
                      <a:pt x="110" y="203"/>
                    </a:lnTo>
                    <a:lnTo>
                      <a:pt x="109" y="205"/>
                    </a:lnTo>
                    <a:lnTo>
                      <a:pt x="107" y="205"/>
                    </a:lnTo>
                    <a:lnTo>
                      <a:pt x="105" y="205"/>
                    </a:lnTo>
                    <a:lnTo>
                      <a:pt x="105" y="205"/>
                    </a:lnTo>
                    <a:lnTo>
                      <a:pt x="105" y="205"/>
                    </a:lnTo>
                    <a:lnTo>
                      <a:pt x="105" y="205"/>
                    </a:lnTo>
                    <a:lnTo>
                      <a:pt x="103" y="205"/>
                    </a:lnTo>
                    <a:lnTo>
                      <a:pt x="103" y="205"/>
                    </a:lnTo>
                    <a:lnTo>
                      <a:pt x="106" y="206"/>
                    </a:lnTo>
                    <a:lnTo>
                      <a:pt x="106" y="206"/>
                    </a:lnTo>
                    <a:lnTo>
                      <a:pt x="107" y="210"/>
                    </a:lnTo>
                    <a:lnTo>
                      <a:pt x="107" y="213"/>
                    </a:lnTo>
                    <a:lnTo>
                      <a:pt x="107" y="213"/>
                    </a:lnTo>
                    <a:lnTo>
                      <a:pt x="106" y="215"/>
                    </a:lnTo>
                    <a:lnTo>
                      <a:pt x="103" y="218"/>
                    </a:lnTo>
                    <a:lnTo>
                      <a:pt x="99" y="219"/>
                    </a:lnTo>
                    <a:lnTo>
                      <a:pt x="99" y="219"/>
                    </a:lnTo>
                    <a:lnTo>
                      <a:pt x="97" y="219"/>
                    </a:lnTo>
                    <a:lnTo>
                      <a:pt x="97" y="219"/>
                    </a:lnTo>
                    <a:lnTo>
                      <a:pt x="98" y="219"/>
                    </a:lnTo>
                    <a:lnTo>
                      <a:pt x="94" y="221"/>
                    </a:lnTo>
                    <a:lnTo>
                      <a:pt x="93" y="221"/>
                    </a:lnTo>
                    <a:lnTo>
                      <a:pt x="86" y="215"/>
                    </a:lnTo>
                    <a:lnTo>
                      <a:pt x="86" y="209"/>
                    </a:lnTo>
                    <a:lnTo>
                      <a:pt x="89" y="205"/>
                    </a:lnTo>
                    <a:lnTo>
                      <a:pt x="89" y="205"/>
                    </a:lnTo>
                    <a:lnTo>
                      <a:pt x="89" y="205"/>
                    </a:lnTo>
                    <a:lnTo>
                      <a:pt x="88" y="205"/>
                    </a:lnTo>
                    <a:lnTo>
                      <a:pt x="88" y="205"/>
                    </a:lnTo>
                    <a:lnTo>
                      <a:pt x="88" y="205"/>
                    </a:lnTo>
                    <a:lnTo>
                      <a:pt x="88" y="205"/>
                    </a:lnTo>
                    <a:lnTo>
                      <a:pt x="85" y="202"/>
                    </a:lnTo>
                    <a:lnTo>
                      <a:pt x="85" y="202"/>
                    </a:lnTo>
                    <a:lnTo>
                      <a:pt x="82" y="202"/>
                    </a:lnTo>
                    <a:lnTo>
                      <a:pt x="82" y="202"/>
                    </a:lnTo>
                    <a:lnTo>
                      <a:pt x="82" y="202"/>
                    </a:lnTo>
                    <a:lnTo>
                      <a:pt x="82" y="206"/>
                    </a:lnTo>
                    <a:lnTo>
                      <a:pt x="76" y="211"/>
                    </a:lnTo>
                    <a:lnTo>
                      <a:pt x="76" y="211"/>
                    </a:lnTo>
                    <a:lnTo>
                      <a:pt x="76" y="211"/>
                    </a:lnTo>
                    <a:lnTo>
                      <a:pt x="77" y="211"/>
                    </a:lnTo>
                    <a:lnTo>
                      <a:pt x="76" y="213"/>
                    </a:lnTo>
                    <a:lnTo>
                      <a:pt x="76" y="213"/>
                    </a:lnTo>
                    <a:lnTo>
                      <a:pt x="74" y="213"/>
                    </a:lnTo>
                    <a:lnTo>
                      <a:pt x="74" y="213"/>
                    </a:lnTo>
                    <a:lnTo>
                      <a:pt x="70" y="213"/>
                    </a:lnTo>
                    <a:lnTo>
                      <a:pt x="68" y="211"/>
                    </a:lnTo>
                    <a:lnTo>
                      <a:pt x="66" y="209"/>
                    </a:lnTo>
                    <a:lnTo>
                      <a:pt x="65" y="205"/>
                    </a:lnTo>
                    <a:lnTo>
                      <a:pt x="65" y="205"/>
                    </a:lnTo>
                    <a:lnTo>
                      <a:pt x="65" y="203"/>
                    </a:lnTo>
                    <a:lnTo>
                      <a:pt x="65" y="203"/>
                    </a:lnTo>
                    <a:lnTo>
                      <a:pt x="65" y="205"/>
                    </a:lnTo>
                    <a:lnTo>
                      <a:pt x="66" y="205"/>
                    </a:lnTo>
                    <a:lnTo>
                      <a:pt x="62" y="201"/>
                    </a:lnTo>
                    <a:lnTo>
                      <a:pt x="62" y="201"/>
                    </a:lnTo>
                    <a:lnTo>
                      <a:pt x="64" y="202"/>
                    </a:lnTo>
                    <a:lnTo>
                      <a:pt x="64" y="202"/>
                    </a:lnTo>
                    <a:lnTo>
                      <a:pt x="62" y="201"/>
                    </a:lnTo>
                    <a:lnTo>
                      <a:pt x="61" y="197"/>
                    </a:lnTo>
                    <a:lnTo>
                      <a:pt x="61" y="194"/>
                    </a:lnTo>
                    <a:lnTo>
                      <a:pt x="61" y="194"/>
                    </a:lnTo>
                    <a:lnTo>
                      <a:pt x="61" y="194"/>
                    </a:lnTo>
                    <a:lnTo>
                      <a:pt x="61" y="194"/>
                    </a:lnTo>
                    <a:lnTo>
                      <a:pt x="62" y="196"/>
                    </a:lnTo>
                    <a:lnTo>
                      <a:pt x="58" y="189"/>
                    </a:lnTo>
                    <a:lnTo>
                      <a:pt x="58" y="188"/>
                    </a:lnTo>
                    <a:lnTo>
                      <a:pt x="58" y="188"/>
                    </a:lnTo>
                    <a:lnTo>
                      <a:pt x="58" y="184"/>
                    </a:lnTo>
                    <a:lnTo>
                      <a:pt x="58" y="182"/>
                    </a:lnTo>
                    <a:lnTo>
                      <a:pt x="57" y="181"/>
                    </a:lnTo>
                    <a:lnTo>
                      <a:pt x="57" y="181"/>
                    </a:lnTo>
                    <a:lnTo>
                      <a:pt x="54" y="173"/>
                    </a:lnTo>
                    <a:lnTo>
                      <a:pt x="54" y="165"/>
                    </a:lnTo>
                    <a:lnTo>
                      <a:pt x="57" y="164"/>
                    </a:lnTo>
                    <a:lnTo>
                      <a:pt x="57" y="164"/>
                    </a:lnTo>
                    <a:lnTo>
                      <a:pt x="58" y="165"/>
                    </a:lnTo>
                    <a:lnTo>
                      <a:pt x="61" y="165"/>
                    </a:lnTo>
                    <a:lnTo>
                      <a:pt x="58" y="163"/>
                    </a:lnTo>
                    <a:lnTo>
                      <a:pt x="61" y="161"/>
                    </a:lnTo>
                    <a:lnTo>
                      <a:pt x="61" y="161"/>
                    </a:lnTo>
                    <a:lnTo>
                      <a:pt x="61" y="161"/>
                    </a:lnTo>
                    <a:lnTo>
                      <a:pt x="61" y="161"/>
                    </a:lnTo>
                    <a:lnTo>
                      <a:pt x="57" y="163"/>
                    </a:lnTo>
                    <a:lnTo>
                      <a:pt x="54" y="159"/>
                    </a:lnTo>
                    <a:lnTo>
                      <a:pt x="54" y="156"/>
                    </a:lnTo>
                    <a:lnTo>
                      <a:pt x="54" y="156"/>
                    </a:lnTo>
                    <a:lnTo>
                      <a:pt x="54" y="152"/>
                    </a:lnTo>
                    <a:lnTo>
                      <a:pt x="56" y="149"/>
                    </a:lnTo>
                    <a:lnTo>
                      <a:pt x="54" y="148"/>
                    </a:lnTo>
                    <a:lnTo>
                      <a:pt x="54" y="148"/>
                    </a:lnTo>
                    <a:lnTo>
                      <a:pt x="54" y="148"/>
                    </a:lnTo>
                    <a:lnTo>
                      <a:pt x="54" y="148"/>
                    </a:lnTo>
                    <a:lnTo>
                      <a:pt x="54" y="148"/>
                    </a:lnTo>
                    <a:lnTo>
                      <a:pt x="54" y="147"/>
                    </a:lnTo>
                    <a:lnTo>
                      <a:pt x="54" y="147"/>
                    </a:lnTo>
                    <a:lnTo>
                      <a:pt x="54" y="143"/>
                    </a:lnTo>
                    <a:lnTo>
                      <a:pt x="54" y="139"/>
                    </a:lnTo>
                    <a:lnTo>
                      <a:pt x="57" y="133"/>
                    </a:lnTo>
                    <a:lnTo>
                      <a:pt x="57" y="133"/>
                    </a:lnTo>
                    <a:lnTo>
                      <a:pt x="58" y="131"/>
                    </a:lnTo>
                    <a:lnTo>
                      <a:pt x="58" y="131"/>
                    </a:lnTo>
                    <a:lnTo>
                      <a:pt x="58" y="131"/>
                    </a:lnTo>
                    <a:lnTo>
                      <a:pt x="57" y="127"/>
                    </a:lnTo>
                    <a:lnTo>
                      <a:pt x="57" y="125"/>
                    </a:lnTo>
                    <a:lnTo>
                      <a:pt x="57" y="125"/>
                    </a:lnTo>
                    <a:lnTo>
                      <a:pt x="57" y="124"/>
                    </a:lnTo>
                    <a:lnTo>
                      <a:pt x="57" y="124"/>
                    </a:lnTo>
                    <a:lnTo>
                      <a:pt x="57" y="123"/>
                    </a:lnTo>
                    <a:lnTo>
                      <a:pt x="57" y="123"/>
                    </a:lnTo>
                    <a:lnTo>
                      <a:pt x="58" y="125"/>
                    </a:lnTo>
                    <a:lnTo>
                      <a:pt x="61" y="127"/>
                    </a:lnTo>
                    <a:lnTo>
                      <a:pt x="56" y="122"/>
                    </a:lnTo>
                    <a:lnTo>
                      <a:pt x="56" y="119"/>
                    </a:lnTo>
                    <a:lnTo>
                      <a:pt x="61" y="112"/>
                    </a:lnTo>
                    <a:lnTo>
                      <a:pt x="64" y="111"/>
                    </a:lnTo>
                    <a:lnTo>
                      <a:pt x="64" y="111"/>
                    </a:lnTo>
                    <a:lnTo>
                      <a:pt x="64" y="111"/>
                    </a:lnTo>
                    <a:lnTo>
                      <a:pt x="66" y="110"/>
                    </a:lnTo>
                    <a:lnTo>
                      <a:pt x="66" y="110"/>
                    </a:lnTo>
                    <a:lnTo>
                      <a:pt x="70" y="107"/>
                    </a:lnTo>
                    <a:lnTo>
                      <a:pt x="76" y="104"/>
                    </a:lnTo>
                    <a:lnTo>
                      <a:pt x="76" y="104"/>
                    </a:lnTo>
                    <a:lnTo>
                      <a:pt x="76" y="103"/>
                    </a:lnTo>
                    <a:lnTo>
                      <a:pt x="77" y="103"/>
                    </a:lnTo>
                    <a:lnTo>
                      <a:pt x="77" y="103"/>
                    </a:lnTo>
                    <a:lnTo>
                      <a:pt x="78" y="103"/>
                    </a:lnTo>
                    <a:lnTo>
                      <a:pt x="78" y="103"/>
                    </a:lnTo>
                    <a:lnTo>
                      <a:pt x="80" y="103"/>
                    </a:lnTo>
                    <a:lnTo>
                      <a:pt x="80" y="103"/>
                    </a:lnTo>
                    <a:lnTo>
                      <a:pt x="78" y="104"/>
                    </a:lnTo>
                    <a:lnTo>
                      <a:pt x="84" y="102"/>
                    </a:lnTo>
                    <a:lnTo>
                      <a:pt x="84" y="102"/>
                    </a:lnTo>
                    <a:lnTo>
                      <a:pt x="84" y="102"/>
                    </a:lnTo>
                    <a:lnTo>
                      <a:pt x="86" y="95"/>
                    </a:lnTo>
                    <a:lnTo>
                      <a:pt x="88" y="92"/>
                    </a:lnTo>
                    <a:lnTo>
                      <a:pt x="88" y="92"/>
                    </a:lnTo>
                    <a:lnTo>
                      <a:pt x="89" y="90"/>
                    </a:lnTo>
                    <a:lnTo>
                      <a:pt x="95" y="86"/>
                    </a:lnTo>
                    <a:lnTo>
                      <a:pt x="97" y="86"/>
                    </a:lnTo>
                    <a:lnTo>
                      <a:pt x="97" y="86"/>
                    </a:lnTo>
                    <a:lnTo>
                      <a:pt x="97" y="86"/>
                    </a:lnTo>
                    <a:lnTo>
                      <a:pt x="97" y="85"/>
                    </a:lnTo>
                    <a:lnTo>
                      <a:pt x="97" y="85"/>
                    </a:lnTo>
                    <a:lnTo>
                      <a:pt x="98" y="86"/>
                    </a:lnTo>
                    <a:lnTo>
                      <a:pt x="98" y="86"/>
                    </a:lnTo>
                    <a:lnTo>
                      <a:pt x="98" y="86"/>
                    </a:lnTo>
                    <a:lnTo>
                      <a:pt x="95" y="82"/>
                    </a:lnTo>
                    <a:lnTo>
                      <a:pt x="95" y="79"/>
                    </a:lnTo>
                    <a:lnTo>
                      <a:pt x="95" y="79"/>
                    </a:lnTo>
                    <a:lnTo>
                      <a:pt x="95" y="77"/>
                    </a:lnTo>
                    <a:lnTo>
                      <a:pt x="94" y="75"/>
                    </a:lnTo>
                    <a:lnTo>
                      <a:pt x="94" y="75"/>
                    </a:lnTo>
                    <a:lnTo>
                      <a:pt x="93" y="74"/>
                    </a:lnTo>
                    <a:lnTo>
                      <a:pt x="93" y="71"/>
                    </a:lnTo>
                    <a:lnTo>
                      <a:pt x="93" y="71"/>
                    </a:lnTo>
                    <a:lnTo>
                      <a:pt x="93" y="73"/>
                    </a:lnTo>
                    <a:lnTo>
                      <a:pt x="95" y="74"/>
                    </a:lnTo>
                    <a:lnTo>
                      <a:pt x="90" y="67"/>
                    </a:lnTo>
                    <a:lnTo>
                      <a:pt x="90" y="63"/>
                    </a:lnTo>
                    <a:lnTo>
                      <a:pt x="90" y="63"/>
                    </a:lnTo>
                    <a:lnTo>
                      <a:pt x="90" y="61"/>
                    </a:lnTo>
                    <a:lnTo>
                      <a:pt x="89" y="58"/>
                    </a:lnTo>
                    <a:lnTo>
                      <a:pt x="89" y="58"/>
                    </a:lnTo>
                    <a:lnTo>
                      <a:pt x="88" y="58"/>
                    </a:lnTo>
                    <a:lnTo>
                      <a:pt x="88" y="58"/>
                    </a:lnTo>
                    <a:lnTo>
                      <a:pt x="86" y="58"/>
                    </a:lnTo>
                    <a:lnTo>
                      <a:pt x="86" y="58"/>
                    </a:lnTo>
                    <a:lnTo>
                      <a:pt x="88" y="57"/>
                    </a:lnTo>
                    <a:lnTo>
                      <a:pt x="88" y="57"/>
                    </a:lnTo>
                    <a:lnTo>
                      <a:pt x="88" y="57"/>
                    </a:lnTo>
                    <a:lnTo>
                      <a:pt x="84" y="59"/>
                    </a:lnTo>
                    <a:lnTo>
                      <a:pt x="81" y="59"/>
                    </a:lnTo>
                    <a:lnTo>
                      <a:pt x="81" y="59"/>
                    </a:lnTo>
                    <a:lnTo>
                      <a:pt x="80" y="61"/>
                    </a:lnTo>
                    <a:lnTo>
                      <a:pt x="80" y="61"/>
                    </a:lnTo>
                    <a:lnTo>
                      <a:pt x="81" y="59"/>
                    </a:lnTo>
                    <a:lnTo>
                      <a:pt x="77" y="62"/>
                    </a:lnTo>
                    <a:lnTo>
                      <a:pt x="77" y="62"/>
                    </a:lnTo>
                    <a:lnTo>
                      <a:pt x="77" y="62"/>
                    </a:lnTo>
                    <a:lnTo>
                      <a:pt x="76" y="63"/>
                    </a:lnTo>
                    <a:lnTo>
                      <a:pt x="72" y="65"/>
                    </a:lnTo>
                    <a:lnTo>
                      <a:pt x="72" y="65"/>
                    </a:lnTo>
                    <a:lnTo>
                      <a:pt x="68" y="63"/>
                    </a:lnTo>
                    <a:lnTo>
                      <a:pt x="65" y="59"/>
                    </a:lnTo>
                    <a:lnTo>
                      <a:pt x="65" y="59"/>
                    </a:lnTo>
                    <a:lnTo>
                      <a:pt x="64" y="59"/>
                    </a:lnTo>
                    <a:lnTo>
                      <a:pt x="60" y="63"/>
                    </a:lnTo>
                    <a:lnTo>
                      <a:pt x="60" y="63"/>
                    </a:lnTo>
                    <a:lnTo>
                      <a:pt x="61" y="62"/>
                    </a:lnTo>
                    <a:lnTo>
                      <a:pt x="61" y="62"/>
                    </a:lnTo>
                    <a:lnTo>
                      <a:pt x="60" y="63"/>
                    </a:lnTo>
                    <a:lnTo>
                      <a:pt x="56" y="65"/>
                    </a:lnTo>
                    <a:lnTo>
                      <a:pt x="56" y="65"/>
                    </a:lnTo>
                    <a:lnTo>
                      <a:pt x="54" y="66"/>
                    </a:lnTo>
                    <a:lnTo>
                      <a:pt x="50" y="66"/>
                    </a:lnTo>
                    <a:lnTo>
                      <a:pt x="50" y="66"/>
                    </a:lnTo>
                    <a:lnTo>
                      <a:pt x="50" y="66"/>
                    </a:lnTo>
                    <a:lnTo>
                      <a:pt x="50" y="66"/>
                    </a:lnTo>
                    <a:lnTo>
                      <a:pt x="48" y="66"/>
                    </a:lnTo>
                    <a:lnTo>
                      <a:pt x="48" y="66"/>
                    </a:lnTo>
                    <a:lnTo>
                      <a:pt x="50" y="65"/>
                    </a:lnTo>
                    <a:lnTo>
                      <a:pt x="50" y="63"/>
                    </a:lnTo>
                    <a:lnTo>
                      <a:pt x="47" y="67"/>
                    </a:lnTo>
                    <a:lnTo>
                      <a:pt x="47" y="67"/>
                    </a:lnTo>
                    <a:lnTo>
                      <a:pt x="47" y="67"/>
                    </a:lnTo>
                    <a:lnTo>
                      <a:pt x="45" y="67"/>
                    </a:lnTo>
                    <a:lnTo>
                      <a:pt x="45" y="67"/>
                    </a:lnTo>
                    <a:lnTo>
                      <a:pt x="45" y="67"/>
                    </a:lnTo>
                    <a:lnTo>
                      <a:pt x="45" y="67"/>
                    </a:lnTo>
                    <a:lnTo>
                      <a:pt x="43" y="67"/>
                    </a:lnTo>
                    <a:lnTo>
                      <a:pt x="43" y="67"/>
                    </a:lnTo>
                    <a:lnTo>
                      <a:pt x="41" y="67"/>
                    </a:lnTo>
                    <a:lnTo>
                      <a:pt x="41" y="67"/>
                    </a:lnTo>
                    <a:lnTo>
                      <a:pt x="40" y="67"/>
                    </a:lnTo>
                    <a:lnTo>
                      <a:pt x="40" y="67"/>
                    </a:lnTo>
                    <a:lnTo>
                      <a:pt x="41" y="67"/>
                    </a:lnTo>
                    <a:lnTo>
                      <a:pt x="43" y="66"/>
                    </a:lnTo>
                    <a:lnTo>
                      <a:pt x="43" y="66"/>
                    </a:lnTo>
                    <a:lnTo>
                      <a:pt x="44" y="62"/>
                    </a:lnTo>
                    <a:lnTo>
                      <a:pt x="39" y="67"/>
                    </a:lnTo>
                    <a:lnTo>
                      <a:pt x="39" y="69"/>
                    </a:lnTo>
                    <a:lnTo>
                      <a:pt x="39" y="69"/>
                    </a:lnTo>
                    <a:lnTo>
                      <a:pt x="39" y="67"/>
                    </a:lnTo>
                    <a:lnTo>
                      <a:pt x="39" y="67"/>
                    </a:lnTo>
                    <a:lnTo>
                      <a:pt x="39" y="69"/>
                    </a:lnTo>
                    <a:lnTo>
                      <a:pt x="39" y="69"/>
                    </a:lnTo>
                    <a:lnTo>
                      <a:pt x="36" y="73"/>
                    </a:lnTo>
                    <a:lnTo>
                      <a:pt x="33" y="75"/>
                    </a:lnTo>
                    <a:lnTo>
                      <a:pt x="33" y="75"/>
                    </a:lnTo>
                    <a:lnTo>
                      <a:pt x="35" y="74"/>
                    </a:lnTo>
                    <a:lnTo>
                      <a:pt x="35" y="74"/>
                    </a:lnTo>
                    <a:lnTo>
                      <a:pt x="32" y="75"/>
                    </a:lnTo>
                    <a:lnTo>
                      <a:pt x="29" y="77"/>
                    </a:lnTo>
                    <a:lnTo>
                      <a:pt x="29" y="77"/>
                    </a:lnTo>
                    <a:lnTo>
                      <a:pt x="25" y="78"/>
                    </a:lnTo>
                    <a:lnTo>
                      <a:pt x="25" y="78"/>
                    </a:lnTo>
                    <a:lnTo>
                      <a:pt x="20" y="81"/>
                    </a:lnTo>
                    <a:lnTo>
                      <a:pt x="12" y="82"/>
                    </a:lnTo>
                    <a:lnTo>
                      <a:pt x="12" y="82"/>
                    </a:lnTo>
                    <a:lnTo>
                      <a:pt x="8" y="81"/>
                    </a:lnTo>
                    <a:lnTo>
                      <a:pt x="4" y="79"/>
                    </a:lnTo>
                    <a:lnTo>
                      <a:pt x="2" y="74"/>
                    </a:lnTo>
                    <a:lnTo>
                      <a:pt x="2" y="73"/>
                    </a:lnTo>
                    <a:lnTo>
                      <a:pt x="2" y="73"/>
                    </a:lnTo>
                    <a:lnTo>
                      <a:pt x="0" y="70"/>
                    </a:lnTo>
                    <a:lnTo>
                      <a:pt x="0" y="65"/>
                    </a:lnTo>
                    <a:lnTo>
                      <a:pt x="2" y="62"/>
                    </a:lnTo>
                    <a:lnTo>
                      <a:pt x="2" y="62"/>
                    </a:lnTo>
                    <a:lnTo>
                      <a:pt x="4" y="61"/>
                    </a:lnTo>
                    <a:lnTo>
                      <a:pt x="6" y="59"/>
                    </a:lnTo>
                    <a:lnTo>
                      <a:pt x="6" y="59"/>
                    </a:lnTo>
                    <a:lnTo>
                      <a:pt x="6" y="61"/>
                    </a:lnTo>
                    <a:lnTo>
                      <a:pt x="4" y="63"/>
                    </a:lnTo>
                    <a:lnTo>
                      <a:pt x="10" y="58"/>
                    </a:lnTo>
                    <a:lnTo>
                      <a:pt x="11" y="58"/>
                    </a:lnTo>
                    <a:lnTo>
                      <a:pt x="11" y="58"/>
                    </a:lnTo>
                    <a:lnTo>
                      <a:pt x="13" y="58"/>
                    </a:lnTo>
                    <a:lnTo>
                      <a:pt x="13" y="58"/>
                    </a:lnTo>
                    <a:lnTo>
                      <a:pt x="19" y="58"/>
                    </a:lnTo>
                    <a:lnTo>
                      <a:pt x="19" y="58"/>
                    </a:lnTo>
                    <a:lnTo>
                      <a:pt x="21" y="58"/>
                    </a:lnTo>
                    <a:lnTo>
                      <a:pt x="21" y="58"/>
                    </a:lnTo>
                    <a:lnTo>
                      <a:pt x="24" y="58"/>
                    </a:lnTo>
                    <a:lnTo>
                      <a:pt x="24" y="57"/>
                    </a:lnTo>
                    <a:lnTo>
                      <a:pt x="24" y="57"/>
                    </a:lnTo>
                    <a:lnTo>
                      <a:pt x="23" y="54"/>
                    </a:lnTo>
                    <a:lnTo>
                      <a:pt x="23" y="50"/>
                    </a:lnTo>
                    <a:lnTo>
                      <a:pt x="29" y="45"/>
                    </a:lnTo>
                    <a:lnTo>
                      <a:pt x="29" y="45"/>
                    </a:lnTo>
                    <a:lnTo>
                      <a:pt x="29" y="45"/>
                    </a:lnTo>
                    <a:lnTo>
                      <a:pt x="31" y="45"/>
                    </a:lnTo>
                    <a:lnTo>
                      <a:pt x="31" y="44"/>
                    </a:lnTo>
                    <a:lnTo>
                      <a:pt x="31" y="44"/>
                    </a:lnTo>
                    <a:lnTo>
                      <a:pt x="31" y="44"/>
                    </a:lnTo>
                    <a:lnTo>
                      <a:pt x="32" y="44"/>
                    </a:lnTo>
                    <a:lnTo>
                      <a:pt x="32" y="44"/>
                    </a:lnTo>
                    <a:lnTo>
                      <a:pt x="32" y="44"/>
                    </a:lnTo>
                    <a:lnTo>
                      <a:pt x="35" y="44"/>
                    </a:lnTo>
                    <a:lnTo>
                      <a:pt x="35" y="44"/>
                    </a:lnTo>
                    <a:lnTo>
                      <a:pt x="37" y="44"/>
                    </a:lnTo>
                    <a:lnTo>
                      <a:pt x="37" y="44"/>
                    </a:lnTo>
                    <a:lnTo>
                      <a:pt x="39" y="44"/>
                    </a:lnTo>
                    <a:lnTo>
                      <a:pt x="39" y="44"/>
                    </a:lnTo>
                    <a:lnTo>
                      <a:pt x="37" y="45"/>
                    </a:lnTo>
                    <a:lnTo>
                      <a:pt x="36" y="47"/>
                    </a:lnTo>
                    <a:lnTo>
                      <a:pt x="41" y="42"/>
                    </a:lnTo>
                    <a:lnTo>
                      <a:pt x="44" y="42"/>
                    </a:lnTo>
                    <a:lnTo>
                      <a:pt x="44" y="42"/>
                    </a:lnTo>
                    <a:lnTo>
                      <a:pt x="45" y="42"/>
                    </a:lnTo>
                    <a:lnTo>
                      <a:pt x="45" y="42"/>
                    </a:lnTo>
                    <a:lnTo>
                      <a:pt x="48" y="42"/>
                    </a:lnTo>
                    <a:lnTo>
                      <a:pt x="48" y="42"/>
                    </a:lnTo>
                    <a:lnTo>
                      <a:pt x="49" y="42"/>
                    </a:lnTo>
                    <a:lnTo>
                      <a:pt x="49" y="42"/>
                    </a:lnTo>
                    <a:lnTo>
                      <a:pt x="48" y="44"/>
                    </a:lnTo>
                    <a:lnTo>
                      <a:pt x="45" y="47"/>
                    </a:lnTo>
                    <a:lnTo>
                      <a:pt x="52" y="41"/>
                    </a:lnTo>
                    <a:lnTo>
                      <a:pt x="54" y="41"/>
                    </a:lnTo>
                    <a:lnTo>
                      <a:pt x="54" y="41"/>
                    </a:lnTo>
                    <a:lnTo>
                      <a:pt x="54" y="41"/>
                    </a:lnTo>
                    <a:lnTo>
                      <a:pt x="56" y="41"/>
                    </a:lnTo>
                    <a:lnTo>
                      <a:pt x="56" y="41"/>
                    </a:lnTo>
                    <a:lnTo>
                      <a:pt x="58" y="38"/>
                    </a:lnTo>
                    <a:lnTo>
                      <a:pt x="60" y="38"/>
                    </a:lnTo>
                    <a:lnTo>
                      <a:pt x="60" y="38"/>
                    </a:lnTo>
                    <a:lnTo>
                      <a:pt x="60" y="38"/>
                    </a:lnTo>
                    <a:lnTo>
                      <a:pt x="57" y="33"/>
                    </a:lnTo>
                    <a:lnTo>
                      <a:pt x="57" y="32"/>
                    </a:lnTo>
                    <a:lnTo>
                      <a:pt x="57" y="32"/>
                    </a:lnTo>
                    <a:lnTo>
                      <a:pt x="56" y="29"/>
                    </a:lnTo>
                    <a:lnTo>
                      <a:pt x="56" y="24"/>
                    </a:lnTo>
                    <a:lnTo>
                      <a:pt x="58" y="21"/>
                    </a:lnTo>
                    <a:lnTo>
                      <a:pt x="58" y="21"/>
                    </a:lnTo>
                    <a:lnTo>
                      <a:pt x="62" y="20"/>
                    </a:lnTo>
                    <a:lnTo>
                      <a:pt x="62" y="20"/>
                    </a:lnTo>
                    <a:lnTo>
                      <a:pt x="62" y="18"/>
                    </a:lnTo>
                    <a:lnTo>
                      <a:pt x="62" y="18"/>
                    </a:lnTo>
                    <a:lnTo>
                      <a:pt x="61" y="21"/>
                    </a:lnTo>
                    <a:lnTo>
                      <a:pt x="66" y="16"/>
                    </a:lnTo>
                    <a:lnTo>
                      <a:pt x="68" y="16"/>
                    </a:lnTo>
                    <a:lnTo>
                      <a:pt x="68" y="16"/>
                    </a:lnTo>
                    <a:lnTo>
                      <a:pt x="69" y="16"/>
                    </a:lnTo>
                    <a:lnTo>
                      <a:pt x="69" y="16"/>
                    </a:lnTo>
                    <a:lnTo>
                      <a:pt x="68" y="17"/>
                    </a:lnTo>
                    <a:lnTo>
                      <a:pt x="72" y="14"/>
                    </a:lnTo>
                    <a:lnTo>
                      <a:pt x="72" y="14"/>
                    </a:lnTo>
                    <a:lnTo>
                      <a:pt x="73" y="13"/>
                    </a:lnTo>
                    <a:lnTo>
                      <a:pt x="73" y="13"/>
                    </a:lnTo>
                    <a:lnTo>
                      <a:pt x="77" y="12"/>
                    </a:lnTo>
                    <a:lnTo>
                      <a:pt x="82" y="10"/>
                    </a:lnTo>
                    <a:lnTo>
                      <a:pt x="82" y="10"/>
                    </a:lnTo>
                    <a:lnTo>
                      <a:pt x="82" y="10"/>
                    </a:lnTo>
                    <a:lnTo>
                      <a:pt x="84" y="10"/>
                    </a:lnTo>
                    <a:lnTo>
                      <a:pt x="86" y="8"/>
                    </a:lnTo>
                    <a:lnTo>
                      <a:pt x="86" y="8"/>
                    </a:lnTo>
                    <a:lnTo>
                      <a:pt x="91" y="3"/>
                    </a:lnTo>
                    <a:lnTo>
                      <a:pt x="95" y="0"/>
                    </a:lnTo>
                    <a:lnTo>
                      <a:pt x="101" y="0"/>
                    </a:lnTo>
                    <a:lnTo>
                      <a:pt x="101" y="0"/>
                    </a:lnTo>
                    <a:lnTo>
                      <a:pt x="103" y="0"/>
                    </a:lnTo>
                    <a:lnTo>
                      <a:pt x="106" y="0"/>
                    </a:lnTo>
                    <a:lnTo>
                      <a:pt x="107" y="1"/>
                    </a:lnTo>
                    <a:lnTo>
                      <a:pt x="107" y="1"/>
                    </a:lnTo>
                    <a:lnTo>
                      <a:pt x="109" y="0"/>
                    </a:lnTo>
                    <a:lnTo>
                      <a:pt x="109" y="0"/>
                    </a:lnTo>
                    <a:lnTo>
                      <a:pt x="113" y="1"/>
                    </a:lnTo>
                    <a:lnTo>
                      <a:pt x="115" y="3"/>
                    </a:lnTo>
                    <a:lnTo>
                      <a:pt x="118" y="4"/>
                    </a:lnTo>
                    <a:lnTo>
                      <a:pt x="118" y="4"/>
                    </a:lnTo>
                    <a:lnTo>
                      <a:pt x="118" y="5"/>
                    </a:lnTo>
                    <a:lnTo>
                      <a:pt x="121" y="5"/>
                    </a:lnTo>
                    <a:lnTo>
                      <a:pt x="121" y="5"/>
                    </a:lnTo>
                    <a:lnTo>
                      <a:pt x="121" y="4"/>
                    </a:lnTo>
                    <a:lnTo>
                      <a:pt x="121" y="4"/>
                    </a:lnTo>
                    <a:lnTo>
                      <a:pt x="121" y="5"/>
                    </a:lnTo>
                    <a:lnTo>
                      <a:pt x="126" y="3"/>
                    </a:lnTo>
                    <a:lnTo>
                      <a:pt x="127" y="3"/>
                    </a:lnTo>
                    <a:lnTo>
                      <a:pt x="127" y="3"/>
                    </a:lnTo>
                    <a:lnTo>
                      <a:pt x="127" y="3"/>
                    </a:lnTo>
                    <a:lnTo>
                      <a:pt x="127" y="3"/>
                    </a:lnTo>
                    <a:lnTo>
                      <a:pt x="126" y="3"/>
                    </a:lnTo>
                    <a:lnTo>
                      <a:pt x="131" y="0"/>
                    </a:lnTo>
                    <a:lnTo>
                      <a:pt x="132" y="0"/>
                    </a:lnTo>
                    <a:lnTo>
                      <a:pt x="134" y="0"/>
                    </a:lnTo>
                    <a:lnTo>
                      <a:pt x="134" y="0"/>
                    </a:lnTo>
                    <a:lnTo>
                      <a:pt x="139" y="1"/>
                    </a:lnTo>
                    <a:lnTo>
                      <a:pt x="140" y="4"/>
                    </a:lnTo>
                    <a:lnTo>
                      <a:pt x="142" y="5"/>
                    </a:lnTo>
                    <a:lnTo>
                      <a:pt x="142" y="5"/>
                    </a:lnTo>
                    <a:lnTo>
                      <a:pt x="142" y="9"/>
                    </a:lnTo>
                    <a:lnTo>
                      <a:pt x="140" y="10"/>
                    </a:lnTo>
                    <a:lnTo>
                      <a:pt x="136" y="14"/>
                    </a:lnTo>
                    <a:lnTo>
                      <a:pt x="136" y="14"/>
                    </a:lnTo>
                    <a:lnTo>
                      <a:pt x="135" y="14"/>
                    </a:lnTo>
                    <a:lnTo>
                      <a:pt x="135" y="14"/>
                    </a:lnTo>
                    <a:lnTo>
                      <a:pt x="136" y="12"/>
                    </a:lnTo>
                    <a:lnTo>
                      <a:pt x="132" y="16"/>
                    </a:lnTo>
                    <a:lnTo>
                      <a:pt x="132" y="16"/>
                    </a:lnTo>
                    <a:lnTo>
                      <a:pt x="134" y="18"/>
                    </a:lnTo>
                    <a:lnTo>
                      <a:pt x="134" y="24"/>
                    </a:lnTo>
                    <a:lnTo>
                      <a:pt x="134" y="24"/>
                    </a:lnTo>
                    <a:lnTo>
                      <a:pt x="134" y="26"/>
                    </a:lnTo>
                    <a:lnTo>
                      <a:pt x="134" y="26"/>
                    </a:lnTo>
                    <a:lnTo>
                      <a:pt x="134" y="26"/>
                    </a:lnTo>
                    <a:lnTo>
                      <a:pt x="136" y="26"/>
                    </a:lnTo>
                    <a:lnTo>
                      <a:pt x="136" y="26"/>
                    </a:lnTo>
                    <a:lnTo>
                      <a:pt x="138" y="26"/>
                    </a:lnTo>
                    <a:lnTo>
                      <a:pt x="143" y="29"/>
                    </a:lnTo>
                    <a:lnTo>
                      <a:pt x="143" y="29"/>
                    </a:lnTo>
                    <a:lnTo>
                      <a:pt x="144" y="32"/>
                    </a:lnTo>
                    <a:lnTo>
                      <a:pt x="146" y="36"/>
                    </a:lnTo>
                    <a:lnTo>
                      <a:pt x="146" y="36"/>
                    </a:lnTo>
                    <a:lnTo>
                      <a:pt x="146" y="37"/>
                    </a:lnTo>
                    <a:lnTo>
                      <a:pt x="146" y="37"/>
                    </a:lnTo>
                    <a:lnTo>
                      <a:pt x="146" y="36"/>
                    </a:lnTo>
                    <a:lnTo>
                      <a:pt x="144" y="36"/>
                    </a:lnTo>
                    <a:lnTo>
                      <a:pt x="148" y="41"/>
                    </a:lnTo>
                    <a:lnTo>
                      <a:pt x="148" y="42"/>
                    </a:lnTo>
                    <a:lnTo>
                      <a:pt x="148" y="42"/>
                    </a:lnTo>
                    <a:lnTo>
                      <a:pt x="148" y="44"/>
                    </a:lnTo>
                    <a:lnTo>
                      <a:pt x="150" y="42"/>
                    </a:lnTo>
                    <a:lnTo>
                      <a:pt x="150" y="42"/>
                    </a:lnTo>
                    <a:lnTo>
                      <a:pt x="152" y="42"/>
                    </a:lnTo>
                    <a:lnTo>
                      <a:pt x="152" y="42"/>
                    </a:lnTo>
                    <a:lnTo>
                      <a:pt x="162" y="41"/>
                    </a:lnTo>
                    <a:lnTo>
                      <a:pt x="162" y="41"/>
                    </a:lnTo>
                    <a:lnTo>
                      <a:pt x="167" y="41"/>
                    </a:lnTo>
                    <a:lnTo>
                      <a:pt x="172" y="44"/>
                    </a:lnTo>
                    <a:lnTo>
                      <a:pt x="172" y="45"/>
                    </a:lnTo>
                    <a:lnTo>
                      <a:pt x="172" y="45"/>
                    </a:lnTo>
                    <a:lnTo>
                      <a:pt x="175" y="47"/>
                    </a:lnTo>
                    <a:lnTo>
                      <a:pt x="176" y="49"/>
                    </a:lnTo>
                    <a:lnTo>
                      <a:pt x="177" y="54"/>
                    </a:lnTo>
                    <a:lnTo>
                      <a:pt x="177" y="54"/>
                    </a:lnTo>
                    <a:lnTo>
                      <a:pt x="179" y="55"/>
                    </a:lnTo>
                    <a:lnTo>
                      <a:pt x="179" y="55"/>
                    </a:lnTo>
                    <a:lnTo>
                      <a:pt x="177" y="54"/>
                    </a:lnTo>
                    <a:lnTo>
                      <a:pt x="177" y="54"/>
                    </a:lnTo>
                    <a:lnTo>
                      <a:pt x="181" y="58"/>
                    </a:lnTo>
                    <a:lnTo>
                      <a:pt x="181" y="58"/>
                    </a:lnTo>
                    <a:lnTo>
                      <a:pt x="180" y="55"/>
                    </a:lnTo>
                    <a:lnTo>
                      <a:pt x="179" y="54"/>
                    </a:lnTo>
                    <a:lnTo>
                      <a:pt x="179" y="54"/>
                    </a:lnTo>
                    <a:lnTo>
                      <a:pt x="181" y="55"/>
                    </a:lnTo>
                    <a:lnTo>
                      <a:pt x="183" y="58"/>
                    </a:lnTo>
                    <a:lnTo>
                      <a:pt x="184" y="61"/>
                    </a:lnTo>
                    <a:lnTo>
                      <a:pt x="177" y="67"/>
                    </a:lnTo>
                    <a:lnTo>
                      <a:pt x="177" y="67"/>
                    </a:lnTo>
                    <a:lnTo>
                      <a:pt x="179" y="66"/>
                    </a:lnTo>
                    <a:lnTo>
                      <a:pt x="179" y="66"/>
                    </a:lnTo>
                    <a:lnTo>
                      <a:pt x="177" y="67"/>
                    </a:lnTo>
                    <a:lnTo>
                      <a:pt x="177" y="69"/>
                    </a:lnTo>
                    <a:lnTo>
                      <a:pt x="172" y="71"/>
                    </a:lnTo>
                    <a:lnTo>
                      <a:pt x="167" y="71"/>
                    </a:lnTo>
                    <a:lnTo>
                      <a:pt x="167" y="71"/>
                    </a:lnTo>
                    <a:lnTo>
                      <a:pt x="167" y="71"/>
                    </a:lnTo>
                    <a:lnTo>
                      <a:pt x="167" y="77"/>
                    </a:lnTo>
                    <a:lnTo>
                      <a:pt x="167" y="77"/>
                    </a:lnTo>
                    <a:lnTo>
                      <a:pt x="167" y="85"/>
                    </a:lnTo>
                    <a:lnTo>
                      <a:pt x="167" y="85"/>
                    </a:lnTo>
                    <a:lnTo>
                      <a:pt x="166" y="91"/>
                    </a:lnTo>
                    <a:lnTo>
                      <a:pt x="164" y="96"/>
                    </a:lnTo>
                    <a:lnTo>
                      <a:pt x="163" y="98"/>
                    </a:lnTo>
                    <a:lnTo>
                      <a:pt x="163" y="98"/>
                    </a:lnTo>
                    <a:lnTo>
                      <a:pt x="163" y="96"/>
                    </a:lnTo>
                    <a:lnTo>
                      <a:pt x="163" y="96"/>
                    </a:lnTo>
                    <a:lnTo>
                      <a:pt x="162" y="95"/>
                    </a:lnTo>
                    <a:lnTo>
                      <a:pt x="160" y="94"/>
                    </a:lnTo>
                    <a:lnTo>
                      <a:pt x="158" y="94"/>
                    </a:lnTo>
                    <a:lnTo>
                      <a:pt x="158" y="95"/>
                    </a:lnTo>
                    <a:lnTo>
                      <a:pt x="159" y="94"/>
                    </a:lnTo>
                    <a:lnTo>
                      <a:pt x="159" y="95"/>
                    </a:lnTo>
                    <a:lnTo>
                      <a:pt x="162" y="98"/>
                    </a:lnTo>
                    <a:lnTo>
                      <a:pt x="158" y="99"/>
                    </a:lnTo>
                    <a:lnTo>
                      <a:pt x="158" y="100"/>
                    </a:lnTo>
                    <a:lnTo>
                      <a:pt x="158" y="100"/>
                    </a:lnTo>
                    <a:lnTo>
                      <a:pt x="160" y="99"/>
                    </a:lnTo>
                    <a:lnTo>
                      <a:pt x="163" y="98"/>
                    </a:lnTo>
                    <a:lnTo>
                      <a:pt x="164" y="99"/>
                    </a:lnTo>
                    <a:lnTo>
                      <a:pt x="164" y="102"/>
                    </a:lnTo>
                    <a:lnTo>
                      <a:pt x="164" y="102"/>
                    </a:lnTo>
                    <a:lnTo>
                      <a:pt x="164" y="102"/>
                    </a:lnTo>
                    <a:lnTo>
                      <a:pt x="164" y="102"/>
                    </a:lnTo>
                    <a:lnTo>
                      <a:pt x="168" y="103"/>
                    </a:lnTo>
                    <a:lnTo>
                      <a:pt x="169" y="103"/>
                    </a:lnTo>
                    <a:lnTo>
                      <a:pt x="173" y="106"/>
                    </a:lnTo>
                    <a:lnTo>
                      <a:pt x="173" y="106"/>
                    </a:lnTo>
                    <a:lnTo>
                      <a:pt x="176" y="110"/>
                    </a:lnTo>
                    <a:lnTo>
                      <a:pt x="179" y="112"/>
                    </a:lnTo>
                    <a:lnTo>
                      <a:pt x="179" y="112"/>
                    </a:lnTo>
                    <a:lnTo>
                      <a:pt x="181" y="112"/>
                    </a:lnTo>
                    <a:lnTo>
                      <a:pt x="181" y="112"/>
                    </a:lnTo>
                    <a:lnTo>
                      <a:pt x="183" y="112"/>
                    </a:lnTo>
                    <a:lnTo>
                      <a:pt x="183" y="112"/>
                    </a:lnTo>
                    <a:lnTo>
                      <a:pt x="185" y="112"/>
                    </a:lnTo>
                    <a:lnTo>
                      <a:pt x="185" y="112"/>
                    </a:lnTo>
                    <a:lnTo>
                      <a:pt x="184" y="112"/>
                    </a:lnTo>
                    <a:lnTo>
                      <a:pt x="184" y="115"/>
                    </a:lnTo>
                    <a:lnTo>
                      <a:pt x="188" y="111"/>
                    </a:lnTo>
                    <a:lnTo>
                      <a:pt x="188" y="111"/>
                    </a:lnTo>
                    <a:lnTo>
                      <a:pt x="189" y="111"/>
                    </a:lnTo>
                    <a:lnTo>
                      <a:pt x="189" y="111"/>
                    </a:lnTo>
                    <a:lnTo>
                      <a:pt x="193" y="112"/>
                    </a:lnTo>
                    <a:lnTo>
                      <a:pt x="196" y="115"/>
                    </a:lnTo>
                    <a:lnTo>
                      <a:pt x="196" y="115"/>
                    </a:lnTo>
                    <a:lnTo>
                      <a:pt x="197" y="118"/>
                    </a:lnTo>
                    <a:lnTo>
                      <a:pt x="197" y="119"/>
                    </a:lnTo>
                    <a:lnTo>
                      <a:pt x="196" y="123"/>
                    </a:lnTo>
                    <a:lnTo>
                      <a:pt x="196" y="123"/>
                    </a:lnTo>
                    <a:lnTo>
                      <a:pt x="196" y="123"/>
                    </a:lnTo>
                    <a:lnTo>
                      <a:pt x="196" y="124"/>
                    </a:lnTo>
                    <a:lnTo>
                      <a:pt x="196" y="124"/>
                    </a:lnTo>
                    <a:lnTo>
                      <a:pt x="192" y="131"/>
                    </a:lnTo>
                    <a:lnTo>
                      <a:pt x="192" y="131"/>
                    </a:lnTo>
                    <a:lnTo>
                      <a:pt x="193" y="129"/>
                    </a:lnTo>
                    <a:lnTo>
                      <a:pt x="193" y="129"/>
                    </a:lnTo>
                    <a:lnTo>
                      <a:pt x="192" y="131"/>
                    </a:lnTo>
                    <a:lnTo>
                      <a:pt x="192" y="131"/>
                    </a:lnTo>
                    <a:lnTo>
                      <a:pt x="192" y="132"/>
                    </a:lnTo>
                    <a:lnTo>
                      <a:pt x="195" y="131"/>
                    </a:lnTo>
                    <a:lnTo>
                      <a:pt x="196" y="131"/>
                    </a:lnTo>
                    <a:lnTo>
                      <a:pt x="196" y="131"/>
                    </a:lnTo>
                    <a:lnTo>
                      <a:pt x="197" y="131"/>
                    </a:lnTo>
                    <a:lnTo>
                      <a:pt x="197" y="131"/>
                    </a:lnTo>
                    <a:lnTo>
                      <a:pt x="200" y="131"/>
                    </a:lnTo>
                    <a:lnTo>
                      <a:pt x="203" y="132"/>
                    </a:lnTo>
                    <a:lnTo>
                      <a:pt x="203" y="132"/>
                    </a:lnTo>
                    <a:lnTo>
                      <a:pt x="204" y="136"/>
                    </a:lnTo>
                    <a:lnTo>
                      <a:pt x="204" y="140"/>
                    </a:lnTo>
                    <a:lnTo>
                      <a:pt x="204" y="140"/>
                    </a:lnTo>
                    <a:lnTo>
                      <a:pt x="204" y="140"/>
                    </a:lnTo>
                    <a:lnTo>
                      <a:pt x="207" y="140"/>
                    </a:lnTo>
                    <a:lnTo>
                      <a:pt x="207" y="140"/>
                    </a:lnTo>
                    <a:lnTo>
                      <a:pt x="208" y="140"/>
                    </a:lnTo>
                    <a:lnTo>
                      <a:pt x="210" y="137"/>
                    </a:lnTo>
                    <a:lnTo>
                      <a:pt x="210" y="137"/>
                    </a:lnTo>
                    <a:lnTo>
                      <a:pt x="214" y="135"/>
                    </a:lnTo>
                    <a:lnTo>
                      <a:pt x="217" y="132"/>
                    </a:lnTo>
                    <a:lnTo>
                      <a:pt x="221" y="132"/>
                    </a:lnTo>
                    <a:lnTo>
                      <a:pt x="222" y="132"/>
                    </a:lnTo>
                    <a:lnTo>
                      <a:pt x="225" y="132"/>
                    </a:lnTo>
                    <a:lnTo>
                      <a:pt x="230" y="136"/>
                    </a:lnTo>
                    <a:lnTo>
                      <a:pt x="230" y="136"/>
                    </a:lnTo>
                    <a:lnTo>
                      <a:pt x="229" y="133"/>
                    </a:lnTo>
                    <a:lnTo>
                      <a:pt x="228" y="133"/>
                    </a:lnTo>
                    <a:lnTo>
                      <a:pt x="228" y="133"/>
                    </a:lnTo>
                    <a:lnTo>
                      <a:pt x="228" y="133"/>
                    </a:lnTo>
                    <a:lnTo>
                      <a:pt x="228" y="133"/>
                    </a:lnTo>
                    <a:lnTo>
                      <a:pt x="230" y="133"/>
                    </a:lnTo>
                    <a:lnTo>
                      <a:pt x="230" y="133"/>
                    </a:lnTo>
                    <a:lnTo>
                      <a:pt x="233" y="132"/>
                    </a:lnTo>
                    <a:lnTo>
                      <a:pt x="233" y="132"/>
                    </a:lnTo>
                    <a:lnTo>
                      <a:pt x="236" y="133"/>
                    </a:lnTo>
                    <a:lnTo>
                      <a:pt x="241" y="139"/>
                    </a:lnTo>
                    <a:lnTo>
                      <a:pt x="241" y="139"/>
                    </a:lnTo>
                    <a:lnTo>
                      <a:pt x="241" y="140"/>
                    </a:lnTo>
                    <a:lnTo>
                      <a:pt x="241" y="140"/>
                    </a:lnTo>
                    <a:lnTo>
                      <a:pt x="241" y="140"/>
                    </a:lnTo>
                    <a:lnTo>
                      <a:pt x="251" y="143"/>
                    </a:lnTo>
                    <a:lnTo>
                      <a:pt x="251" y="143"/>
                    </a:lnTo>
                    <a:lnTo>
                      <a:pt x="253" y="143"/>
                    </a:lnTo>
                    <a:lnTo>
                      <a:pt x="253" y="143"/>
                    </a:lnTo>
                    <a:lnTo>
                      <a:pt x="255" y="143"/>
                    </a:lnTo>
                    <a:lnTo>
                      <a:pt x="255" y="143"/>
                    </a:lnTo>
                    <a:lnTo>
                      <a:pt x="257" y="143"/>
                    </a:lnTo>
                    <a:lnTo>
                      <a:pt x="257" y="143"/>
                    </a:lnTo>
                    <a:lnTo>
                      <a:pt x="255" y="144"/>
                    </a:lnTo>
                    <a:lnTo>
                      <a:pt x="254" y="147"/>
                    </a:lnTo>
                    <a:lnTo>
                      <a:pt x="259" y="141"/>
                    </a:lnTo>
                    <a:lnTo>
                      <a:pt x="265" y="141"/>
                    </a:lnTo>
                    <a:lnTo>
                      <a:pt x="270" y="144"/>
                    </a:lnTo>
                    <a:lnTo>
                      <a:pt x="270" y="144"/>
                    </a:lnTo>
                    <a:lnTo>
                      <a:pt x="270" y="144"/>
                    </a:lnTo>
                    <a:lnTo>
                      <a:pt x="270" y="144"/>
                    </a:lnTo>
                    <a:lnTo>
                      <a:pt x="273" y="144"/>
                    </a:lnTo>
                    <a:lnTo>
                      <a:pt x="277" y="144"/>
                    </a:lnTo>
                    <a:lnTo>
                      <a:pt x="279" y="145"/>
                    </a:lnTo>
                    <a:lnTo>
                      <a:pt x="279" y="145"/>
                    </a:lnTo>
                    <a:lnTo>
                      <a:pt x="279" y="145"/>
                    </a:lnTo>
                    <a:lnTo>
                      <a:pt x="279" y="145"/>
                    </a:lnTo>
                    <a:lnTo>
                      <a:pt x="278" y="145"/>
                    </a:lnTo>
                    <a:lnTo>
                      <a:pt x="278" y="145"/>
                    </a:lnTo>
                    <a:lnTo>
                      <a:pt x="278" y="145"/>
                    </a:lnTo>
                    <a:lnTo>
                      <a:pt x="278" y="145"/>
                    </a:lnTo>
                    <a:lnTo>
                      <a:pt x="278" y="147"/>
                    </a:lnTo>
                    <a:lnTo>
                      <a:pt x="279" y="145"/>
                    </a:lnTo>
                    <a:lnTo>
                      <a:pt x="282" y="147"/>
                    </a:lnTo>
                    <a:lnTo>
                      <a:pt x="282" y="147"/>
                    </a:lnTo>
                    <a:lnTo>
                      <a:pt x="279" y="145"/>
                    </a:lnTo>
                    <a:lnTo>
                      <a:pt x="283" y="141"/>
                    </a:lnTo>
                    <a:lnTo>
                      <a:pt x="285" y="141"/>
                    </a:lnTo>
                    <a:lnTo>
                      <a:pt x="285" y="141"/>
                    </a:lnTo>
                    <a:lnTo>
                      <a:pt x="287" y="141"/>
                    </a:lnTo>
                    <a:lnTo>
                      <a:pt x="287" y="141"/>
                    </a:lnTo>
                    <a:lnTo>
                      <a:pt x="285" y="143"/>
                    </a:lnTo>
                    <a:lnTo>
                      <a:pt x="283" y="145"/>
                    </a:lnTo>
                    <a:lnTo>
                      <a:pt x="288" y="140"/>
                    </a:lnTo>
                    <a:lnTo>
                      <a:pt x="291" y="140"/>
                    </a:lnTo>
                    <a:lnTo>
                      <a:pt x="295" y="141"/>
                    </a:lnTo>
                    <a:lnTo>
                      <a:pt x="295" y="141"/>
                    </a:lnTo>
                    <a:lnTo>
                      <a:pt x="303" y="141"/>
                    </a:lnTo>
                    <a:lnTo>
                      <a:pt x="303" y="141"/>
                    </a:lnTo>
                    <a:lnTo>
                      <a:pt x="307" y="140"/>
                    </a:lnTo>
                    <a:lnTo>
                      <a:pt x="310" y="139"/>
                    </a:lnTo>
                    <a:lnTo>
                      <a:pt x="311" y="137"/>
                    </a:lnTo>
                    <a:lnTo>
                      <a:pt x="311" y="137"/>
                    </a:lnTo>
                    <a:lnTo>
                      <a:pt x="314" y="136"/>
                    </a:lnTo>
                    <a:lnTo>
                      <a:pt x="318" y="135"/>
                    </a:lnTo>
                    <a:lnTo>
                      <a:pt x="318" y="135"/>
                    </a:lnTo>
                    <a:lnTo>
                      <a:pt x="320" y="135"/>
                    </a:lnTo>
                    <a:lnTo>
                      <a:pt x="320" y="135"/>
                    </a:lnTo>
                    <a:lnTo>
                      <a:pt x="323" y="136"/>
                    </a:lnTo>
                    <a:lnTo>
                      <a:pt x="326" y="136"/>
                    </a:lnTo>
                    <a:lnTo>
                      <a:pt x="326" y="136"/>
                    </a:lnTo>
                    <a:lnTo>
                      <a:pt x="327" y="136"/>
                    </a:lnTo>
                    <a:lnTo>
                      <a:pt x="327" y="136"/>
                    </a:lnTo>
                    <a:lnTo>
                      <a:pt x="328" y="136"/>
                    </a:lnTo>
                    <a:lnTo>
                      <a:pt x="328" y="136"/>
                    </a:lnTo>
                    <a:lnTo>
                      <a:pt x="332" y="137"/>
                    </a:lnTo>
                    <a:lnTo>
                      <a:pt x="333" y="137"/>
                    </a:lnTo>
                    <a:lnTo>
                      <a:pt x="336" y="139"/>
                    </a:lnTo>
                    <a:lnTo>
                      <a:pt x="336" y="140"/>
                    </a:lnTo>
                    <a:lnTo>
                      <a:pt x="336" y="140"/>
                    </a:lnTo>
                    <a:lnTo>
                      <a:pt x="340" y="141"/>
                    </a:lnTo>
                    <a:lnTo>
                      <a:pt x="343" y="143"/>
                    </a:lnTo>
                    <a:lnTo>
                      <a:pt x="343" y="143"/>
                    </a:lnTo>
                    <a:lnTo>
                      <a:pt x="343" y="143"/>
                    </a:lnTo>
                    <a:lnTo>
                      <a:pt x="343" y="143"/>
                    </a:lnTo>
                    <a:lnTo>
                      <a:pt x="343" y="141"/>
                    </a:lnTo>
                    <a:lnTo>
                      <a:pt x="343" y="141"/>
                    </a:lnTo>
                    <a:lnTo>
                      <a:pt x="347" y="137"/>
                    </a:lnTo>
                    <a:lnTo>
                      <a:pt x="347" y="137"/>
                    </a:lnTo>
                    <a:lnTo>
                      <a:pt x="347" y="136"/>
                    </a:lnTo>
                    <a:lnTo>
                      <a:pt x="352" y="133"/>
                    </a:lnTo>
                    <a:lnTo>
                      <a:pt x="355" y="133"/>
                    </a:lnTo>
                    <a:lnTo>
                      <a:pt x="359" y="135"/>
                    </a:lnTo>
                    <a:lnTo>
                      <a:pt x="359" y="135"/>
                    </a:lnTo>
                    <a:lnTo>
                      <a:pt x="361" y="139"/>
                    </a:lnTo>
                    <a:lnTo>
                      <a:pt x="361" y="139"/>
                    </a:lnTo>
                    <a:lnTo>
                      <a:pt x="365" y="137"/>
                    </a:lnTo>
                    <a:lnTo>
                      <a:pt x="365" y="137"/>
                    </a:lnTo>
                    <a:lnTo>
                      <a:pt x="366" y="137"/>
                    </a:lnTo>
                    <a:lnTo>
                      <a:pt x="366" y="137"/>
                    </a:lnTo>
                    <a:lnTo>
                      <a:pt x="369" y="136"/>
                    </a:lnTo>
                    <a:lnTo>
                      <a:pt x="372" y="132"/>
                    </a:lnTo>
                    <a:lnTo>
                      <a:pt x="372" y="132"/>
                    </a:lnTo>
                    <a:lnTo>
                      <a:pt x="374" y="129"/>
                    </a:lnTo>
                    <a:lnTo>
                      <a:pt x="380" y="127"/>
                    </a:lnTo>
                    <a:lnTo>
                      <a:pt x="389" y="127"/>
                    </a:lnTo>
                    <a:lnTo>
                      <a:pt x="394" y="128"/>
                    </a:lnTo>
                    <a:lnTo>
                      <a:pt x="394" y="128"/>
                    </a:lnTo>
                    <a:lnTo>
                      <a:pt x="393" y="128"/>
                    </a:lnTo>
                    <a:lnTo>
                      <a:pt x="393" y="128"/>
                    </a:lnTo>
                    <a:lnTo>
                      <a:pt x="394" y="128"/>
                    </a:lnTo>
                    <a:lnTo>
                      <a:pt x="394" y="128"/>
                    </a:lnTo>
                    <a:lnTo>
                      <a:pt x="398" y="129"/>
                    </a:lnTo>
                    <a:lnTo>
                      <a:pt x="401" y="132"/>
                    </a:lnTo>
                    <a:lnTo>
                      <a:pt x="401" y="132"/>
                    </a:lnTo>
                    <a:lnTo>
                      <a:pt x="401" y="132"/>
                    </a:lnTo>
                    <a:lnTo>
                      <a:pt x="405" y="135"/>
                    </a:lnTo>
                    <a:lnTo>
                      <a:pt x="405" y="135"/>
                    </a:lnTo>
                    <a:lnTo>
                      <a:pt x="405" y="135"/>
                    </a:lnTo>
                    <a:lnTo>
                      <a:pt x="405" y="135"/>
                    </a:lnTo>
                    <a:lnTo>
                      <a:pt x="404" y="135"/>
                    </a:lnTo>
                    <a:lnTo>
                      <a:pt x="404" y="135"/>
                    </a:lnTo>
                    <a:lnTo>
                      <a:pt x="405" y="135"/>
                    </a:lnTo>
                    <a:lnTo>
                      <a:pt x="405" y="135"/>
                    </a:lnTo>
                    <a:lnTo>
                      <a:pt x="405" y="135"/>
                    </a:lnTo>
                    <a:lnTo>
                      <a:pt x="405" y="135"/>
                    </a:lnTo>
                    <a:lnTo>
                      <a:pt x="410" y="132"/>
                    </a:lnTo>
                    <a:lnTo>
                      <a:pt x="414" y="128"/>
                    </a:lnTo>
                    <a:lnTo>
                      <a:pt x="422" y="119"/>
                    </a:lnTo>
                    <a:lnTo>
                      <a:pt x="422" y="119"/>
                    </a:lnTo>
                    <a:lnTo>
                      <a:pt x="431" y="107"/>
                    </a:lnTo>
                    <a:lnTo>
                      <a:pt x="437" y="106"/>
                    </a:lnTo>
                    <a:lnTo>
                      <a:pt x="437" y="106"/>
                    </a:lnTo>
                    <a:lnTo>
                      <a:pt x="442" y="107"/>
                    </a:lnTo>
                    <a:lnTo>
                      <a:pt x="446" y="111"/>
                    </a:lnTo>
                    <a:lnTo>
                      <a:pt x="450" y="114"/>
                    </a:lnTo>
                    <a:lnTo>
                      <a:pt x="452" y="119"/>
                    </a:lnTo>
                    <a:lnTo>
                      <a:pt x="452" y="119"/>
                    </a:lnTo>
                    <a:lnTo>
                      <a:pt x="452" y="119"/>
                    </a:lnTo>
                    <a:lnTo>
                      <a:pt x="451" y="119"/>
                    </a:lnTo>
                    <a:lnTo>
                      <a:pt x="451" y="119"/>
                    </a:lnTo>
                    <a:lnTo>
                      <a:pt x="450" y="116"/>
                    </a:lnTo>
                    <a:lnTo>
                      <a:pt x="448" y="116"/>
                    </a:lnTo>
                    <a:lnTo>
                      <a:pt x="452" y="120"/>
                    </a:lnTo>
                    <a:lnTo>
                      <a:pt x="452" y="123"/>
                    </a:lnTo>
                    <a:lnTo>
                      <a:pt x="452" y="123"/>
                    </a:lnTo>
                    <a:lnTo>
                      <a:pt x="452" y="120"/>
                    </a:lnTo>
                    <a:lnTo>
                      <a:pt x="454" y="123"/>
                    </a:lnTo>
                    <a:lnTo>
                      <a:pt x="454" y="124"/>
                    </a:lnTo>
                    <a:lnTo>
                      <a:pt x="454" y="124"/>
                    </a:lnTo>
                    <a:lnTo>
                      <a:pt x="454" y="127"/>
                    </a:lnTo>
                    <a:lnTo>
                      <a:pt x="452" y="128"/>
                    </a:lnTo>
                    <a:lnTo>
                      <a:pt x="452" y="132"/>
                    </a:lnTo>
                    <a:lnTo>
                      <a:pt x="452" y="132"/>
                    </a:lnTo>
                    <a:lnTo>
                      <a:pt x="452" y="133"/>
                    </a:lnTo>
                    <a:lnTo>
                      <a:pt x="452" y="133"/>
                    </a:lnTo>
                    <a:lnTo>
                      <a:pt x="454" y="136"/>
                    </a:lnTo>
                    <a:lnTo>
                      <a:pt x="454" y="136"/>
                    </a:lnTo>
                    <a:lnTo>
                      <a:pt x="456" y="137"/>
                    </a:lnTo>
                    <a:lnTo>
                      <a:pt x="456" y="137"/>
                    </a:lnTo>
                    <a:lnTo>
                      <a:pt x="459" y="137"/>
                    </a:lnTo>
                    <a:lnTo>
                      <a:pt x="459" y="137"/>
                    </a:lnTo>
                    <a:lnTo>
                      <a:pt x="460" y="137"/>
                    </a:lnTo>
                    <a:lnTo>
                      <a:pt x="466" y="143"/>
                    </a:lnTo>
                    <a:lnTo>
                      <a:pt x="466" y="143"/>
                    </a:lnTo>
                    <a:lnTo>
                      <a:pt x="466" y="148"/>
                    </a:lnTo>
                    <a:lnTo>
                      <a:pt x="464" y="151"/>
                    </a:lnTo>
                    <a:lnTo>
                      <a:pt x="464" y="151"/>
                    </a:lnTo>
                    <a:lnTo>
                      <a:pt x="464" y="153"/>
                    </a:lnTo>
                    <a:lnTo>
                      <a:pt x="459" y="157"/>
                    </a:lnTo>
                    <a:lnTo>
                      <a:pt x="459" y="157"/>
                    </a:lnTo>
                    <a:lnTo>
                      <a:pt x="458" y="156"/>
                    </a:lnTo>
                    <a:lnTo>
                      <a:pt x="458" y="157"/>
                    </a:lnTo>
                    <a:lnTo>
                      <a:pt x="459" y="159"/>
                    </a:lnTo>
                    <a:lnTo>
                      <a:pt x="458" y="159"/>
                    </a:lnTo>
                    <a:lnTo>
                      <a:pt x="458" y="160"/>
                    </a:lnTo>
                    <a:lnTo>
                      <a:pt x="456" y="160"/>
                    </a:lnTo>
                    <a:lnTo>
                      <a:pt x="456" y="161"/>
                    </a:lnTo>
                    <a:lnTo>
                      <a:pt x="456" y="161"/>
                    </a:lnTo>
                    <a:lnTo>
                      <a:pt x="459" y="161"/>
                    </a:lnTo>
                    <a:lnTo>
                      <a:pt x="460" y="160"/>
                    </a:lnTo>
                    <a:lnTo>
                      <a:pt x="460" y="160"/>
                    </a:lnTo>
                    <a:lnTo>
                      <a:pt x="460" y="160"/>
                    </a:lnTo>
                    <a:lnTo>
                      <a:pt x="462" y="161"/>
                    </a:lnTo>
                    <a:lnTo>
                      <a:pt x="462" y="161"/>
                    </a:lnTo>
                    <a:lnTo>
                      <a:pt x="463" y="164"/>
                    </a:lnTo>
                    <a:lnTo>
                      <a:pt x="466" y="166"/>
                    </a:lnTo>
                    <a:lnTo>
                      <a:pt x="466" y="166"/>
                    </a:lnTo>
                    <a:lnTo>
                      <a:pt x="466" y="166"/>
                    </a:lnTo>
                    <a:lnTo>
                      <a:pt x="466" y="166"/>
                    </a:lnTo>
                    <a:lnTo>
                      <a:pt x="466" y="166"/>
                    </a:lnTo>
                    <a:lnTo>
                      <a:pt x="466" y="166"/>
                    </a:lnTo>
                    <a:lnTo>
                      <a:pt x="466" y="166"/>
                    </a:lnTo>
                    <a:lnTo>
                      <a:pt x="466" y="166"/>
                    </a:lnTo>
                    <a:lnTo>
                      <a:pt x="470" y="164"/>
                    </a:lnTo>
                    <a:lnTo>
                      <a:pt x="472" y="163"/>
                    </a:lnTo>
                    <a:lnTo>
                      <a:pt x="472" y="163"/>
                    </a:lnTo>
                    <a:lnTo>
                      <a:pt x="474" y="164"/>
                    </a:lnTo>
                    <a:lnTo>
                      <a:pt x="474" y="164"/>
                    </a:lnTo>
                    <a:lnTo>
                      <a:pt x="474" y="164"/>
                    </a:lnTo>
                    <a:lnTo>
                      <a:pt x="474" y="164"/>
                    </a:lnTo>
                    <a:lnTo>
                      <a:pt x="478" y="164"/>
                    </a:lnTo>
                    <a:lnTo>
                      <a:pt x="479" y="165"/>
                    </a:lnTo>
                    <a:lnTo>
                      <a:pt x="482" y="168"/>
                    </a:lnTo>
                    <a:lnTo>
                      <a:pt x="482" y="168"/>
                    </a:lnTo>
                    <a:lnTo>
                      <a:pt x="482" y="168"/>
                    </a:lnTo>
                    <a:lnTo>
                      <a:pt x="482" y="168"/>
                    </a:lnTo>
                    <a:lnTo>
                      <a:pt x="480" y="166"/>
                    </a:lnTo>
                    <a:lnTo>
                      <a:pt x="484" y="170"/>
                    </a:lnTo>
                    <a:lnTo>
                      <a:pt x="484" y="170"/>
                    </a:lnTo>
                    <a:lnTo>
                      <a:pt x="484" y="170"/>
                    </a:lnTo>
                    <a:lnTo>
                      <a:pt x="485" y="173"/>
                    </a:lnTo>
                    <a:lnTo>
                      <a:pt x="485" y="173"/>
                    </a:lnTo>
                    <a:lnTo>
                      <a:pt x="487" y="174"/>
                    </a:lnTo>
                    <a:lnTo>
                      <a:pt x="487" y="174"/>
                    </a:lnTo>
                    <a:lnTo>
                      <a:pt x="492" y="168"/>
                    </a:lnTo>
                    <a:lnTo>
                      <a:pt x="492" y="168"/>
                    </a:lnTo>
                    <a:lnTo>
                      <a:pt x="496" y="163"/>
                    </a:lnTo>
                    <a:lnTo>
                      <a:pt x="501" y="159"/>
                    </a:lnTo>
                    <a:lnTo>
                      <a:pt x="501" y="159"/>
                    </a:lnTo>
                    <a:lnTo>
                      <a:pt x="501" y="159"/>
                    </a:lnTo>
                    <a:lnTo>
                      <a:pt x="500" y="156"/>
                    </a:lnTo>
                    <a:lnTo>
                      <a:pt x="499" y="152"/>
                    </a:lnTo>
                    <a:lnTo>
                      <a:pt x="499" y="148"/>
                    </a:lnTo>
                    <a:lnTo>
                      <a:pt x="501" y="144"/>
                    </a:lnTo>
                    <a:lnTo>
                      <a:pt x="501" y="144"/>
                    </a:lnTo>
                    <a:lnTo>
                      <a:pt x="503" y="141"/>
                    </a:lnTo>
                    <a:lnTo>
                      <a:pt x="507" y="140"/>
                    </a:lnTo>
                    <a:lnTo>
                      <a:pt x="507" y="140"/>
                    </a:lnTo>
                    <a:lnTo>
                      <a:pt x="509" y="141"/>
                    </a:lnTo>
                    <a:lnTo>
                      <a:pt x="512" y="143"/>
                    </a:lnTo>
                    <a:lnTo>
                      <a:pt x="513" y="147"/>
                    </a:lnTo>
                    <a:lnTo>
                      <a:pt x="513" y="147"/>
                    </a:lnTo>
                    <a:lnTo>
                      <a:pt x="512" y="145"/>
                    </a:lnTo>
                    <a:lnTo>
                      <a:pt x="511" y="144"/>
                    </a:lnTo>
                    <a:lnTo>
                      <a:pt x="511" y="145"/>
                    </a:lnTo>
                    <a:lnTo>
                      <a:pt x="511" y="145"/>
                    </a:lnTo>
                    <a:lnTo>
                      <a:pt x="511" y="145"/>
                    </a:lnTo>
                    <a:lnTo>
                      <a:pt x="512" y="147"/>
                    </a:lnTo>
                    <a:lnTo>
                      <a:pt x="515" y="152"/>
                    </a:lnTo>
                    <a:lnTo>
                      <a:pt x="515" y="152"/>
                    </a:lnTo>
                    <a:lnTo>
                      <a:pt x="515" y="151"/>
                    </a:lnTo>
                    <a:lnTo>
                      <a:pt x="516" y="152"/>
                    </a:lnTo>
                    <a:lnTo>
                      <a:pt x="516" y="155"/>
                    </a:lnTo>
                    <a:lnTo>
                      <a:pt x="516" y="155"/>
                    </a:lnTo>
                    <a:lnTo>
                      <a:pt x="517" y="159"/>
                    </a:lnTo>
                    <a:lnTo>
                      <a:pt x="517" y="159"/>
                    </a:lnTo>
                    <a:lnTo>
                      <a:pt x="521" y="164"/>
                    </a:lnTo>
                    <a:lnTo>
                      <a:pt x="523" y="166"/>
                    </a:lnTo>
                    <a:lnTo>
                      <a:pt x="523" y="166"/>
                    </a:lnTo>
                    <a:lnTo>
                      <a:pt x="521" y="165"/>
                    </a:lnTo>
                    <a:lnTo>
                      <a:pt x="521" y="165"/>
                    </a:lnTo>
                    <a:lnTo>
                      <a:pt x="524" y="168"/>
                    </a:lnTo>
                    <a:lnTo>
                      <a:pt x="524" y="168"/>
                    </a:lnTo>
                    <a:lnTo>
                      <a:pt x="524" y="168"/>
                    </a:lnTo>
                    <a:lnTo>
                      <a:pt x="526" y="170"/>
                    </a:lnTo>
                    <a:lnTo>
                      <a:pt x="526" y="170"/>
                    </a:lnTo>
                    <a:lnTo>
                      <a:pt x="528" y="172"/>
                    </a:lnTo>
                    <a:lnTo>
                      <a:pt x="528" y="172"/>
                    </a:lnTo>
                    <a:lnTo>
                      <a:pt x="530" y="170"/>
                    </a:lnTo>
                    <a:lnTo>
                      <a:pt x="534" y="169"/>
                    </a:lnTo>
                    <a:lnTo>
                      <a:pt x="534" y="169"/>
                    </a:lnTo>
                    <a:lnTo>
                      <a:pt x="537" y="170"/>
                    </a:lnTo>
                    <a:lnTo>
                      <a:pt x="540" y="172"/>
                    </a:lnTo>
                    <a:lnTo>
                      <a:pt x="540" y="172"/>
                    </a:lnTo>
                    <a:lnTo>
                      <a:pt x="541" y="176"/>
                    </a:lnTo>
                    <a:lnTo>
                      <a:pt x="541" y="180"/>
                    </a:lnTo>
                    <a:lnTo>
                      <a:pt x="541" y="180"/>
                    </a:lnTo>
                    <a:lnTo>
                      <a:pt x="540" y="184"/>
                    </a:lnTo>
                    <a:lnTo>
                      <a:pt x="540" y="184"/>
                    </a:lnTo>
                    <a:lnTo>
                      <a:pt x="538" y="185"/>
                    </a:lnTo>
                    <a:lnTo>
                      <a:pt x="538" y="185"/>
                    </a:lnTo>
                    <a:lnTo>
                      <a:pt x="538" y="185"/>
                    </a:lnTo>
                    <a:lnTo>
                      <a:pt x="538" y="185"/>
                    </a:lnTo>
                    <a:lnTo>
                      <a:pt x="534" y="190"/>
                    </a:lnTo>
                    <a:lnTo>
                      <a:pt x="534" y="190"/>
                    </a:lnTo>
                    <a:lnTo>
                      <a:pt x="536" y="190"/>
                    </a:lnTo>
                    <a:lnTo>
                      <a:pt x="536" y="190"/>
                    </a:lnTo>
                    <a:lnTo>
                      <a:pt x="536" y="192"/>
                    </a:lnTo>
                    <a:lnTo>
                      <a:pt x="536" y="192"/>
                    </a:lnTo>
                    <a:lnTo>
                      <a:pt x="536" y="192"/>
                    </a:lnTo>
                    <a:lnTo>
                      <a:pt x="536" y="192"/>
                    </a:lnTo>
                    <a:lnTo>
                      <a:pt x="537" y="196"/>
                    </a:lnTo>
                    <a:lnTo>
                      <a:pt x="537" y="196"/>
                    </a:lnTo>
                    <a:lnTo>
                      <a:pt x="537" y="196"/>
                    </a:lnTo>
                    <a:lnTo>
                      <a:pt x="537" y="196"/>
                    </a:lnTo>
                    <a:lnTo>
                      <a:pt x="538" y="196"/>
                    </a:lnTo>
                    <a:lnTo>
                      <a:pt x="540" y="196"/>
                    </a:lnTo>
                    <a:lnTo>
                      <a:pt x="545" y="196"/>
                    </a:lnTo>
                    <a:lnTo>
                      <a:pt x="552" y="202"/>
                    </a:lnTo>
                    <a:lnTo>
                      <a:pt x="552" y="202"/>
                    </a:lnTo>
                    <a:lnTo>
                      <a:pt x="552" y="201"/>
                    </a:lnTo>
                    <a:lnTo>
                      <a:pt x="552" y="201"/>
                    </a:lnTo>
                    <a:lnTo>
                      <a:pt x="553" y="205"/>
                    </a:lnTo>
                    <a:lnTo>
                      <a:pt x="553" y="209"/>
                    </a:lnTo>
                    <a:lnTo>
                      <a:pt x="553" y="209"/>
                    </a:lnTo>
                    <a:lnTo>
                      <a:pt x="554" y="211"/>
                    </a:lnTo>
                    <a:lnTo>
                      <a:pt x="557" y="215"/>
                    </a:lnTo>
                    <a:lnTo>
                      <a:pt x="557" y="215"/>
                    </a:lnTo>
                    <a:lnTo>
                      <a:pt x="557" y="219"/>
                    </a:lnTo>
                    <a:lnTo>
                      <a:pt x="556" y="221"/>
                    </a:lnTo>
                    <a:lnTo>
                      <a:pt x="553" y="225"/>
                    </a:lnTo>
                    <a:lnTo>
                      <a:pt x="553" y="225"/>
                    </a:lnTo>
                    <a:lnTo>
                      <a:pt x="554" y="226"/>
                    </a:lnTo>
                    <a:lnTo>
                      <a:pt x="554" y="226"/>
                    </a:lnTo>
                    <a:lnTo>
                      <a:pt x="554" y="225"/>
                    </a:lnTo>
                    <a:lnTo>
                      <a:pt x="554" y="225"/>
                    </a:lnTo>
                    <a:lnTo>
                      <a:pt x="554" y="226"/>
                    </a:lnTo>
                    <a:lnTo>
                      <a:pt x="556" y="226"/>
                    </a:lnTo>
                    <a:lnTo>
                      <a:pt x="561" y="227"/>
                    </a:lnTo>
                    <a:lnTo>
                      <a:pt x="561" y="227"/>
                    </a:lnTo>
                    <a:lnTo>
                      <a:pt x="562" y="230"/>
                    </a:lnTo>
                    <a:lnTo>
                      <a:pt x="562" y="234"/>
                    </a:lnTo>
                    <a:lnTo>
                      <a:pt x="562" y="237"/>
                    </a:lnTo>
                    <a:lnTo>
                      <a:pt x="561" y="239"/>
                    </a:lnTo>
                    <a:lnTo>
                      <a:pt x="561" y="239"/>
                    </a:lnTo>
                    <a:lnTo>
                      <a:pt x="560" y="242"/>
                    </a:lnTo>
                    <a:lnTo>
                      <a:pt x="557" y="244"/>
                    </a:lnTo>
                    <a:lnTo>
                      <a:pt x="553" y="246"/>
                    </a:lnTo>
                    <a:lnTo>
                      <a:pt x="550" y="246"/>
                    </a:lnTo>
                    <a:lnTo>
                      <a:pt x="550" y="246"/>
                    </a:lnTo>
                    <a:lnTo>
                      <a:pt x="549" y="246"/>
                    </a:lnTo>
                    <a:lnTo>
                      <a:pt x="549" y="246"/>
                    </a:lnTo>
                    <a:lnTo>
                      <a:pt x="549" y="246"/>
                    </a:lnTo>
                    <a:lnTo>
                      <a:pt x="546" y="247"/>
                    </a:lnTo>
                    <a:lnTo>
                      <a:pt x="545" y="250"/>
                    </a:lnTo>
                    <a:lnTo>
                      <a:pt x="545" y="250"/>
                    </a:lnTo>
                    <a:lnTo>
                      <a:pt x="542" y="252"/>
                    </a:lnTo>
                    <a:lnTo>
                      <a:pt x="541" y="255"/>
                    </a:lnTo>
                    <a:lnTo>
                      <a:pt x="541" y="255"/>
                    </a:lnTo>
                    <a:lnTo>
                      <a:pt x="537" y="256"/>
                    </a:lnTo>
                    <a:lnTo>
                      <a:pt x="537" y="256"/>
                    </a:lnTo>
                    <a:lnTo>
                      <a:pt x="533" y="256"/>
                    </a:lnTo>
                    <a:lnTo>
                      <a:pt x="530" y="255"/>
                    </a:lnTo>
                    <a:lnTo>
                      <a:pt x="528" y="250"/>
                    </a:lnTo>
                    <a:lnTo>
                      <a:pt x="528" y="250"/>
                    </a:lnTo>
                    <a:lnTo>
                      <a:pt x="526" y="248"/>
                    </a:lnTo>
                    <a:lnTo>
                      <a:pt x="525" y="248"/>
                    </a:lnTo>
                    <a:lnTo>
                      <a:pt x="525" y="248"/>
                    </a:lnTo>
                    <a:lnTo>
                      <a:pt x="521" y="252"/>
                    </a:lnTo>
                    <a:lnTo>
                      <a:pt x="521" y="252"/>
                    </a:lnTo>
                    <a:lnTo>
                      <a:pt x="521" y="254"/>
                    </a:lnTo>
                    <a:lnTo>
                      <a:pt x="521" y="254"/>
                    </a:lnTo>
                    <a:lnTo>
                      <a:pt x="523" y="256"/>
                    </a:lnTo>
                    <a:lnTo>
                      <a:pt x="523" y="260"/>
                    </a:lnTo>
                    <a:lnTo>
                      <a:pt x="516" y="266"/>
                    </a:lnTo>
                    <a:lnTo>
                      <a:pt x="513" y="266"/>
                    </a:lnTo>
                    <a:lnTo>
                      <a:pt x="513" y="266"/>
                    </a:lnTo>
                    <a:lnTo>
                      <a:pt x="513" y="266"/>
                    </a:lnTo>
                    <a:lnTo>
                      <a:pt x="513" y="268"/>
                    </a:lnTo>
                    <a:lnTo>
                      <a:pt x="511" y="272"/>
                    </a:lnTo>
                    <a:lnTo>
                      <a:pt x="511" y="272"/>
                    </a:lnTo>
                    <a:lnTo>
                      <a:pt x="511" y="272"/>
                    </a:lnTo>
                    <a:lnTo>
                      <a:pt x="505" y="279"/>
                    </a:lnTo>
                    <a:lnTo>
                      <a:pt x="505" y="279"/>
                    </a:lnTo>
                    <a:lnTo>
                      <a:pt x="497" y="287"/>
                    </a:lnTo>
                    <a:lnTo>
                      <a:pt x="493" y="288"/>
                    </a:lnTo>
                    <a:lnTo>
                      <a:pt x="484" y="288"/>
                    </a:lnTo>
                    <a:lnTo>
                      <a:pt x="479" y="284"/>
                    </a:lnTo>
                    <a:lnTo>
                      <a:pt x="479" y="285"/>
                    </a:lnTo>
                    <a:lnTo>
                      <a:pt x="479" y="285"/>
                    </a:lnTo>
                    <a:lnTo>
                      <a:pt x="483" y="287"/>
                    </a:lnTo>
                    <a:lnTo>
                      <a:pt x="480" y="287"/>
                    </a:lnTo>
                    <a:lnTo>
                      <a:pt x="480" y="287"/>
                    </a:lnTo>
                    <a:lnTo>
                      <a:pt x="479" y="287"/>
                    </a:lnTo>
                    <a:lnTo>
                      <a:pt x="478" y="287"/>
                    </a:lnTo>
                    <a:lnTo>
                      <a:pt x="478" y="287"/>
                    </a:lnTo>
                    <a:lnTo>
                      <a:pt x="475" y="291"/>
                    </a:lnTo>
                    <a:lnTo>
                      <a:pt x="475" y="291"/>
                    </a:lnTo>
                    <a:lnTo>
                      <a:pt x="474" y="293"/>
                    </a:lnTo>
                    <a:lnTo>
                      <a:pt x="464" y="295"/>
                    </a:lnTo>
                    <a:lnTo>
                      <a:pt x="464" y="295"/>
                    </a:lnTo>
                    <a:lnTo>
                      <a:pt x="458" y="289"/>
                    </a:lnTo>
                    <a:lnTo>
                      <a:pt x="458" y="289"/>
                    </a:lnTo>
                    <a:lnTo>
                      <a:pt x="455" y="287"/>
                    </a:lnTo>
                    <a:lnTo>
                      <a:pt x="454" y="283"/>
                    </a:lnTo>
                    <a:lnTo>
                      <a:pt x="454" y="283"/>
                    </a:lnTo>
                    <a:lnTo>
                      <a:pt x="454" y="279"/>
                    </a:lnTo>
                    <a:lnTo>
                      <a:pt x="455" y="276"/>
                    </a:lnTo>
                    <a:lnTo>
                      <a:pt x="458" y="272"/>
                    </a:lnTo>
                    <a:lnTo>
                      <a:pt x="458" y="272"/>
                    </a:lnTo>
                    <a:lnTo>
                      <a:pt x="459" y="270"/>
                    </a:lnTo>
                    <a:lnTo>
                      <a:pt x="459" y="270"/>
                    </a:lnTo>
                    <a:lnTo>
                      <a:pt x="454" y="267"/>
                    </a:lnTo>
                    <a:lnTo>
                      <a:pt x="454" y="267"/>
                    </a:lnTo>
                    <a:lnTo>
                      <a:pt x="452" y="267"/>
                    </a:lnTo>
                    <a:lnTo>
                      <a:pt x="451" y="264"/>
                    </a:lnTo>
                    <a:lnTo>
                      <a:pt x="451" y="264"/>
                    </a:lnTo>
                    <a:lnTo>
                      <a:pt x="451" y="264"/>
                    </a:lnTo>
                    <a:lnTo>
                      <a:pt x="450" y="266"/>
                    </a:lnTo>
                    <a:lnTo>
                      <a:pt x="450" y="266"/>
                    </a:lnTo>
                    <a:lnTo>
                      <a:pt x="451" y="264"/>
                    </a:lnTo>
                    <a:lnTo>
                      <a:pt x="450" y="264"/>
                    </a:lnTo>
                    <a:lnTo>
                      <a:pt x="447" y="268"/>
                    </a:lnTo>
                    <a:lnTo>
                      <a:pt x="447" y="268"/>
                    </a:lnTo>
                    <a:lnTo>
                      <a:pt x="448" y="267"/>
                    </a:lnTo>
                    <a:lnTo>
                      <a:pt x="450" y="266"/>
                    </a:lnTo>
                    <a:lnTo>
                      <a:pt x="450" y="266"/>
                    </a:lnTo>
                    <a:lnTo>
                      <a:pt x="448" y="268"/>
                    </a:lnTo>
                    <a:lnTo>
                      <a:pt x="446" y="270"/>
                    </a:lnTo>
                    <a:lnTo>
                      <a:pt x="443" y="271"/>
                    </a:lnTo>
                    <a:lnTo>
                      <a:pt x="441" y="270"/>
                    </a:lnTo>
                    <a:lnTo>
                      <a:pt x="441" y="270"/>
                    </a:lnTo>
                    <a:lnTo>
                      <a:pt x="434" y="268"/>
                    </a:lnTo>
                    <a:lnTo>
                      <a:pt x="434" y="268"/>
                    </a:lnTo>
                    <a:lnTo>
                      <a:pt x="433" y="268"/>
                    </a:lnTo>
                    <a:lnTo>
                      <a:pt x="431" y="271"/>
                    </a:lnTo>
                    <a:lnTo>
                      <a:pt x="431" y="271"/>
                    </a:lnTo>
                    <a:lnTo>
                      <a:pt x="427" y="272"/>
                    </a:lnTo>
                    <a:lnTo>
                      <a:pt x="423" y="274"/>
                    </a:lnTo>
                    <a:lnTo>
                      <a:pt x="423" y="274"/>
                    </a:lnTo>
                    <a:lnTo>
                      <a:pt x="422" y="274"/>
                    </a:lnTo>
                    <a:lnTo>
                      <a:pt x="422" y="274"/>
                    </a:lnTo>
                    <a:lnTo>
                      <a:pt x="417" y="276"/>
                    </a:lnTo>
                    <a:lnTo>
                      <a:pt x="417" y="276"/>
                    </a:lnTo>
                    <a:lnTo>
                      <a:pt x="411" y="279"/>
                    </a:lnTo>
                    <a:lnTo>
                      <a:pt x="406" y="281"/>
                    </a:lnTo>
                    <a:lnTo>
                      <a:pt x="405" y="281"/>
                    </a:lnTo>
                    <a:lnTo>
                      <a:pt x="404" y="281"/>
                    </a:lnTo>
                    <a:lnTo>
                      <a:pt x="404" y="281"/>
                    </a:lnTo>
                    <a:lnTo>
                      <a:pt x="402" y="281"/>
                    </a:lnTo>
                    <a:lnTo>
                      <a:pt x="402" y="281"/>
                    </a:lnTo>
                    <a:lnTo>
                      <a:pt x="400" y="281"/>
                    </a:lnTo>
                    <a:lnTo>
                      <a:pt x="400" y="281"/>
                    </a:lnTo>
                    <a:lnTo>
                      <a:pt x="398" y="281"/>
                    </a:lnTo>
                    <a:lnTo>
                      <a:pt x="398" y="281"/>
                    </a:lnTo>
                    <a:lnTo>
                      <a:pt x="398" y="281"/>
                    </a:lnTo>
                    <a:lnTo>
                      <a:pt x="398" y="281"/>
                    </a:lnTo>
                    <a:lnTo>
                      <a:pt x="401" y="280"/>
                    </a:lnTo>
                    <a:lnTo>
                      <a:pt x="402" y="278"/>
                    </a:lnTo>
                    <a:lnTo>
                      <a:pt x="396" y="283"/>
                    </a:lnTo>
                    <a:lnTo>
                      <a:pt x="396" y="283"/>
                    </a:lnTo>
                    <a:lnTo>
                      <a:pt x="396" y="283"/>
                    </a:lnTo>
                    <a:lnTo>
                      <a:pt x="396" y="283"/>
                    </a:lnTo>
                    <a:lnTo>
                      <a:pt x="396" y="283"/>
                    </a:lnTo>
                    <a:lnTo>
                      <a:pt x="396" y="283"/>
                    </a:lnTo>
                    <a:lnTo>
                      <a:pt x="396" y="283"/>
                    </a:lnTo>
                    <a:lnTo>
                      <a:pt x="396" y="284"/>
                    </a:lnTo>
                    <a:lnTo>
                      <a:pt x="396" y="284"/>
                    </a:lnTo>
                    <a:lnTo>
                      <a:pt x="389" y="291"/>
                    </a:lnTo>
                    <a:lnTo>
                      <a:pt x="389" y="291"/>
                    </a:lnTo>
                    <a:lnTo>
                      <a:pt x="384" y="289"/>
                    </a:lnTo>
                    <a:lnTo>
                      <a:pt x="378" y="288"/>
                    </a:lnTo>
                    <a:lnTo>
                      <a:pt x="376" y="285"/>
                    </a:lnTo>
                    <a:lnTo>
                      <a:pt x="373" y="281"/>
                    </a:lnTo>
                    <a:lnTo>
                      <a:pt x="373" y="281"/>
                    </a:lnTo>
                    <a:lnTo>
                      <a:pt x="370" y="280"/>
                    </a:lnTo>
                    <a:lnTo>
                      <a:pt x="368" y="278"/>
                    </a:lnTo>
                    <a:lnTo>
                      <a:pt x="364" y="278"/>
                    </a:lnTo>
                    <a:lnTo>
                      <a:pt x="361" y="276"/>
                    </a:lnTo>
                    <a:lnTo>
                      <a:pt x="361" y="276"/>
                    </a:lnTo>
                    <a:lnTo>
                      <a:pt x="361" y="276"/>
                    </a:lnTo>
                    <a:lnTo>
                      <a:pt x="361" y="276"/>
                    </a:lnTo>
                    <a:lnTo>
                      <a:pt x="361" y="276"/>
                    </a:lnTo>
                    <a:lnTo>
                      <a:pt x="361" y="276"/>
                    </a:lnTo>
                    <a:lnTo>
                      <a:pt x="361" y="276"/>
                    </a:lnTo>
                    <a:lnTo>
                      <a:pt x="360" y="278"/>
                    </a:lnTo>
                    <a:lnTo>
                      <a:pt x="360" y="279"/>
                    </a:lnTo>
                    <a:lnTo>
                      <a:pt x="360" y="280"/>
                    </a:lnTo>
                    <a:lnTo>
                      <a:pt x="360" y="280"/>
                    </a:lnTo>
                    <a:lnTo>
                      <a:pt x="357" y="283"/>
                    </a:lnTo>
                    <a:lnTo>
                      <a:pt x="357" y="283"/>
                    </a:lnTo>
                    <a:lnTo>
                      <a:pt x="359" y="281"/>
                    </a:lnTo>
                    <a:lnTo>
                      <a:pt x="356" y="285"/>
                    </a:lnTo>
                    <a:lnTo>
                      <a:pt x="356" y="285"/>
                    </a:lnTo>
                    <a:lnTo>
                      <a:pt x="355" y="287"/>
                    </a:lnTo>
                    <a:lnTo>
                      <a:pt x="355" y="287"/>
                    </a:lnTo>
                    <a:lnTo>
                      <a:pt x="356" y="289"/>
                    </a:lnTo>
                    <a:lnTo>
                      <a:pt x="361" y="293"/>
                    </a:lnTo>
                    <a:lnTo>
                      <a:pt x="364" y="297"/>
                    </a:lnTo>
                    <a:lnTo>
                      <a:pt x="364" y="297"/>
                    </a:lnTo>
                    <a:lnTo>
                      <a:pt x="364" y="301"/>
                    </a:lnTo>
                    <a:lnTo>
                      <a:pt x="363" y="304"/>
                    </a:lnTo>
                    <a:lnTo>
                      <a:pt x="360" y="307"/>
                    </a:lnTo>
                    <a:lnTo>
                      <a:pt x="359" y="311"/>
                    </a:lnTo>
                    <a:lnTo>
                      <a:pt x="359" y="311"/>
                    </a:lnTo>
                    <a:lnTo>
                      <a:pt x="360" y="308"/>
                    </a:lnTo>
                    <a:lnTo>
                      <a:pt x="360" y="308"/>
                    </a:lnTo>
                    <a:lnTo>
                      <a:pt x="360" y="311"/>
                    </a:lnTo>
                    <a:lnTo>
                      <a:pt x="360" y="311"/>
                    </a:lnTo>
                    <a:lnTo>
                      <a:pt x="361" y="317"/>
                    </a:lnTo>
                    <a:lnTo>
                      <a:pt x="360" y="320"/>
                    </a:lnTo>
                    <a:lnTo>
                      <a:pt x="357" y="322"/>
                    </a:lnTo>
                    <a:lnTo>
                      <a:pt x="357" y="322"/>
                    </a:lnTo>
                    <a:lnTo>
                      <a:pt x="356" y="324"/>
                    </a:lnTo>
                    <a:lnTo>
                      <a:pt x="356" y="324"/>
                    </a:lnTo>
                    <a:lnTo>
                      <a:pt x="356" y="324"/>
                    </a:lnTo>
                    <a:lnTo>
                      <a:pt x="356" y="324"/>
                    </a:lnTo>
                    <a:lnTo>
                      <a:pt x="357" y="324"/>
                    </a:lnTo>
                    <a:lnTo>
                      <a:pt x="357" y="324"/>
                    </a:lnTo>
                    <a:lnTo>
                      <a:pt x="357" y="324"/>
                    </a:lnTo>
                    <a:lnTo>
                      <a:pt x="357" y="324"/>
                    </a:lnTo>
                    <a:lnTo>
                      <a:pt x="355" y="328"/>
                    </a:lnTo>
                    <a:lnTo>
                      <a:pt x="355" y="328"/>
                    </a:lnTo>
                    <a:lnTo>
                      <a:pt x="353" y="330"/>
                    </a:lnTo>
                    <a:lnTo>
                      <a:pt x="353" y="330"/>
                    </a:lnTo>
                    <a:lnTo>
                      <a:pt x="351" y="333"/>
                    </a:lnTo>
                    <a:lnTo>
                      <a:pt x="348" y="337"/>
                    </a:lnTo>
                    <a:lnTo>
                      <a:pt x="348" y="337"/>
                    </a:lnTo>
                    <a:lnTo>
                      <a:pt x="348" y="341"/>
                    </a:lnTo>
                    <a:lnTo>
                      <a:pt x="347" y="344"/>
                    </a:lnTo>
                    <a:lnTo>
                      <a:pt x="345" y="345"/>
                    </a:lnTo>
                    <a:lnTo>
                      <a:pt x="345" y="345"/>
                    </a:lnTo>
                    <a:lnTo>
                      <a:pt x="345" y="345"/>
                    </a:lnTo>
                    <a:lnTo>
                      <a:pt x="345" y="345"/>
                    </a:lnTo>
                    <a:lnTo>
                      <a:pt x="345" y="348"/>
                    </a:lnTo>
                    <a:lnTo>
                      <a:pt x="345" y="348"/>
                    </a:lnTo>
                    <a:lnTo>
                      <a:pt x="341" y="353"/>
                    </a:lnTo>
                    <a:lnTo>
                      <a:pt x="343" y="353"/>
                    </a:lnTo>
                    <a:lnTo>
                      <a:pt x="343" y="353"/>
                    </a:lnTo>
                    <a:lnTo>
                      <a:pt x="345" y="350"/>
                    </a:lnTo>
                    <a:lnTo>
                      <a:pt x="345" y="350"/>
                    </a:lnTo>
                    <a:lnTo>
                      <a:pt x="345" y="352"/>
                    </a:lnTo>
                    <a:lnTo>
                      <a:pt x="345" y="352"/>
                    </a:lnTo>
                    <a:lnTo>
                      <a:pt x="344" y="353"/>
                    </a:lnTo>
                    <a:lnTo>
                      <a:pt x="344" y="354"/>
                    </a:lnTo>
                    <a:lnTo>
                      <a:pt x="344" y="356"/>
                    </a:lnTo>
                    <a:lnTo>
                      <a:pt x="344" y="356"/>
                    </a:lnTo>
                    <a:lnTo>
                      <a:pt x="343" y="361"/>
                    </a:lnTo>
                    <a:lnTo>
                      <a:pt x="341" y="366"/>
                    </a:lnTo>
                    <a:lnTo>
                      <a:pt x="337" y="369"/>
                    </a:lnTo>
                    <a:lnTo>
                      <a:pt x="335" y="373"/>
                    </a:lnTo>
                    <a:lnTo>
                      <a:pt x="331" y="373"/>
                    </a:lnTo>
                    <a:lnTo>
                      <a:pt x="331" y="373"/>
                    </a:lnTo>
                    <a:lnTo>
                      <a:pt x="326" y="371"/>
                    </a:lnTo>
                    <a:lnTo>
                      <a:pt x="323" y="370"/>
                    </a:lnTo>
                    <a:lnTo>
                      <a:pt x="323" y="370"/>
                    </a:lnTo>
                    <a:lnTo>
                      <a:pt x="322" y="369"/>
                    </a:lnTo>
                    <a:lnTo>
                      <a:pt x="322" y="369"/>
                    </a:lnTo>
                    <a:lnTo>
                      <a:pt x="322" y="369"/>
                    </a:lnTo>
                    <a:lnTo>
                      <a:pt x="319" y="371"/>
                    </a:lnTo>
                    <a:lnTo>
                      <a:pt x="319" y="371"/>
                    </a:lnTo>
                    <a:lnTo>
                      <a:pt x="316" y="375"/>
                    </a:lnTo>
                    <a:lnTo>
                      <a:pt x="314" y="377"/>
                    </a:lnTo>
                    <a:lnTo>
                      <a:pt x="314" y="377"/>
                    </a:lnTo>
                    <a:lnTo>
                      <a:pt x="315" y="377"/>
                    </a:lnTo>
                    <a:lnTo>
                      <a:pt x="315" y="377"/>
                    </a:lnTo>
                    <a:lnTo>
                      <a:pt x="314" y="378"/>
                    </a:lnTo>
                    <a:lnTo>
                      <a:pt x="310" y="378"/>
                    </a:lnTo>
                    <a:lnTo>
                      <a:pt x="303" y="378"/>
                    </a:lnTo>
                    <a:lnTo>
                      <a:pt x="298" y="374"/>
                    </a:lnTo>
                    <a:lnTo>
                      <a:pt x="298" y="374"/>
                    </a:lnTo>
                    <a:lnTo>
                      <a:pt x="299" y="375"/>
                    </a:lnTo>
                    <a:lnTo>
                      <a:pt x="300" y="377"/>
                    </a:lnTo>
                    <a:lnTo>
                      <a:pt x="300" y="377"/>
                    </a:lnTo>
                    <a:lnTo>
                      <a:pt x="300" y="377"/>
                    </a:lnTo>
                    <a:lnTo>
                      <a:pt x="300" y="377"/>
                    </a:lnTo>
                    <a:lnTo>
                      <a:pt x="299" y="377"/>
                    </a:lnTo>
                    <a:lnTo>
                      <a:pt x="299" y="377"/>
                    </a:lnTo>
                    <a:lnTo>
                      <a:pt x="295" y="377"/>
                    </a:lnTo>
                    <a:lnTo>
                      <a:pt x="295" y="377"/>
                    </a:lnTo>
                    <a:lnTo>
                      <a:pt x="294" y="377"/>
                    </a:lnTo>
                    <a:lnTo>
                      <a:pt x="290" y="377"/>
                    </a:lnTo>
                    <a:lnTo>
                      <a:pt x="290" y="377"/>
                    </a:lnTo>
                    <a:lnTo>
                      <a:pt x="287" y="379"/>
                    </a:lnTo>
                    <a:lnTo>
                      <a:pt x="283" y="379"/>
                    </a:lnTo>
                    <a:lnTo>
                      <a:pt x="283" y="379"/>
                    </a:lnTo>
                    <a:lnTo>
                      <a:pt x="281" y="379"/>
                    </a:lnTo>
                    <a:lnTo>
                      <a:pt x="279" y="378"/>
                    </a:lnTo>
                    <a:lnTo>
                      <a:pt x="279" y="378"/>
                    </a:lnTo>
                    <a:lnTo>
                      <a:pt x="277" y="374"/>
                    </a:lnTo>
                    <a:lnTo>
                      <a:pt x="277" y="371"/>
                    </a:lnTo>
                    <a:lnTo>
                      <a:pt x="277" y="371"/>
                    </a:lnTo>
                    <a:lnTo>
                      <a:pt x="277" y="367"/>
                    </a:lnTo>
                    <a:lnTo>
                      <a:pt x="278" y="366"/>
                    </a:lnTo>
                    <a:lnTo>
                      <a:pt x="278" y="366"/>
                    </a:lnTo>
                    <a:lnTo>
                      <a:pt x="278" y="366"/>
                    </a:lnTo>
                    <a:lnTo>
                      <a:pt x="278" y="366"/>
                    </a:lnTo>
                    <a:lnTo>
                      <a:pt x="275" y="363"/>
                    </a:lnTo>
                    <a:lnTo>
                      <a:pt x="275" y="363"/>
                    </a:lnTo>
                    <a:lnTo>
                      <a:pt x="273" y="362"/>
                    </a:lnTo>
                    <a:lnTo>
                      <a:pt x="269" y="361"/>
                    </a:lnTo>
                    <a:lnTo>
                      <a:pt x="269" y="361"/>
                    </a:lnTo>
                    <a:lnTo>
                      <a:pt x="267" y="358"/>
                    </a:lnTo>
                    <a:lnTo>
                      <a:pt x="267" y="358"/>
                    </a:lnTo>
                    <a:lnTo>
                      <a:pt x="266" y="357"/>
                    </a:lnTo>
                    <a:lnTo>
                      <a:pt x="263" y="357"/>
                    </a:lnTo>
                    <a:lnTo>
                      <a:pt x="263" y="357"/>
                    </a:lnTo>
                    <a:lnTo>
                      <a:pt x="263" y="357"/>
                    </a:lnTo>
                    <a:lnTo>
                      <a:pt x="263" y="357"/>
                    </a:lnTo>
                    <a:lnTo>
                      <a:pt x="262" y="358"/>
                    </a:lnTo>
                    <a:lnTo>
                      <a:pt x="262" y="358"/>
                    </a:lnTo>
                    <a:lnTo>
                      <a:pt x="261" y="360"/>
                    </a:lnTo>
                    <a:lnTo>
                      <a:pt x="261" y="360"/>
                    </a:lnTo>
                    <a:lnTo>
                      <a:pt x="258" y="362"/>
                    </a:lnTo>
                    <a:lnTo>
                      <a:pt x="258" y="362"/>
                    </a:lnTo>
                    <a:lnTo>
                      <a:pt x="258" y="363"/>
                    </a:lnTo>
                    <a:lnTo>
                      <a:pt x="253" y="367"/>
                    </a:lnTo>
                    <a:lnTo>
                      <a:pt x="250" y="367"/>
                    </a:lnTo>
                    <a:lnTo>
                      <a:pt x="244" y="361"/>
                    </a:lnTo>
                    <a:lnTo>
                      <a:pt x="244" y="361"/>
                    </a:lnTo>
                    <a:lnTo>
                      <a:pt x="245" y="363"/>
                    </a:lnTo>
                    <a:lnTo>
                      <a:pt x="245" y="363"/>
                    </a:lnTo>
                    <a:lnTo>
                      <a:pt x="246" y="365"/>
                    </a:lnTo>
                    <a:lnTo>
                      <a:pt x="247" y="365"/>
                    </a:lnTo>
                    <a:lnTo>
                      <a:pt x="247" y="365"/>
                    </a:lnTo>
                    <a:lnTo>
                      <a:pt x="247" y="366"/>
                    </a:lnTo>
                    <a:lnTo>
                      <a:pt x="247" y="366"/>
                    </a:lnTo>
                    <a:lnTo>
                      <a:pt x="245" y="366"/>
                    </a:lnTo>
                    <a:lnTo>
                      <a:pt x="245" y="366"/>
                    </a:lnTo>
                    <a:lnTo>
                      <a:pt x="242" y="366"/>
                    </a:lnTo>
                    <a:lnTo>
                      <a:pt x="242" y="366"/>
                    </a:lnTo>
                    <a:lnTo>
                      <a:pt x="238" y="363"/>
                    </a:lnTo>
                    <a:lnTo>
                      <a:pt x="238" y="363"/>
                    </a:lnTo>
                    <a:lnTo>
                      <a:pt x="237" y="363"/>
                    </a:lnTo>
                    <a:lnTo>
                      <a:pt x="237" y="363"/>
                    </a:lnTo>
                    <a:lnTo>
                      <a:pt x="233" y="365"/>
                    </a:lnTo>
                    <a:lnTo>
                      <a:pt x="232" y="367"/>
                    </a:lnTo>
                    <a:lnTo>
                      <a:pt x="232" y="367"/>
                    </a:lnTo>
                    <a:lnTo>
                      <a:pt x="232" y="370"/>
                    </a:lnTo>
                    <a:lnTo>
                      <a:pt x="230" y="373"/>
                    </a:lnTo>
                    <a:lnTo>
                      <a:pt x="230" y="373"/>
                    </a:lnTo>
                    <a:lnTo>
                      <a:pt x="230" y="373"/>
                    </a:lnTo>
                    <a:lnTo>
                      <a:pt x="230" y="373"/>
                    </a:lnTo>
                    <a:lnTo>
                      <a:pt x="230" y="373"/>
                    </a:lnTo>
                    <a:lnTo>
                      <a:pt x="230" y="373"/>
                    </a:lnTo>
                    <a:lnTo>
                      <a:pt x="234" y="377"/>
                    </a:lnTo>
                    <a:lnTo>
                      <a:pt x="236" y="379"/>
                    </a:lnTo>
                    <a:lnTo>
                      <a:pt x="236" y="385"/>
                    </a:lnTo>
                    <a:lnTo>
                      <a:pt x="236" y="387"/>
                    </a:lnTo>
                    <a:lnTo>
                      <a:pt x="230" y="394"/>
                    </a:lnTo>
                    <a:lnTo>
                      <a:pt x="230" y="394"/>
                    </a:lnTo>
                    <a:lnTo>
                      <a:pt x="233" y="393"/>
                    </a:lnTo>
                    <a:lnTo>
                      <a:pt x="233" y="393"/>
                    </a:lnTo>
                    <a:lnTo>
                      <a:pt x="232" y="393"/>
                    </a:lnTo>
                    <a:lnTo>
                      <a:pt x="232" y="393"/>
                    </a:lnTo>
                    <a:lnTo>
                      <a:pt x="230" y="397"/>
                    </a:lnTo>
                    <a:lnTo>
                      <a:pt x="230" y="397"/>
                    </a:lnTo>
                    <a:lnTo>
                      <a:pt x="230" y="397"/>
                    </a:lnTo>
                    <a:lnTo>
                      <a:pt x="229" y="400"/>
                    </a:lnTo>
                    <a:lnTo>
                      <a:pt x="228" y="402"/>
                    </a:lnTo>
                    <a:lnTo>
                      <a:pt x="225" y="403"/>
                    </a:lnTo>
                    <a:lnTo>
                      <a:pt x="224" y="403"/>
                    </a:lnTo>
                    <a:lnTo>
                      <a:pt x="222" y="403"/>
                    </a:lnTo>
                    <a:lnTo>
                      <a:pt x="220" y="402"/>
                    </a:lnTo>
                    <a:lnTo>
                      <a:pt x="218" y="397"/>
                    </a:lnTo>
                    <a:lnTo>
                      <a:pt x="218" y="400"/>
                    </a:lnTo>
                    <a:lnTo>
                      <a:pt x="217" y="399"/>
                    </a:lnTo>
                    <a:lnTo>
                      <a:pt x="217" y="400"/>
                    </a:lnTo>
                    <a:lnTo>
                      <a:pt x="217" y="400"/>
                    </a:lnTo>
                    <a:lnTo>
                      <a:pt x="218" y="402"/>
                    </a:lnTo>
                    <a:lnTo>
                      <a:pt x="218" y="402"/>
                    </a:lnTo>
                    <a:lnTo>
                      <a:pt x="218" y="403"/>
                    </a:lnTo>
                    <a:lnTo>
                      <a:pt x="218" y="403"/>
                    </a:lnTo>
                    <a:lnTo>
                      <a:pt x="217" y="402"/>
                    </a:lnTo>
                    <a:lnTo>
                      <a:pt x="212" y="402"/>
                    </a:lnTo>
                    <a:lnTo>
                      <a:pt x="212" y="402"/>
                    </a:lnTo>
                    <a:lnTo>
                      <a:pt x="210" y="403"/>
                    </a:lnTo>
                    <a:lnTo>
                      <a:pt x="210" y="403"/>
                    </a:lnTo>
                    <a:lnTo>
                      <a:pt x="207" y="406"/>
                    </a:lnTo>
                    <a:lnTo>
                      <a:pt x="204" y="406"/>
                    </a:lnTo>
                    <a:lnTo>
                      <a:pt x="203" y="406"/>
                    </a:lnTo>
                    <a:lnTo>
                      <a:pt x="199" y="404"/>
                    </a:lnTo>
                    <a:lnTo>
                      <a:pt x="199" y="404"/>
                    </a:lnTo>
                    <a:lnTo>
                      <a:pt x="197" y="404"/>
                    </a:lnTo>
                    <a:lnTo>
                      <a:pt x="197" y="404"/>
                    </a:lnTo>
                    <a:lnTo>
                      <a:pt x="195" y="404"/>
                    </a:lnTo>
                    <a:lnTo>
                      <a:pt x="195" y="404"/>
                    </a:lnTo>
                    <a:lnTo>
                      <a:pt x="192" y="404"/>
                    </a:lnTo>
                    <a:lnTo>
                      <a:pt x="192" y="404"/>
                    </a:lnTo>
                    <a:lnTo>
                      <a:pt x="192" y="404"/>
                    </a:lnTo>
                    <a:lnTo>
                      <a:pt x="192" y="404"/>
                    </a:lnTo>
                    <a:lnTo>
                      <a:pt x="189" y="404"/>
                    </a:lnTo>
                    <a:lnTo>
                      <a:pt x="184" y="402"/>
                    </a:lnTo>
                    <a:lnTo>
                      <a:pt x="184" y="402"/>
                    </a:lnTo>
                    <a:lnTo>
                      <a:pt x="184" y="403"/>
                    </a:lnTo>
                    <a:lnTo>
                      <a:pt x="184" y="403"/>
                    </a:lnTo>
                    <a:lnTo>
                      <a:pt x="183" y="406"/>
                    </a:lnTo>
                    <a:lnTo>
                      <a:pt x="179" y="407"/>
                    </a:lnTo>
                    <a:lnTo>
                      <a:pt x="179" y="407"/>
                    </a:lnTo>
                    <a:lnTo>
                      <a:pt x="180" y="407"/>
                    </a:lnTo>
                    <a:lnTo>
                      <a:pt x="180" y="407"/>
                    </a:lnTo>
                    <a:lnTo>
                      <a:pt x="179" y="408"/>
                    </a:lnTo>
                    <a:lnTo>
                      <a:pt x="175" y="410"/>
                    </a:lnTo>
                    <a:lnTo>
                      <a:pt x="173" y="410"/>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6" name="Freeform 20">
                <a:extLst>
                  <a:ext uri="{FF2B5EF4-FFF2-40B4-BE49-F238E27FC236}">
                    <a16:creationId xmlns:a16="http://schemas.microsoft.com/office/drawing/2014/main" xmlns="" id="{8060F092-444A-4B66-9F9D-4679B4150A19}"/>
                  </a:ext>
                </a:extLst>
              </p:cNvPr>
              <p:cNvSpPr>
                <a:spLocks/>
              </p:cNvSpPr>
              <p:nvPr/>
            </p:nvSpPr>
            <p:spPr bwMode="auto">
              <a:xfrm>
                <a:off x="6088476" y="2319522"/>
                <a:ext cx="1276208" cy="839198"/>
              </a:xfrm>
              <a:custGeom>
                <a:avLst/>
                <a:gdLst>
                  <a:gd name="T0" fmla="*/ 306 w 733"/>
                  <a:gd name="T1" fmla="*/ 449 h 482"/>
                  <a:gd name="T2" fmla="*/ 267 w 733"/>
                  <a:gd name="T3" fmla="*/ 411 h 482"/>
                  <a:gd name="T4" fmla="*/ 232 w 733"/>
                  <a:gd name="T5" fmla="*/ 380 h 482"/>
                  <a:gd name="T6" fmla="*/ 204 w 733"/>
                  <a:gd name="T7" fmla="*/ 379 h 482"/>
                  <a:gd name="T8" fmla="*/ 185 w 733"/>
                  <a:gd name="T9" fmla="*/ 342 h 482"/>
                  <a:gd name="T10" fmla="*/ 150 w 733"/>
                  <a:gd name="T11" fmla="*/ 343 h 482"/>
                  <a:gd name="T12" fmla="*/ 98 w 733"/>
                  <a:gd name="T13" fmla="*/ 325 h 482"/>
                  <a:gd name="T14" fmla="*/ 61 w 733"/>
                  <a:gd name="T15" fmla="*/ 338 h 482"/>
                  <a:gd name="T16" fmla="*/ 44 w 733"/>
                  <a:gd name="T17" fmla="*/ 322 h 482"/>
                  <a:gd name="T18" fmla="*/ 15 w 733"/>
                  <a:gd name="T19" fmla="*/ 312 h 482"/>
                  <a:gd name="T20" fmla="*/ 17 w 733"/>
                  <a:gd name="T21" fmla="*/ 271 h 482"/>
                  <a:gd name="T22" fmla="*/ 32 w 733"/>
                  <a:gd name="T23" fmla="*/ 261 h 482"/>
                  <a:gd name="T24" fmla="*/ 61 w 733"/>
                  <a:gd name="T25" fmla="*/ 219 h 482"/>
                  <a:gd name="T26" fmla="*/ 92 w 733"/>
                  <a:gd name="T27" fmla="*/ 206 h 482"/>
                  <a:gd name="T28" fmla="*/ 122 w 733"/>
                  <a:gd name="T29" fmla="*/ 199 h 482"/>
                  <a:gd name="T30" fmla="*/ 131 w 733"/>
                  <a:gd name="T31" fmla="*/ 177 h 482"/>
                  <a:gd name="T32" fmla="*/ 148 w 733"/>
                  <a:gd name="T33" fmla="*/ 165 h 482"/>
                  <a:gd name="T34" fmla="*/ 174 w 733"/>
                  <a:gd name="T35" fmla="*/ 129 h 482"/>
                  <a:gd name="T36" fmla="*/ 200 w 733"/>
                  <a:gd name="T37" fmla="*/ 133 h 482"/>
                  <a:gd name="T38" fmla="*/ 216 w 733"/>
                  <a:gd name="T39" fmla="*/ 158 h 482"/>
                  <a:gd name="T40" fmla="*/ 250 w 733"/>
                  <a:gd name="T41" fmla="*/ 161 h 482"/>
                  <a:gd name="T42" fmla="*/ 267 w 733"/>
                  <a:gd name="T43" fmla="*/ 157 h 482"/>
                  <a:gd name="T44" fmla="*/ 273 w 733"/>
                  <a:gd name="T45" fmla="*/ 136 h 482"/>
                  <a:gd name="T46" fmla="*/ 292 w 733"/>
                  <a:gd name="T47" fmla="*/ 120 h 482"/>
                  <a:gd name="T48" fmla="*/ 328 w 733"/>
                  <a:gd name="T49" fmla="*/ 134 h 482"/>
                  <a:gd name="T50" fmla="*/ 374 w 733"/>
                  <a:gd name="T51" fmla="*/ 128 h 482"/>
                  <a:gd name="T52" fmla="*/ 389 w 733"/>
                  <a:gd name="T53" fmla="*/ 95 h 482"/>
                  <a:gd name="T54" fmla="*/ 406 w 733"/>
                  <a:gd name="T55" fmla="*/ 76 h 482"/>
                  <a:gd name="T56" fmla="*/ 397 w 733"/>
                  <a:gd name="T57" fmla="*/ 40 h 482"/>
                  <a:gd name="T58" fmla="*/ 437 w 733"/>
                  <a:gd name="T59" fmla="*/ 44 h 482"/>
                  <a:gd name="T60" fmla="*/ 476 w 733"/>
                  <a:gd name="T61" fmla="*/ 23 h 482"/>
                  <a:gd name="T62" fmla="*/ 504 w 733"/>
                  <a:gd name="T63" fmla="*/ 37 h 482"/>
                  <a:gd name="T64" fmla="*/ 513 w 733"/>
                  <a:gd name="T65" fmla="*/ 51 h 482"/>
                  <a:gd name="T66" fmla="*/ 542 w 733"/>
                  <a:gd name="T67" fmla="*/ 40 h 482"/>
                  <a:gd name="T68" fmla="*/ 577 w 733"/>
                  <a:gd name="T69" fmla="*/ 7 h 482"/>
                  <a:gd name="T70" fmla="*/ 610 w 733"/>
                  <a:gd name="T71" fmla="*/ 1 h 482"/>
                  <a:gd name="T72" fmla="*/ 632 w 733"/>
                  <a:gd name="T73" fmla="*/ 37 h 482"/>
                  <a:gd name="T74" fmla="*/ 648 w 733"/>
                  <a:gd name="T75" fmla="*/ 59 h 482"/>
                  <a:gd name="T76" fmla="*/ 677 w 733"/>
                  <a:gd name="T77" fmla="*/ 63 h 482"/>
                  <a:gd name="T78" fmla="*/ 720 w 733"/>
                  <a:gd name="T79" fmla="*/ 70 h 482"/>
                  <a:gd name="T80" fmla="*/ 709 w 733"/>
                  <a:gd name="T81" fmla="*/ 96 h 482"/>
                  <a:gd name="T82" fmla="*/ 690 w 733"/>
                  <a:gd name="T83" fmla="*/ 128 h 482"/>
                  <a:gd name="T84" fmla="*/ 680 w 733"/>
                  <a:gd name="T85" fmla="*/ 149 h 482"/>
                  <a:gd name="T86" fmla="*/ 639 w 733"/>
                  <a:gd name="T87" fmla="*/ 200 h 482"/>
                  <a:gd name="T88" fmla="*/ 631 w 733"/>
                  <a:gd name="T89" fmla="*/ 223 h 482"/>
                  <a:gd name="T90" fmla="*/ 627 w 733"/>
                  <a:gd name="T91" fmla="*/ 256 h 482"/>
                  <a:gd name="T92" fmla="*/ 628 w 733"/>
                  <a:gd name="T93" fmla="*/ 310 h 482"/>
                  <a:gd name="T94" fmla="*/ 665 w 733"/>
                  <a:gd name="T95" fmla="*/ 350 h 482"/>
                  <a:gd name="T96" fmla="*/ 667 w 733"/>
                  <a:gd name="T97" fmla="*/ 362 h 482"/>
                  <a:gd name="T98" fmla="*/ 727 w 733"/>
                  <a:gd name="T99" fmla="*/ 423 h 482"/>
                  <a:gd name="T100" fmla="*/ 677 w 733"/>
                  <a:gd name="T101" fmla="*/ 456 h 482"/>
                  <a:gd name="T102" fmla="*/ 644 w 733"/>
                  <a:gd name="T103" fmla="*/ 444 h 482"/>
                  <a:gd name="T104" fmla="*/ 607 w 733"/>
                  <a:gd name="T105" fmla="*/ 441 h 482"/>
                  <a:gd name="T106" fmla="*/ 578 w 733"/>
                  <a:gd name="T107" fmla="*/ 438 h 482"/>
                  <a:gd name="T108" fmla="*/ 545 w 733"/>
                  <a:gd name="T109" fmla="*/ 437 h 482"/>
                  <a:gd name="T110" fmla="*/ 524 w 733"/>
                  <a:gd name="T111" fmla="*/ 431 h 482"/>
                  <a:gd name="T112" fmla="*/ 501 w 733"/>
                  <a:gd name="T113" fmla="*/ 434 h 482"/>
                  <a:gd name="T114" fmla="*/ 482 w 733"/>
                  <a:gd name="T115" fmla="*/ 453 h 482"/>
                  <a:gd name="T116" fmla="*/ 439 w 733"/>
                  <a:gd name="T117" fmla="*/ 449 h 482"/>
                  <a:gd name="T118" fmla="*/ 408 w 733"/>
                  <a:gd name="T119" fmla="*/ 448 h 482"/>
                  <a:gd name="T120" fmla="*/ 377 w 733"/>
                  <a:gd name="T121" fmla="*/ 465 h 482"/>
                  <a:gd name="T122" fmla="*/ 348 w 733"/>
                  <a:gd name="T123" fmla="*/ 47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3" h="482">
                    <a:moveTo>
                      <a:pt x="330" y="482"/>
                    </a:moveTo>
                    <a:lnTo>
                      <a:pt x="328" y="482"/>
                    </a:lnTo>
                    <a:lnTo>
                      <a:pt x="326" y="482"/>
                    </a:lnTo>
                    <a:lnTo>
                      <a:pt x="326" y="482"/>
                    </a:lnTo>
                    <a:lnTo>
                      <a:pt x="323" y="481"/>
                    </a:lnTo>
                    <a:lnTo>
                      <a:pt x="322" y="478"/>
                    </a:lnTo>
                    <a:lnTo>
                      <a:pt x="320" y="474"/>
                    </a:lnTo>
                    <a:lnTo>
                      <a:pt x="320" y="474"/>
                    </a:lnTo>
                    <a:lnTo>
                      <a:pt x="320" y="474"/>
                    </a:lnTo>
                    <a:lnTo>
                      <a:pt x="322" y="477"/>
                    </a:lnTo>
                    <a:lnTo>
                      <a:pt x="324" y="477"/>
                    </a:lnTo>
                    <a:lnTo>
                      <a:pt x="320" y="473"/>
                    </a:lnTo>
                    <a:lnTo>
                      <a:pt x="320" y="473"/>
                    </a:lnTo>
                    <a:lnTo>
                      <a:pt x="320" y="473"/>
                    </a:lnTo>
                    <a:lnTo>
                      <a:pt x="316" y="469"/>
                    </a:lnTo>
                    <a:lnTo>
                      <a:pt x="315" y="466"/>
                    </a:lnTo>
                    <a:lnTo>
                      <a:pt x="315" y="466"/>
                    </a:lnTo>
                    <a:lnTo>
                      <a:pt x="312" y="464"/>
                    </a:lnTo>
                    <a:lnTo>
                      <a:pt x="310" y="460"/>
                    </a:lnTo>
                    <a:lnTo>
                      <a:pt x="307" y="453"/>
                    </a:lnTo>
                    <a:lnTo>
                      <a:pt x="307" y="453"/>
                    </a:lnTo>
                    <a:lnTo>
                      <a:pt x="306" y="452"/>
                    </a:lnTo>
                    <a:lnTo>
                      <a:pt x="306" y="452"/>
                    </a:lnTo>
                    <a:lnTo>
                      <a:pt x="306" y="449"/>
                    </a:lnTo>
                    <a:lnTo>
                      <a:pt x="306" y="449"/>
                    </a:lnTo>
                    <a:lnTo>
                      <a:pt x="300" y="445"/>
                    </a:lnTo>
                    <a:lnTo>
                      <a:pt x="296" y="440"/>
                    </a:lnTo>
                    <a:lnTo>
                      <a:pt x="291" y="429"/>
                    </a:lnTo>
                    <a:lnTo>
                      <a:pt x="291" y="429"/>
                    </a:lnTo>
                    <a:lnTo>
                      <a:pt x="287" y="419"/>
                    </a:lnTo>
                    <a:lnTo>
                      <a:pt x="285" y="415"/>
                    </a:lnTo>
                    <a:lnTo>
                      <a:pt x="281" y="412"/>
                    </a:lnTo>
                    <a:lnTo>
                      <a:pt x="281" y="412"/>
                    </a:lnTo>
                    <a:lnTo>
                      <a:pt x="277" y="409"/>
                    </a:lnTo>
                    <a:lnTo>
                      <a:pt x="277" y="409"/>
                    </a:lnTo>
                    <a:lnTo>
                      <a:pt x="278" y="411"/>
                    </a:lnTo>
                    <a:lnTo>
                      <a:pt x="278" y="411"/>
                    </a:lnTo>
                    <a:lnTo>
                      <a:pt x="277" y="409"/>
                    </a:lnTo>
                    <a:lnTo>
                      <a:pt x="277" y="409"/>
                    </a:lnTo>
                    <a:lnTo>
                      <a:pt x="274" y="408"/>
                    </a:lnTo>
                    <a:lnTo>
                      <a:pt x="273" y="409"/>
                    </a:lnTo>
                    <a:lnTo>
                      <a:pt x="273" y="409"/>
                    </a:lnTo>
                    <a:lnTo>
                      <a:pt x="273" y="409"/>
                    </a:lnTo>
                    <a:lnTo>
                      <a:pt x="273" y="409"/>
                    </a:lnTo>
                    <a:lnTo>
                      <a:pt x="271" y="411"/>
                    </a:lnTo>
                    <a:lnTo>
                      <a:pt x="271" y="411"/>
                    </a:lnTo>
                    <a:lnTo>
                      <a:pt x="271" y="411"/>
                    </a:lnTo>
                    <a:lnTo>
                      <a:pt x="267" y="411"/>
                    </a:lnTo>
                    <a:lnTo>
                      <a:pt x="267" y="411"/>
                    </a:lnTo>
                    <a:lnTo>
                      <a:pt x="265" y="411"/>
                    </a:lnTo>
                    <a:lnTo>
                      <a:pt x="262" y="409"/>
                    </a:lnTo>
                    <a:lnTo>
                      <a:pt x="259" y="407"/>
                    </a:lnTo>
                    <a:lnTo>
                      <a:pt x="257" y="403"/>
                    </a:lnTo>
                    <a:lnTo>
                      <a:pt x="257" y="400"/>
                    </a:lnTo>
                    <a:lnTo>
                      <a:pt x="257" y="400"/>
                    </a:lnTo>
                    <a:lnTo>
                      <a:pt x="257" y="397"/>
                    </a:lnTo>
                    <a:lnTo>
                      <a:pt x="257" y="397"/>
                    </a:lnTo>
                    <a:lnTo>
                      <a:pt x="257" y="397"/>
                    </a:lnTo>
                    <a:lnTo>
                      <a:pt x="257" y="397"/>
                    </a:lnTo>
                    <a:lnTo>
                      <a:pt x="253" y="397"/>
                    </a:lnTo>
                    <a:lnTo>
                      <a:pt x="250" y="396"/>
                    </a:lnTo>
                    <a:lnTo>
                      <a:pt x="246" y="393"/>
                    </a:lnTo>
                    <a:lnTo>
                      <a:pt x="246" y="393"/>
                    </a:lnTo>
                    <a:lnTo>
                      <a:pt x="244" y="392"/>
                    </a:lnTo>
                    <a:lnTo>
                      <a:pt x="241" y="391"/>
                    </a:lnTo>
                    <a:lnTo>
                      <a:pt x="241" y="391"/>
                    </a:lnTo>
                    <a:lnTo>
                      <a:pt x="240" y="391"/>
                    </a:lnTo>
                    <a:lnTo>
                      <a:pt x="234" y="390"/>
                    </a:lnTo>
                    <a:lnTo>
                      <a:pt x="234" y="390"/>
                    </a:lnTo>
                    <a:lnTo>
                      <a:pt x="232" y="386"/>
                    </a:lnTo>
                    <a:lnTo>
                      <a:pt x="232" y="380"/>
                    </a:lnTo>
                    <a:lnTo>
                      <a:pt x="232" y="380"/>
                    </a:lnTo>
                    <a:lnTo>
                      <a:pt x="230" y="380"/>
                    </a:lnTo>
                    <a:lnTo>
                      <a:pt x="230" y="380"/>
                    </a:lnTo>
                    <a:lnTo>
                      <a:pt x="229" y="380"/>
                    </a:lnTo>
                    <a:lnTo>
                      <a:pt x="229" y="380"/>
                    </a:lnTo>
                    <a:lnTo>
                      <a:pt x="226" y="379"/>
                    </a:lnTo>
                    <a:lnTo>
                      <a:pt x="224" y="379"/>
                    </a:lnTo>
                    <a:lnTo>
                      <a:pt x="224" y="379"/>
                    </a:lnTo>
                    <a:lnTo>
                      <a:pt x="224" y="379"/>
                    </a:lnTo>
                    <a:lnTo>
                      <a:pt x="224" y="379"/>
                    </a:lnTo>
                    <a:lnTo>
                      <a:pt x="221" y="379"/>
                    </a:lnTo>
                    <a:lnTo>
                      <a:pt x="221" y="379"/>
                    </a:lnTo>
                    <a:lnTo>
                      <a:pt x="218" y="378"/>
                    </a:lnTo>
                    <a:lnTo>
                      <a:pt x="218" y="378"/>
                    </a:lnTo>
                    <a:lnTo>
                      <a:pt x="221" y="378"/>
                    </a:lnTo>
                    <a:lnTo>
                      <a:pt x="222" y="375"/>
                    </a:lnTo>
                    <a:lnTo>
                      <a:pt x="216" y="380"/>
                    </a:lnTo>
                    <a:lnTo>
                      <a:pt x="216" y="380"/>
                    </a:lnTo>
                    <a:lnTo>
                      <a:pt x="216" y="380"/>
                    </a:lnTo>
                    <a:lnTo>
                      <a:pt x="216" y="380"/>
                    </a:lnTo>
                    <a:lnTo>
                      <a:pt x="216" y="380"/>
                    </a:lnTo>
                    <a:lnTo>
                      <a:pt x="213" y="382"/>
                    </a:lnTo>
                    <a:lnTo>
                      <a:pt x="209" y="383"/>
                    </a:lnTo>
                    <a:lnTo>
                      <a:pt x="208" y="382"/>
                    </a:lnTo>
                    <a:lnTo>
                      <a:pt x="204" y="379"/>
                    </a:lnTo>
                    <a:lnTo>
                      <a:pt x="204" y="379"/>
                    </a:lnTo>
                    <a:lnTo>
                      <a:pt x="203" y="378"/>
                    </a:lnTo>
                    <a:lnTo>
                      <a:pt x="201" y="374"/>
                    </a:lnTo>
                    <a:lnTo>
                      <a:pt x="201" y="374"/>
                    </a:lnTo>
                    <a:lnTo>
                      <a:pt x="200" y="372"/>
                    </a:lnTo>
                    <a:lnTo>
                      <a:pt x="199" y="368"/>
                    </a:lnTo>
                    <a:lnTo>
                      <a:pt x="197" y="368"/>
                    </a:lnTo>
                    <a:lnTo>
                      <a:pt x="197" y="368"/>
                    </a:lnTo>
                    <a:lnTo>
                      <a:pt x="197" y="367"/>
                    </a:lnTo>
                    <a:lnTo>
                      <a:pt x="197" y="367"/>
                    </a:lnTo>
                    <a:lnTo>
                      <a:pt x="195" y="360"/>
                    </a:lnTo>
                    <a:lnTo>
                      <a:pt x="193" y="354"/>
                    </a:lnTo>
                    <a:lnTo>
                      <a:pt x="193" y="354"/>
                    </a:lnTo>
                    <a:lnTo>
                      <a:pt x="193" y="351"/>
                    </a:lnTo>
                    <a:lnTo>
                      <a:pt x="192" y="349"/>
                    </a:lnTo>
                    <a:lnTo>
                      <a:pt x="192" y="349"/>
                    </a:lnTo>
                    <a:lnTo>
                      <a:pt x="191" y="346"/>
                    </a:lnTo>
                    <a:lnTo>
                      <a:pt x="191" y="342"/>
                    </a:lnTo>
                    <a:lnTo>
                      <a:pt x="191" y="342"/>
                    </a:lnTo>
                    <a:lnTo>
                      <a:pt x="191" y="342"/>
                    </a:lnTo>
                    <a:lnTo>
                      <a:pt x="191" y="342"/>
                    </a:lnTo>
                    <a:lnTo>
                      <a:pt x="189" y="342"/>
                    </a:lnTo>
                    <a:lnTo>
                      <a:pt x="189" y="342"/>
                    </a:lnTo>
                    <a:lnTo>
                      <a:pt x="185" y="342"/>
                    </a:lnTo>
                    <a:lnTo>
                      <a:pt x="185" y="342"/>
                    </a:lnTo>
                    <a:lnTo>
                      <a:pt x="183" y="341"/>
                    </a:lnTo>
                    <a:lnTo>
                      <a:pt x="180" y="341"/>
                    </a:lnTo>
                    <a:lnTo>
                      <a:pt x="177" y="339"/>
                    </a:lnTo>
                    <a:lnTo>
                      <a:pt x="177" y="338"/>
                    </a:lnTo>
                    <a:lnTo>
                      <a:pt x="177" y="338"/>
                    </a:lnTo>
                    <a:lnTo>
                      <a:pt x="176" y="338"/>
                    </a:lnTo>
                    <a:lnTo>
                      <a:pt x="176" y="338"/>
                    </a:lnTo>
                    <a:lnTo>
                      <a:pt x="172" y="335"/>
                    </a:lnTo>
                    <a:lnTo>
                      <a:pt x="172" y="335"/>
                    </a:lnTo>
                    <a:lnTo>
                      <a:pt x="172" y="337"/>
                    </a:lnTo>
                    <a:lnTo>
                      <a:pt x="172" y="337"/>
                    </a:lnTo>
                    <a:lnTo>
                      <a:pt x="170" y="339"/>
                    </a:lnTo>
                    <a:lnTo>
                      <a:pt x="166" y="342"/>
                    </a:lnTo>
                    <a:lnTo>
                      <a:pt x="164" y="342"/>
                    </a:lnTo>
                    <a:lnTo>
                      <a:pt x="163" y="342"/>
                    </a:lnTo>
                    <a:lnTo>
                      <a:pt x="160" y="341"/>
                    </a:lnTo>
                    <a:lnTo>
                      <a:pt x="160" y="341"/>
                    </a:lnTo>
                    <a:lnTo>
                      <a:pt x="160" y="341"/>
                    </a:lnTo>
                    <a:lnTo>
                      <a:pt x="160" y="341"/>
                    </a:lnTo>
                    <a:lnTo>
                      <a:pt x="155" y="342"/>
                    </a:lnTo>
                    <a:lnTo>
                      <a:pt x="155" y="342"/>
                    </a:lnTo>
                    <a:lnTo>
                      <a:pt x="155" y="342"/>
                    </a:lnTo>
                    <a:lnTo>
                      <a:pt x="150" y="343"/>
                    </a:lnTo>
                    <a:lnTo>
                      <a:pt x="144" y="345"/>
                    </a:lnTo>
                    <a:lnTo>
                      <a:pt x="144" y="345"/>
                    </a:lnTo>
                    <a:lnTo>
                      <a:pt x="138" y="346"/>
                    </a:lnTo>
                    <a:lnTo>
                      <a:pt x="130" y="341"/>
                    </a:lnTo>
                    <a:lnTo>
                      <a:pt x="130" y="341"/>
                    </a:lnTo>
                    <a:lnTo>
                      <a:pt x="130" y="341"/>
                    </a:lnTo>
                    <a:lnTo>
                      <a:pt x="127" y="341"/>
                    </a:lnTo>
                    <a:lnTo>
                      <a:pt x="127" y="341"/>
                    </a:lnTo>
                    <a:lnTo>
                      <a:pt x="122" y="337"/>
                    </a:lnTo>
                    <a:lnTo>
                      <a:pt x="122" y="337"/>
                    </a:lnTo>
                    <a:lnTo>
                      <a:pt x="121" y="335"/>
                    </a:lnTo>
                    <a:lnTo>
                      <a:pt x="118" y="335"/>
                    </a:lnTo>
                    <a:lnTo>
                      <a:pt x="118" y="335"/>
                    </a:lnTo>
                    <a:lnTo>
                      <a:pt x="117" y="335"/>
                    </a:lnTo>
                    <a:lnTo>
                      <a:pt x="113" y="331"/>
                    </a:lnTo>
                    <a:lnTo>
                      <a:pt x="111" y="333"/>
                    </a:lnTo>
                    <a:lnTo>
                      <a:pt x="111" y="333"/>
                    </a:lnTo>
                    <a:lnTo>
                      <a:pt x="109" y="329"/>
                    </a:lnTo>
                    <a:lnTo>
                      <a:pt x="109" y="329"/>
                    </a:lnTo>
                    <a:lnTo>
                      <a:pt x="109" y="327"/>
                    </a:lnTo>
                    <a:lnTo>
                      <a:pt x="107" y="329"/>
                    </a:lnTo>
                    <a:lnTo>
                      <a:pt x="103" y="329"/>
                    </a:lnTo>
                    <a:lnTo>
                      <a:pt x="98" y="325"/>
                    </a:lnTo>
                    <a:lnTo>
                      <a:pt x="98" y="325"/>
                    </a:lnTo>
                    <a:lnTo>
                      <a:pt x="94" y="323"/>
                    </a:lnTo>
                    <a:lnTo>
                      <a:pt x="94" y="323"/>
                    </a:lnTo>
                    <a:lnTo>
                      <a:pt x="93" y="322"/>
                    </a:lnTo>
                    <a:lnTo>
                      <a:pt x="92" y="322"/>
                    </a:lnTo>
                    <a:lnTo>
                      <a:pt x="92" y="322"/>
                    </a:lnTo>
                    <a:lnTo>
                      <a:pt x="92" y="323"/>
                    </a:lnTo>
                    <a:lnTo>
                      <a:pt x="92" y="323"/>
                    </a:lnTo>
                    <a:lnTo>
                      <a:pt x="89" y="326"/>
                    </a:lnTo>
                    <a:lnTo>
                      <a:pt x="88" y="327"/>
                    </a:lnTo>
                    <a:lnTo>
                      <a:pt x="88" y="327"/>
                    </a:lnTo>
                    <a:lnTo>
                      <a:pt x="86" y="329"/>
                    </a:lnTo>
                    <a:lnTo>
                      <a:pt x="86" y="329"/>
                    </a:lnTo>
                    <a:lnTo>
                      <a:pt x="88" y="333"/>
                    </a:lnTo>
                    <a:lnTo>
                      <a:pt x="88" y="334"/>
                    </a:lnTo>
                    <a:lnTo>
                      <a:pt x="85" y="339"/>
                    </a:lnTo>
                    <a:lnTo>
                      <a:pt x="85" y="339"/>
                    </a:lnTo>
                    <a:lnTo>
                      <a:pt x="81" y="342"/>
                    </a:lnTo>
                    <a:lnTo>
                      <a:pt x="81" y="342"/>
                    </a:lnTo>
                    <a:lnTo>
                      <a:pt x="77" y="343"/>
                    </a:lnTo>
                    <a:lnTo>
                      <a:pt x="72" y="345"/>
                    </a:lnTo>
                    <a:lnTo>
                      <a:pt x="72" y="345"/>
                    </a:lnTo>
                    <a:lnTo>
                      <a:pt x="66" y="343"/>
                    </a:lnTo>
                    <a:lnTo>
                      <a:pt x="61" y="339"/>
                    </a:lnTo>
                    <a:lnTo>
                      <a:pt x="61" y="338"/>
                    </a:lnTo>
                    <a:lnTo>
                      <a:pt x="61" y="338"/>
                    </a:lnTo>
                    <a:lnTo>
                      <a:pt x="58" y="335"/>
                    </a:lnTo>
                    <a:lnTo>
                      <a:pt x="57" y="334"/>
                    </a:lnTo>
                    <a:lnTo>
                      <a:pt x="57" y="330"/>
                    </a:lnTo>
                    <a:lnTo>
                      <a:pt x="57" y="330"/>
                    </a:lnTo>
                    <a:lnTo>
                      <a:pt x="57" y="329"/>
                    </a:lnTo>
                    <a:lnTo>
                      <a:pt x="57" y="329"/>
                    </a:lnTo>
                    <a:lnTo>
                      <a:pt x="57" y="330"/>
                    </a:lnTo>
                    <a:lnTo>
                      <a:pt x="60" y="331"/>
                    </a:lnTo>
                    <a:lnTo>
                      <a:pt x="56" y="329"/>
                    </a:lnTo>
                    <a:lnTo>
                      <a:pt x="56" y="329"/>
                    </a:lnTo>
                    <a:lnTo>
                      <a:pt x="58" y="329"/>
                    </a:lnTo>
                    <a:lnTo>
                      <a:pt x="56" y="327"/>
                    </a:lnTo>
                    <a:lnTo>
                      <a:pt x="55" y="326"/>
                    </a:lnTo>
                    <a:lnTo>
                      <a:pt x="55" y="326"/>
                    </a:lnTo>
                    <a:lnTo>
                      <a:pt x="55" y="327"/>
                    </a:lnTo>
                    <a:lnTo>
                      <a:pt x="55" y="327"/>
                    </a:lnTo>
                    <a:lnTo>
                      <a:pt x="56" y="327"/>
                    </a:lnTo>
                    <a:lnTo>
                      <a:pt x="55" y="327"/>
                    </a:lnTo>
                    <a:lnTo>
                      <a:pt x="55" y="327"/>
                    </a:lnTo>
                    <a:lnTo>
                      <a:pt x="51" y="321"/>
                    </a:lnTo>
                    <a:lnTo>
                      <a:pt x="51" y="321"/>
                    </a:lnTo>
                    <a:lnTo>
                      <a:pt x="48" y="322"/>
                    </a:lnTo>
                    <a:lnTo>
                      <a:pt x="44" y="322"/>
                    </a:lnTo>
                    <a:lnTo>
                      <a:pt x="44" y="322"/>
                    </a:lnTo>
                    <a:lnTo>
                      <a:pt x="43" y="322"/>
                    </a:lnTo>
                    <a:lnTo>
                      <a:pt x="43" y="322"/>
                    </a:lnTo>
                    <a:lnTo>
                      <a:pt x="45" y="322"/>
                    </a:lnTo>
                    <a:lnTo>
                      <a:pt x="45" y="319"/>
                    </a:lnTo>
                    <a:lnTo>
                      <a:pt x="40" y="325"/>
                    </a:lnTo>
                    <a:lnTo>
                      <a:pt x="39" y="325"/>
                    </a:lnTo>
                    <a:lnTo>
                      <a:pt x="39" y="325"/>
                    </a:lnTo>
                    <a:lnTo>
                      <a:pt x="37" y="325"/>
                    </a:lnTo>
                    <a:lnTo>
                      <a:pt x="35" y="323"/>
                    </a:lnTo>
                    <a:lnTo>
                      <a:pt x="32" y="321"/>
                    </a:lnTo>
                    <a:lnTo>
                      <a:pt x="31" y="317"/>
                    </a:lnTo>
                    <a:lnTo>
                      <a:pt x="31" y="317"/>
                    </a:lnTo>
                    <a:lnTo>
                      <a:pt x="31" y="315"/>
                    </a:lnTo>
                    <a:lnTo>
                      <a:pt x="31" y="315"/>
                    </a:lnTo>
                    <a:lnTo>
                      <a:pt x="31" y="315"/>
                    </a:lnTo>
                    <a:lnTo>
                      <a:pt x="29" y="314"/>
                    </a:lnTo>
                    <a:lnTo>
                      <a:pt x="29" y="314"/>
                    </a:lnTo>
                    <a:lnTo>
                      <a:pt x="29" y="314"/>
                    </a:lnTo>
                    <a:lnTo>
                      <a:pt x="28" y="314"/>
                    </a:lnTo>
                    <a:lnTo>
                      <a:pt x="28" y="314"/>
                    </a:lnTo>
                    <a:lnTo>
                      <a:pt x="21" y="313"/>
                    </a:lnTo>
                    <a:lnTo>
                      <a:pt x="15" y="312"/>
                    </a:lnTo>
                    <a:lnTo>
                      <a:pt x="15" y="312"/>
                    </a:lnTo>
                    <a:lnTo>
                      <a:pt x="8" y="312"/>
                    </a:lnTo>
                    <a:lnTo>
                      <a:pt x="3" y="306"/>
                    </a:lnTo>
                    <a:lnTo>
                      <a:pt x="0" y="300"/>
                    </a:lnTo>
                    <a:lnTo>
                      <a:pt x="0" y="300"/>
                    </a:lnTo>
                    <a:lnTo>
                      <a:pt x="0" y="298"/>
                    </a:lnTo>
                    <a:lnTo>
                      <a:pt x="2" y="296"/>
                    </a:lnTo>
                    <a:lnTo>
                      <a:pt x="4" y="294"/>
                    </a:lnTo>
                    <a:lnTo>
                      <a:pt x="8" y="294"/>
                    </a:lnTo>
                    <a:lnTo>
                      <a:pt x="8" y="294"/>
                    </a:lnTo>
                    <a:lnTo>
                      <a:pt x="8" y="294"/>
                    </a:lnTo>
                    <a:lnTo>
                      <a:pt x="10" y="292"/>
                    </a:lnTo>
                    <a:lnTo>
                      <a:pt x="10" y="292"/>
                    </a:lnTo>
                    <a:lnTo>
                      <a:pt x="10" y="292"/>
                    </a:lnTo>
                    <a:lnTo>
                      <a:pt x="10" y="293"/>
                    </a:lnTo>
                    <a:lnTo>
                      <a:pt x="12" y="289"/>
                    </a:lnTo>
                    <a:lnTo>
                      <a:pt x="12" y="289"/>
                    </a:lnTo>
                    <a:lnTo>
                      <a:pt x="12" y="289"/>
                    </a:lnTo>
                    <a:lnTo>
                      <a:pt x="12" y="289"/>
                    </a:lnTo>
                    <a:lnTo>
                      <a:pt x="12" y="288"/>
                    </a:lnTo>
                    <a:lnTo>
                      <a:pt x="12" y="281"/>
                    </a:lnTo>
                    <a:lnTo>
                      <a:pt x="12" y="281"/>
                    </a:lnTo>
                    <a:lnTo>
                      <a:pt x="12" y="276"/>
                    </a:lnTo>
                    <a:lnTo>
                      <a:pt x="15" y="272"/>
                    </a:lnTo>
                    <a:lnTo>
                      <a:pt x="17" y="271"/>
                    </a:lnTo>
                    <a:lnTo>
                      <a:pt x="17" y="271"/>
                    </a:lnTo>
                    <a:lnTo>
                      <a:pt x="24" y="265"/>
                    </a:lnTo>
                    <a:lnTo>
                      <a:pt x="25" y="264"/>
                    </a:lnTo>
                    <a:lnTo>
                      <a:pt x="28" y="264"/>
                    </a:lnTo>
                    <a:lnTo>
                      <a:pt x="31" y="264"/>
                    </a:lnTo>
                    <a:lnTo>
                      <a:pt x="31" y="264"/>
                    </a:lnTo>
                    <a:lnTo>
                      <a:pt x="32" y="264"/>
                    </a:lnTo>
                    <a:lnTo>
                      <a:pt x="32" y="264"/>
                    </a:lnTo>
                    <a:lnTo>
                      <a:pt x="33" y="264"/>
                    </a:lnTo>
                    <a:lnTo>
                      <a:pt x="33" y="264"/>
                    </a:lnTo>
                    <a:lnTo>
                      <a:pt x="33" y="264"/>
                    </a:lnTo>
                    <a:lnTo>
                      <a:pt x="33" y="264"/>
                    </a:lnTo>
                    <a:lnTo>
                      <a:pt x="33" y="264"/>
                    </a:lnTo>
                    <a:lnTo>
                      <a:pt x="33" y="264"/>
                    </a:lnTo>
                    <a:lnTo>
                      <a:pt x="33" y="264"/>
                    </a:lnTo>
                    <a:lnTo>
                      <a:pt x="33" y="264"/>
                    </a:lnTo>
                    <a:lnTo>
                      <a:pt x="33" y="264"/>
                    </a:lnTo>
                    <a:lnTo>
                      <a:pt x="33" y="263"/>
                    </a:lnTo>
                    <a:lnTo>
                      <a:pt x="33" y="263"/>
                    </a:lnTo>
                    <a:lnTo>
                      <a:pt x="33" y="263"/>
                    </a:lnTo>
                    <a:lnTo>
                      <a:pt x="32" y="261"/>
                    </a:lnTo>
                    <a:lnTo>
                      <a:pt x="32" y="261"/>
                    </a:lnTo>
                    <a:lnTo>
                      <a:pt x="32" y="261"/>
                    </a:lnTo>
                    <a:lnTo>
                      <a:pt x="32" y="261"/>
                    </a:lnTo>
                    <a:lnTo>
                      <a:pt x="31" y="260"/>
                    </a:lnTo>
                    <a:lnTo>
                      <a:pt x="31" y="255"/>
                    </a:lnTo>
                    <a:lnTo>
                      <a:pt x="31" y="255"/>
                    </a:lnTo>
                    <a:lnTo>
                      <a:pt x="31" y="253"/>
                    </a:lnTo>
                    <a:lnTo>
                      <a:pt x="31" y="253"/>
                    </a:lnTo>
                    <a:lnTo>
                      <a:pt x="29" y="251"/>
                    </a:lnTo>
                    <a:lnTo>
                      <a:pt x="29" y="247"/>
                    </a:lnTo>
                    <a:lnTo>
                      <a:pt x="29" y="241"/>
                    </a:lnTo>
                    <a:lnTo>
                      <a:pt x="31" y="240"/>
                    </a:lnTo>
                    <a:lnTo>
                      <a:pt x="31" y="240"/>
                    </a:lnTo>
                    <a:lnTo>
                      <a:pt x="32" y="237"/>
                    </a:lnTo>
                    <a:lnTo>
                      <a:pt x="35" y="235"/>
                    </a:lnTo>
                    <a:lnTo>
                      <a:pt x="37" y="234"/>
                    </a:lnTo>
                    <a:lnTo>
                      <a:pt x="43" y="234"/>
                    </a:lnTo>
                    <a:lnTo>
                      <a:pt x="43" y="234"/>
                    </a:lnTo>
                    <a:lnTo>
                      <a:pt x="44" y="234"/>
                    </a:lnTo>
                    <a:lnTo>
                      <a:pt x="44" y="234"/>
                    </a:lnTo>
                    <a:lnTo>
                      <a:pt x="48" y="231"/>
                    </a:lnTo>
                    <a:lnTo>
                      <a:pt x="53" y="230"/>
                    </a:lnTo>
                    <a:lnTo>
                      <a:pt x="53" y="230"/>
                    </a:lnTo>
                    <a:lnTo>
                      <a:pt x="55" y="230"/>
                    </a:lnTo>
                    <a:lnTo>
                      <a:pt x="55" y="230"/>
                    </a:lnTo>
                    <a:lnTo>
                      <a:pt x="58" y="222"/>
                    </a:lnTo>
                    <a:lnTo>
                      <a:pt x="61" y="219"/>
                    </a:lnTo>
                    <a:lnTo>
                      <a:pt x="65" y="216"/>
                    </a:lnTo>
                    <a:lnTo>
                      <a:pt x="65" y="200"/>
                    </a:lnTo>
                    <a:lnTo>
                      <a:pt x="72" y="194"/>
                    </a:lnTo>
                    <a:lnTo>
                      <a:pt x="72" y="194"/>
                    </a:lnTo>
                    <a:lnTo>
                      <a:pt x="77" y="195"/>
                    </a:lnTo>
                    <a:lnTo>
                      <a:pt x="77" y="195"/>
                    </a:lnTo>
                    <a:lnTo>
                      <a:pt x="81" y="200"/>
                    </a:lnTo>
                    <a:lnTo>
                      <a:pt x="81" y="200"/>
                    </a:lnTo>
                    <a:lnTo>
                      <a:pt x="84" y="203"/>
                    </a:lnTo>
                    <a:lnTo>
                      <a:pt x="85" y="203"/>
                    </a:lnTo>
                    <a:lnTo>
                      <a:pt x="86" y="203"/>
                    </a:lnTo>
                    <a:lnTo>
                      <a:pt x="86" y="203"/>
                    </a:lnTo>
                    <a:lnTo>
                      <a:pt x="90" y="204"/>
                    </a:lnTo>
                    <a:lnTo>
                      <a:pt x="90" y="204"/>
                    </a:lnTo>
                    <a:lnTo>
                      <a:pt x="88" y="204"/>
                    </a:lnTo>
                    <a:lnTo>
                      <a:pt x="92" y="207"/>
                    </a:lnTo>
                    <a:lnTo>
                      <a:pt x="92" y="207"/>
                    </a:lnTo>
                    <a:lnTo>
                      <a:pt x="92" y="207"/>
                    </a:lnTo>
                    <a:lnTo>
                      <a:pt x="92" y="206"/>
                    </a:lnTo>
                    <a:lnTo>
                      <a:pt x="92" y="206"/>
                    </a:lnTo>
                    <a:lnTo>
                      <a:pt x="90" y="206"/>
                    </a:lnTo>
                    <a:lnTo>
                      <a:pt x="90" y="206"/>
                    </a:lnTo>
                    <a:lnTo>
                      <a:pt x="92" y="206"/>
                    </a:lnTo>
                    <a:lnTo>
                      <a:pt x="92" y="206"/>
                    </a:lnTo>
                    <a:lnTo>
                      <a:pt x="93" y="202"/>
                    </a:lnTo>
                    <a:lnTo>
                      <a:pt x="93" y="199"/>
                    </a:lnTo>
                    <a:lnTo>
                      <a:pt x="99" y="195"/>
                    </a:lnTo>
                    <a:lnTo>
                      <a:pt x="107" y="195"/>
                    </a:lnTo>
                    <a:lnTo>
                      <a:pt x="113" y="202"/>
                    </a:lnTo>
                    <a:lnTo>
                      <a:pt x="113" y="202"/>
                    </a:lnTo>
                    <a:lnTo>
                      <a:pt x="113" y="200"/>
                    </a:lnTo>
                    <a:lnTo>
                      <a:pt x="114" y="202"/>
                    </a:lnTo>
                    <a:lnTo>
                      <a:pt x="114" y="202"/>
                    </a:lnTo>
                    <a:lnTo>
                      <a:pt x="113" y="199"/>
                    </a:lnTo>
                    <a:lnTo>
                      <a:pt x="111" y="198"/>
                    </a:lnTo>
                    <a:lnTo>
                      <a:pt x="111" y="198"/>
                    </a:lnTo>
                    <a:lnTo>
                      <a:pt x="111" y="198"/>
                    </a:lnTo>
                    <a:lnTo>
                      <a:pt x="111" y="198"/>
                    </a:lnTo>
                    <a:lnTo>
                      <a:pt x="113" y="198"/>
                    </a:lnTo>
                    <a:lnTo>
                      <a:pt x="113" y="198"/>
                    </a:lnTo>
                    <a:lnTo>
                      <a:pt x="115" y="198"/>
                    </a:lnTo>
                    <a:lnTo>
                      <a:pt x="115" y="198"/>
                    </a:lnTo>
                    <a:lnTo>
                      <a:pt x="118" y="198"/>
                    </a:lnTo>
                    <a:lnTo>
                      <a:pt x="118" y="198"/>
                    </a:lnTo>
                    <a:lnTo>
                      <a:pt x="123" y="199"/>
                    </a:lnTo>
                    <a:lnTo>
                      <a:pt x="123" y="199"/>
                    </a:lnTo>
                    <a:lnTo>
                      <a:pt x="122" y="199"/>
                    </a:lnTo>
                    <a:lnTo>
                      <a:pt x="122" y="199"/>
                    </a:lnTo>
                    <a:lnTo>
                      <a:pt x="123" y="199"/>
                    </a:lnTo>
                    <a:lnTo>
                      <a:pt x="123" y="199"/>
                    </a:lnTo>
                    <a:lnTo>
                      <a:pt x="123" y="199"/>
                    </a:lnTo>
                    <a:lnTo>
                      <a:pt x="123" y="199"/>
                    </a:lnTo>
                    <a:lnTo>
                      <a:pt x="129" y="193"/>
                    </a:lnTo>
                    <a:lnTo>
                      <a:pt x="129" y="193"/>
                    </a:lnTo>
                    <a:lnTo>
                      <a:pt x="126" y="194"/>
                    </a:lnTo>
                    <a:lnTo>
                      <a:pt x="126" y="197"/>
                    </a:lnTo>
                    <a:lnTo>
                      <a:pt x="126" y="197"/>
                    </a:lnTo>
                    <a:lnTo>
                      <a:pt x="125" y="194"/>
                    </a:lnTo>
                    <a:lnTo>
                      <a:pt x="125" y="194"/>
                    </a:lnTo>
                    <a:lnTo>
                      <a:pt x="125" y="189"/>
                    </a:lnTo>
                    <a:lnTo>
                      <a:pt x="125" y="189"/>
                    </a:lnTo>
                    <a:lnTo>
                      <a:pt x="126" y="189"/>
                    </a:lnTo>
                    <a:lnTo>
                      <a:pt x="126" y="189"/>
                    </a:lnTo>
                    <a:lnTo>
                      <a:pt x="126" y="189"/>
                    </a:lnTo>
                    <a:lnTo>
                      <a:pt x="126" y="189"/>
                    </a:lnTo>
                    <a:lnTo>
                      <a:pt x="130" y="183"/>
                    </a:lnTo>
                    <a:lnTo>
                      <a:pt x="130" y="183"/>
                    </a:lnTo>
                    <a:lnTo>
                      <a:pt x="129" y="183"/>
                    </a:lnTo>
                    <a:lnTo>
                      <a:pt x="129" y="183"/>
                    </a:lnTo>
                    <a:lnTo>
                      <a:pt x="130" y="181"/>
                    </a:lnTo>
                    <a:lnTo>
                      <a:pt x="130" y="181"/>
                    </a:lnTo>
                    <a:lnTo>
                      <a:pt x="131" y="177"/>
                    </a:lnTo>
                    <a:lnTo>
                      <a:pt x="135" y="173"/>
                    </a:lnTo>
                    <a:lnTo>
                      <a:pt x="138" y="173"/>
                    </a:lnTo>
                    <a:lnTo>
                      <a:pt x="138" y="173"/>
                    </a:lnTo>
                    <a:lnTo>
                      <a:pt x="143" y="170"/>
                    </a:lnTo>
                    <a:lnTo>
                      <a:pt x="143" y="170"/>
                    </a:lnTo>
                    <a:lnTo>
                      <a:pt x="147" y="169"/>
                    </a:lnTo>
                    <a:lnTo>
                      <a:pt x="148" y="167"/>
                    </a:lnTo>
                    <a:lnTo>
                      <a:pt x="148" y="167"/>
                    </a:lnTo>
                    <a:lnTo>
                      <a:pt x="148" y="169"/>
                    </a:lnTo>
                    <a:lnTo>
                      <a:pt x="148" y="169"/>
                    </a:lnTo>
                    <a:lnTo>
                      <a:pt x="150" y="169"/>
                    </a:lnTo>
                    <a:lnTo>
                      <a:pt x="150" y="169"/>
                    </a:lnTo>
                    <a:lnTo>
                      <a:pt x="151" y="171"/>
                    </a:lnTo>
                    <a:lnTo>
                      <a:pt x="151" y="170"/>
                    </a:lnTo>
                    <a:lnTo>
                      <a:pt x="151" y="170"/>
                    </a:lnTo>
                    <a:lnTo>
                      <a:pt x="152" y="170"/>
                    </a:lnTo>
                    <a:lnTo>
                      <a:pt x="150" y="167"/>
                    </a:lnTo>
                    <a:lnTo>
                      <a:pt x="150" y="167"/>
                    </a:lnTo>
                    <a:lnTo>
                      <a:pt x="150" y="167"/>
                    </a:lnTo>
                    <a:lnTo>
                      <a:pt x="150" y="167"/>
                    </a:lnTo>
                    <a:lnTo>
                      <a:pt x="150" y="167"/>
                    </a:lnTo>
                    <a:lnTo>
                      <a:pt x="148" y="165"/>
                    </a:lnTo>
                    <a:lnTo>
                      <a:pt x="148" y="165"/>
                    </a:lnTo>
                    <a:lnTo>
                      <a:pt x="148" y="165"/>
                    </a:lnTo>
                    <a:lnTo>
                      <a:pt x="148" y="165"/>
                    </a:lnTo>
                    <a:lnTo>
                      <a:pt x="147" y="163"/>
                    </a:lnTo>
                    <a:lnTo>
                      <a:pt x="147" y="163"/>
                    </a:lnTo>
                    <a:lnTo>
                      <a:pt x="147" y="163"/>
                    </a:lnTo>
                    <a:lnTo>
                      <a:pt x="147" y="163"/>
                    </a:lnTo>
                    <a:lnTo>
                      <a:pt x="146" y="161"/>
                    </a:lnTo>
                    <a:lnTo>
                      <a:pt x="146" y="156"/>
                    </a:lnTo>
                    <a:lnTo>
                      <a:pt x="147" y="153"/>
                    </a:lnTo>
                    <a:lnTo>
                      <a:pt x="147" y="153"/>
                    </a:lnTo>
                    <a:lnTo>
                      <a:pt x="150" y="150"/>
                    </a:lnTo>
                    <a:lnTo>
                      <a:pt x="150" y="150"/>
                    </a:lnTo>
                    <a:lnTo>
                      <a:pt x="152" y="146"/>
                    </a:lnTo>
                    <a:lnTo>
                      <a:pt x="154" y="144"/>
                    </a:lnTo>
                    <a:lnTo>
                      <a:pt x="154" y="142"/>
                    </a:lnTo>
                    <a:lnTo>
                      <a:pt x="158" y="137"/>
                    </a:lnTo>
                    <a:lnTo>
                      <a:pt x="158" y="137"/>
                    </a:lnTo>
                    <a:lnTo>
                      <a:pt x="156" y="138"/>
                    </a:lnTo>
                    <a:lnTo>
                      <a:pt x="156" y="138"/>
                    </a:lnTo>
                    <a:lnTo>
                      <a:pt x="156" y="137"/>
                    </a:lnTo>
                    <a:lnTo>
                      <a:pt x="163" y="130"/>
                    </a:lnTo>
                    <a:lnTo>
                      <a:pt x="172" y="130"/>
                    </a:lnTo>
                    <a:lnTo>
                      <a:pt x="172" y="130"/>
                    </a:lnTo>
                    <a:lnTo>
                      <a:pt x="174" y="129"/>
                    </a:lnTo>
                    <a:lnTo>
                      <a:pt x="174" y="129"/>
                    </a:lnTo>
                    <a:lnTo>
                      <a:pt x="176" y="126"/>
                    </a:lnTo>
                    <a:lnTo>
                      <a:pt x="180" y="125"/>
                    </a:lnTo>
                    <a:lnTo>
                      <a:pt x="180" y="125"/>
                    </a:lnTo>
                    <a:lnTo>
                      <a:pt x="181" y="124"/>
                    </a:lnTo>
                    <a:lnTo>
                      <a:pt x="181" y="124"/>
                    </a:lnTo>
                    <a:lnTo>
                      <a:pt x="180" y="126"/>
                    </a:lnTo>
                    <a:lnTo>
                      <a:pt x="188" y="122"/>
                    </a:lnTo>
                    <a:lnTo>
                      <a:pt x="188" y="122"/>
                    </a:lnTo>
                    <a:lnTo>
                      <a:pt x="187" y="121"/>
                    </a:lnTo>
                    <a:lnTo>
                      <a:pt x="187" y="121"/>
                    </a:lnTo>
                    <a:lnTo>
                      <a:pt x="187" y="121"/>
                    </a:lnTo>
                    <a:lnTo>
                      <a:pt x="187" y="121"/>
                    </a:lnTo>
                    <a:lnTo>
                      <a:pt x="192" y="120"/>
                    </a:lnTo>
                    <a:lnTo>
                      <a:pt x="192" y="120"/>
                    </a:lnTo>
                    <a:lnTo>
                      <a:pt x="195" y="121"/>
                    </a:lnTo>
                    <a:lnTo>
                      <a:pt x="197" y="122"/>
                    </a:lnTo>
                    <a:lnTo>
                      <a:pt x="197" y="122"/>
                    </a:lnTo>
                    <a:lnTo>
                      <a:pt x="199" y="126"/>
                    </a:lnTo>
                    <a:lnTo>
                      <a:pt x="199" y="129"/>
                    </a:lnTo>
                    <a:lnTo>
                      <a:pt x="199" y="129"/>
                    </a:lnTo>
                    <a:lnTo>
                      <a:pt x="199" y="130"/>
                    </a:lnTo>
                    <a:lnTo>
                      <a:pt x="199" y="130"/>
                    </a:lnTo>
                    <a:lnTo>
                      <a:pt x="199" y="132"/>
                    </a:lnTo>
                    <a:lnTo>
                      <a:pt x="200" y="133"/>
                    </a:lnTo>
                    <a:lnTo>
                      <a:pt x="200" y="133"/>
                    </a:lnTo>
                    <a:lnTo>
                      <a:pt x="200" y="130"/>
                    </a:lnTo>
                    <a:lnTo>
                      <a:pt x="200" y="130"/>
                    </a:lnTo>
                    <a:lnTo>
                      <a:pt x="201" y="133"/>
                    </a:lnTo>
                    <a:lnTo>
                      <a:pt x="201" y="137"/>
                    </a:lnTo>
                    <a:lnTo>
                      <a:pt x="201" y="138"/>
                    </a:lnTo>
                    <a:lnTo>
                      <a:pt x="201" y="138"/>
                    </a:lnTo>
                    <a:lnTo>
                      <a:pt x="203" y="140"/>
                    </a:lnTo>
                    <a:lnTo>
                      <a:pt x="203" y="140"/>
                    </a:lnTo>
                    <a:lnTo>
                      <a:pt x="201" y="138"/>
                    </a:lnTo>
                    <a:lnTo>
                      <a:pt x="204" y="142"/>
                    </a:lnTo>
                    <a:lnTo>
                      <a:pt x="204" y="142"/>
                    </a:lnTo>
                    <a:lnTo>
                      <a:pt x="204" y="141"/>
                    </a:lnTo>
                    <a:lnTo>
                      <a:pt x="204" y="141"/>
                    </a:lnTo>
                    <a:lnTo>
                      <a:pt x="205" y="142"/>
                    </a:lnTo>
                    <a:lnTo>
                      <a:pt x="205" y="146"/>
                    </a:lnTo>
                    <a:lnTo>
                      <a:pt x="205" y="146"/>
                    </a:lnTo>
                    <a:lnTo>
                      <a:pt x="207" y="146"/>
                    </a:lnTo>
                    <a:lnTo>
                      <a:pt x="208" y="148"/>
                    </a:lnTo>
                    <a:lnTo>
                      <a:pt x="208" y="148"/>
                    </a:lnTo>
                    <a:lnTo>
                      <a:pt x="211" y="150"/>
                    </a:lnTo>
                    <a:lnTo>
                      <a:pt x="211" y="150"/>
                    </a:lnTo>
                    <a:lnTo>
                      <a:pt x="213" y="153"/>
                    </a:lnTo>
                    <a:lnTo>
                      <a:pt x="216" y="158"/>
                    </a:lnTo>
                    <a:lnTo>
                      <a:pt x="216" y="159"/>
                    </a:lnTo>
                    <a:lnTo>
                      <a:pt x="216" y="161"/>
                    </a:lnTo>
                    <a:lnTo>
                      <a:pt x="216" y="161"/>
                    </a:lnTo>
                    <a:lnTo>
                      <a:pt x="216" y="161"/>
                    </a:lnTo>
                    <a:lnTo>
                      <a:pt x="216" y="161"/>
                    </a:lnTo>
                    <a:lnTo>
                      <a:pt x="216" y="161"/>
                    </a:lnTo>
                    <a:lnTo>
                      <a:pt x="218" y="165"/>
                    </a:lnTo>
                    <a:lnTo>
                      <a:pt x="218" y="165"/>
                    </a:lnTo>
                    <a:lnTo>
                      <a:pt x="221" y="162"/>
                    </a:lnTo>
                    <a:lnTo>
                      <a:pt x="221" y="162"/>
                    </a:lnTo>
                    <a:lnTo>
                      <a:pt x="225" y="159"/>
                    </a:lnTo>
                    <a:lnTo>
                      <a:pt x="230" y="158"/>
                    </a:lnTo>
                    <a:lnTo>
                      <a:pt x="230" y="158"/>
                    </a:lnTo>
                    <a:lnTo>
                      <a:pt x="233" y="158"/>
                    </a:lnTo>
                    <a:lnTo>
                      <a:pt x="237" y="159"/>
                    </a:lnTo>
                    <a:lnTo>
                      <a:pt x="237" y="159"/>
                    </a:lnTo>
                    <a:lnTo>
                      <a:pt x="238" y="159"/>
                    </a:lnTo>
                    <a:lnTo>
                      <a:pt x="238" y="159"/>
                    </a:lnTo>
                    <a:lnTo>
                      <a:pt x="244" y="158"/>
                    </a:lnTo>
                    <a:lnTo>
                      <a:pt x="244" y="158"/>
                    </a:lnTo>
                    <a:lnTo>
                      <a:pt x="246" y="158"/>
                    </a:lnTo>
                    <a:lnTo>
                      <a:pt x="246" y="158"/>
                    </a:lnTo>
                    <a:lnTo>
                      <a:pt x="246" y="158"/>
                    </a:lnTo>
                    <a:lnTo>
                      <a:pt x="250" y="161"/>
                    </a:lnTo>
                    <a:lnTo>
                      <a:pt x="250" y="161"/>
                    </a:lnTo>
                    <a:lnTo>
                      <a:pt x="248" y="159"/>
                    </a:lnTo>
                    <a:lnTo>
                      <a:pt x="250" y="161"/>
                    </a:lnTo>
                    <a:lnTo>
                      <a:pt x="250" y="161"/>
                    </a:lnTo>
                    <a:lnTo>
                      <a:pt x="253" y="158"/>
                    </a:lnTo>
                    <a:lnTo>
                      <a:pt x="258" y="156"/>
                    </a:lnTo>
                    <a:lnTo>
                      <a:pt x="259" y="156"/>
                    </a:lnTo>
                    <a:lnTo>
                      <a:pt x="265" y="162"/>
                    </a:lnTo>
                    <a:lnTo>
                      <a:pt x="265" y="162"/>
                    </a:lnTo>
                    <a:lnTo>
                      <a:pt x="265" y="162"/>
                    </a:lnTo>
                    <a:lnTo>
                      <a:pt x="265" y="159"/>
                    </a:lnTo>
                    <a:lnTo>
                      <a:pt x="265" y="159"/>
                    </a:lnTo>
                    <a:lnTo>
                      <a:pt x="263" y="158"/>
                    </a:lnTo>
                    <a:lnTo>
                      <a:pt x="263" y="158"/>
                    </a:lnTo>
                    <a:lnTo>
                      <a:pt x="262" y="158"/>
                    </a:lnTo>
                    <a:lnTo>
                      <a:pt x="261" y="157"/>
                    </a:lnTo>
                    <a:lnTo>
                      <a:pt x="261" y="157"/>
                    </a:lnTo>
                    <a:lnTo>
                      <a:pt x="262" y="157"/>
                    </a:lnTo>
                    <a:lnTo>
                      <a:pt x="262" y="157"/>
                    </a:lnTo>
                    <a:lnTo>
                      <a:pt x="265" y="157"/>
                    </a:lnTo>
                    <a:lnTo>
                      <a:pt x="265" y="157"/>
                    </a:lnTo>
                    <a:lnTo>
                      <a:pt x="266" y="157"/>
                    </a:lnTo>
                    <a:lnTo>
                      <a:pt x="266" y="157"/>
                    </a:lnTo>
                    <a:lnTo>
                      <a:pt x="267" y="157"/>
                    </a:lnTo>
                    <a:lnTo>
                      <a:pt x="267" y="157"/>
                    </a:lnTo>
                    <a:lnTo>
                      <a:pt x="271" y="158"/>
                    </a:lnTo>
                    <a:lnTo>
                      <a:pt x="271" y="158"/>
                    </a:lnTo>
                    <a:lnTo>
                      <a:pt x="271" y="156"/>
                    </a:lnTo>
                    <a:lnTo>
                      <a:pt x="271" y="156"/>
                    </a:lnTo>
                    <a:lnTo>
                      <a:pt x="271" y="152"/>
                    </a:lnTo>
                    <a:lnTo>
                      <a:pt x="274" y="146"/>
                    </a:lnTo>
                    <a:lnTo>
                      <a:pt x="274" y="146"/>
                    </a:lnTo>
                    <a:lnTo>
                      <a:pt x="275" y="144"/>
                    </a:lnTo>
                    <a:lnTo>
                      <a:pt x="275" y="144"/>
                    </a:lnTo>
                    <a:lnTo>
                      <a:pt x="275" y="144"/>
                    </a:lnTo>
                    <a:lnTo>
                      <a:pt x="275" y="145"/>
                    </a:lnTo>
                    <a:lnTo>
                      <a:pt x="278" y="141"/>
                    </a:lnTo>
                    <a:lnTo>
                      <a:pt x="278" y="141"/>
                    </a:lnTo>
                    <a:lnTo>
                      <a:pt x="281" y="142"/>
                    </a:lnTo>
                    <a:lnTo>
                      <a:pt x="279" y="141"/>
                    </a:lnTo>
                    <a:lnTo>
                      <a:pt x="281" y="140"/>
                    </a:lnTo>
                    <a:lnTo>
                      <a:pt x="281" y="140"/>
                    </a:lnTo>
                    <a:lnTo>
                      <a:pt x="278" y="140"/>
                    </a:lnTo>
                    <a:lnTo>
                      <a:pt x="275" y="137"/>
                    </a:lnTo>
                    <a:lnTo>
                      <a:pt x="275" y="137"/>
                    </a:lnTo>
                    <a:lnTo>
                      <a:pt x="275" y="138"/>
                    </a:lnTo>
                    <a:lnTo>
                      <a:pt x="275" y="138"/>
                    </a:lnTo>
                    <a:lnTo>
                      <a:pt x="273" y="136"/>
                    </a:lnTo>
                    <a:lnTo>
                      <a:pt x="271" y="130"/>
                    </a:lnTo>
                    <a:lnTo>
                      <a:pt x="271" y="130"/>
                    </a:lnTo>
                    <a:lnTo>
                      <a:pt x="271" y="126"/>
                    </a:lnTo>
                    <a:lnTo>
                      <a:pt x="273" y="124"/>
                    </a:lnTo>
                    <a:lnTo>
                      <a:pt x="273" y="124"/>
                    </a:lnTo>
                    <a:lnTo>
                      <a:pt x="273" y="124"/>
                    </a:lnTo>
                    <a:lnTo>
                      <a:pt x="273" y="126"/>
                    </a:lnTo>
                    <a:lnTo>
                      <a:pt x="275" y="121"/>
                    </a:lnTo>
                    <a:lnTo>
                      <a:pt x="275" y="121"/>
                    </a:lnTo>
                    <a:lnTo>
                      <a:pt x="278" y="120"/>
                    </a:lnTo>
                    <a:lnTo>
                      <a:pt x="283" y="119"/>
                    </a:lnTo>
                    <a:lnTo>
                      <a:pt x="283" y="119"/>
                    </a:lnTo>
                    <a:lnTo>
                      <a:pt x="285" y="119"/>
                    </a:lnTo>
                    <a:lnTo>
                      <a:pt x="287" y="119"/>
                    </a:lnTo>
                    <a:lnTo>
                      <a:pt x="294" y="125"/>
                    </a:lnTo>
                    <a:lnTo>
                      <a:pt x="294" y="125"/>
                    </a:lnTo>
                    <a:lnTo>
                      <a:pt x="292" y="122"/>
                    </a:lnTo>
                    <a:lnTo>
                      <a:pt x="292" y="122"/>
                    </a:lnTo>
                    <a:lnTo>
                      <a:pt x="290" y="121"/>
                    </a:lnTo>
                    <a:lnTo>
                      <a:pt x="289" y="120"/>
                    </a:lnTo>
                    <a:lnTo>
                      <a:pt x="289" y="120"/>
                    </a:lnTo>
                    <a:lnTo>
                      <a:pt x="290" y="120"/>
                    </a:lnTo>
                    <a:lnTo>
                      <a:pt x="290" y="120"/>
                    </a:lnTo>
                    <a:lnTo>
                      <a:pt x="292" y="120"/>
                    </a:lnTo>
                    <a:lnTo>
                      <a:pt x="292" y="120"/>
                    </a:lnTo>
                    <a:lnTo>
                      <a:pt x="294" y="120"/>
                    </a:lnTo>
                    <a:lnTo>
                      <a:pt x="296" y="120"/>
                    </a:lnTo>
                    <a:lnTo>
                      <a:pt x="298" y="121"/>
                    </a:lnTo>
                    <a:lnTo>
                      <a:pt x="299" y="120"/>
                    </a:lnTo>
                    <a:lnTo>
                      <a:pt x="299" y="120"/>
                    </a:lnTo>
                    <a:lnTo>
                      <a:pt x="300" y="119"/>
                    </a:lnTo>
                    <a:lnTo>
                      <a:pt x="300" y="119"/>
                    </a:lnTo>
                    <a:lnTo>
                      <a:pt x="302" y="117"/>
                    </a:lnTo>
                    <a:lnTo>
                      <a:pt x="308" y="112"/>
                    </a:lnTo>
                    <a:lnTo>
                      <a:pt x="308" y="112"/>
                    </a:lnTo>
                    <a:lnTo>
                      <a:pt x="314" y="113"/>
                    </a:lnTo>
                    <a:lnTo>
                      <a:pt x="318" y="116"/>
                    </a:lnTo>
                    <a:lnTo>
                      <a:pt x="318" y="116"/>
                    </a:lnTo>
                    <a:lnTo>
                      <a:pt x="323" y="119"/>
                    </a:lnTo>
                    <a:lnTo>
                      <a:pt x="327" y="125"/>
                    </a:lnTo>
                    <a:lnTo>
                      <a:pt x="327" y="125"/>
                    </a:lnTo>
                    <a:lnTo>
                      <a:pt x="327" y="128"/>
                    </a:lnTo>
                    <a:lnTo>
                      <a:pt x="327" y="130"/>
                    </a:lnTo>
                    <a:lnTo>
                      <a:pt x="327" y="130"/>
                    </a:lnTo>
                    <a:lnTo>
                      <a:pt x="326" y="134"/>
                    </a:lnTo>
                    <a:lnTo>
                      <a:pt x="326" y="134"/>
                    </a:lnTo>
                    <a:lnTo>
                      <a:pt x="328" y="134"/>
                    </a:lnTo>
                    <a:lnTo>
                      <a:pt x="328" y="134"/>
                    </a:lnTo>
                    <a:lnTo>
                      <a:pt x="333" y="133"/>
                    </a:lnTo>
                    <a:lnTo>
                      <a:pt x="333" y="133"/>
                    </a:lnTo>
                    <a:lnTo>
                      <a:pt x="337" y="132"/>
                    </a:lnTo>
                    <a:lnTo>
                      <a:pt x="343" y="132"/>
                    </a:lnTo>
                    <a:lnTo>
                      <a:pt x="343" y="132"/>
                    </a:lnTo>
                    <a:lnTo>
                      <a:pt x="347" y="132"/>
                    </a:lnTo>
                    <a:lnTo>
                      <a:pt x="347" y="132"/>
                    </a:lnTo>
                    <a:lnTo>
                      <a:pt x="348" y="132"/>
                    </a:lnTo>
                    <a:lnTo>
                      <a:pt x="348" y="132"/>
                    </a:lnTo>
                    <a:lnTo>
                      <a:pt x="351" y="132"/>
                    </a:lnTo>
                    <a:lnTo>
                      <a:pt x="351" y="132"/>
                    </a:lnTo>
                    <a:lnTo>
                      <a:pt x="352" y="132"/>
                    </a:lnTo>
                    <a:lnTo>
                      <a:pt x="352" y="132"/>
                    </a:lnTo>
                    <a:lnTo>
                      <a:pt x="349" y="133"/>
                    </a:lnTo>
                    <a:lnTo>
                      <a:pt x="348" y="136"/>
                    </a:lnTo>
                    <a:lnTo>
                      <a:pt x="355" y="130"/>
                    </a:lnTo>
                    <a:lnTo>
                      <a:pt x="357" y="130"/>
                    </a:lnTo>
                    <a:lnTo>
                      <a:pt x="357" y="130"/>
                    </a:lnTo>
                    <a:lnTo>
                      <a:pt x="360" y="129"/>
                    </a:lnTo>
                    <a:lnTo>
                      <a:pt x="363" y="126"/>
                    </a:lnTo>
                    <a:lnTo>
                      <a:pt x="372" y="126"/>
                    </a:lnTo>
                    <a:lnTo>
                      <a:pt x="372" y="126"/>
                    </a:lnTo>
                    <a:lnTo>
                      <a:pt x="374" y="128"/>
                    </a:lnTo>
                    <a:lnTo>
                      <a:pt x="374" y="128"/>
                    </a:lnTo>
                    <a:lnTo>
                      <a:pt x="377" y="126"/>
                    </a:lnTo>
                    <a:lnTo>
                      <a:pt x="380" y="125"/>
                    </a:lnTo>
                    <a:lnTo>
                      <a:pt x="382" y="122"/>
                    </a:lnTo>
                    <a:lnTo>
                      <a:pt x="384" y="120"/>
                    </a:lnTo>
                    <a:lnTo>
                      <a:pt x="384" y="113"/>
                    </a:lnTo>
                    <a:lnTo>
                      <a:pt x="388" y="109"/>
                    </a:lnTo>
                    <a:lnTo>
                      <a:pt x="386" y="109"/>
                    </a:lnTo>
                    <a:lnTo>
                      <a:pt x="386" y="109"/>
                    </a:lnTo>
                    <a:lnTo>
                      <a:pt x="385" y="111"/>
                    </a:lnTo>
                    <a:lnTo>
                      <a:pt x="385" y="111"/>
                    </a:lnTo>
                    <a:lnTo>
                      <a:pt x="385" y="111"/>
                    </a:lnTo>
                    <a:lnTo>
                      <a:pt x="385" y="111"/>
                    </a:lnTo>
                    <a:lnTo>
                      <a:pt x="385" y="109"/>
                    </a:lnTo>
                    <a:lnTo>
                      <a:pt x="385" y="109"/>
                    </a:lnTo>
                    <a:lnTo>
                      <a:pt x="385" y="104"/>
                    </a:lnTo>
                    <a:lnTo>
                      <a:pt x="386" y="101"/>
                    </a:lnTo>
                    <a:lnTo>
                      <a:pt x="386" y="101"/>
                    </a:lnTo>
                    <a:lnTo>
                      <a:pt x="386" y="101"/>
                    </a:lnTo>
                    <a:lnTo>
                      <a:pt x="390" y="96"/>
                    </a:lnTo>
                    <a:lnTo>
                      <a:pt x="390" y="96"/>
                    </a:lnTo>
                    <a:lnTo>
                      <a:pt x="389" y="96"/>
                    </a:lnTo>
                    <a:lnTo>
                      <a:pt x="389" y="96"/>
                    </a:lnTo>
                    <a:lnTo>
                      <a:pt x="389" y="95"/>
                    </a:lnTo>
                    <a:lnTo>
                      <a:pt x="389" y="95"/>
                    </a:lnTo>
                    <a:lnTo>
                      <a:pt x="392" y="89"/>
                    </a:lnTo>
                    <a:lnTo>
                      <a:pt x="392" y="89"/>
                    </a:lnTo>
                    <a:lnTo>
                      <a:pt x="394" y="87"/>
                    </a:lnTo>
                    <a:lnTo>
                      <a:pt x="397" y="81"/>
                    </a:lnTo>
                    <a:lnTo>
                      <a:pt x="398" y="81"/>
                    </a:lnTo>
                    <a:lnTo>
                      <a:pt x="401" y="78"/>
                    </a:lnTo>
                    <a:lnTo>
                      <a:pt x="401" y="78"/>
                    </a:lnTo>
                    <a:lnTo>
                      <a:pt x="401" y="78"/>
                    </a:lnTo>
                    <a:lnTo>
                      <a:pt x="401" y="78"/>
                    </a:lnTo>
                    <a:lnTo>
                      <a:pt x="400" y="79"/>
                    </a:lnTo>
                    <a:lnTo>
                      <a:pt x="400" y="79"/>
                    </a:lnTo>
                    <a:lnTo>
                      <a:pt x="400" y="78"/>
                    </a:lnTo>
                    <a:lnTo>
                      <a:pt x="400" y="78"/>
                    </a:lnTo>
                    <a:lnTo>
                      <a:pt x="402" y="75"/>
                    </a:lnTo>
                    <a:lnTo>
                      <a:pt x="402" y="75"/>
                    </a:lnTo>
                    <a:lnTo>
                      <a:pt x="402" y="75"/>
                    </a:lnTo>
                    <a:lnTo>
                      <a:pt x="402" y="75"/>
                    </a:lnTo>
                    <a:lnTo>
                      <a:pt x="402" y="75"/>
                    </a:lnTo>
                    <a:lnTo>
                      <a:pt x="406" y="78"/>
                    </a:lnTo>
                    <a:lnTo>
                      <a:pt x="406" y="78"/>
                    </a:lnTo>
                    <a:lnTo>
                      <a:pt x="406" y="78"/>
                    </a:lnTo>
                    <a:lnTo>
                      <a:pt x="406" y="76"/>
                    </a:lnTo>
                    <a:lnTo>
                      <a:pt x="406" y="76"/>
                    </a:lnTo>
                    <a:lnTo>
                      <a:pt x="406" y="76"/>
                    </a:lnTo>
                    <a:lnTo>
                      <a:pt x="405" y="74"/>
                    </a:lnTo>
                    <a:lnTo>
                      <a:pt x="406" y="72"/>
                    </a:lnTo>
                    <a:lnTo>
                      <a:pt x="406" y="71"/>
                    </a:lnTo>
                    <a:lnTo>
                      <a:pt x="406" y="71"/>
                    </a:lnTo>
                    <a:lnTo>
                      <a:pt x="404" y="71"/>
                    </a:lnTo>
                    <a:lnTo>
                      <a:pt x="402" y="74"/>
                    </a:lnTo>
                    <a:lnTo>
                      <a:pt x="401" y="72"/>
                    </a:lnTo>
                    <a:lnTo>
                      <a:pt x="401" y="71"/>
                    </a:lnTo>
                    <a:lnTo>
                      <a:pt x="401" y="71"/>
                    </a:lnTo>
                    <a:lnTo>
                      <a:pt x="401" y="67"/>
                    </a:lnTo>
                    <a:lnTo>
                      <a:pt x="401" y="64"/>
                    </a:lnTo>
                    <a:lnTo>
                      <a:pt x="405" y="60"/>
                    </a:lnTo>
                    <a:lnTo>
                      <a:pt x="405" y="60"/>
                    </a:lnTo>
                    <a:lnTo>
                      <a:pt x="404" y="60"/>
                    </a:lnTo>
                    <a:lnTo>
                      <a:pt x="404" y="60"/>
                    </a:lnTo>
                    <a:lnTo>
                      <a:pt x="402" y="55"/>
                    </a:lnTo>
                    <a:lnTo>
                      <a:pt x="402" y="55"/>
                    </a:lnTo>
                    <a:lnTo>
                      <a:pt x="402" y="54"/>
                    </a:lnTo>
                    <a:lnTo>
                      <a:pt x="402" y="54"/>
                    </a:lnTo>
                    <a:lnTo>
                      <a:pt x="398" y="51"/>
                    </a:lnTo>
                    <a:lnTo>
                      <a:pt x="397" y="48"/>
                    </a:lnTo>
                    <a:lnTo>
                      <a:pt x="397" y="46"/>
                    </a:lnTo>
                    <a:lnTo>
                      <a:pt x="397" y="46"/>
                    </a:lnTo>
                    <a:lnTo>
                      <a:pt x="397" y="40"/>
                    </a:lnTo>
                    <a:lnTo>
                      <a:pt x="398" y="39"/>
                    </a:lnTo>
                    <a:lnTo>
                      <a:pt x="404" y="34"/>
                    </a:lnTo>
                    <a:lnTo>
                      <a:pt x="404" y="34"/>
                    </a:lnTo>
                    <a:lnTo>
                      <a:pt x="401" y="35"/>
                    </a:lnTo>
                    <a:lnTo>
                      <a:pt x="400" y="38"/>
                    </a:lnTo>
                    <a:lnTo>
                      <a:pt x="400" y="38"/>
                    </a:lnTo>
                    <a:lnTo>
                      <a:pt x="400" y="35"/>
                    </a:lnTo>
                    <a:lnTo>
                      <a:pt x="405" y="31"/>
                    </a:lnTo>
                    <a:lnTo>
                      <a:pt x="405" y="31"/>
                    </a:lnTo>
                    <a:lnTo>
                      <a:pt x="408" y="31"/>
                    </a:lnTo>
                    <a:lnTo>
                      <a:pt x="408" y="31"/>
                    </a:lnTo>
                    <a:lnTo>
                      <a:pt x="413" y="33"/>
                    </a:lnTo>
                    <a:lnTo>
                      <a:pt x="417" y="34"/>
                    </a:lnTo>
                    <a:lnTo>
                      <a:pt x="421" y="37"/>
                    </a:lnTo>
                    <a:lnTo>
                      <a:pt x="423" y="40"/>
                    </a:lnTo>
                    <a:lnTo>
                      <a:pt x="423" y="40"/>
                    </a:lnTo>
                    <a:lnTo>
                      <a:pt x="427" y="44"/>
                    </a:lnTo>
                    <a:lnTo>
                      <a:pt x="427" y="44"/>
                    </a:lnTo>
                    <a:lnTo>
                      <a:pt x="429" y="44"/>
                    </a:lnTo>
                    <a:lnTo>
                      <a:pt x="429" y="44"/>
                    </a:lnTo>
                    <a:lnTo>
                      <a:pt x="433" y="44"/>
                    </a:lnTo>
                    <a:lnTo>
                      <a:pt x="437" y="46"/>
                    </a:lnTo>
                    <a:lnTo>
                      <a:pt x="437" y="46"/>
                    </a:lnTo>
                    <a:lnTo>
                      <a:pt x="437" y="44"/>
                    </a:lnTo>
                    <a:lnTo>
                      <a:pt x="441" y="37"/>
                    </a:lnTo>
                    <a:lnTo>
                      <a:pt x="441" y="37"/>
                    </a:lnTo>
                    <a:lnTo>
                      <a:pt x="443" y="37"/>
                    </a:lnTo>
                    <a:lnTo>
                      <a:pt x="443" y="37"/>
                    </a:lnTo>
                    <a:lnTo>
                      <a:pt x="446" y="37"/>
                    </a:lnTo>
                    <a:lnTo>
                      <a:pt x="446" y="37"/>
                    </a:lnTo>
                    <a:lnTo>
                      <a:pt x="447" y="37"/>
                    </a:lnTo>
                    <a:lnTo>
                      <a:pt x="447" y="37"/>
                    </a:lnTo>
                    <a:lnTo>
                      <a:pt x="445" y="38"/>
                    </a:lnTo>
                    <a:lnTo>
                      <a:pt x="443" y="40"/>
                    </a:lnTo>
                    <a:lnTo>
                      <a:pt x="450" y="35"/>
                    </a:lnTo>
                    <a:lnTo>
                      <a:pt x="450" y="35"/>
                    </a:lnTo>
                    <a:lnTo>
                      <a:pt x="451" y="35"/>
                    </a:lnTo>
                    <a:lnTo>
                      <a:pt x="451" y="35"/>
                    </a:lnTo>
                    <a:lnTo>
                      <a:pt x="455" y="34"/>
                    </a:lnTo>
                    <a:lnTo>
                      <a:pt x="459" y="33"/>
                    </a:lnTo>
                    <a:lnTo>
                      <a:pt x="459" y="33"/>
                    </a:lnTo>
                    <a:lnTo>
                      <a:pt x="464" y="26"/>
                    </a:lnTo>
                    <a:lnTo>
                      <a:pt x="464" y="26"/>
                    </a:lnTo>
                    <a:lnTo>
                      <a:pt x="470" y="25"/>
                    </a:lnTo>
                    <a:lnTo>
                      <a:pt x="470" y="25"/>
                    </a:lnTo>
                    <a:lnTo>
                      <a:pt x="475" y="23"/>
                    </a:lnTo>
                    <a:lnTo>
                      <a:pt x="475" y="23"/>
                    </a:lnTo>
                    <a:lnTo>
                      <a:pt x="476" y="23"/>
                    </a:lnTo>
                    <a:lnTo>
                      <a:pt x="476" y="23"/>
                    </a:lnTo>
                    <a:lnTo>
                      <a:pt x="482" y="22"/>
                    </a:lnTo>
                    <a:lnTo>
                      <a:pt x="482" y="22"/>
                    </a:lnTo>
                    <a:lnTo>
                      <a:pt x="486" y="23"/>
                    </a:lnTo>
                    <a:lnTo>
                      <a:pt x="488" y="26"/>
                    </a:lnTo>
                    <a:lnTo>
                      <a:pt x="488" y="26"/>
                    </a:lnTo>
                    <a:lnTo>
                      <a:pt x="489" y="23"/>
                    </a:lnTo>
                    <a:lnTo>
                      <a:pt x="489" y="23"/>
                    </a:lnTo>
                    <a:lnTo>
                      <a:pt x="493" y="21"/>
                    </a:lnTo>
                    <a:lnTo>
                      <a:pt x="496" y="21"/>
                    </a:lnTo>
                    <a:lnTo>
                      <a:pt x="496" y="21"/>
                    </a:lnTo>
                    <a:lnTo>
                      <a:pt x="500" y="21"/>
                    </a:lnTo>
                    <a:lnTo>
                      <a:pt x="500" y="21"/>
                    </a:lnTo>
                    <a:lnTo>
                      <a:pt x="500" y="21"/>
                    </a:lnTo>
                    <a:lnTo>
                      <a:pt x="507" y="26"/>
                    </a:lnTo>
                    <a:lnTo>
                      <a:pt x="507" y="26"/>
                    </a:lnTo>
                    <a:lnTo>
                      <a:pt x="505" y="25"/>
                    </a:lnTo>
                    <a:lnTo>
                      <a:pt x="505" y="25"/>
                    </a:lnTo>
                    <a:lnTo>
                      <a:pt x="507" y="26"/>
                    </a:lnTo>
                    <a:lnTo>
                      <a:pt x="508" y="30"/>
                    </a:lnTo>
                    <a:lnTo>
                      <a:pt x="508" y="31"/>
                    </a:lnTo>
                    <a:lnTo>
                      <a:pt x="503" y="37"/>
                    </a:lnTo>
                    <a:lnTo>
                      <a:pt x="504" y="37"/>
                    </a:lnTo>
                    <a:lnTo>
                      <a:pt x="504" y="37"/>
                    </a:lnTo>
                    <a:lnTo>
                      <a:pt x="504" y="37"/>
                    </a:lnTo>
                    <a:lnTo>
                      <a:pt x="505" y="35"/>
                    </a:lnTo>
                    <a:lnTo>
                      <a:pt x="505" y="35"/>
                    </a:lnTo>
                    <a:lnTo>
                      <a:pt x="504" y="37"/>
                    </a:lnTo>
                    <a:lnTo>
                      <a:pt x="504" y="37"/>
                    </a:lnTo>
                    <a:lnTo>
                      <a:pt x="503" y="39"/>
                    </a:lnTo>
                    <a:lnTo>
                      <a:pt x="503" y="39"/>
                    </a:lnTo>
                    <a:lnTo>
                      <a:pt x="503" y="40"/>
                    </a:lnTo>
                    <a:lnTo>
                      <a:pt x="503" y="40"/>
                    </a:lnTo>
                    <a:lnTo>
                      <a:pt x="500" y="39"/>
                    </a:lnTo>
                    <a:lnTo>
                      <a:pt x="501" y="40"/>
                    </a:lnTo>
                    <a:lnTo>
                      <a:pt x="500" y="43"/>
                    </a:lnTo>
                    <a:lnTo>
                      <a:pt x="500" y="43"/>
                    </a:lnTo>
                    <a:lnTo>
                      <a:pt x="501" y="42"/>
                    </a:lnTo>
                    <a:lnTo>
                      <a:pt x="503" y="40"/>
                    </a:lnTo>
                    <a:lnTo>
                      <a:pt x="504" y="42"/>
                    </a:lnTo>
                    <a:lnTo>
                      <a:pt x="504" y="42"/>
                    </a:lnTo>
                    <a:lnTo>
                      <a:pt x="507" y="44"/>
                    </a:lnTo>
                    <a:lnTo>
                      <a:pt x="509" y="48"/>
                    </a:lnTo>
                    <a:lnTo>
                      <a:pt x="509" y="48"/>
                    </a:lnTo>
                    <a:lnTo>
                      <a:pt x="512" y="50"/>
                    </a:lnTo>
                    <a:lnTo>
                      <a:pt x="513" y="51"/>
                    </a:lnTo>
                    <a:lnTo>
                      <a:pt x="513" y="51"/>
                    </a:lnTo>
                    <a:lnTo>
                      <a:pt x="513" y="51"/>
                    </a:lnTo>
                    <a:lnTo>
                      <a:pt x="513" y="51"/>
                    </a:lnTo>
                    <a:lnTo>
                      <a:pt x="513" y="51"/>
                    </a:lnTo>
                    <a:lnTo>
                      <a:pt x="517" y="46"/>
                    </a:lnTo>
                    <a:lnTo>
                      <a:pt x="517" y="46"/>
                    </a:lnTo>
                    <a:lnTo>
                      <a:pt x="517" y="46"/>
                    </a:lnTo>
                    <a:lnTo>
                      <a:pt x="517" y="46"/>
                    </a:lnTo>
                    <a:lnTo>
                      <a:pt x="521" y="43"/>
                    </a:lnTo>
                    <a:lnTo>
                      <a:pt x="523" y="42"/>
                    </a:lnTo>
                    <a:lnTo>
                      <a:pt x="527" y="42"/>
                    </a:lnTo>
                    <a:lnTo>
                      <a:pt x="527" y="42"/>
                    </a:lnTo>
                    <a:lnTo>
                      <a:pt x="529" y="42"/>
                    </a:lnTo>
                    <a:lnTo>
                      <a:pt x="529" y="42"/>
                    </a:lnTo>
                    <a:lnTo>
                      <a:pt x="533" y="44"/>
                    </a:lnTo>
                    <a:lnTo>
                      <a:pt x="533" y="44"/>
                    </a:lnTo>
                    <a:lnTo>
                      <a:pt x="533" y="47"/>
                    </a:lnTo>
                    <a:lnTo>
                      <a:pt x="534" y="46"/>
                    </a:lnTo>
                    <a:lnTo>
                      <a:pt x="536" y="47"/>
                    </a:lnTo>
                    <a:lnTo>
                      <a:pt x="536" y="47"/>
                    </a:lnTo>
                    <a:lnTo>
                      <a:pt x="534" y="44"/>
                    </a:lnTo>
                    <a:lnTo>
                      <a:pt x="538" y="42"/>
                    </a:lnTo>
                    <a:lnTo>
                      <a:pt x="541" y="42"/>
                    </a:lnTo>
                    <a:lnTo>
                      <a:pt x="541" y="42"/>
                    </a:lnTo>
                    <a:lnTo>
                      <a:pt x="541" y="42"/>
                    </a:lnTo>
                    <a:lnTo>
                      <a:pt x="542" y="40"/>
                    </a:lnTo>
                    <a:lnTo>
                      <a:pt x="542" y="40"/>
                    </a:lnTo>
                    <a:lnTo>
                      <a:pt x="542" y="39"/>
                    </a:lnTo>
                    <a:lnTo>
                      <a:pt x="542" y="39"/>
                    </a:lnTo>
                    <a:lnTo>
                      <a:pt x="542" y="39"/>
                    </a:lnTo>
                    <a:lnTo>
                      <a:pt x="544" y="39"/>
                    </a:lnTo>
                    <a:lnTo>
                      <a:pt x="549" y="34"/>
                    </a:lnTo>
                    <a:lnTo>
                      <a:pt x="549" y="34"/>
                    </a:lnTo>
                    <a:lnTo>
                      <a:pt x="549" y="33"/>
                    </a:lnTo>
                    <a:lnTo>
                      <a:pt x="549" y="33"/>
                    </a:lnTo>
                    <a:lnTo>
                      <a:pt x="553" y="27"/>
                    </a:lnTo>
                    <a:lnTo>
                      <a:pt x="556" y="25"/>
                    </a:lnTo>
                    <a:lnTo>
                      <a:pt x="561" y="23"/>
                    </a:lnTo>
                    <a:lnTo>
                      <a:pt x="561" y="23"/>
                    </a:lnTo>
                    <a:lnTo>
                      <a:pt x="565" y="19"/>
                    </a:lnTo>
                    <a:lnTo>
                      <a:pt x="565" y="19"/>
                    </a:lnTo>
                    <a:lnTo>
                      <a:pt x="565" y="18"/>
                    </a:lnTo>
                    <a:lnTo>
                      <a:pt x="565" y="18"/>
                    </a:lnTo>
                    <a:lnTo>
                      <a:pt x="562" y="15"/>
                    </a:lnTo>
                    <a:lnTo>
                      <a:pt x="562" y="11"/>
                    </a:lnTo>
                    <a:lnTo>
                      <a:pt x="562" y="9"/>
                    </a:lnTo>
                    <a:lnTo>
                      <a:pt x="565" y="6"/>
                    </a:lnTo>
                    <a:lnTo>
                      <a:pt x="571" y="3"/>
                    </a:lnTo>
                    <a:lnTo>
                      <a:pt x="571" y="3"/>
                    </a:lnTo>
                    <a:lnTo>
                      <a:pt x="577" y="7"/>
                    </a:lnTo>
                    <a:lnTo>
                      <a:pt x="581" y="11"/>
                    </a:lnTo>
                    <a:lnTo>
                      <a:pt x="581" y="11"/>
                    </a:lnTo>
                    <a:lnTo>
                      <a:pt x="583" y="14"/>
                    </a:lnTo>
                    <a:lnTo>
                      <a:pt x="586" y="15"/>
                    </a:lnTo>
                    <a:lnTo>
                      <a:pt x="586" y="15"/>
                    </a:lnTo>
                    <a:lnTo>
                      <a:pt x="585" y="14"/>
                    </a:lnTo>
                    <a:lnTo>
                      <a:pt x="585" y="10"/>
                    </a:lnTo>
                    <a:lnTo>
                      <a:pt x="585" y="10"/>
                    </a:lnTo>
                    <a:lnTo>
                      <a:pt x="589" y="3"/>
                    </a:lnTo>
                    <a:lnTo>
                      <a:pt x="589" y="3"/>
                    </a:lnTo>
                    <a:lnTo>
                      <a:pt x="587" y="5"/>
                    </a:lnTo>
                    <a:lnTo>
                      <a:pt x="587" y="5"/>
                    </a:lnTo>
                    <a:lnTo>
                      <a:pt x="590" y="2"/>
                    </a:lnTo>
                    <a:lnTo>
                      <a:pt x="595" y="1"/>
                    </a:lnTo>
                    <a:lnTo>
                      <a:pt x="595" y="1"/>
                    </a:lnTo>
                    <a:lnTo>
                      <a:pt x="598" y="1"/>
                    </a:lnTo>
                    <a:lnTo>
                      <a:pt x="598" y="1"/>
                    </a:lnTo>
                    <a:lnTo>
                      <a:pt x="598" y="1"/>
                    </a:lnTo>
                    <a:lnTo>
                      <a:pt x="605" y="0"/>
                    </a:lnTo>
                    <a:lnTo>
                      <a:pt x="605" y="0"/>
                    </a:lnTo>
                    <a:lnTo>
                      <a:pt x="610" y="1"/>
                    </a:lnTo>
                    <a:lnTo>
                      <a:pt x="610" y="1"/>
                    </a:lnTo>
                    <a:lnTo>
                      <a:pt x="610" y="1"/>
                    </a:lnTo>
                    <a:lnTo>
                      <a:pt x="610" y="1"/>
                    </a:lnTo>
                    <a:lnTo>
                      <a:pt x="610" y="1"/>
                    </a:lnTo>
                    <a:lnTo>
                      <a:pt x="610" y="1"/>
                    </a:lnTo>
                    <a:lnTo>
                      <a:pt x="615" y="3"/>
                    </a:lnTo>
                    <a:lnTo>
                      <a:pt x="615" y="3"/>
                    </a:lnTo>
                    <a:lnTo>
                      <a:pt x="614" y="3"/>
                    </a:lnTo>
                    <a:lnTo>
                      <a:pt x="614" y="3"/>
                    </a:lnTo>
                    <a:lnTo>
                      <a:pt x="616" y="3"/>
                    </a:lnTo>
                    <a:lnTo>
                      <a:pt x="616" y="3"/>
                    </a:lnTo>
                    <a:lnTo>
                      <a:pt x="620" y="6"/>
                    </a:lnTo>
                    <a:lnTo>
                      <a:pt x="623" y="9"/>
                    </a:lnTo>
                    <a:lnTo>
                      <a:pt x="624" y="11"/>
                    </a:lnTo>
                    <a:lnTo>
                      <a:pt x="624" y="14"/>
                    </a:lnTo>
                    <a:lnTo>
                      <a:pt x="624" y="14"/>
                    </a:lnTo>
                    <a:lnTo>
                      <a:pt x="626" y="17"/>
                    </a:lnTo>
                    <a:lnTo>
                      <a:pt x="626" y="17"/>
                    </a:lnTo>
                    <a:lnTo>
                      <a:pt x="628" y="22"/>
                    </a:lnTo>
                    <a:lnTo>
                      <a:pt x="628" y="22"/>
                    </a:lnTo>
                    <a:lnTo>
                      <a:pt x="631" y="27"/>
                    </a:lnTo>
                    <a:lnTo>
                      <a:pt x="631" y="30"/>
                    </a:lnTo>
                    <a:lnTo>
                      <a:pt x="631" y="34"/>
                    </a:lnTo>
                    <a:lnTo>
                      <a:pt x="631" y="34"/>
                    </a:lnTo>
                    <a:lnTo>
                      <a:pt x="631" y="34"/>
                    </a:lnTo>
                    <a:lnTo>
                      <a:pt x="631" y="34"/>
                    </a:lnTo>
                    <a:lnTo>
                      <a:pt x="632" y="37"/>
                    </a:lnTo>
                    <a:lnTo>
                      <a:pt x="634" y="40"/>
                    </a:lnTo>
                    <a:lnTo>
                      <a:pt x="634" y="40"/>
                    </a:lnTo>
                    <a:lnTo>
                      <a:pt x="634" y="40"/>
                    </a:lnTo>
                    <a:lnTo>
                      <a:pt x="635" y="42"/>
                    </a:lnTo>
                    <a:lnTo>
                      <a:pt x="635" y="47"/>
                    </a:lnTo>
                    <a:lnTo>
                      <a:pt x="636" y="43"/>
                    </a:lnTo>
                    <a:lnTo>
                      <a:pt x="638" y="44"/>
                    </a:lnTo>
                    <a:lnTo>
                      <a:pt x="638" y="43"/>
                    </a:lnTo>
                    <a:lnTo>
                      <a:pt x="638" y="43"/>
                    </a:lnTo>
                    <a:lnTo>
                      <a:pt x="636" y="42"/>
                    </a:lnTo>
                    <a:lnTo>
                      <a:pt x="636" y="42"/>
                    </a:lnTo>
                    <a:lnTo>
                      <a:pt x="636" y="42"/>
                    </a:lnTo>
                    <a:lnTo>
                      <a:pt x="636" y="42"/>
                    </a:lnTo>
                    <a:lnTo>
                      <a:pt x="638" y="42"/>
                    </a:lnTo>
                    <a:lnTo>
                      <a:pt x="639" y="42"/>
                    </a:lnTo>
                    <a:lnTo>
                      <a:pt x="643" y="43"/>
                    </a:lnTo>
                    <a:lnTo>
                      <a:pt x="643" y="43"/>
                    </a:lnTo>
                    <a:lnTo>
                      <a:pt x="646" y="47"/>
                    </a:lnTo>
                    <a:lnTo>
                      <a:pt x="646" y="52"/>
                    </a:lnTo>
                    <a:lnTo>
                      <a:pt x="646" y="54"/>
                    </a:lnTo>
                    <a:lnTo>
                      <a:pt x="644" y="56"/>
                    </a:lnTo>
                    <a:lnTo>
                      <a:pt x="649" y="60"/>
                    </a:lnTo>
                    <a:lnTo>
                      <a:pt x="649" y="60"/>
                    </a:lnTo>
                    <a:lnTo>
                      <a:pt x="648" y="59"/>
                    </a:lnTo>
                    <a:lnTo>
                      <a:pt x="648" y="59"/>
                    </a:lnTo>
                    <a:lnTo>
                      <a:pt x="649" y="59"/>
                    </a:lnTo>
                    <a:lnTo>
                      <a:pt x="651" y="59"/>
                    </a:lnTo>
                    <a:lnTo>
                      <a:pt x="657" y="59"/>
                    </a:lnTo>
                    <a:lnTo>
                      <a:pt x="663" y="63"/>
                    </a:lnTo>
                    <a:lnTo>
                      <a:pt x="663" y="62"/>
                    </a:lnTo>
                    <a:lnTo>
                      <a:pt x="663" y="62"/>
                    </a:lnTo>
                    <a:lnTo>
                      <a:pt x="660" y="60"/>
                    </a:lnTo>
                    <a:lnTo>
                      <a:pt x="661" y="60"/>
                    </a:lnTo>
                    <a:lnTo>
                      <a:pt x="661" y="60"/>
                    </a:lnTo>
                    <a:lnTo>
                      <a:pt x="663" y="60"/>
                    </a:lnTo>
                    <a:lnTo>
                      <a:pt x="664" y="60"/>
                    </a:lnTo>
                    <a:lnTo>
                      <a:pt x="669" y="64"/>
                    </a:lnTo>
                    <a:lnTo>
                      <a:pt x="669" y="63"/>
                    </a:lnTo>
                    <a:lnTo>
                      <a:pt x="669" y="63"/>
                    </a:lnTo>
                    <a:lnTo>
                      <a:pt x="667" y="62"/>
                    </a:lnTo>
                    <a:lnTo>
                      <a:pt x="668" y="62"/>
                    </a:lnTo>
                    <a:lnTo>
                      <a:pt x="668" y="62"/>
                    </a:lnTo>
                    <a:lnTo>
                      <a:pt x="669" y="62"/>
                    </a:lnTo>
                    <a:lnTo>
                      <a:pt x="672" y="62"/>
                    </a:lnTo>
                    <a:lnTo>
                      <a:pt x="675" y="63"/>
                    </a:lnTo>
                    <a:lnTo>
                      <a:pt x="675" y="63"/>
                    </a:lnTo>
                    <a:lnTo>
                      <a:pt x="677" y="63"/>
                    </a:lnTo>
                    <a:lnTo>
                      <a:pt x="677" y="63"/>
                    </a:lnTo>
                    <a:lnTo>
                      <a:pt x="680" y="62"/>
                    </a:lnTo>
                    <a:lnTo>
                      <a:pt x="683" y="59"/>
                    </a:lnTo>
                    <a:lnTo>
                      <a:pt x="683" y="59"/>
                    </a:lnTo>
                    <a:lnTo>
                      <a:pt x="687" y="55"/>
                    </a:lnTo>
                    <a:lnTo>
                      <a:pt x="690" y="54"/>
                    </a:lnTo>
                    <a:lnTo>
                      <a:pt x="693" y="52"/>
                    </a:lnTo>
                    <a:lnTo>
                      <a:pt x="701" y="59"/>
                    </a:lnTo>
                    <a:lnTo>
                      <a:pt x="701" y="59"/>
                    </a:lnTo>
                    <a:lnTo>
                      <a:pt x="701" y="60"/>
                    </a:lnTo>
                    <a:lnTo>
                      <a:pt x="701" y="60"/>
                    </a:lnTo>
                    <a:lnTo>
                      <a:pt x="701" y="60"/>
                    </a:lnTo>
                    <a:lnTo>
                      <a:pt x="701" y="60"/>
                    </a:lnTo>
                    <a:lnTo>
                      <a:pt x="701" y="60"/>
                    </a:lnTo>
                    <a:lnTo>
                      <a:pt x="701" y="60"/>
                    </a:lnTo>
                    <a:lnTo>
                      <a:pt x="704" y="62"/>
                    </a:lnTo>
                    <a:lnTo>
                      <a:pt x="704" y="62"/>
                    </a:lnTo>
                    <a:lnTo>
                      <a:pt x="705" y="62"/>
                    </a:lnTo>
                    <a:lnTo>
                      <a:pt x="705" y="62"/>
                    </a:lnTo>
                    <a:lnTo>
                      <a:pt x="709" y="62"/>
                    </a:lnTo>
                    <a:lnTo>
                      <a:pt x="709" y="62"/>
                    </a:lnTo>
                    <a:lnTo>
                      <a:pt x="714" y="62"/>
                    </a:lnTo>
                    <a:lnTo>
                      <a:pt x="717" y="64"/>
                    </a:lnTo>
                    <a:lnTo>
                      <a:pt x="718" y="67"/>
                    </a:lnTo>
                    <a:lnTo>
                      <a:pt x="720" y="70"/>
                    </a:lnTo>
                    <a:lnTo>
                      <a:pt x="720" y="70"/>
                    </a:lnTo>
                    <a:lnTo>
                      <a:pt x="720" y="74"/>
                    </a:lnTo>
                    <a:lnTo>
                      <a:pt x="718" y="76"/>
                    </a:lnTo>
                    <a:lnTo>
                      <a:pt x="716" y="80"/>
                    </a:lnTo>
                    <a:lnTo>
                      <a:pt x="716" y="80"/>
                    </a:lnTo>
                    <a:lnTo>
                      <a:pt x="717" y="79"/>
                    </a:lnTo>
                    <a:lnTo>
                      <a:pt x="717" y="79"/>
                    </a:lnTo>
                    <a:lnTo>
                      <a:pt x="716" y="81"/>
                    </a:lnTo>
                    <a:lnTo>
                      <a:pt x="716" y="81"/>
                    </a:lnTo>
                    <a:lnTo>
                      <a:pt x="716" y="83"/>
                    </a:lnTo>
                    <a:lnTo>
                      <a:pt x="716" y="83"/>
                    </a:lnTo>
                    <a:lnTo>
                      <a:pt x="716" y="83"/>
                    </a:lnTo>
                    <a:lnTo>
                      <a:pt x="716" y="83"/>
                    </a:lnTo>
                    <a:lnTo>
                      <a:pt x="716" y="84"/>
                    </a:lnTo>
                    <a:lnTo>
                      <a:pt x="716" y="84"/>
                    </a:lnTo>
                    <a:lnTo>
                      <a:pt x="712" y="89"/>
                    </a:lnTo>
                    <a:lnTo>
                      <a:pt x="712" y="89"/>
                    </a:lnTo>
                    <a:lnTo>
                      <a:pt x="713" y="88"/>
                    </a:lnTo>
                    <a:lnTo>
                      <a:pt x="713" y="88"/>
                    </a:lnTo>
                    <a:lnTo>
                      <a:pt x="712" y="89"/>
                    </a:lnTo>
                    <a:lnTo>
                      <a:pt x="712" y="89"/>
                    </a:lnTo>
                    <a:lnTo>
                      <a:pt x="710" y="93"/>
                    </a:lnTo>
                    <a:lnTo>
                      <a:pt x="709" y="96"/>
                    </a:lnTo>
                    <a:lnTo>
                      <a:pt x="709" y="96"/>
                    </a:lnTo>
                    <a:lnTo>
                      <a:pt x="705" y="103"/>
                    </a:lnTo>
                    <a:lnTo>
                      <a:pt x="705" y="103"/>
                    </a:lnTo>
                    <a:lnTo>
                      <a:pt x="702" y="109"/>
                    </a:lnTo>
                    <a:lnTo>
                      <a:pt x="702" y="109"/>
                    </a:lnTo>
                    <a:lnTo>
                      <a:pt x="698" y="112"/>
                    </a:lnTo>
                    <a:lnTo>
                      <a:pt x="700" y="112"/>
                    </a:lnTo>
                    <a:lnTo>
                      <a:pt x="700" y="113"/>
                    </a:lnTo>
                    <a:lnTo>
                      <a:pt x="700" y="113"/>
                    </a:lnTo>
                    <a:lnTo>
                      <a:pt x="700" y="112"/>
                    </a:lnTo>
                    <a:lnTo>
                      <a:pt x="700" y="112"/>
                    </a:lnTo>
                    <a:lnTo>
                      <a:pt x="700" y="112"/>
                    </a:lnTo>
                    <a:lnTo>
                      <a:pt x="700" y="112"/>
                    </a:lnTo>
                    <a:lnTo>
                      <a:pt x="698" y="116"/>
                    </a:lnTo>
                    <a:lnTo>
                      <a:pt x="698" y="116"/>
                    </a:lnTo>
                    <a:lnTo>
                      <a:pt x="696" y="120"/>
                    </a:lnTo>
                    <a:lnTo>
                      <a:pt x="696" y="120"/>
                    </a:lnTo>
                    <a:lnTo>
                      <a:pt x="696" y="119"/>
                    </a:lnTo>
                    <a:lnTo>
                      <a:pt x="696" y="119"/>
                    </a:lnTo>
                    <a:lnTo>
                      <a:pt x="696" y="120"/>
                    </a:lnTo>
                    <a:lnTo>
                      <a:pt x="696" y="120"/>
                    </a:lnTo>
                    <a:lnTo>
                      <a:pt x="693" y="125"/>
                    </a:lnTo>
                    <a:lnTo>
                      <a:pt x="693" y="124"/>
                    </a:lnTo>
                    <a:lnTo>
                      <a:pt x="690" y="128"/>
                    </a:lnTo>
                    <a:lnTo>
                      <a:pt x="690" y="128"/>
                    </a:lnTo>
                    <a:lnTo>
                      <a:pt x="690" y="128"/>
                    </a:lnTo>
                    <a:lnTo>
                      <a:pt x="690" y="128"/>
                    </a:lnTo>
                    <a:lnTo>
                      <a:pt x="692" y="126"/>
                    </a:lnTo>
                    <a:lnTo>
                      <a:pt x="692" y="126"/>
                    </a:lnTo>
                    <a:lnTo>
                      <a:pt x="690" y="128"/>
                    </a:lnTo>
                    <a:lnTo>
                      <a:pt x="690" y="128"/>
                    </a:lnTo>
                    <a:lnTo>
                      <a:pt x="689" y="132"/>
                    </a:lnTo>
                    <a:lnTo>
                      <a:pt x="689" y="130"/>
                    </a:lnTo>
                    <a:lnTo>
                      <a:pt x="687" y="134"/>
                    </a:lnTo>
                    <a:lnTo>
                      <a:pt x="687" y="134"/>
                    </a:lnTo>
                    <a:lnTo>
                      <a:pt x="688" y="134"/>
                    </a:lnTo>
                    <a:lnTo>
                      <a:pt x="688" y="134"/>
                    </a:lnTo>
                    <a:lnTo>
                      <a:pt x="687" y="136"/>
                    </a:lnTo>
                    <a:lnTo>
                      <a:pt x="687" y="136"/>
                    </a:lnTo>
                    <a:lnTo>
                      <a:pt x="684" y="140"/>
                    </a:lnTo>
                    <a:lnTo>
                      <a:pt x="684" y="140"/>
                    </a:lnTo>
                    <a:lnTo>
                      <a:pt x="681" y="144"/>
                    </a:lnTo>
                    <a:lnTo>
                      <a:pt x="681" y="144"/>
                    </a:lnTo>
                    <a:lnTo>
                      <a:pt x="683" y="142"/>
                    </a:lnTo>
                    <a:lnTo>
                      <a:pt x="683" y="142"/>
                    </a:lnTo>
                    <a:lnTo>
                      <a:pt x="681" y="145"/>
                    </a:lnTo>
                    <a:lnTo>
                      <a:pt x="681" y="145"/>
                    </a:lnTo>
                    <a:lnTo>
                      <a:pt x="680" y="148"/>
                    </a:lnTo>
                    <a:lnTo>
                      <a:pt x="680" y="149"/>
                    </a:lnTo>
                    <a:lnTo>
                      <a:pt x="680" y="149"/>
                    </a:lnTo>
                    <a:lnTo>
                      <a:pt x="676" y="154"/>
                    </a:lnTo>
                    <a:lnTo>
                      <a:pt x="673" y="158"/>
                    </a:lnTo>
                    <a:lnTo>
                      <a:pt x="665" y="165"/>
                    </a:lnTo>
                    <a:lnTo>
                      <a:pt x="665" y="165"/>
                    </a:lnTo>
                    <a:lnTo>
                      <a:pt x="659" y="170"/>
                    </a:lnTo>
                    <a:lnTo>
                      <a:pt x="656" y="173"/>
                    </a:lnTo>
                    <a:lnTo>
                      <a:pt x="653" y="177"/>
                    </a:lnTo>
                    <a:lnTo>
                      <a:pt x="653" y="177"/>
                    </a:lnTo>
                    <a:lnTo>
                      <a:pt x="653" y="178"/>
                    </a:lnTo>
                    <a:lnTo>
                      <a:pt x="653" y="178"/>
                    </a:lnTo>
                    <a:lnTo>
                      <a:pt x="649" y="183"/>
                    </a:lnTo>
                    <a:lnTo>
                      <a:pt x="649" y="183"/>
                    </a:lnTo>
                    <a:lnTo>
                      <a:pt x="651" y="182"/>
                    </a:lnTo>
                    <a:lnTo>
                      <a:pt x="651" y="182"/>
                    </a:lnTo>
                    <a:lnTo>
                      <a:pt x="649" y="183"/>
                    </a:lnTo>
                    <a:lnTo>
                      <a:pt x="649" y="183"/>
                    </a:lnTo>
                    <a:lnTo>
                      <a:pt x="647" y="189"/>
                    </a:lnTo>
                    <a:lnTo>
                      <a:pt x="647" y="189"/>
                    </a:lnTo>
                    <a:lnTo>
                      <a:pt x="646" y="191"/>
                    </a:lnTo>
                    <a:lnTo>
                      <a:pt x="646" y="191"/>
                    </a:lnTo>
                    <a:lnTo>
                      <a:pt x="640" y="197"/>
                    </a:lnTo>
                    <a:lnTo>
                      <a:pt x="640" y="197"/>
                    </a:lnTo>
                    <a:lnTo>
                      <a:pt x="639" y="200"/>
                    </a:lnTo>
                    <a:lnTo>
                      <a:pt x="638" y="204"/>
                    </a:lnTo>
                    <a:lnTo>
                      <a:pt x="638" y="204"/>
                    </a:lnTo>
                    <a:lnTo>
                      <a:pt x="635" y="210"/>
                    </a:lnTo>
                    <a:lnTo>
                      <a:pt x="635" y="210"/>
                    </a:lnTo>
                    <a:lnTo>
                      <a:pt x="634" y="212"/>
                    </a:lnTo>
                    <a:lnTo>
                      <a:pt x="632" y="215"/>
                    </a:lnTo>
                    <a:lnTo>
                      <a:pt x="632" y="215"/>
                    </a:lnTo>
                    <a:lnTo>
                      <a:pt x="632" y="215"/>
                    </a:lnTo>
                    <a:lnTo>
                      <a:pt x="634" y="212"/>
                    </a:lnTo>
                    <a:lnTo>
                      <a:pt x="630" y="218"/>
                    </a:lnTo>
                    <a:lnTo>
                      <a:pt x="631" y="218"/>
                    </a:lnTo>
                    <a:lnTo>
                      <a:pt x="631" y="218"/>
                    </a:lnTo>
                    <a:lnTo>
                      <a:pt x="632" y="215"/>
                    </a:lnTo>
                    <a:lnTo>
                      <a:pt x="632" y="215"/>
                    </a:lnTo>
                    <a:lnTo>
                      <a:pt x="632" y="216"/>
                    </a:lnTo>
                    <a:lnTo>
                      <a:pt x="632" y="216"/>
                    </a:lnTo>
                    <a:lnTo>
                      <a:pt x="632" y="218"/>
                    </a:lnTo>
                    <a:lnTo>
                      <a:pt x="632" y="220"/>
                    </a:lnTo>
                    <a:lnTo>
                      <a:pt x="628" y="226"/>
                    </a:lnTo>
                    <a:lnTo>
                      <a:pt x="630" y="226"/>
                    </a:lnTo>
                    <a:lnTo>
                      <a:pt x="630" y="226"/>
                    </a:lnTo>
                    <a:lnTo>
                      <a:pt x="631" y="223"/>
                    </a:lnTo>
                    <a:lnTo>
                      <a:pt x="631" y="223"/>
                    </a:lnTo>
                    <a:lnTo>
                      <a:pt x="631" y="223"/>
                    </a:lnTo>
                    <a:lnTo>
                      <a:pt x="631" y="223"/>
                    </a:lnTo>
                    <a:lnTo>
                      <a:pt x="631" y="226"/>
                    </a:lnTo>
                    <a:lnTo>
                      <a:pt x="631" y="228"/>
                    </a:lnTo>
                    <a:lnTo>
                      <a:pt x="627" y="232"/>
                    </a:lnTo>
                    <a:lnTo>
                      <a:pt x="628" y="232"/>
                    </a:lnTo>
                    <a:lnTo>
                      <a:pt x="628" y="232"/>
                    </a:lnTo>
                    <a:lnTo>
                      <a:pt x="630" y="230"/>
                    </a:lnTo>
                    <a:lnTo>
                      <a:pt x="630" y="230"/>
                    </a:lnTo>
                    <a:lnTo>
                      <a:pt x="630" y="231"/>
                    </a:lnTo>
                    <a:lnTo>
                      <a:pt x="630" y="231"/>
                    </a:lnTo>
                    <a:lnTo>
                      <a:pt x="630" y="234"/>
                    </a:lnTo>
                    <a:lnTo>
                      <a:pt x="630" y="235"/>
                    </a:lnTo>
                    <a:lnTo>
                      <a:pt x="626" y="241"/>
                    </a:lnTo>
                    <a:lnTo>
                      <a:pt x="626" y="241"/>
                    </a:lnTo>
                    <a:lnTo>
                      <a:pt x="627" y="240"/>
                    </a:lnTo>
                    <a:lnTo>
                      <a:pt x="628" y="239"/>
                    </a:lnTo>
                    <a:lnTo>
                      <a:pt x="628" y="239"/>
                    </a:lnTo>
                    <a:lnTo>
                      <a:pt x="628" y="241"/>
                    </a:lnTo>
                    <a:lnTo>
                      <a:pt x="628" y="241"/>
                    </a:lnTo>
                    <a:lnTo>
                      <a:pt x="628" y="247"/>
                    </a:lnTo>
                    <a:lnTo>
                      <a:pt x="628" y="252"/>
                    </a:lnTo>
                    <a:lnTo>
                      <a:pt x="627" y="256"/>
                    </a:lnTo>
                    <a:lnTo>
                      <a:pt x="627" y="256"/>
                    </a:lnTo>
                    <a:lnTo>
                      <a:pt x="627" y="256"/>
                    </a:lnTo>
                    <a:lnTo>
                      <a:pt x="627" y="256"/>
                    </a:lnTo>
                    <a:lnTo>
                      <a:pt x="627" y="261"/>
                    </a:lnTo>
                    <a:lnTo>
                      <a:pt x="627" y="261"/>
                    </a:lnTo>
                    <a:lnTo>
                      <a:pt x="627" y="269"/>
                    </a:lnTo>
                    <a:lnTo>
                      <a:pt x="627" y="273"/>
                    </a:lnTo>
                    <a:lnTo>
                      <a:pt x="624" y="276"/>
                    </a:lnTo>
                    <a:lnTo>
                      <a:pt x="624" y="276"/>
                    </a:lnTo>
                    <a:lnTo>
                      <a:pt x="620" y="275"/>
                    </a:lnTo>
                    <a:lnTo>
                      <a:pt x="623" y="277"/>
                    </a:lnTo>
                    <a:lnTo>
                      <a:pt x="620" y="280"/>
                    </a:lnTo>
                    <a:lnTo>
                      <a:pt x="620" y="280"/>
                    </a:lnTo>
                    <a:lnTo>
                      <a:pt x="620" y="280"/>
                    </a:lnTo>
                    <a:lnTo>
                      <a:pt x="620" y="280"/>
                    </a:lnTo>
                    <a:lnTo>
                      <a:pt x="624" y="278"/>
                    </a:lnTo>
                    <a:lnTo>
                      <a:pt x="627" y="281"/>
                    </a:lnTo>
                    <a:lnTo>
                      <a:pt x="627" y="289"/>
                    </a:lnTo>
                    <a:lnTo>
                      <a:pt x="627" y="289"/>
                    </a:lnTo>
                    <a:lnTo>
                      <a:pt x="627" y="297"/>
                    </a:lnTo>
                    <a:lnTo>
                      <a:pt x="627" y="297"/>
                    </a:lnTo>
                    <a:lnTo>
                      <a:pt x="627" y="304"/>
                    </a:lnTo>
                    <a:lnTo>
                      <a:pt x="628" y="308"/>
                    </a:lnTo>
                    <a:lnTo>
                      <a:pt x="628" y="309"/>
                    </a:lnTo>
                    <a:lnTo>
                      <a:pt x="628" y="309"/>
                    </a:lnTo>
                    <a:lnTo>
                      <a:pt x="628" y="310"/>
                    </a:lnTo>
                    <a:lnTo>
                      <a:pt x="628" y="310"/>
                    </a:lnTo>
                    <a:lnTo>
                      <a:pt x="631" y="309"/>
                    </a:lnTo>
                    <a:lnTo>
                      <a:pt x="638" y="305"/>
                    </a:lnTo>
                    <a:lnTo>
                      <a:pt x="642" y="304"/>
                    </a:lnTo>
                    <a:lnTo>
                      <a:pt x="646" y="304"/>
                    </a:lnTo>
                    <a:lnTo>
                      <a:pt x="651" y="310"/>
                    </a:lnTo>
                    <a:lnTo>
                      <a:pt x="651" y="310"/>
                    </a:lnTo>
                    <a:lnTo>
                      <a:pt x="651" y="313"/>
                    </a:lnTo>
                    <a:lnTo>
                      <a:pt x="652" y="315"/>
                    </a:lnTo>
                    <a:lnTo>
                      <a:pt x="656" y="321"/>
                    </a:lnTo>
                    <a:lnTo>
                      <a:pt x="656" y="321"/>
                    </a:lnTo>
                    <a:lnTo>
                      <a:pt x="659" y="323"/>
                    </a:lnTo>
                    <a:lnTo>
                      <a:pt x="661" y="325"/>
                    </a:lnTo>
                    <a:lnTo>
                      <a:pt x="661" y="325"/>
                    </a:lnTo>
                    <a:lnTo>
                      <a:pt x="664" y="327"/>
                    </a:lnTo>
                    <a:lnTo>
                      <a:pt x="664" y="327"/>
                    </a:lnTo>
                    <a:lnTo>
                      <a:pt x="665" y="330"/>
                    </a:lnTo>
                    <a:lnTo>
                      <a:pt x="668" y="333"/>
                    </a:lnTo>
                    <a:lnTo>
                      <a:pt x="669" y="338"/>
                    </a:lnTo>
                    <a:lnTo>
                      <a:pt x="669" y="343"/>
                    </a:lnTo>
                    <a:lnTo>
                      <a:pt x="669" y="345"/>
                    </a:lnTo>
                    <a:lnTo>
                      <a:pt x="664" y="350"/>
                    </a:lnTo>
                    <a:lnTo>
                      <a:pt x="665" y="350"/>
                    </a:lnTo>
                    <a:lnTo>
                      <a:pt x="665" y="350"/>
                    </a:lnTo>
                    <a:lnTo>
                      <a:pt x="668" y="347"/>
                    </a:lnTo>
                    <a:lnTo>
                      <a:pt x="668" y="347"/>
                    </a:lnTo>
                    <a:lnTo>
                      <a:pt x="668" y="347"/>
                    </a:lnTo>
                    <a:lnTo>
                      <a:pt x="667" y="351"/>
                    </a:lnTo>
                    <a:lnTo>
                      <a:pt x="665" y="353"/>
                    </a:lnTo>
                    <a:lnTo>
                      <a:pt x="664" y="355"/>
                    </a:lnTo>
                    <a:lnTo>
                      <a:pt x="664" y="355"/>
                    </a:lnTo>
                    <a:lnTo>
                      <a:pt x="663" y="354"/>
                    </a:lnTo>
                    <a:lnTo>
                      <a:pt x="663" y="354"/>
                    </a:lnTo>
                    <a:lnTo>
                      <a:pt x="664" y="355"/>
                    </a:lnTo>
                    <a:lnTo>
                      <a:pt x="664" y="355"/>
                    </a:lnTo>
                    <a:lnTo>
                      <a:pt x="663" y="355"/>
                    </a:lnTo>
                    <a:lnTo>
                      <a:pt x="663" y="354"/>
                    </a:lnTo>
                    <a:lnTo>
                      <a:pt x="660" y="356"/>
                    </a:lnTo>
                    <a:lnTo>
                      <a:pt x="660" y="356"/>
                    </a:lnTo>
                    <a:lnTo>
                      <a:pt x="660" y="356"/>
                    </a:lnTo>
                    <a:lnTo>
                      <a:pt x="663" y="356"/>
                    </a:lnTo>
                    <a:lnTo>
                      <a:pt x="664" y="355"/>
                    </a:lnTo>
                    <a:lnTo>
                      <a:pt x="664" y="355"/>
                    </a:lnTo>
                    <a:lnTo>
                      <a:pt x="664" y="355"/>
                    </a:lnTo>
                    <a:lnTo>
                      <a:pt x="664" y="355"/>
                    </a:lnTo>
                    <a:lnTo>
                      <a:pt x="664" y="355"/>
                    </a:lnTo>
                    <a:lnTo>
                      <a:pt x="665" y="358"/>
                    </a:lnTo>
                    <a:lnTo>
                      <a:pt x="667" y="362"/>
                    </a:lnTo>
                    <a:lnTo>
                      <a:pt x="667" y="362"/>
                    </a:lnTo>
                    <a:lnTo>
                      <a:pt x="668" y="364"/>
                    </a:lnTo>
                    <a:lnTo>
                      <a:pt x="669" y="368"/>
                    </a:lnTo>
                    <a:lnTo>
                      <a:pt x="677" y="375"/>
                    </a:lnTo>
                    <a:lnTo>
                      <a:pt x="677" y="375"/>
                    </a:lnTo>
                    <a:lnTo>
                      <a:pt x="683" y="380"/>
                    </a:lnTo>
                    <a:lnTo>
                      <a:pt x="689" y="387"/>
                    </a:lnTo>
                    <a:lnTo>
                      <a:pt x="689" y="387"/>
                    </a:lnTo>
                    <a:lnTo>
                      <a:pt x="694" y="393"/>
                    </a:lnTo>
                    <a:lnTo>
                      <a:pt x="698" y="401"/>
                    </a:lnTo>
                    <a:lnTo>
                      <a:pt x="698" y="401"/>
                    </a:lnTo>
                    <a:lnTo>
                      <a:pt x="704" y="411"/>
                    </a:lnTo>
                    <a:lnTo>
                      <a:pt x="708" y="415"/>
                    </a:lnTo>
                    <a:lnTo>
                      <a:pt x="712" y="416"/>
                    </a:lnTo>
                    <a:lnTo>
                      <a:pt x="713" y="416"/>
                    </a:lnTo>
                    <a:lnTo>
                      <a:pt x="717" y="419"/>
                    </a:lnTo>
                    <a:lnTo>
                      <a:pt x="717" y="419"/>
                    </a:lnTo>
                    <a:lnTo>
                      <a:pt x="721" y="420"/>
                    </a:lnTo>
                    <a:lnTo>
                      <a:pt x="721" y="420"/>
                    </a:lnTo>
                    <a:lnTo>
                      <a:pt x="726" y="423"/>
                    </a:lnTo>
                    <a:lnTo>
                      <a:pt x="726" y="423"/>
                    </a:lnTo>
                    <a:lnTo>
                      <a:pt x="726" y="423"/>
                    </a:lnTo>
                    <a:lnTo>
                      <a:pt x="726" y="423"/>
                    </a:lnTo>
                    <a:lnTo>
                      <a:pt x="727" y="423"/>
                    </a:lnTo>
                    <a:lnTo>
                      <a:pt x="727" y="423"/>
                    </a:lnTo>
                    <a:lnTo>
                      <a:pt x="731" y="425"/>
                    </a:lnTo>
                    <a:lnTo>
                      <a:pt x="733" y="432"/>
                    </a:lnTo>
                    <a:lnTo>
                      <a:pt x="733" y="432"/>
                    </a:lnTo>
                    <a:lnTo>
                      <a:pt x="727" y="440"/>
                    </a:lnTo>
                    <a:lnTo>
                      <a:pt x="722" y="445"/>
                    </a:lnTo>
                    <a:lnTo>
                      <a:pt x="722" y="445"/>
                    </a:lnTo>
                    <a:lnTo>
                      <a:pt x="718" y="450"/>
                    </a:lnTo>
                    <a:lnTo>
                      <a:pt x="714" y="454"/>
                    </a:lnTo>
                    <a:lnTo>
                      <a:pt x="713" y="458"/>
                    </a:lnTo>
                    <a:lnTo>
                      <a:pt x="713" y="458"/>
                    </a:lnTo>
                    <a:lnTo>
                      <a:pt x="708" y="461"/>
                    </a:lnTo>
                    <a:lnTo>
                      <a:pt x="704" y="462"/>
                    </a:lnTo>
                    <a:lnTo>
                      <a:pt x="704" y="462"/>
                    </a:lnTo>
                    <a:lnTo>
                      <a:pt x="701" y="461"/>
                    </a:lnTo>
                    <a:lnTo>
                      <a:pt x="697" y="460"/>
                    </a:lnTo>
                    <a:lnTo>
                      <a:pt x="692" y="456"/>
                    </a:lnTo>
                    <a:lnTo>
                      <a:pt x="692" y="456"/>
                    </a:lnTo>
                    <a:lnTo>
                      <a:pt x="690" y="453"/>
                    </a:lnTo>
                    <a:lnTo>
                      <a:pt x="689" y="454"/>
                    </a:lnTo>
                    <a:lnTo>
                      <a:pt x="689" y="454"/>
                    </a:lnTo>
                    <a:lnTo>
                      <a:pt x="683" y="456"/>
                    </a:lnTo>
                    <a:lnTo>
                      <a:pt x="683" y="456"/>
                    </a:lnTo>
                    <a:lnTo>
                      <a:pt x="677" y="456"/>
                    </a:lnTo>
                    <a:lnTo>
                      <a:pt x="677" y="456"/>
                    </a:lnTo>
                    <a:lnTo>
                      <a:pt x="676" y="456"/>
                    </a:lnTo>
                    <a:lnTo>
                      <a:pt x="676" y="456"/>
                    </a:lnTo>
                    <a:lnTo>
                      <a:pt x="675" y="456"/>
                    </a:lnTo>
                    <a:lnTo>
                      <a:pt x="675" y="456"/>
                    </a:lnTo>
                    <a:lnTo>
                      <a:pt x="672" y="457"/>
                    </a:lnTo>
                    <a:lnTo>
                      <a:pt x="669" y="457"/>
                    </a:lnTo>
                    <a:lnTo>
                      <a:pt x="668" y="457"/>
                    </a:lnTo>
                    <a:lnTo>
                      <a:pt x="668" y="457"/>
                    </a:lnTo>
                    <a:lnTo>
                      <a:pt x="665" y="458"/>
                    </a:lnTo>
                    <a:lnTo>
                      <a:pt x="665" y="458"/>
                    </a:lnTo>
                    <a:lnTo>
                      <a:pt x="661" y="458"/>
                    </a:lnTo>
                    <a:lnTo>
                      <a:pt x="657" y="460"/>
                    </a:lnTo>
                    <a:lnTo>
                      <a:pt x="653" y="460"/>
                    </a:lnTo>
                    <a:lnTo>
                      <a:pt x="648" y="454"/>
                    </a:lnTo>
                    <a:lnTo>
                      <a:pt x="648" y="453"/>
                    </a:lnTo>
                    <a:lnTo>
                      <a:pt x="648" y="453"/>
                    </a:lnTo>
                    <a:lnTo>
                      <a:pt x="647" y="449"/>
                    </a:lnTo>
                    <a:lnTo>
                      <a:pt x="646" y="445"/>
                    </a:lnTo>
                    <a:lnTo>
                      <a:pt x="646" y="445"/>
                    </a:lnTo>
                    <a:lnTo>
                      <a:pt x="646" y="444"/>
                    </a:lnTo>
                    <a:lnTo>
                      <a:pt x="646" y="444"/>
                    </a:lnTo>
                    <a:lnTo>
                      <a:pt x="644" y="444"/>
                    </a:lnTo>
                    <a:lnTo>
                      <a:pt x="644" y="444"/>
                    </a:lnTo>
                    <a:lnTo>
                      <a:pt x="643" y="442"/>
                    </a:lnTo>
                    <a:lnTo>
                      <a:pt x="643" y="442"/>
                    </a:lnTo>
                    <a:lnTo>
                      <a:pt x="644" y="442"/>
                    </a:lnTo>
                    <a:lnTo>
                      <a:pt x="646" y="440"/>
                    </a:lnTo>
                    <a:lnTo>
                      <a:pt x="640" y="445"/>
                    </a:lnTo>
                    <a:lnTo>
                      <a:pt x="638" y="445"/>
                    </a:lnTo>
                    <a:lnTo>
                      <a:pt x="638" y="445"/>
                    </a:lnTo>
                    <a:lnTo>
                      <a:pt x="636" y="444"/>
                    </a:lnTo>
                    <a:lnTo>
                      <a:pt x="636" y="444"/>
                    </a:lnTo>
                    <a:lnTo>
                      <a:pt x="635" y="449"/>
                    </a:lnTo>
                    <a:lnTo>
                      <a:pt x="634" y="450"/>
                    </a:lnTo>
                    <a:lnTo>
                      <a:pt x="632" y="453"/>
                    </a:lnTo>
                    <a:lnTo>
                      <a:pt x="632" y="453"/>
                    </a:lnTo>
                    <a:lnTo>
                      <a:pt x="634" y="450"/>
                    </a:lnTo>
                    <a:lnTo>
                      <a:pt x="627" y="454"/>
                    </a:lnTo>
                    <a:lnTo>
                      <a:pt x="626" y="454"/>
                    </a:lnTo>
                    <a:lnTo>
                      <a:pt x="623" y="453"/>
                    </a:lnTo>
                    <a:lnTo>
                      <a:pt x="623" y="453"/>
                    </a:lnTo>
                    <a:lnTo>
                      <a:pt x="618" y="449"/>
                    </a:lnTo>
                    <a:lnTo>
                      <a:pt x="618" y="449"/>
                    </a:lnTo>
                    <a:lnTo>
                      <a:pt x="615" y="445"/>
                    </a:lnTo>
                    <a:lnTo>
                      <a:pt x="611" y="445"/>
                    </a:lnTo>
                    <a:lnTo>
                      <a:pt x="607" y="441"/>
                    </a:lnTo>
                    <a:lnTo>
                      <a:pt x="607" y="441"/>
                    </a:lnTo>
                    <a:lnTo>
                      <a:pt x="605" y="440"/>
                    </a:lnTo>
                    <a:lnTo>
                      <a:pt x="601" y="437"/>
                    </a:lnTo>
                    <a:lnTo>
                      <a:pt x="601" y="437"/>
                    </a:lnTo>
                    <a:lnTo>
                      <a:pt x="595" y="434"/>
                    </a:lnTo>
                    <a:lnTo>
                      <a:pt x="595" y="434"/>
                    </a:lnTo>
                    <a:lnTo>
                      <a:pt x="591" y="433"/>
                    </a:lnTo>
                    <a:lnTo>
                      <a:pt x="591" y="433"/>
                    </a:lnTo>
                    <a:lnTo>
                      <a:pt x="594" y="434"/>
                    </a:lnTo>
                    <a:lnTo>
                      <a:pt x="594" y="434"/>
                    </a:lnTo>
                    <a:lnTo>
                      <a:pt x="590" y="434"/>
                    </a:lnTo>
                    <a:lnTo>
                      <a:pt x="590" y="434"/>
                    </a:lnTo>
                    <a:lnTo>
                      <a:pt x="587" y="434"/>
                    </a:lnTo>
                    <a:lnTo>
                      <a:pt x="587" y="434"/>
                    </a:lnTo>
                    <a:lnTo>
                      <a:pt x="589" y="433"/>
                    </a:lnTo>
                    <a:lnTo>
                      <a:pt x="585" y="436"/>
                    </a:lnTo>
                    <a:lnTo>
                      <a:pt x="583" y="436"/>
                    </a:lnTo>
                    <a:lnTo>
                      <a:pt x="583" y="436"/>
                    </a:lnTo>
                    <a:lnTo>
                      <a:pt x="582" y="436"/>
                    </a:lnTo>
                    <a:lnTo>
                      <a:pt x="582" y="436"/>
                    </a:lnTo>
                    <a:lnTo>
                      <a:pt x="583" y="434"/>
                    </a:lnTo>
                    <a:lnTo>
                      <a:pt x="579" y="438"/>
                    </a:lnTo>
                    <a:lnTo>
                      <a:pt x="579" y="438"/>
                    </a:lnTo>
                    <a:lnTo>
                      <a:pt x="578" y="438"/>
                    </a:lnTo>
                    <a:lnTo>
                      <a:pt x="578" y="438"/>
                    </a:lnTo>
                    <a:lnTo>
                      <a:pt x="574" y="441"/>
                    </a:lnTo>
                    <a:lnTo>
                      <a:pt x="570" y="442"/>
                    </a:lnTo>
                    <a:lnTo>
                      <a:pt x="570" y="442"/>
                    </a:lnTo>
                    <a:lnTo>
                      <a:pt x="568" y="442"/>
                    </a:lnTo>
                    <a:lnTo>
                      <a:pt x="568" y="442"/>
                    </a:lnTo>
                    <a:lnTo>
                      <a:pt x="566" y="442"/>
                    </a:lnTo>
                    <a:lnTo>
                      <a:pt x="566" y="442"/>
                    </a:lnTo>
                    <a:lnTo>
                      <a:pt x="568" y="441"/>
                    </a:lnTo>
                    <a:lnTo>
                      <a:pt x="562" y="445"/>
                    </a:lnTo>
                    <a:lnTo>
                      <a:pt x="560" y="445"/>
                    </a:lnTo>
                    <a:lnTo>
                      <a:pt x="560" y="445"/>
                    </a:lnTo>
                    <a:lnTo>
                      <a:pt x="556" y="444"/>
                    </a:lnTo>
                    <a:lnTo>
                      <a:pt x="552" y="441"/>
                    </a:lnTo>
                    <a:lnTo>
                      <a:pt x="552" y="441"/>
                    </a:lnTo>
                    <a:lnTo>
                      <a:pt x="549" y="441"/>
                    </a:lnTo>
                    <a:lnTo>
                      <a:pt x="549" y="441"/>
                    </a:lnTo>
                    <a:lnTo>
                      <a:pt x="548" y="441"/>
                    </a:lnTo>
                    <a:lnTo>
                      <a:pt x="546" y="438"/>
                    </a:lnTo>
                    <a:lnTo>
                      <a:pt x="546" y="438"/>
                    </a:lnTo>
                    <a:lnTo>
                      <a:pt x="548" y="437"/>
                    </a:lnTo>
                    <a:lnTo>
                      <a:pt x="548" y="437"/>
                    </a:lnTo>
                    <a:lnTo>
                      <a:pt x="548" y="434"/>
                    </a:lnTo>
                    <a:lnTo>
                      <a:pt x="548" y="432"/>
                    </a:lnTo>
                    <a:lnTo>
                      <a:pt x="545" y="437"/>
                    </a:lnTo>
                    <a:lnTo>
                      <a:pt x="542" y="432"/>
                    </a:lnTo>
                    <a:lnTo>
                      <a:pt x="542" y="432"/>
                    </a:lnTo>
                    <a:lnTo>
                      <a:pt x="541" y="434"/>
                    </a:lnTo>
                    <a:lnTo>
                      <a:pt x="542" y="437"/>
                    </a:lnTo>
                    <a:lnTo>
                      <a:pt x="542" y="437"/>
                    </a:lnTo>
                    <a:lnTo>
                      <a:pt x="544" y="438"/>
                    </a:lnTo>
                    <a:lnTo>
                      <a:pt x="542" y="441"/>
                    </a:lnTo>
                    <a:lnTo>
                      <a:pt x="540" y="441"/>
                    </a:lnTo>
                    <a:lnTo>
                      <a:pt x="540" y="441"/>
                    </a:lnTo>
                    <a:lnTo>
                      <a:pt x="540" y="441"/>
                    </a:lnTo>
                    <a:lnTo>
                      <a:pt x="540" y="441"/>
                    </a:lnTo>
                    <a:lnTo>
                      <a:pt x="540" y="440"/>
                    </a:lnTo>
                    <a:lnTo>
                      <a:pt x="536" y="444"/>
                    </a:lnTo>
                    <a:lnTo>
                      <a:pt x="536" y="444"/>
                    </a:lnTo>
                    <a:lnTo>
                      <a:pt x="533" y="444"/>
                    </a:lnTo>
                    <a:lnTo>
                      <a:pt x="533" y="444"/>
                    </a:lnTo>
                    <a:lnTo>
                      <a:pt x="529" y="442"/>
                    </a:lnTo>
                    <a:lnTo>
                      <a:pt x="525" y="441"/>
                    </a:lnTo>
                    <a:lnTo>
                      <a:pt x="523" y="436"/>
                    </a:lnTo>
                    <a:lnTo>
                      <a:pt x="523" y="433"/>
                    </a:lnTo>
                    <a:lnTo>
                      <a:pt x="527" y="428"/>
                    </a:lnTo>
                    <a:lnTo>
                      <a:pt x="527" y="428"/>
                    </a:lnTo>
                    <a:lnTo>
                      <a:pt x="524" y="429"/>
                    </a:lnTo>
                    <a:lnTo>
                      <a:pt x="524" y="431"/>
                    </a:lnTo>
                    <a:lnTo>
                      <a:pt x="524" y="431"/>
                    </a:lnTo>
                    <a:lnTo>
                      <a:pt x="524" y="428"/>
                    </a:lnTo>
                    <a:lnTo>
                      <a:pt x="524" y="428"/>
                    </a:lnTo>
                    <a:lnTo>
                      <a:pt x="523" y="428"/>
                    </a:lnTo>
                    <a:lnTo>
                      <a:pt x="523" y="428"/>
                    </a:lnTo>
                    <a:lnTo>
                      <a:pt x="521" y="428"/>
                    </a:lnTo>
                    <a:lnTo>
                      <a:pt x="521" y="428"/>
                    </a:lnTo>
                    <a:lnTo>
                      <a:pt x="519" y="428"/>
                    </a:lnTo>
                    <a:lnTo>
                      <a:pt x="519" y="428"/>
                    </a:lnTo>
                    <a:lnTo>
                      <a:pt x="517" y="428"/>
                    </a:lnTo>
                    <a:lnTo>
                      <a:pt x="517" y="428"/>
                    </a:lnTo>
                    <a:lnTo>
                      <a:pt x="516" y="428"/>
                    </a:lnTo>
                    <a:lnTo>
                      <a:pt x="516" y="428"/>
                    </a:lnTo>
                    <a:lnTo>
                      <a:pt x="515" y="428"/>
                    </a:lnTo>
                    <a:lnTo>
                      <a:pt x="515" y="428"/>
                    </a:lnTo>
                    <a:lnTo>
                      <a:pt x="515" y="428"/>
                    </a:lnTo>
                    <a:lnTo>
                      <a:pt x="515" y="428"/>
                    </a:lnTo>
                    <a:lnTo>
                      <a:pt x="515" y="431"/>
                    </a:lnTo>
                    <a:lnTo>
                      <a:pt x="508" y="436"/>
                    </a:lnTo>
                    <a:lnTo>
                      <a:pt x="508" y="436"/>
                    </a:lnTo>
                    <a:lnTo>
                      <a:pt x="504" y="434"/>
                    </a:lnTo>
                    <a:lnTo>
                      <a:pt x="504" y="434"/>
                    </a:lnTo>
                    <a:lnTo>
                      <a:pt x="501" y="434"/>
                    </a:lnTo>
                    <a:lnTo>
                      <a:pt x="501" y="434"/>
                    </a:lnTo>
                    <a:lnTo>
                      <a:pt x="501" y="434"/>
                    </a:lnTo>
                    <a:lnTo>
                      <a:pt x="501" y="434"/>
                    </a:lnTo>
                    <a:lnTo>
                      <a:pt x="503" y="433"/>
                    </a:lnTo>
                    <a:lnTo>
                      <a:pt x="504" y="432"/>
                    </a:lnTo>
                    <a:lnTo>
                      <a:pt x="501" y="434"/>
                    </a:lnTo>
                    <a:lnTo>
                      <a:pt x="501" y="434"/>
                    </a:lnTo>
                    <a:lnTo>
                      <a:pt x="501" y="434"/>
                    </a:lnTo>
                    <a:lnTo>
                      <a:pt x="499" y="437"/>
                    </a:lnTo>
                    <a:lnTo>
                      <a:pt x="493" y="438"/>
                    </a:lnTo>
                    <a:lnTo>
                      <a:pt x="493" y="440"/>
                    </a:lnTo>
                    <a:lnTo>
                      <a:pt x="489" y="445"/>
                    </a:lnTo>
                    <a:lnTo>
                      <a:pt x="489" y="445"/>
                    </a:lnTo>
                    <a:lnTo>
                      <a:pt x="491" y="444"/>
                    </a:lnTo>
                    <a:lnTo>
                      <a:pt x="492" y="442"/>
                    </a:lnTo>
                    <a:lnTo>
                      <a:pt x="492" y="442"/>
                    </a:lnTo>
                    <a:lnTo>
                      <a:pt x="492" y="444"/>
                    </a:lnTo>
                    <a:lnTo>
                      <a:pt x="492" y="444"/>
                    </a:lnTo>
                    <a:lnTo>
                      <a:pt x="492" y="448"/>
                    </a:lnTo>
                    <a:lnTo>
                      <a:pt x="491" y="452"/>
                    </a:lnTo>
                    <a:lnTo>
                      <a:pt x="491" y="452"/>
                    </a:lnTo>
                    <a:lnTo>
                      <a:pt x="488" y="453"/>
                    </a:lnTo>
                    <a:lnTo>
                      <a:pt x="484" y="454"/>
                    </a:lnTo>
                    <a:lnTo>
                      <a:pt x="484" y="454"/>
                    </a:lnTo>
                    <a:lnTo>
                      <a:pt x="482" y="453"/>
                    </a:lnTo>
                    <a:lnTo>
                      <a:pt x="482" y="453"/>
                    </a:lnTo>
                    <a:lnTo>
                      <a:pt x="478" y="452"/>
                    </a:lnTo>
                    <a:lnTo>
                      <a:pt x="475" y="450"/>
                    </a:lnTo>
                    <a:lnTo>
                      <a:pt x="475" y="450"/>
                    </a:lnTo>
                    <a:lnTo>
                      <a:pt x="474" y="449"/>
                    </a:lnTo>
                    <a:lnTo>
                      <a:pt x="472" y="449"/>
                    </a:lnTo>
                    <a:lnTo>
                      <a:pt x="470" y="449"/>
                    </a:lnTo>
                    <a:lnTo>
                      <a:pt x="470" y="449"/>
                    </a:lnTo>
                    <a:lnTo>
                      <a:pt x="468" y="450"/>
                    </a:lnTo>
                    <a:lnTo>
                      <a:pt x="468" y="450"/>
                    </a:lnTo>
                    <a:lnTo>
                      <a:pt x="464" y="454"/>
                    </a:lnTo>
                    <a:lnTo>
                      <a:pt x="460" y="457"/>
                    </a:lnTo>
                    <a:lnTo>
                      <a:pt x="459" y="457"/>
                    </a:lnTo>
                    <a:lnTo>
                      <a:pt x="458" y="457"/>
                    </a:lnTo>
                    <a:lnTo>
                      <a:pt x="458" y="457"/>
                    </a:lnTo>
                    <a:lnTo>
                      <a:pt x="452" y="460"/>
                    </a:lnTo>
                    <a:lnTo>
                      <a:pt x="452" y="460"/>
                    </a:lnTo>
                    <a:lnTo>
                      <a:pt x="449" y="457"/>
                    </a:lnTo>
                    <a:lnTo>
                      <a:pt x="446" y="454"/>
                    </a:lnTo>
                    <a:lnTo>
                      <a:pt x="446" y="454"/>
                    </a:lnTo>
                    <a:lnTo>
                      <a:pt x="443" y="452"/>
                    </a:lnTo>
                    <a:lnTo>
                      <a:pt x="442" y="450"/>
                    </a:lnTo>
                    <a:lnTo>
                      <a:pt x="441" y="450"/>
                    </a:lnTo>
                    <a:lnTo>
                      <a:pt x="439" y="449"/>
                    </a:lnTo>
                    <a:lnTo>
                      <a:pt x="439" y="449"/>
                    </a:lnTo>
                    <a:lnTo>
                      <a:pt x="439" y="449"/>
                    </a:lnTo>
                    <a:lnTo>
                      <a:pt x="439" y="449"/>
                    </a:lnTo>
                    <a:lnTo>
                      <a:pt x="441" y="446"/>
                    </a:lnTo>
                    <a:lnTo>
                      <a:pt x="441" y="445"/>
                    </a:lnTo>
                    <a:lnTo>
                      <a:pt x="438" y="448"/>
                    </a:lnTo>
                    <a:lnTo>
                      <a:pt x="435" y="446"/>
                    </a:lnTo>
                    <a:lnTo>
                      <a:pt x="435" y="446"/>
                    </a:lnTo>
                    <a:lnTo>
                      <a:pt x="435" y="448"/>
                    </a:lnTo>
                    <a:lnTo>
                      <a:pt x="437" y="449"/>
                    </a:lnTo>
                    <a:lnTo>
                      <a:pt x="437" y="449"/>
                    </a:lnTo>
                    <a:lnTo>
                      <a:pt x="438" y="450"/>
                    </a:lnTo>
                    <a:lnTo>
                      <a:pt x="438" y="450"/>
                    </a:lnTo>
                    <a:lnTo>
                      <a:pt x="433" y="454"/>
                    </a:lnTo>
                    <a:lnTo>
                      <a:pt x="426" y="456"/>
                    </a:lnTo>
                    <a:lnTo>
                      <a:pt x="426" y="456"/>
                    </a:lnTo>
                    <a:lnTo>
                      <a:pt x="423" y="456"/>
                    </a:lnTo>
                    <a:lnTo>
                      <a:pt x="419" y="454"/>
                    </a:lnTo>
                    <a:lnTo>
                      <a:pt x="414" y="450"/>
                    </a:lnTo>
                    <a:lnTo>
                      <a:pt x="414" y="450"/>
                    </a:lnTo>
                    <a:lnTo>
                      <a:pt x="410" y="448"/>
                    </a:lnTo>
                    <a:lnTo>
                      <a:pt x="409" y="448"/>
                    </a:lnTo>
                    <a:lnTo>
                      <a:pt x="408" y="448"/>
                    </a:lnTo>
                    <a:lnTo>
                      <a:pt x="408" y="448"/>
                    </a:lnTo>
                    <a:lnTo>
                      <a:pt x="404" y="446"/>
                    </a:lnTo>
                    <a:lnTo>
                      <a:pt x="404" y="446"/>
                    </a:lnTo>
                    <a:lnTo>
                      <a:pt x="406" y="446"/>
                    </a:lnTo>
                    <a:lnTo>
                      <a:pt x="404" y="445"/>
                    </a:lnTo>
                    <a:lnTo>
                      <a:pt x="404" y="445"/>
                    </a:lnTo>
                    <a:lnTo>
                      <a:pt x="402" y="448"/>
                    </a:lnTo>
                    <a:lnTo>
                      <a:pt x="400" y="450"/>
                    </a:lnTo>
                    <a:lnTo>
                      <a:pt x="397" y="452"/>
                    </a:lnTo>
                    <a:lnTo>
                      <a:pt x="394" y="452"/>
                    </a:lnTo>
                    <a:lnTo>
                      <a:pt x="394" y="452"/>
                    </a:lnTo>
                    <a:lnTo>
                      <a:pt x="393" y="452"/>
                    </a:lnTo>
                    <a:lnTo>
                      <a:pt x="392" y="452"/>
                    </a:lnTo>
                    <a:lnTo>
                      <a:pt x="392" y="452"/>
                    </a:lnTo>
                    <a:lnTo>
                      <a:pt x="392" y="452"/>
                    </a:lnTo>
                    <a:lnTo>
                      <a:pt x="390" y="452"/>
                    </a:lnTo>
                    <a:lnTo>
                      <a:pt x="384" y="452"/>
                    </a:lnTo>
                    <a:lnTo>
                      <a:pt x="384" y="452"/>
                    </a:lnTo>
                    <a:lnTo>
                      <a:pt x="380" y="457"/>
                    </a:lnTo>
                    <a:lnTo>
                      <a:pt x="380" y="457"/>
                    </a:lnTo>
                    <a:lnTo>
                      <a:pt x="380" y="457"/>
                    </a:lnTo>
                    <a:lnTo>
                      <a:pt x="380" y="457"/>
                    </a:lnTo>
                    <a:lnTo>
                      <a:pt x="380" y="461"/>
                    </a:lnTo>
                    <a:lnTo>
                      <a:pt x="377" y="465"/>
                    </a:lnTo>
                    <a:lnTo>
                      <a:pt x="377" y="465"/>
                    </a:lnTo>
                    <a:lnTo>
                      <a:pt x="377" y="465"/>
                    </a:lnTo>
                    <a:lnTo>
                      <a:pt x="376" y="466"/>
                    </a:lnTo>
                    <a:lnTo>
                      <a:pt x="374" y="469"/>
                    </a:lnTo>
                    <a:lnTo>
                      <a:pt x="373" y="470"/>
                    </a:lnTo>
                    <a:lnTo>
                      <a:pt x="368" y="472"/>
                    </a:lnTo>
                    <a:lnTo>
                      <a:pt x="368" y="472"/>
                    </a:lnTo>
                    <a:lnTo>
                      <a:pt x="364" y="470"/>
                    </a:lnTo>
                    <a:lnTo>
                      <a:pt x="364" y="470"/>
                    </a:lnTo>
                    <a:lnTo>
                      <a:pt x="360" y="466"/>
                    </a:lnTo>
                    <a:lnTo>
                      <a:pt x="360" y="466"/>
                    </a:lnTo>
                    <a:lnTo>
                      <a:pt x="356" y="464"/>
                    </a:lnTo>
                    <a:lnTo>
                      <a:pt x="356" y="464"/>
                    </a:lnTo>
                    <a:lnTo>
                      <a:pt x="353" y="462"/>
                    </a:lnTo>
                    <a:lnTo>
                      <a:pt x="353" y="462"/>
                    </a:lnTo>
                    <a:lnTo>
                      <a:pt x="355" y="461"/>
                    </a:lnTo>
                    <a:lnTo>
                      <a:pt x="349" y="466"/>
                    </a:lnTo>
                    <a:lnTo>
                      <a:pt x="349" y="466"/>
                    </a:lnTo>
                    <a:lnTo>
                      <a:pt x="349" y="466"/>
                    </a:lnTo>
                    <a:lnTo>
                      <a:pt x="349" y="468"/>
                    </a:lnTo>
                    <a:lnTo>
                      <a:pt x="349" y="470"/>
                    </a:lnTo>
                    <a:lnTo>
                      <a:pt x="344" y="475"/>
                    </a:lnTo>
                    <a:lnTo>
                      <a:pt x="344" y="475"/>
                    </a:lnTo>
                    <a:lnTo>
                      <a:pt x="347" y="474"/>
                    </a:lnTo>
                    <a:lnTo>
                      <a:pt x="348" y="473"/>
                    </a:lnTo>
                    <a:lnTo>
                      <a:pt x="348" y="473"/>
                    </a:lnTo>
                    <a:lnTo>
                      <a:pt x="348" y="474"/>
                    </a:lnTo>
                    <a:lnTo>
                      <a:pt x="348" y="474"/>
                    </a:lnTo>
                    <a:lnTo>
                      <a:pt x="348" y="475"/>
                    </a:lnTo>
                    <a:lnTo>
                      <a:pt x="341" y="481"/>
                    </a:lnTo>
                    <a:lnTo>
                      <a:pt x="335" y="481"/>
                    </a:lnTo>
                    <a:lnTo>
                      <a:pt x="335" y="481"/>
                    </a:lnTo>
                    <a:lnTo>
                      <a:pt x="332" y="482"/>
                    </a:lnTo>
                    <a:lnTo>
                      <a:pt x="330" y="482"/>
                    </a:lnTo>
                    <a:lnTo>
                      <a:pt x="330" y="48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0" name="Group 19">
              <a:extLst>
                <a:ext uri="{FF2B5EF4-FFF2-40B4-BE49-F238E27FC236}">
                  <a16:creationId xmlns:a16="http://schemas.microsoft.com/office/drawing/2014/main" xmlns="" id="{D8EBE59E-7B92-4283-8B60-4BFCA81373C7}"/>
                </a:ext>
              </a:extLst>
            </p:cNvPr>
            <p:cNvGrpSpPr/>
            <p:nvPr/>
          </p:nvGrpSpPr>
          <p:grpSpPr>
            <a:xfrm>
              <a:off x="5643396" y="2774785"/>
              <a:ext cx="1884758" cy="1236238"/>
              <a:chOff x="3664901" y="1741486"/>
              <a:chExt cx="2465361" cy="1652281"/>
            </a:xfrm>
            <a:solidFill>
              <a:srgbClr val="D8D8CD"/>
            </a:solidFill>
          </p:grpSpPr>
          <p:sp>
            <p:nvSpPr>
              <p:cNvPr id="80" name="Freeform 12">
                <a:extLst>
                  <a:ext uri="{FF2B5EF4-FFF2-40B4-BE49-F238E27FC236}">
                    <a16:creationId xmlns:a16="http://schemas.microsoft.com/office/drawing/2014/main" xmlns="" id="{2170B58B-D472-4C1E-9ABA-961A91E2B28E}"/>
                  </a:ext>
                </a:extLst>
              </p:cNvPr>
              <p:cNvSpPr>
                <a:spLocks/>
              </p:cNvSpPr>
              <p:nvPr/>
            </p:nvSpPr>
            <p:spPr bwMode="auto">
              <a:xfrm>
                <a:off x="4457090" y="1741486"/>
                <a:ext cx="1015047" cy="1107323"/>
              </a:xfrm>
              <a:custGeom>
                <a:avLst/>
                <a:gdLst>
                  <a:gd name="T0" fmla="*/ 260 w 583"/>
                  <a:gd name="T1" fmla="*/ 628 h 636"/>
                  <a:gd name="T2" fmla="*/ 227 w 583"/>
                  <a:gd name="T3" fmla="*/ 613 h 636"/>
                  <a:gd name="T4" fmla="*/ 181 w 583"/>
                  <a:gd name="T5" fmla="*/ 612 h 636"/>
                  <a:gd name="T6" fmla="*/ 156 w 583"/>
                  <a:gd name="T7" fmla="*/ 601 h 636"/>
                  <a:gd name="T8" fmla="*/ 163 w 583"/>
                  <a:gd name="T9" fmla="*/ 587 h 636"/>
                  <a:gd name="T10" fmla="*/ 172 w 583"/>
                  <a:gd name="T11" fmla="*/ 543 h 636"/>
                  <a:gd name="T12" fmla="*/ 173 w 583"/>
                  <a:gd name="T13" fmla="*/ 519 h 636"/>
                  <a:gd name="T14" fmla="*/ 148 w 583"/>
                  <a:gd name="T15" fmla="*/ 505 h 636"/>
                  <a:gd name="T16" fmla="*/ 131 w 583"/>
                  <a:gd name="T17" fmla="*/ 484 h 636"/>
                  <a:gd name="T18" fmla="*/ 100 w 583"/>
                  <a:gd name="T19" fmla="*/ 481 h 636"/>
                  <a:gd name="T20" fmla="*/ 79 w 583"/>
                  <a:gd name="T21" fmla="*/ 440 h 636"/>
                  <a:gd name="T22" fmla="*/ 70 w 583"/>
                  <a:gd name="T23" fmla="*/ 392 h 636"/>
                  <a:gd name="T24" fmla="*/ 46 w 583"/>
                  <a:gd name="T25" fmla="*/ 350 h 636"/>
                  <a:gd name="T26" fmla="*/ 3 w 583"/>
                  <a:gd name="T27" fmla="*/ 317 h 636"/>
                  <a:gd name="T28" fmla="*/ 21 w 583"/>
                  <a:gd name="T29" fmla="*/ 309 h 636"/>
                  <a:gd name="T30" fmla="*/ 37 w 583"/>
                  <a:gd name="T31" fmla="*/ 316 h 636"/>
                  <a:gd name="T32" fmla="*/ 62 w 583"/>
                  <a:gd name="T33" fmla="*/ 317 h 636"/>
                  <a:gd name="T34" fmla="*/ 74 w 583"/>
                  <a:gd name="T35" fmla="*/ 318 h 636"/>
                  <a:gd name="T36" fmla="*/ 99 w 583"/>
                  <a:gd name="T37" fmla="*/ 317 h 636"/>
                  <a:gd name="T38" fmla="*/ 144 w 583"/>
                  <a:gd name="T39" fmla="*/ 296 h 636"/>
                  <a:gd name="T40" fmla="*/ 192 w 583"/>
                  <a:gd name="T41" fmla="*/ 310 h 636"/>
                  <a:gd name="T42" fmla="*/ 198 w 583"/>
                  <a:gd name="T43" fmla="*/ 312 h 636"/>
                  <a:gd name="T44" fmla="*/ 229 w 583"/>
                  <a:gd name="T45" fmla="*/ 302 h 636"/>
                  <a:gd name="T46" fmla="*/ 260 w 583"/>
                  <a:gd name="T47" fmla="*/ 285 h 636"/>
                  <a:gd name="T48" fmla="*/ 285 w 583"/>
                  <a:gd name="T49" fmla="*/ 254 h 636"/>
                  <a:gd name="T50" fmla="*/ 296 w 583"/>
                  <a:gd name="T51" fmla="*/ 231 h 636"/>
                  <a:gd name="T52" fmla="*/ 305 w 583"/>
                  <a:gd name="T53" fmla="*/ 197 h 636"/>
                  <a:gd name="T54" fmla="*/ 322 w 583"/>
                  <a:gd name="T55" fmla="*/ 150 h 636"/>
                  <a:gd name="T56" fmla="*/ 328 w 583"/>
                  <a:gd name="T57" fmla="*/ 136 h 636"/>
                  <a:gd name="T58" fmla="*/ 340 w 583"/>
                  <a:gd name="T59" fmla="*/ 108 h 636"/>
                  <a:gd name="T60" fmla="*/ 348 w 583"/>
                  <a:gd name="T61" fmla="*/ 80 h 636"/>
                  <a:gd name="T62" fmla="*/ 354 w 583"/>
                  <a:gd name="T63" fmla="*/ 64 h 636"/>
                  <a:gd name="T64" fmla="*/ 349 w 583"/>
                  <a:gd name="T65" fmla="*/ 33 h 636"/>
                  <a:gd name="T66" fmla="*/ 390 w 583"/>
                  <a:gd name="T67" fmla="*/ 22 h 636"/>
                  <a:gd name="T68" fmla="*/ 419 w 583"/>
                  <a:gd name="T69" fmla="*/ 17 h 636"/>
                  <a:gd name="T70" fmla="*/ 496 w 583"/>
                  <a:gd name="T71" fmla="*/ 18 h 636"/>
                  <a:gd name="T72" fmla="*/ 502 w 583"/>
                  <a:gd name="T73" fmla="*/ 64 h 636"/>
                  <a:gd name="T74" fmla="*/ 501 w 583"/>
                  <a:gd name="T75" fmla="*/ 92 h 636"/>
                  <a:gd name="T76" fmla="*/ 488 w 583"/>
                  <a:gd name="T77" fmla="*/ 124 h 636"/>
                  <a:gd name="T78" fmla="*/ 490 w 583"/>
                  <a:gd name="T79" fmla="*/ 172 h 636"/>
                  <a:gd name="T80" fmla="*/ 502 w 583"/>
                  <a:gd name="T81" fmla="*/ 183 h 636"/>
                  <a:gd name="T82" fmla="*/ 490 w 583"/>
                  <a:gd name="T83" fmla="*/ 228 h 636"/>
                  <a:gd name="T84" fmla="*/ 494 w 583"/>
                  <a:gd name="T85" fmla="*/ 239 h 636"/>
                  <a:gd name="T86" fmla="*/ 508 w 583"/>
                  <a:gd name="T87" fmla="*/ 261 h 636"/>
                  <a:gd name="T88" fmla="*/ 502 w 583"/>
                  <a:gd name="T89" fmla="*/ 305 h 636"/>
                  <a:gd name="T90" fmla="*/ 545 w 583"/>
                  <a:gd name="T91" fmla="*/ 338 h 636"/>
                  <a:gd name="T92" fmla="*/ 571 w 583"/>
                  <a:gd name="T93" fmla="*/ 357 h 636"/>
                  <a:gd name="T94" fmla="*/ 576 w 583"/>
                  <a:gd name="T95" fmla="*/ 382 h 636"/>
                  <a:gd name="T96" fmla="*/ 578 w 583"/>
                  <a:gd name="T97" fmla="*/ 404 h 636"/>
                  <a:gd name="T98" fmla="*/ 553 w 583"/>
                  <a:gd name="T99" fmla="*/ 395 h 636"/>
                  <a:gd name="T100" fmla="*/ 538 w 583"/>
                  <a:gd name="T101" fmla="*/ 403 h 636"/>
                  <a:gd name="T102" fmla="*/ 523 w 583"/>
                  <a:gd name="T103" fmla="*/ 429 h 636"/>
                  <a:gd name="T104" fmla="*/ 513 w 583"/>
                  <a:gd name="T105" fmla="*/ 476 h 636"/>
                  <a:gd name="T106" fmla="*/ 501 w 583"/>
                  <a:gd name="T107" fmla="*/ 495 h 636"/>
                  <a:gd name="T108" fmla="*/ 485 w 583"/>
                  <a:gd name="T109" fmla="*/ 515 h 636"/>
                  <a:gd name="T110" fmla="*/ 452 w 583"/>
                  <a:gd name="T111" fmla="*/ 535 h 636"/>
                  <a:gd name="T112" fmla="*/ 445 w 583"/>
                  <a:gd name="T113" fmla="*/ 555 h 636"/>
                  <a:gd name="T114" fmla="*/ 424 w 583"/>
                  <a:gd name="T115" fmla="*/ 580 h 636"/>
                  <a:gd name="T116" fmla="*/ 393 w 583"/>
                  <a:gd name="T117" fmla="*/ 608 h 636"/>
                  <a:gd name="T118" fmla="*/ 352 w 583"/>
                  <a:gd name="T119" fmla="*/ 625 h 636"/>
                  <a:gd name="T120" fmla="*/ 328 w 583"/>
                  <a:gd name="T121" fmla="*/ 625 h 636"/>
                  <a:gd name="T122" fmla="*/ 300 w 583"/>
                  <a:gd name="T123"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 h="636">
                    <a:moveTo>
                      <a:pt x="300" y="636"/>
                    </a:moveTo>
                    <a:lnTo>
                      <a:pt x="295" y="629"/>
                    </a:lnTo>
                    <a:lnTo>
                      <a:pt x="295" y="629"/>
                    </a:lnTo>
                    <a:lnTo>
                      <a:pt x="295" y="625"/>
                    </a:lnTo>
                    <a:lnTo>
                      <a:pt x="295" y="625"/>
                    </a:lnTo>
                    <a:lnTo>
                      <a:pt x="292" y="625"/>
                    </a:lnTo>
                    <a:lnTo>
                      <a:pt x="292" y="625"/>
                    </a:lnTo>
                    <a:lnTo>
                      <a:pt x="291" y="625"/>
                    </a:lnTo>
                    <a:lnTo>
                      <a:pt x="289" y="625"/>
                    </a:lnTo>
                    <a:lnTo>
                      <a:pt x="284" y="621"/>
                    </a:lnTo>
                    <a:lnTo>
                      <a:pt x="284" y="621"/>
                    </a:lnTo>
                    <a:lnTo>
                      <a:pt x="280" y="626"/>
                    </a:lnTo>
                    <a:lnTo>
                      <a:pt x="278" y="629"/>
                    </a:lnTo>
                    <a:lnTo>
                      <a:pt x="275" y="632"/>
                    </a:lnTo>
                    <a:lnTo>
                      <a:pt x="272" y="632"/>
                    </a:lnTo>
                    <a:lnTo>
                      <a:pt x="266" y="632"/>
                    </a:lnTo>
                    <a:lnTo>
                      <a:pt x="263" y="630"/>
                    </a:lnTo>
                    <a:lnTo>
                      <a:pt x="263" y="625"/>
                    </a:lnTo>
                    <a:lnTo>
                      <a:pt x="263" y="629"/>
                    </a:lnTo>
                    <a:lnTo>
                      <a:pt x="260" y="628"/>
                    </a:lnTo>
                    <a:lnTo>
                      <a:pt x="260" y="629"/>
                    </a:lnTo>
                    <a:lnTo>
                      <a:pt x="260" y="629"/>
                    </a:lnTo>
                    <a:lnTo>
                      <a:pt x="263" y="630"/>
                    </a:lnTo>
                    <a:lnTo>
                      <a:pt x="263" y="630"/>
                    </a:lnTo>
                    <a:lnTo>
                      <a:pt x="262" y="630"/>
                    </a:lnTo>
                    <a:lnTo>
                      <a:pt x="262" y="630"/>
                    </a:lnTo>
                    <a:lnTo>
                      <a:pt x="260" y="630"/>
                    </a:lnTo>
                    <a:lnTo>
                      <a:pt x="259" y="630"/>
                    </a:lnTo>
                    <a:lnTo>
                      <a:pt x="258" y="630"/>
                    </a:lnTo>
                    <a:lnTo>
                      <a:pt x="258" y="630"/>
                    </a:lnTo>
                    <a:lnTo>
                      <a:pt x="250" y="626"/>
                    </a:lnTo>
                    <a:lnTo>
                      <a:pt x="243" y="620"/>
                    </a:lnTo>
                    <a:lnTo>
                      <a:pt x="243" y="620"/>
                    </a:lnTo>
                    <a:lnTo>
                      <a:pt x="237" y="614"/>
                    </a:lnTo>
                    <a:lnTo>
                      <a:pt x="234" y="613"/>
                    </a:lnTo>
                    <a:lnTo>
                      <a:pt x="231" y="612"/>
                    </a:lnTo>
                    <a:lnTo>
                      <a:pt x="231" y="612"/>
                    </a:lnTo>
                    <a:lnTo>
                      <a:pt x="230" y="612"/>
                    </a:lnTo>
                    <a:lnTo>
                      <a:pt x="230" y="612"/>
                    </a:lnTo>
                    <a:lnTo>
                      <a:pt x="227" y="613"/>
                    </a:lnTo>
                    <a:lnTo>
                      <a:pt x="223" y="614"/>
                    </a:lnTo>
                    <a:lnTo>
                      <a:pt x="223" y="614"/>
                    </a:lnTo>
                    <a:lnTo>
                      <a:pt x="222" y="614"/>
                    </a:lnTo>
                    <a:lnTo>
                      <a:pt x="222" y="614"/>
                    </a:lnTo>
                    <a:lnTo>
                      <a:pt x="223" y="613"/>
                    </a:lnTo>
                    <a:lnTo>
                      <a:pt x="218" y="617"/>
                    </a:lnTo>
                    <a:lnTo>
                      <a:pt x="217" y="617"/>
                    </a:lnTo>
                    <a:lnTo>
                      <a:pt x="215" y="616"/>
                    </a:lnTo>
                    <a:lnTo>
                      <a:pt x="215" y="616"/>
                    </a:lnTo>
                    <a:lnTo>
                      <a:pt x="210" y="614"/>
                    </a:lnTo>
                    <a:lnTo>
                      <a:pt x="205" y="610"/>
                    </a:lnTo>
                    <a:lnTo>
                      <a:pt x="202" y="607"/>
                    </a:lnTo>
                    <a:lnTo>
                      <a:pt x="200" y="603"/>
                    </a:lnTo>
                    <a:lnTo>
                      <a:pt x="200" y="603"/>
                    </a:lnTo>
                    <a:lnTo>
                      <a:pt x="197" y="597"/>
                    </a:lnTo>
                    <a:lnTo>
                      <a:pt x="197" y="597"/>
                    </a:lnTo>
                    <a:lnTo>
                      <a:pt x="193" y="600"/>
                    </a:lnTo>
                    <a:lnTo>
                      <a:pt x="189" y="604"/>
                    </a:lnTo>
                    <a:lnTo>
                      <a:pt x="189" y="604"/>
                    </a:lnTo>
                    <a:lnTo>
                      <a:pt x="181" y="612"/>
                    </a:lnTo>
                    <a:lnTo>
                      <a:pt x="177" y="614"/>
                    </a:lnTo>
                    <a:lnTo>
                      <a:pt x="170" y="616"/>
                    </a:lnTo>
                    <a:lnTo>
                      <a:pt x="169" y="617"/>
                    </a:lnTo>
                    <a:lnTo>
                      <a:pt x="168" y="617"/>
                    </a:lnTo>
                    <a:lnTo>
                      <a:pt x="168" y="617"/>
                    </a:lnTo>
                    <a:lnTo>
                      <a:pt x="168" y="617"/>
                    </a:lnTo>
                    <a:lnTo>
                      <a:pt x="165" y="617"/>
                    </a:lnTo>
                    <a:lnTo>
                      <a:pt x="163" y="618"/>
                    </a:lnTo>
                    <a:lnTo>
                      <a:pt x="163" y="618"/>
                    </a:lnTo>
                    <a:lnTo>
                      <a:pt x="159" y="617"/>
                    </a:lnTo>
                    <a:lnTo>
                      <a:pt x="155" y="612"/>
                    </a:lnTo>
                    <a:lnTo>
                      <a:pt x="155" y="607"/>
                    </a:lnTo>
                    <a:lnTo>
                      <a:pt x="159" y="601"/>
                    </a:lnTo>
                    <a:lnTo>
                      <a:pt x="157" y="601"/>
                    </a:lnTo>
                    <a:lnTo>
                      <a:pt x="157" y="601"/>
                    </a:lnTo>
                    <a:lnTo>
                      <a:pt x="156" y="604"/>
                    </a:lnTo>
                    <a:lnTo>
                      <a:pt x="156" y="604"/>
                    </a:lnTo>
                    <a:lnTo>
                      <a:pt x="156" y="604"/>
                    </a:lnTo>
                    <a:lnTo>
                      <a:pt x="156" y="604"/>
                    </a:lnTo>
                    <a:lnTo>
                      <a:pt x="156" y="601"/>
                    </a:lnTo>
                    <a:lnTo>
                      <a:pt x="156" y="599"/>
                    </a:lnTo>
                    <a:lnTo>
                      <a:pt x="156" y="597"/>
                    </a:lnTo>
                    <a:lnTo>
                      <a:pt x="156" y="597"/>
                    </a:lnTo>
                    <a:lnTo>
                      <a:pt x="157" y="595"/>
                    </a:lnTo>
                    <a:lnTo>
                      <a:pt x="157" y="595"/>
                    </a:lnTo>
                    <a:lnTo>
                      <a:pt x="157" y="597"/>
                    </a:lnTo>
                    <a:lnTo>
                      <a:pt x="161" y="592"/>
                    </a:lnTo>
                    <a:lnTo>
                      <a:pt x="161" y="592"/>
                    </a:lnTo>
                    <a:lnTo>
                      <a:pt x="161" y="592"/>
                    </a:lnTo>
                    <a:lnTo>
                      <a:pt x="161" y="591"/>
                    </a:lnTo>
                    <a:lnTo>
                      <a:pt x="161" y="591"/>
                    </a:lnTo>
                    <a:lnTo>
                      <a:pt x="160" y="592"/>
                    </a:lnTo>
                    <a:lnTo>
                      <a:pt x="160" y="592"/>
                    </a:lnTo>
                    <a:lnTo>
                      <a:pt x="160" y="592"/>
                    </a:lnTo>
                    <a:lnTo>
                      <a:pt x="160" y="592"/>
                    </a:lnTo>
                    <a:lnTo>
                      <a:pt x="161" y="589"/>
                    </a:lnTo>
                    <a:lnTo>
                      <a:pt x="161" y="589"/>
                    </a:lnTo>
                    <a:lnTo>
                      <a:pt x="163" y="587"/>
                    </a:lnTo>
                    <a:lnTo>
                      <a:pt x="163" y="587"/>
                    </a:lnTo>
                    <a:lnTo>
                      <a:pt x="163" y="587"/>
                    </a:lnTo>
                    <a:lnTo>
                      <a:pt x="163" y="584"/>
                    </a:lnTo>
                    <a:lnTo>
                      <a:pt x="163" y="584"/>
                    </a:lnTo>
                    <a:lnTo>
                      <a:pt x="164" y="579"/>
                    </a:lnTo>
                    <a:lnTo>
                      <a:pt x="164" y="579"/>
                    </a:lnTo>
                    <a:lnTo>
                      <a:pt x="165" y="575"/>
                    </a:lnTo>
                    <a:lnTo>
                      <a:pt x="166" y="571"/>
                    </a:lnTo>
                    <a:lnTo>
                      <a:pt x="166" y="571"/>
                    </a:lnTo>
                    <a:lnTo>
                      <a:pt x="170" y="563"/>
                    </a:lnTo>
                    <a:lnTo>
                      <a:pt x="170" y="563"/>
                    </a:lnTo>
                    <a:lnTo>
                      <a:pt x="174" y="555"/>
                    </a:lnTo>
                    <a:lnTo>
                      <a:pt x="174" y="555"/>
                    </a:lnTo>
                    <a:lnTo>
                      <a:pt x="176" y="552"/>
                    </a:lnTo>
                    <a:lnTo>
                      <a:pt x="176" y="552"/>
                    </a:lnTo>
                    <a:lnTo>
                      <a:pt x="174" y="554"/>
                    </a:lnTo>
                    <a:lnTo>
                      <a:pt x="174" y="554"/>
                    </a:lnTo>
                    <a:lnTo>
                      <a:pt x="173" y="550"/>
                    </a:lnTo>
                    <a:lnTo>
                      <a:pt x="172" y="546"/>
                    </a:lnTo>
                    <a:lnTo>
                      <a:pt x="172" y="544"/>
                    </a:lnTo>
                    <a:lnTo>
                      <a:pt x="172" y="544"/>
                    </a:lnTo>
                    <a:lnTo>
                      <a:pt x="172" y="543"/>
                    </a:lnTo>
                    <a:lnTo>
                      <a:pt x="172" y="543"/>
                    </a:lnTo>
                    <a:lnTo>
                      <a:pt x="172" y="542"/>
                    </a:lnTo>
                    <a:lnTo>
                      <a:pt x="172" y="542"/>
                    </a:lnTo>
                    <a:lnTo>
                      <a:pt x="173" y="544"/>
                    </a:lnTo>
                    <a:lnTo>
                      <a:pt x="176" y="546"/>
                    </a:lnTo>
                    <a:lnTo>
                      <a:pt x="170" y="539"/>
                    </a:lnTo>
                    <a:lnTo>
                      <a:pt x="170" y="535"/>
                    </a:lnTo>
                    <a:lnTo>
                      <a:pt x="177" y="531"/>
                    </a:lnTo>
                    <a:lnTo>
                      <a:pt x="177" y="530"/>
                    </a:lnTo>
                    <a:lnTo>
                      <a:pt x="177" y="530"/>
                    </a:lnTo>
                    <a:lnTo>
                      <a:pt x="174" y="531"/>
                    </a:lnTo>
                    <a:lnTo>
                      <a:pt x="173" y="532"/>
                    </a:lnTo>
                    <a:lnTo>
                      <a:pt x="173" y="532"/>
                    </a:lnTo>
                    <a:lnTo>
                      <a:pt x="173" y="532"/>
                    </a:lnTo>
                    <a:lnTo>
                      <a:pt x="174" y="527"/>
                    </a:lnTo>
                    <a:lnTo>
                      <a:pt x="174" y="525"/>
                    </a:lnTo>
                    <a:lnTo>
                      <a:pt x="174" y="525"/>
                    </a:lnTo>
                    <a:lnTo>
                      <a:pt x="176" y="526"/>
                    </a:lnTo>
                    <a:lnTo>
                      <a:pt x="173" y="522"/>
                    </a:lnTo>
                    <a:lnTo>
                      <a:pt x="173" y="519"/>
                    </a:lnTo>
                    <a:lnTo>
                      <a:pt x="173" y="519"/>
                    </a:lnTo>
                    <a:lnTo>
                      <a:pt x="170" y="519"/>
                    </a:lnTo>
                    <a:lnTo>
                      <a:pt x="170" y="519"/>
                    </a:lnTo>
                    <a:lnTo>
                      <a:pt x="169" y="521"/>
                    </a:lnTo>
                    <a:lnTo>
                      <a:pt x="169" y="521"/>
                    </a:lnTo>
                    <a:lnTo>
                      <a:pt x="164" y="522"/>
                    </a:lnTo>
                    <a:lnTo>
                      <a:pt x="157" y="523"/>
                    </a:lnTo>
                    <a:lnTo>
                      <a:pt x="157" y="523"/>
                    </a:lnTo>
                    <a:lnTo>
                      <a:pt x="157" y="523"/>
                    </a:lnTo>
                    <a:lnTo>
                      <a:pt x="155" y="523"/>
                    </a:lnTo>
                    <a:lnTo>
                      <a:pt x="152" y="525"/>
                    </a:lnTo>
                    <a:lnTo>
                      <a:pt x="152" y="525"/>
                    </a:lnTo>
                    <a:lnTo>
                      <a:pt x="149" y="523"/>
                    </a:lnTo>
                    <a:lnTo>
                      <a:pt x="145" y="521"/>
                    </a:lnTo>
                    <a:lnTo>
                      <a:pt x="145" y="521"/>
                    </a:lnTo>
                    <a:lnTo>
                      <a:pt x="144" y="518"/>
                    </a:lnTo>
                    <a:lnTo>
                      <a:pt x="143" y="514"/>
                    </a:lnTo>
                    <a:lnTo>
                      <a:pt x="144" y="511"/>
                    </a:lnTo>
                    <a:lnTo>
                      <a:pt x="144" y="511"/>
                    </a:lnTo>
                    <a:lnTo>
                      <a:pt x="148" y="505"/>
                    </a:lnTo>
                    <a:lnTo>
                      <a:pt x="148" y="503"/>
                    </a:lnTo>
                    <a:lnTo>
                      <a:pt x="147" y="502"/>
                    </a:lnTo>
                    <a:lnTo>
                      <a:pt x="144" y="498"/>
                    </a:lnTo>
                    <a:lnTo>
                      <a:pt x="144" y="497"/>
                    </a:lnTo>
                    <a:lnTo>
                      <a:pt x="144" y="497"/>
                    </a:lnTo>
                    <a:lnTo>
                      <a:pt x="144" y="495"/>
                    </a:lnTo>
                    <a:lnTo>
                      <a:pt x="143" y="495"/>
                    </a:lnTo>
                    <a:lnTo>
                      <a:pt x="141" y="495"/>
                    </a:lnTo>
                    <a:lnTo>
                      <a:pt x="141" y="495"/>
                    </a:lnTo>
                    <a:lnTo>
                      <a:pt x="139" y="494"/>
                    </a:lnTo>
                    <a:lnTo>
                      <a:pt x="136" y="493"/>
                    </a:lnTo>
                    <a:lnTo>
                      <a:pt x="136" y="493"/>
                    </a:lnTo>
                    <a:lnTo>
                      <a:pt x="136" y="493"/>
                    </a:lnTo>
                    <a:lnTo>
                      <a:pt x="136" y="493"/>
                    </a:lnTo>
                    <a:lnTo>
                      <a:pt x="137" y="493"/>
                    </a:lnTo>
                    <a:lnTo>
                      <a:pt x="133" y="489"/>
                    </a:lnTo>
                    <a:lnTo>
                      <a:pt x="133" y="489"/>
                    </a:lnTo>
                    <a:lnTo>
                      <a:pt x="133" y="488"/>
                    </a:lnTo>
                    <a:lnTo>
                      <a:pt x="133" y="488"/>
                    </a:lnTo>
                    <a:lnTo>
                      <a:pt x="131" y="484"/>
                    </a:lnTo>
                    <a:lnTo>
                      <a:pt x="131" y="485"/>
                    </a:lnTo>
                    <a:lnTo>
                      <a:pt x="131" y="485"/>
                    </a:lnTo>
                    <a:lnTo>
                      <a:pt x="128" y="485"/>
                    </a:lnTo>
                    <a:lnTo>
                      <a:pt x="128" y="485"/>
                    </a:lnTo>
                    <a:lnTo>
                      <a:pt x="125" y="488"/>
                    </a:lnTo>
                    <a:lnTo>
                      <a:pt x="120" y="489"/>
                    </a:lnTo>
                    <a:lnTo>
                      <a:pt x="120" y="489"/>
                    </a:lnTo>
                    <a:lnTo>
                      <a:pt x="120" y="489"/>
                    </a:lnTo>
                    <a:lnTo>
                      <a:pt x="115" y="488"/>
                    </a:lnTo>
                    <a:lnTo>
                      <a:pt x="112" y="485"/>
                    </a:lnTo>
                    <a:lnTo>
                      <a:pt x="111" y="480"/>
                    </a:lnTo>
                    <a:lnTo>
                      <a:pt x="111" y="480"/>
                    </a:lnTo>
                    <a:lnTo>
                      <a:pt x="110" y="480"/>
                    </a:lnTo>
                    <a:lnTo>
                      <a:pt x="110" y="480"/>
                    </a:lnTo>
                    <a:lnTo>
                      <a:pt x="110" y="480"/>
                    </a:lnTo>
                    <a:lnTo>
                      <a:pt x="107" y="477"/>
                    </a:lnTo>
                    <a:lnTo>
                      <a:pt x="107" y="477"/>
                    </a:lnTo>
                    <a:lnTo>
                      <a:pt x="106" y="478"/>
                    </a:lnTo>
                    <a:lnTo>
                      <a:pt x="100" y="481"/>
                    </a:lnTo>
                    <a:lnTo>
                      <a:pt x="100" y="481"/>
                    </a:lnTo>
                    <a:lnTo>
                      <a:pt x="96" y="480"/>
                    </a:lnTo>
                    <a:lnTo>
                      <a:pt x="95" y="477"/>
                    </a:lnTo>
                    <a:lnTo>
                      <a:pt x="94" y="474"/>
                    </a:lnTo>
                    <a:lnTo>
                      <a:pt x="94" y="474"/>
                    </a:lnTo>
                    <a:lnTo>
                      <a:pt x="94" y="474"/>
                    </a:lnTo>
                    <a:lnTo>
                      <a:pt x="94" y="474"/>
                    </a:lnTo>
                    <a:lnTo>
                      <a:pt x="95" y="476"/>
                    </a:lnTo>
                    <a:lnTo>
                      <a:pt x="98" y="477"/>
                    </a:lnTo>
                    <a:lnTo>
                      <a:pt x="92" y="469"/>
                    </a:lnTo>
                    <a:lnTo>
                      <a:pt x="92" y="469"/>
                    </a:lnTo>
                    <a:lnTo>
                      <a:pt x="92" y="472"/>
                    </a:lnTo>
                    <a:lnTo>
                      <a:pt x="91" y="469"/>
                    </a:lnTo>
                    <a:lnTo>
                      <a:pt x="91" y="466"/>
                    </a:lnTo>
                    <a:lnTo>
                      <a:pt x="91" y="466"/>
                    </a:lnTo>
                    <a:lnTo>
                      <a:pt x="87" y="457"/>
                    </a:lnTo>
                    <a:lnTo>
                      <a:pt x="82" y="448"/>
                    </a:lnTo>
                    <a:lnTo>
                      <a:pt x="81" y="444"/>
                    </a:lnTo>
                    <a:lnTo>
                      <a:pt x="81" y="444"/>
                    </a:lnTo>
                    <a:lnTo>
                      <a:pt x="81" y="444"/>
                    </a:lnTo>
                    <a:lnTo>
                      <a:pt x="79" y="440"/>
                    </a:lnTo>
                    <a:lnTo>
                      <a:pt x="78" y="437"/>
                    </a:lnTo>
                    <a:lnTo>
                      <a:pt x="79" y="427"/>
                    </a:lnTo>
                    <a:lnTo>
                      <a:pt x="82" y="427"/>
                    </a:lnTo>
                    <a:lnTo>
                      <a:pt x="82" y="427"/>
                    </a:lnTo>
                    <a:lnTo>
                      <a:pt x="85" y="425"/>
                    </a:lnTo>
                    <a:lnTo>
                      <a:pt x="85" y="425"/>
                    </a:lnTo>
                    <a:lnTo>
                      <a:pt x="82" y="416"/>
                    </a:lnTo>
                    <a:lnTo>
                      <a:pt x="82" y="416"/>
                    </a:lnTo>
                    <a:lnTo>
                      <a:pt x="81" y="412"/>
                    </a:lnTo>
                    <a:lnTo>
                      <a:pt x="81" y="412"/>
                    </a:lnTo>
                    <a:lnTo>
                      <a:pt x="78" y="406"/>
                    </a:lnTo>
                    <a:lnTo>
                      <a:pt x="74" y="402"/>
                    </a:lnTo>
                    <a:lnTo>
                      <a:pt x="73" y="400"/>
                    </a:lnTo>
                    <a:lnTo>
                      <a:pt x="73" y="400"/>
                    </a:lnTo>
                    <a:lnTo>
                      <a:pt x="71" y="399"/>
                    </a:lnTo>
                    <a:lnTo>
                      <a:pt x="71" y="395"/>
                    </a:lnTo>
                    <a:lnTo>
                      <a:pt x="71" y="395"/>
                    </a:lnTo>
                    <a:lnTo>
                      <a:pt x="70" y="392"/>
                    </a:lnTo>
                    <a:lnTo>
                      <a:pt x="70" y="392"/>
                    </a:lnTo>
                    <a:lnTo>
                      <a:pt x="70" y="392"/>
                    </a:lnTo>
                    <a:lnTo>
                      <a:pt x="70" y="392"/>
                    </a:lnTo>
                    <a:lnTo>
                      <a:pt x="70" y="392"/>
                    </a:lnTo>
                    <a:lnTo>
                      <a:pt x="67" y="388"/>
                    </a:lnTo>
                    <a:lnTo>
                      <a:pt x="67" y="388"/>
                    </a:lnTo>
                    <a:lnTo>
                      <a:pt x="67" y="388"/>
                    </a:lnTo>
                    <a:lnTo>
                      <a:pt x="67" y="387"/>
                    </a:lnTo>
                    <a:lnTo>
                      <a:pt x="67" y="387"/>
                    </a:lnTo>
                    <a:lnTo>
                      <a:pt x="67" y="387"/>
                    </a:lnTo>
                    <a:lnTo>
                      <a:pt x="67" y="387"/>
                    </a:lnTo>
                    <a:lnTo>
                      <a:pt x="65" y="382"/>
                    </a:lnTo>
                    <a:lnTo>
                      <a:pt x="61" y="378"/>
                    </a:lnTo>
                    <a:lnTo>
                      <a:pt x="53" y="370"/>
                    </a:lnTo>
                    <a:lnTo>
                      <a:pt x="53" y="370"/>
                    </a:lnTo>
                    <a:lnTo>
                      <a:pt x="47" y="365"/>
                    </a:lnTo>
                    <a:lnTo>
                      <a:pt x="46" y="362"/>
                    </a:lnTo>
                    <a:lnTo>
                      <a:pt x="46" y="362"/>
                    </a:lnTo>
                    <a:lnTo>
                      <a:pt x="45" y="359"/>
                    </a:lnTo>
                    <a:lnTo>
                      <a:pt x="45" y="357"/>
                    </a:lnTo>
                    <a:lnTo>
                      <a:pt x="45" y="354"/>
                    </a:lnTo>
                    <a:lnTo>
                      <a:pt x="46" y="350"/>
                    </a:lnTo>
                    <a:lnTo>
                      <a:pt x="47" y="350"/>
                    </a:lnTo>
                    <a:lnTo>
                      <a:pt x="47" y="350"/>
                    </a:lnTo>
                    <a:lnTo>
                      <a:pt x="44" y="349"/>
                    </a:lnTo>
                    <a:lnTo>
                      <a:pt x="44" y="349"/>
                    </a:lnTo>
                    <a:lnTo>
                      <a:pt x="38" y="345"/>
                    </a:lnTo>
                    <a:lnTo>
                      <a:pt x="38" y="345"/>
                    </a:lnTo>
                    <a:lnTo>
                      <a:pt x="36" y="342"/>
                    </a:lnTo>
                    <a:lnTo>
                      <a:pt x="36" y="342"/>
                    </a:lnTo>
                    <a:lnTo>
                      <a:pt x="33" y="341"/>
                    </a:lnTo>
                    <a:lnTo>
                      <a:pt x="33" y="341"/>
                    </a:lnTo>
                    <a:lnTo>
                      <a:pt x="30" y="339"/>
                    </a:lnTo>
                    <a:lnTo>
                      <a:pt x="28" y="338"/>
                    </a:lnTo>
                    <a:lnTo>
                      <a:pt x="28" y="338"/>
                    </a:lnTo>
                    <a:lnTo>
                      <a:pt x="22" y="333"/>
                    </a:lnTo>
                    <a:lnTo>
                      <a:pt x="16" y="328"/>
                    </a:lnTo>
                    <a:lnTo>
                      <a:pt x="16" y="328"/>
                    </a:lnTo>
                    <a:lnTo>
                      <a:pt x="9" y="324"/>
                    </a:lnTo>
                    <a:lnTo>
                      <a:pt x="8" y="324"/>
                    </a:lnTo>
                    <a:lnTo>
                      <a:pt x="3" y="317"/>
                    </a:lnTo>
                    <a:lnTo>
                      <a:pt x="3" y="317"/>
                    </a:lnTo>
                    <a:lnTo>
                      <a:pt x="3" y="320"/>
                    </a:lnTo>
                    <a:lnTo>
                      <a:pt x="4" y="321"/>
                    </a:lnTo>
                    <a:lnTo>
                      <a:pt x="4" y="321"/>
                    </a:lnTo>
                    <a:lnTo>
                      <a:pt x="1" y="318"/>
                    </a:lnTo>
                    <a:lnTo>
                      <a:pt x="0" y="316"/>
                    </a:lnTo>
                    <a:lnTo>
                      <a:pt x="0" y="310"/>
                    </a:lnTo>
                    <a:lnTo>
                      <a:pt x="1" y="310"/>
                    </a:lnTo>
                    <a:lnTo>
                      <a:pt x="1" y="310"/>
                    </a:lnTo>
                    <a:lnTo>
                      <a:pt x="1" y="308"/>
                    </a:lnTo>
                    <a:lnTo>
                      <a:pt x="3" y="305"/>
                    </a:lnTo>
                    <a:lnTo>
                      <a:pt x="3" y="305"/>
                    </a:lnTo>
                    <a:lnTo>
                      <a:pt x="7" y="304"/>
                    </a:lnTo>
                    <a:lnTo>
                      <a:pt x="9" y="302"/>
                    </a:lnTo>
                    <a:lnTo>
                      <a:pt x="9" y="302"/>
                    </a:lnTo>
                    <a:lnTo>
                      <a:pt x="12" y="304"/>
                    </a:lnTo>
                    <a:lnTo>
                      <a:pt x="14" y="305"/>
                    </a:lnTo>
                    <a:lnTo>
                      <a:pt x="14" y="305"/>
                    </a:lnTo>
                    <a:lnTo>
                      <a:pt x="14" y="305"/>
                    </a:lnTo>
                    <a:lnTo>
                      <a:pt x="16" y="305"/>
                    </a:lnTo>
                    <a:lnTo>
                      <a:pt x="21" y="309"/>
                    </a:lnTo>
                    <a:lnTo>
                      <a:pt x="21" y="309"/>
                    </a:lnTo>
                    <a:lnTo>
                      <a:pt x="20" y="308"/>
                    </a:lnTo>
                    <a:lnTo>
                      <a:pt x="20" y="308"/>
                    </a:lnTo>
                    <a:lnTo>
                      <a:pt x="24" y="308"/>
                    </a:lnTo>
                    <a:lnTo>
                      <a:pt x="24" y="308"/>
                    </a:lnTo>
                    <a:lnTo>
                      <a:pt x="28" y="308"/>
                    </a:lnTo>
                    <a:lnTo>
                      <a:pt x="32" y="309"/>
                    </a:lnTo>
                    <a:lnTo>
                      <a:pt x="34" y="312"/>
                    </a:lnTo>
                    <a:lnTo>
                      <a:pt x="34" y="312"/>
                    </a:lnTo>
                    <a:lnTo>
                      <a:pt x="34" y="313"/>
                    </a:lnTo>
                    <a:lnTo>
                      <a:pt x="34" y="313"/>
                    </a:lnTo>
                    <a:lnTo>
                      <a:pt x="32" y="312"/>
                    </a:lnTo>
                    <a:lnTo>
                      <a:pt x="37" y="316"/>
                    </a:lnTo>
                    <a:lnTo>
                      <a:pt x="37" y="316"/>
                    </a:lnTo>
                    <a:lnTo>
                      <a:pt x="37" y="316"/>
                    </a:lnTo>
                    <a:lnTo>
                      <a:pt x="37" y="316"/>
                    </a:lnTo>
                    <a:lnTo>
                      <a:pt x="36" y="314"/>
                    </a:lnTo>
                    <a:lnTo>
                      <a:pt x="36" y="314"/>
                    </a:lnTo>
                    <a:lnTo>
                      <a:pt x="37" y="316"/>
                    </a:lnTo>
                    <a:lnTo>
                      <a:pt x="37" y="316"/>
                    </a:lnTo>
                    <a:lnTo>
                      <a:pt x="38" y="316"/>
                    </a:lnTo>
                    <a:lnTo>
                      <a:pt x="38" y="316"/>
                    </a:lnTo>
                    <a:lnTo>
                      <a:pt x="42" y="316"/>
                    </a:lnTo>
                    <a:lnTo>
                      <a:pt x="44" y="317"/>
                    </a:lnTo>
                    <a:lnTo>
                      <a:pt x="47" y="320"/>
                    </a:lnTo>
                    <a:lnTo>
                      <a:pt x="47" y="320"/>
                    </a:lnTo>
                    <a:lnTo>
                      <a:pt x="47" y="318"/>
                    </a:lnTo>
                    <a:lnTo>
                      <a:pt x="47" y="318"/>
                    </a:lnTo>
                    <a:lnTo>
                      <a:pt x="47" y="320"/>
                    </a:lnTo>
                    <a:lnTo>
                      <a:pt x="50" y="320"/>
                    </a:lnTo>
                    <a:lnTo>
                      <a:pt x="50" y="320"/>
                    </a:lnTo>
                    <a:lnTo>
                      <a:pt x="50" y="318"/>
                    </a:lnTo>
                    <a:lnTo>
                      <a:pt x="50" y="318"/>
                    </a:lnTo>
                    <a:lnTo>
                      <a:pt x="54" y="320"/>
                    </a:lnTo>
                    <a:lnTo>
                      <a:pt x="55" y="321"/>
                    </a:lnTo>
                    <a:lnTo>
                      <a:pt x="55" y="321"/>
                    </a:lnTo>
                    <a:lnTo>
                      <a:pt x="57" y="321"/>
                    </a:lnTo>
                    <a:lnTo>
                      <a:pt x="57" y="321"/>
                    </a:lnTo>
                    <a:lnTo>
                      <a:pt x="59" y="318"/>
                    </a:lnTo>
                    <a:lnTo>
                      <a:pt x="62" y="317"/>
                    </a:lnTo>
                    <a:lnTo>
                      <a:pt x="63" y="317"/>
                    </a:lnTo>
                    <a:lnTo>
                      <a:pt x="63" y="317"/>
                    </a:lnTo>
                    <a:lnTo>
                      <a:pt x="61" y="318"/>
                    </a:lnTo>
                    <a:lnTo>
                      <a:pt x="59" y="321"/>
                    </a:lnTo>
                    <a:lnTo>
                      <a:pt x="65" y="317"/>
                    </a:lnTo>
                    <a:lnTo>
                      <a:pt x="65" y="317"/>
                    </a:lnTo>
                    <a:lnTo>
                      <a:pt x="65" y="317"/>
                    </a:lnTo>
                    <a:lnTo>
                      <a:pt x="67" y="316"/>
                    </a:lnTo>
                    <a:lnTo>
                      <a:pt x="67" y="316"/>
                    </a:lnTo>
                    <a:lnTo>
                      <a:pt x="70" y="317"/>
                    </a:lnTo>
                    <a:lnTo>
                      <a:pt x="71" y="318"/>
                    </a:lnTo>
                    <a:lnTo>
                      <a:pt x="71" y="318"/>
                    </a:lnTo>
                    <a:lnTo>
                      <a:pt x="71" y="318"/>
                    </a:lnTo>
                    <a:lnTo>
                      <a:pt x="71" y="318"/>
                    </a:lnTo>
                    <a:lnTo>
                      <a:pt x="70" y="318"/>
                    </a:lnTo>
                    <a:lnTo>
                      <a:pt x="71" y="320"/>
                    </a:lnTo>
                    <a:lnTo>
                      <a:pt x="71" y="320"/>
                    </a:lnTo>
                    <a:lnTo>
                      <a:pt x="71" y="320"/>
                    </a:lnTo>
                    <a:lnTo>
                      <a:pt x="71" y="320"/>
                    </a:lnTo>
                    <a:lnTo>
                      <a:pt x="74" y="318"/>
                    </a:lnTo>
                    <a:lnTo>
                      <a:pt x="74" y="318"/>
                    </a:lnTo>
                    <a:lnTo>
                      <a:pt x="75" y="318"/>
                    </a:lnTo>
                    <a:lnTo>
                      <a:pt x="75" y="318"/>
                    </a:lnTo>
                    <a:lnTo>
                      <a:pt x="77" y="318"/>
                    </a:lnTo>
                    <a:lnTo>
                      <a:pt x="77" y="318"/>
                    </a:lnTo>
                    <a:lnTo>
                      <a:pt x="79" y="320"/>
                    </a:lnTo>
                    <a:lnTo>
                      <a:pt x="82" y="321"/>
                    </a:lnTo>
                    <a:lnTo>
                      <a:pt x="82" y="321"/>
                    </a:lnTo>
                    <a:lnTo>
                      <a:pt x="82" y="321"/>
                    </a:lnTo>
                    <a:lnTo>
                      <a:pt x="86" y="320"/>
                    </a:lnTo>
                    <a:lnTo>
                      <a:pt x="90" y="320"/>
                    </a:lnTo>
                    <a:lnTo>
                      <a:pt x="94" y="320"/>
                    </a:lnTo>
                    <a:lnTo>
                      <a:pt x="94" y="320"/>
                    </a:lnTo>
                    <a:lnTo>
                      <a:pt x="91" y="321"/>
                    </a:lnTo>
                    <a:lnTo>
                      <a:pt x="91" y="322"/>
                    </a:lnTo>
                    <a:lnTo>
                      <a:pt x="96" y="318"/>
                    </a:lnTo>
                    <a:lnTo>
                      <a:pt x="96" y="318"/>
                    </a:lnTo>
                    <a:lnTo>
                      <a:pt x="96" y="318"/>
                    </a:lnTo>
                    <a:lnTo>
                      <a:pt x="99" y="317"/>
                    </a:lnTo>
                    <a:lnTo>
                      <a:pt x="99" y="317"/>
                    </a:lnTo>
                    <a:lnTo>
                      <a:pt x="103" y="318"/>
                    </a:lnTo>
                    <a:lnTo>
                      <a:pt x="103" y="318"/>
                    </a:lnTo>
                    <a:lnTo>
                      <a:pt x="106" y="318"/>
                    </a:lnTo>
                    <a:lnTo>
                      <a:pt x="106" y="318"/>
                    </a:lnTo>
                    <a:lnTo>
                      <a:pt x="107" y="318"/>
                    </a:lnTo>
                    <a:lnTo>
                      <a:pt x="107" y="318"/>
                    </a:lnTo>
                    <a:lnTo>
                      <a:pt x="104" y="320"/>
                    </a:lnTo>
                    <a:lnTo>
                      <a:pt x="107" y="318"/>
                    </a:lnTo>
                    <a:lnTo>
                      <a:pt x="107" y="318"/>
                    </a:lnTo>
                    <a:lnTo>
                      <a:pt x="112" y="314"/>
                    </a:lnTo>
                    <a:lnTo>
                      <a:pt x="118" y="310"/>
                    </a:lnTo>
                    <a:lnTo>
                      <a:pt x="118" y="310"/>
                    </a:lnTo>
                    <a:lnTo>
                      <a:pt x="122" y="308"/>
                    </a:lnTo>
                    <a:lnTo>
                      <a:pt x="125" y="304"/>
                    </a:lnTo>
                    <a:lnTo>
                      <a:pt x="128" y="304"/>
                    </a:lnTo>
                    <a:lnTo>
                      <a:pt x="128" y="304"/>
                    </a:lnTo>
                    <a:lnTo>
                      <a:pt x="135" y="298"/>
                    </a:lnTo>
                    <a:lnTo>
                      <a:pt x="139" y="296"/>
                    </a:lnTo>
                    <a:lnTo>
                      <a:pt x="144" y="296"/>
                    </a:lnTo>
                    <a:lnTo>
                      <a:pt x="144" y="296"/>
                    </a:lnTo>
                    <a:lnTo>
                      <a:pt x="148" y="296"/>
                    </a:lnTo>
                    <a:lnTo>
                      <a:pt x="151" y="297"/>
                    </a:lnTo>
                    <a:lnTo>
                      <a:pt x="153" y="297"/>
                    </a:lnTo>
                    <a:lnTo>
                      <a:pt x="156" y="298"/>
                    </a:lnTo>
                    <a:lnTo>
                      <a:pt x="156" y="298"/>
                    </a:lnTo>
                    <a:lnTo>
                      <a:pt x="165" y="305"/>
                    </a:lnTo>
                    <a:lnTo>
                      <a:pt x="165" y="305"/>
                    </a:lnTo>
                    <a:lnTo>
                      <a:pt x="169" y="304"/>
                    </a:lnTo>
                    <a:lnTo>
                      <a:pt x="169" y="304"/>
                    </a:lnTo>
                    <a:lnTo>
                      <a:pt x="172" y="304"/>
                    </a:lnTo>
                    <a:lnTo>
                      <a:pt x="176" y="306"/>
                    </a:lnTo>
                    <a:lnTo>
                      <a:pt x="176" y="306"/>
                    </a:lnTo>
                    <a:lnTo>
                      <a:pt x="174" y="305"/>
                    </a:lnTo>
                    <a:lnTo>
                      <a:pt x="174" y="305"/>
                    </a:lnTo>
                    <a:lnTo>
                      <a:pt x="177" y="306"/>
                    </a:lnTo>
                    <a:lnTo>
                      <a:pt x="177" y="306"/>
                    </a:lnTo>
                    <a:lnTo>
                      <a:pt x="181" y="304"/>
                    </a:lnTo>
                    <a:lnTo>
                      <a:pt x="185" y="304"/>
                    </a:lnTo>
                    <a:lnTo>
                      <a:pt x="186" y="304"/>
                    </a:lnTo>
                    <a:lnTo>
                      <a:pt x="192" y="310"/>
                    </a:lnTo>
                    <a:lnTo>
                      <a:pt x="192" y="310"/>
                    </a:lnTo>
                    <a:lnTo>
                      <a:pt x="192" y="309"/>
                    </a:lnTo>
                    <a:lnTo>
                      <a:pt x="193" y="310"/>
                    </a:lnTo>
                    <a:lnTo>
                      <a:pt x="193" y="310"/>
                    </a:lnTo>
                    <a:lnTo>
                      <a:pt x="192" y="308"/>
                    </a:lnTo>
                    <a:lnTo>
                      <a:pt x="190" y="306"/>
                    </a:lnTo>
                    <a:lnTo>
                      <a:pt x="190" y="306"/>
                    </a:lnTo>
                    <a:lnTo>
                      <a:pt x="190" y="306"/>
                    </a:lnTo>
                    <a:lnTo>
                      <a:pt x="190" y="306"/>
                    </a:lnTo>
                    <a:lnTo>
                      <a:pt x="192" y="306"/>
                    </a:lnTo>
                    <a:lnTo>
                      <a:pt x="192" y="306"/>
                    </a:lnTo>
                    <a:lnTo>
                      <a:pt x="194" y="306"/>
                    </a:lnTo>
                    <a:lnTo>
                      <a:pt x="194" y="306"/>
                    </a:lnTo>
                    <a:lnTo>
                      <a:pt x="197" y="306"/>
                    </a:lnTo>
                    <a:lnTo>
                      <a:pt x="198" y="306"/>
                    </a:lnTo>
                    <a:lnTo>
                      <a:pt x="200" y="308"/>
                    </a:lnTo>
                    <a:lnTo>
                      <a:pt x="200" y="308"/>
                    </a:lnTo>
                    <a:lnTo>
                      <a:pt x="198" y="310"/>
                    </a:lnTo>
                    <a:lnTo>
                      <a:pt x="198" y="310"/>
                    </a:lnTo>
                    <a:lnTo>
                      <a:pt x="198" y="312"/>
                    </a:lnTo>
                    <a:lnTo>
                      <a:pt x="198" y="314"/>
                    </a:lnTo>
                    <a:lnTo>
                      <a:pt x="201" y="310"/>
                    </a:lnTo>
                    <a:lnTo>
                      <a:pt x="204" y="314"/>
                    </a:lnTo>
                    <a:lnTo>
                      <a:pt x="204" y="314"/>
                    </a:lnTo>
                    <a:lnTo>
                      <a:pt x="205" y="312"/>
                    </a:lnTo>
                    <a:lnTo>
                      <a:pt x="204" y="310"/>
                    </a:lnTo>
                    <a:lnTo>
                      <a:pt x="204" y="310"/>
                    </a:lnTo>
                    <a:lnTo>
                      <a:pt x="202" y="308"/>
                    </a:lnTo>
                    <a:lnTo>
                      <a:pt x="202" y="306"/>
                    </a:lnTo>
                    <a:lnTo>
                      <a:pt x="202" y="306"/>
                    </a:lnTo>
                    <a:lnTo>
                      <a:pt x="206" y="306"/>
                    </a:lnTo>
                    <a:lnTo>
                      <a:pt x="206" y="306"/>
                    </a:lnTo>
                    <a:lnTo>
                      <a:pt x="213" y="308"/>
                    </a:lnTo>
                    <a:lnTo>
                      <a:pt x="213" y="308"/>
                    </a:lnTo>
                    <a:lnTo>
                      <a:pt x="215" y="308"/>
                    </a:lnTo>
                    <a:lnTo>
                      <a:pt x="215" y="308"/>
                    </a:lnTo>
                    <a:lnTo>
                      <a:pt x="217" y="308"/>
                    </a:lnTo>
                    <a:lnTo>
                      <a:pt x="217" y="308"/>
                    </a:lnTo>
                    <a:lnTo>
                      <a:pt x="223" y="305"/>
                    </a:lnTo>
                    <a:lnTo>
                      <a:pt x="229" y="302"/>
                    </a:lnTo>
                    <a:lnTo>
                      <a:pt x="229" y="302"/>
                    </a:lnTo>
                    <a:lnTo>
                      <a:pt x="233" y="300"/>
                    </a:lnTo>
                    <a:lnTo>
                      <a:pt x="235" y="298"/>
                    </a:lnTo>
                    <a:lnTo>
                      <a:pt x="237" y="298"/>
                    </a:lnTo>
                    <a:lnTo>
                      <a:pt x="237" y="298"/>
                    </a:lnTo>
                    <a:lnTo>
                      <a:pt x="238" y="298"/>
                    </a:lnTo>
                    <a:lnTo>
                      <a:pt x="239" y="297"/>
                    </a:lnTo>
                    <a:lnTo>
                      <a:pt x="241" y="294"/>
                    </a:lnTo>
                    <a:lnTo>
                      <a:pt x="241" y="294"/>
                    </a:lnTo>
                    <a:lnTo>
                      <a:pt x="246" y="291"/>
                    </a:lnTo>
                    <a:lnTo>
                      <a:pt x="246" y="291"/>
                    </a:lnTo>
                    <a:lnTo>
                      <a:pt x="250" y="288"/>
                    </a:lnTo>
                    <a:lnTo>
                      <a:pt x="255" y="287"/>
                    </a:lnTo>
                    <a:lnTo>
                      <a:pt x="258" y="287"/>
                    </a:lnTo>
                    <a:lnTo>
                      <a:pt x="258" y="287"/>
                    </a:lnTo>
                    <a:lnTo>
                      <a:pt x="259" y="287"/>
                    </a:lnTo>
                    <a:lnTo>
                      <a:pt x="259" y="287"/>
                    </a:lnTo>
                    <a:lnTo>
                      <a:pt x="258" y="287"/>
                    </a:lnTo>
                    <a:lnTo>
                      <a:pt x="258" y="289"/>
                    </a:lnTo>
                    <a:lnTo>
                      <a:pt x="260" y="285"/>
                    </a:lnTo>
                    <a:lnTo>
                      <a:pt x="260" y="285"/>
                    </a:lnTo>
                    <a:lnTo>
                      <a:pt x="260" y="285"/>
                    </a:lnTo>
                    <a:lnTo>
                      <a:pt x="268" y="279"/>
                    </a:lnTo>
                    <a:lnTo>
                      <a:pt x="268" y="279"/>
                    </a:lnTo>
                    <a:lnTo>
                      <a:pt x="275" y="273"/>
                    </a:lnTo>
                    <a:lnTo>
                      <a:pt x="278" y="272"/>
                    </a:lnTo>
                    <a:lnTo>
                      <a:pt x="278" y="272"/>
                    </a:lnTo>
                    <a:lnTo>
                      <a:pt x="279" y="271"/>
                    </a:lnTo>
                    <a:lnTo>
                      <a:pt x="279" y="271"/>
                    </a:lnTo>
                    <a:lnTo>
                      <a:pt x="280" y="267"/>
                    </a:lnTo>
                    <a:lnTo>
                      <a:pt x="280" y="264"/>
                    </a:lnTo>
                    <a:lnTo>
                      <a:pt x="280" y="264"/>
                    </a:lnTo>
                    <a:lnTo>
                      <a:pt x="280" y="264"/>
                    </a:lnTo>
                    <a:lnTo>
                      <a:pt x="280" y="267"/>
                    </a:lnTo>
                    <a:lnTo>
                      <a:pt x="283" y="261"/>
                    </a:lnTo>
                    <a:lnTo>
                      <a:pt x="283" y="261"/>
                    </a:lnTo>
                    <a:lnTo>
                      <a:pt x="284" y="259"/>
                    </a:lnTo>
                    <a:lnTo>
                      <a:pt x="284" y="259"/>
                    </a:lnTo>
                    <a:lnTo>
                      <a:pt x="284" y="255"/>
                    </a:lnTo>
                    <a:lnTo>
                      <a:pt x="285" y="254"/>
                    </a:lnTo>
                    <a:lnTo>
                      <a:pt x="285" y="254"/>
                    </a:lnTo>
                    <a:lnTo>
                      <a:pt x="285" y="254"/>
                    </a:lnTo>
                    <a:lnTo>
                      <a:pt x="285" y="255"/>
                    </a:lnTo>
                    <a:lnTo>
                      <a:pt x="287" y="251"/>
                    </a:lnTo>
                    <a:lnTo>
                      <a:pt x="287" y="251"/>
                    </a:lnTo>
                    <a:lnTo>
                      <a:pt x="289" y="247"/>
                    </a:lnTo>
                    <a:lnTo>
                      <a:pt x="289" y="247"/>
                    </a:lnTo>
                    <a:lnTo>
                      <a:pt x="291" y="242"/>
                    </a:lnTo>
                    <a:lnTo>
                      <a:pt x="291" y="242"/>
                    </a:lnTo>
                    <a:lnTo>
                      <a:pt x="293" y="239"/>
                    </a:lnTo>
                    <a:lnTo>
                      <a:pt x="293" y="239"/>
                    </a:lnTo>
                    <a:lnTo>
                      <a:pt x="293" y="235"/>
                    </a:lnTo>
                    <a:lnTo>
                      <a:pt x="295" y="232"/>
                    </a:lnTo>
                    <a:lnTo>
                      <a:pt x="295" y="232"/>
                    </a:lnTo>
                    <a:lnTo>
                      <a:pt x="295" y="232"/>
                    </a:lnTo>
                    <a:lnTo>
                      <a:pt x="295" y="235"/>
                    </a:lnTo>
                    <a:lnTo>
                      <a:pt x="297" y="230"/>
                    </a:lnTo>
                    <a:lnTo>
                      <a:pt x="297" y="230"/>
                    </a:lnTo>
                    <a:lnTo>
                      <a:pt x="296" y="231"/>
                    </a:lnTo>
                    <a:lnTo>
                      <a:pt x="296" y="231"/>
                    </a:lnTo>
                    <a:lnTo>
                      <a:pt x="296" y="230"/>
                    </a:lnTo>
                    <a:lnTo>
                      <a:pt x="296" y="230"/>
                    </a:lnTo>
                    <a:lnTo>
                      <a:pt x="297" y="223"/>
                    </a:lnTo>
                    <a:lnTo>
                      <a:pt x="300" y="218"/>
                    </a:lnTo>
                    <a:lnTo>
                      <a:pt x="301" y="215"/>
                    </a:lnTo>
                    <a:lnTo>
                      <a:pt x="301" y="215"/>
                    </a:lnTo>
                    <a:lnTo>
                      <a:pt x="301" y="215"/>
                    </a:lnTo>
                    <a:lnTo>
                      <a:pt x="301" y="215"/>
                    </a:lnTo>
                    <a:lnTo>
                      <a:pt x="301" y="213"/>
                    </a:lnTo>
                    <a:lnTo>
                      <a:pt x="301" y="213"/>
                    </a:lnTo>
                    <a:lnTo>
                      <a:pt x="303" y="207"/>
                    </a:lnTo>
                    <a:lnTo>
                      <a:pt x="304" y="202"/>
                    </a:lnTo>
                    <a:lnTo>
                      <a:pt x="304" y="202"/>
                    </a:lnTo>
                    <a:lnTo>
                      <a:pt x="304" y="202"/>
                    </a:lnTo>
                    <a:lnTo>
                      <a:pt x="304" y="201"/>
                    </a:lnTo>
                    <a:lnTo>
                      <a:pt x="304" y="199"/>
                    </a:lnTo>
                    <a:lnTo>
                      <a:pt x="311" y="193"/>
                    </a:lnTo>
                    <a:lnTo>
                      <a:pt x="311" y="193"/>
                    </a:lnTo>
                    <a:lnTo>
                      <a:pt x="307" y="195"/>
                    </a:lnTo>
                    <a:lnTo>
                      <a:pt x="305" y="197"/>
                    </a:lnTo>
                    <a:lnTo>
                      <a:pt x="305" y="197"/>
                    </a:lnTo>
                    <a:lnTo>
                      <a:pt x="305" y="195"/>
                    </a:lnTo>
                    <a:lnTo>
                      <a:pt x="305" y="195"/>
                    </a:lnTo>
                    <a:lnTo>
                      <a:pt x="305" y="191"/>
                    </a:lnTo>
                    <a:lnTo>
                      <a:pt x="305" y="189"/>
                    </a:lnTo>
                    <a:lnTo>
                      <a:pt x="305" y="189"/>
                    </a:lnTo>
                    <a:lnTo>
                      <a:pt x="305" y="189"/>
                    </a:lnTo>
                    <a:lnTo>
                      <a:pt x="307" y="182"/>
                    </a:lnTo>
                    <a:lnTo>
                      <a:pt x="309" y="177"/>
                    </a:lnTo>
                    <a:lnTo>
                      <a:pt x="316" y="168"/>
                    </a:lnTo>
                    <a:lnTo>
                      <a:pt x="316" y="168"/>
                    </a:lnTo>
                    <a:lnTo>
                      <a:pt x="317" y="165"/>
                    </a:lnTo>
                    <a:lnTo>
                      <a:pt x="317" y="165"/>
                    </a:lnTo>
                    <a:lnTo>
                      <a:pt x="319" y="161"/>
                    </a:lnTo>
                    <a:lnTo>
                      <a:pt x="319" y="160"/>
                    </a:lnTo>
                    <a:lnTo>
                      <a:pt x="321" y="154"/>
                    </a:lnTo>
                    <a:lnTo>
                      <a:pt x="321" y="154"/>
                    </a:lnTo>
                    <a:lnTo>
                      <a:pt x="321" y="152"/>
                    </a:lnTo>
                    <a:lnTo>
                      <a:pt x="321" y="152"/>
                    </a:lnTo>
                    <a:lnTo>
                      <a:pt x="322" y="150"/>
                    </a:lnTo>
                    <a:lnTo>
                      <a:pt x="322" y="150"/>
                    </a:lnTo>
                    <a:lnTo>
                      <a:pt x="322" y="149"/>
                    </a:lnTo>
                    <a:lnTo>
                      <a:pt x="322" y="149"/>
                    </a:lnTo>
                    <a:lnTo>
                      <a:pt x="322" y="149"/>
                    </a:lnTo>
                    <a:lnTo>
                      <a:pt x="322" y="149"/>
                    </a:lnTo>
                    <a:lnTo>
                      <a:pt x="325" y="144"/>
                    </a:lnTo>
                    <a:lnTo>
                      <a:pt x="325" y="144"/>
                    </a:lnTo>
                    <a:lnTo>
                      <a:pt x="324" y="145"/>
                    </a:lnTo>
                    <a:lnTo>
                      <a:pt x="324" y="145"/>
                    </a:lnTo>
                    <a:lnTo>
                      <a:pt x="325" y="144"/>
                    </a:lnTo>
                    <a:lnTo>
                      <a:pt x="325" y="142"/>
                    </a:lnTo>
                    <a:lnTo>
                      <a:pt x="325" y="141"/>
                    </a:lnTo>
                    <a:lnTo>
                      <a:pt x="325" y="141"/>
                    </a:lnTo>
                    <a:lnTo>
                      <a:pt x="326" y="137"/>
                    </a:lnTo>
                    <a:lnTo>
                      <a:pt x="326" y="137"/>
                    </a:lnTo>
                    <a:lnTo>
                      <a:pt x="326" y="140"/>
                    </a:lnTo>
                    <a:lnTo>
                      <a:pt x="329" y="135"/>
                    </a:lnTo>
                    <a:lnTo>
                      <a:pt x="329" y="135"/>
                    </a:lnTo>
                    <a:lnTo>
                      <a:pt x="328" y="136"/>
                    </a:lnTo>
                    <a:lnTo>
                      <a:pt x="328" y="136"/>
                    </a:lnTo>
                    <a:lnTo>
                      <a:pt x="328" y="135"/>
                    </a:lnTo>
                    <a:lnTo>
                      <a:pt x="328" y="133"/>
                    </a:lnTo>
                    <a:lnTo>
                      <a:pt x="332" y="128"/>
                    </a:lnTo>
                    <a:lnTo>
                      <a:pt x="332" y="128"/>
                    </a:lnTo>
                    <a:lnTo>
                      <a:pt x="332" y="125"/>
                    </a:lnTo>
                    <a:lnTo>
                      <a:pt x="332" y="125"/>
                    </a:lnTo>
                    <a:lnTo>
                      <a:pt x="332" y="124"/>
                    </a:lnTo>
                    <a:lnTo>
                      <a:pt x="332" y="123"/>
                    </a:lnTo>
                    <a:lnTo>
                      <a:pt x="334" y="119"/>
                    </a:lnTo>
                    <a:lnTo>
                      <a:pt x="334" y="119"/>
                    </a:lnTo>
                    <a:lnTo>
                      <a:pt x="336" y="115"/>
                    </a:lnTo>
                    <a:lnTo>
                      <a:pt x="336" y="115"/>
                    </a:lnTo>
                    <a:lnTo>
                      <a:pt x="336" y="113"/>
                    </a:lnTo>
                    <a:lnTo>
                      <a:pt x="336" y="113"/>
                    </a:lnTo>
                    <a:lnTo>
                      <a:pt x="336" y="112"/>
                    </a:lnTo>
                    <a:lnTo>
                      <a:pt x="336" y="112"/>
                    </a:lnTo>
                    <a:lnTo>
                      <a:pt x="336" y="112"/>
                    </a:lnTo>
                    <a:lnTo>
                      <a:pt x="336" y="112"/>
                    </a:lnTo>
                    <a:lnTo>
                      <a:pt x="340" y="108"/>
                    </a:lnTo>
                    <a:lnTo>
                      <a:pt x="340" y="108"/>
                    </a:lnTo>
                    <a:lnTo>
                      <a:pt x="338" y="108"/>
                    </a:lnTo>
                    <a:lnTo>
                      <a:pt x="338" y="108"/>
                    </a:lnTo>
                    <a:lnTo>
                      <a:pt x="338" y="108"/>
                    </a:lnTo>
                    <a:lnTo>
                      <a:pt x="338" y="107"/>
                    </a:lnTo>
                    <a:lnTo>
                      <a:pt x="341" y="101"/>
                    </a:lnTo>
                    <a:lnTo>
                      <a:pt x="341" y="101"/>
                    </a:lnTo>
                    <a:lnTo>
                      <a:pt x="342" y="97"/>
                    </a:lnTo>
                    <a:lnTo>
                      <a:pt x="342" y="97"/>
                    </a:lnTo>
                    <a:lnTo>
                      <a:pt x="342" y="94"/>
                    </a:lnTo>
                    <a:lnTo>
                      <a:pt x="344" y="91"/>
                    </a:lnTo>
                    <a:lnTo>
                      <a:pt x="348" y="87"/>
                    </a:lnTo>
                    <a:lnTo>
                      <a:pt x="348" y="87"/>
                    </a:lnTo>
                    <a:lnTo>
                      <a:pt x="346" y="88"/>
                    </a:lnTo>
                    <a:lnTo>
                      <a:pt x="346" y="88"/>
                    </a:lnTo>
                    <a:lnTo>
                      <a:pt x="346" y="87"/>
                    </a:lnTo>
                    <a:lnTo>
                      <a:pt x="346" y="84"/>
                    </a:lnTo>
                    <a:lnTo>
                      <a:pt x="352" y="78"/>
                    </a:lnTo>
                    <a:lnTo>
                      <a:pt x="352" y="78"/>
                    </a:lnTo>
                    <a:lnTo>
                      <a:pt x="349" y="79"/>
                    </a:lnTo>
                    <a:lnTo>
                      <a:pt x="348" y="80"/>
                    </a:lnTo>
                    <a:lnTo>
                      <a:pt x="348" y="80"/>
                    </a:lnTo>
                    <a:lnTo>
                      <a:pt x="350" y="76"/>
                    </a:lnTo>
                    <a:lnTo>
                      <a:pt x="354" y="74"/>
                    </a:lnTo>
                    <a:lnTo>
                      <a:pt x="354" y="74"/>
                    </a:lnTo>
                    <a:lnTo>
                      <a:pt x="354" y="74"/>
                    </a:lnTo>
                    <a:lnTo>
                      <a:pt x="354" y="74"/>
                    </a:lnTo>
                    <a:lnTo>
                      <a:pt x="354" y="71"/>
                    </a:lnTo>
                    <a:lnTo>
                      <a:pt x="354" y="70"/>
                    </a:lnTo>
                    <a:lnTo>
                      <a:pt x="357" y="67"/>
                    </a:lnTo>
                    <a:lnTo>
                      <a:pt x="357" y="67"/>
                    </a:lnTo>
                    <a:lnTo>
                      <a:pt x="360" y="68"/>
                    </a:lnTo>
                    <a:lnTo>
                      <a:pt x="358" y="66"/>
                    </a:lnTo>
                    <a:lnTo>
                      <a:pt x="361" y="64"/>
                    </a:lnTo>
                    <a:lnTo>
                      <a:pt x="361" y="64"/>
                    </a:lnTo>
                    <a:lnTo>
                      <a:pt x="361" y="64"/>
                    </a:lnTo>
                    <a:lnTo>
                      <a:pt x="361" y="64"/>
                    </a:lnTo>
                    <a:lnTo>
                      <a:pt x="357" y="64"/>
                    </a:lnTo>
                    <a:lnTo>
                      <a:pt x="356" y="64"/>
                    </a:lnTo>
                    <a:lnTo>
                      <a:pt x="354" y="64"/>
                    </a:lnTo>
                    <a:lnTo>
                      <a:pt x="354" y="64"/>
                    </a:lnTo>
                    <a:lnTo>
                      <a:pt x="353" y="60"/>
                    </a:lnTo>
                    <a:lnTo>
                      <a:pt x="353" y="58"/>
                    </a:lnTo>
                    <a:lnTo>
                      <a:pt x="353" y="58"/>
                    </a:lnTo>
                    <a:lnTo>
                      <a:pt x="353" y="55"/>
                    </a:lnTo>
                    <a:lnTo>
                      <a:pt x="353" y="55"/>
                    </a:lnTo>
                    <a:lnTo>
                      <a:pt x="354" y="57"/>
                    </a:lnTo>
                    <a:lnTo>
                      <a:pt x="352" y="54"/>
                    </a:lnTo>
                    <a:lnTo>
                      <a:pt x="352" y="54"/>
                    </a:lnTo>
                    <a:lnTo>
                      <a:pt x="352" y="55"/>
                    </a:lnTo>
                    <a:lnTo>
                      <a:pt x="352" y="55"/>
                    </a:lnTo>
                    <a:lnTo>
                      <a:pt x="350" y="53"/>
                    </a:lnTo>
                    <a:lnTo>
                      <a:pt x="349" y="47"/>
                    </a:lnTo>
                    <a:lnTo>
                      <a:pt x="349" y="47"/>
                    </a:lnTo>
                    <a:lnTo>
                      <a:pt x="346" y="45"/>
                    </a:lnTo>
                    <a:lnTo>
                      <a:pt x="346" y="42"/>
                    </a:lnTo>
                    <a:lnTo>
                      <a:pt x="346" y="39"/>
                    </a:lnTo>
                    <a:lnTo>
                      <a:pt x="346" y="38"/>
                    </a:lnTo>
                    <a:lnTo>
                      <a:pt x="346" y="37"/>
                    </a:lnTo>
                    <a:lnTo>
                      <a:pt x="346" y="37"/>
                    </a:lnTo>
                    <a:lnTo>
                      <a:pt x="349" y="33"/>
                    </a:lnTo>
                    <a:lnTo>
                      <a:pt x="352" y="31"/>
                    </a:lnTo>
                    <a:lnTo>
                      <a:pt x="356" y="31"/>
                    </a:lnTo>
                    <a:lnTo>
                      <a:pt x="357" y="31"/>
                    </a:lnTo>
                    <a:lnTo>
                      <a:pt x="357" y="31"/>
                    </a:lnTo>
                    <a:lnTo>
                      <a:pt x="356" y="31"/>
                    </a:lnTo>
                    <a:lnTo>
                      <a:pt x="354" y="34"/>
                    </a:lnTo>
                    <a:lnTo>
                      <a:pt x="360" y="30"/>
                    </a:lnTo>
                    <a:lnTo>
                      <a:pt x="362" y="30"/>
                    </a:lnTo>
                    <a:lnTo>
                      <a:pt x="362" y="30"/>
                    </a:lnTo>
                    <a:lnTo>
                      <a:pt x="373" y="29"/>
                    </a:lnTo>
                    <a:lnTo>
                      <a:pt x="373" y="29"/>
                    </a:lnTo>
                    <a:lnTo>
                      <a:pt x="375" y="29"/>
                    </a:lnTo>
                    <a:lnTo>
                      <a:pt x="378" y="29"/>
                    </a:lnTo>
                    <a:lnTo>
                      <a:pt x="378" y="29"/>
                    </a:lnTo>
                    <a:lnTo>
                      <a:pt x="381" y="27"/>
                    </a:lnTo>
                    <a:lnTo>
                      <a:pt x="382" y="26"/>
                    </a:lnTo>
                    <a:lnTo>
                      <a:pt x="383" y="25"/>
                    </a:lnTo>
                    <a:lnTo>
                      <a:pt x="383" y="25"/>
                    </a:lnTo>
                    <a:lnTo>
                      <a:pt x="387" y="22"/>
                    </a:lnTo>
                    <a:lnTo>
                      <a:pt x="390" y="22"/>
                    </a:lnTo>
                    <a:lnTo>
                      <a:pt x="390" y="22"/>
                    </a:lnTo>
                    <a:lnTo>
                      <a:pt x="390" y="22"/>
                    </a:lnTo>
                    <a:lnTo>
                      <a:pt x="387" y="23"/>
                    </a:lnTo>
                    <a:lnTo>
                      <a:pt x="387" y="25"/>
                    </a:lnTo>
                    <a:lnTo>
                      <a:pt x="393" y="21"/>
                    </a:lnTo>
                    <a:lnTo>
                      <a:pt x="397" y="21"/>
                    </a:lnTo>
                    <a:lnTo>
                      <a:pt x="397" y="21"/>
                    </a:lnTo>
                    <a:lnTo>
                      <a:pt x="395" y="22"/>
                    </a:lnTo>
                    <a:lnTo>
                      <a:pt x="393" y="25"/>
                    </a:lnTo>
                    <a:lnTo>
                      <a:pt x="399" y="19"/>
                    </a:lnTo>
                    <a:lnTo>
                      <a:pt x="403" y="19"/>
                    </a:lnTo>
                    <a:lnTo>
                      <a:pt x="403" y="18"/>
                    </a:lnTo>
                    <a:lnTo>
                      <a:pt x="403" y="18"/>
                    </a:lnTo>
                    <a:lnTo>
                      <a:pt x="410" y="17"/>
                    </a:lnTo>
                    <a:lnTo>
                      <a:pt x="418" y="16"/>
                    </a:lnTo>
                    <a:lnTo>
                      <a:pt x="419" y="16"/>
                    </a:lnTo>
                    <a:lnTo>
                      <a:pt x="419" y="16"/>
                    </a:lnTo>
                    <a:lnTo>
                      <a:pt x="420" y="16"/>
                    </a:lnTo>
                    <a:lnTo>
                      <a:pt x="420" y="16"/>
                    </a:lnTo>
                    <a:lnTo>
                      <a:pt x="419" y="17"/>
                    </a:lnTo>
                    <a:lnTo>
                      <a:pt x="418" y="19"/>
                    </a:lnTo>
                    <a:lnTo>
                      <a:pt x="423" y="14"/>
                    </a:lnTo>
                    <a:lnTo>
                      <a:pt x="423" y="14"/>
                    </a:lnTo>
                    <a:lnTo>
                      <a:pt x="426" y="14"/>
                    </a:lnTo>
                    <a:lnTo>
                      <a:pt x="426" y="14"/>
                    </a:lnTo>
                    <a:lnTo>
                      <a:pt x="427" y="14"/>
                    </a:lnTo>
                    <a:lnTo>
                      <a:pt x="428" y="13"/>
                    </a:lnTo>
                    <a:lnTo>
                      <a:pt x="435" y="12"/>
                    </a:lnTo>
                    <a:lnTo>
                      <a:pt x="435" y="12"/>
                    </a:lnTo>
                    <a:lnTo>
                      <a:pt x="457" y="5"/>
                    </a:lnTo>
                    <a:lnTo>
                      <a:pt x="481" y="1"/>
                    </a:lnTo>
                    <a:lnTo>
                      <a:pt x="481" y="1"/>
                    </a:lnTo>
                    <a:lnTo>
                      <a:pt x="484" y="0"/>
                    </a:lnTo>
                    <a:lnTo>
                      <a:pt x="484" y="0"/>
                    </a:lnTo>
                    <a:lnTo>
                      <a:pt x="489" y="1"/>
                    </a:lnTo>
                    <a:lnTo>
                      <a:pt x="492" y="4"/>
                    </a:lnTo>
                    <a:lnTo>
                      <a:pt x="492" y="4"/>
                    </a:lnTo>
                    <a:lnTo>
                      <a:pt x="494" y="6"/>
                    </a:lnTo>
                    <a:lnTo>
                      <a:pt x="496" y="10"/>
                    </a:lnTo>
                    <a:lnTo>
                      <a:pt x="496" y="18"/>
                    </a:lnTo>
                    <a:lnTo>
                      <a:pt x="496" y="18"/>
                    </a:lnTo>
                    <a:lnTo>
                      <a:pt x="496" y="22"/>
                    </a:lnTo>
                    <a:lnTo>
                      <a:pt x="496" y="22"/>
                    </a:lnTo>
                    <a:lnTo>
                      <a:pt x="496" y="27"/>
                    </a:lnTo>
                    <a:lnTo>
                      <a:pt x="496" y="27"/>
                    </a:lnTo>
                    <a:lnTo>
                      <a:pt x="496" y="29"/>
                    </a:lnTo>
                    <a:lnTo>
                      <a:pt x="496" y="29"/>
                    </a:lnTo>
                    <a:lnTo>
                      <a:pt x="494" y="26"/>
                    </a:lnTo>
                    <a:lnTo>
                      <a:pt x="490" y="25"/>
                    </a:lnTo>
                    <a:lnTo>
                      <a:pt x="497" y="30"/>
                    </a:lnTo>
                    <a:lnTo>
                      <a:pt x="497" y="34"/>
                    </a:lnTo>
                    <a:lnTo>
                      <a:pt x="497" y="34"/>
                    </a:lnTo>
                    <a:lnTo>
                      <a:pt x="497" y="38"/>
                    </a:lnTo>
                    <a:lnTo>
                      <a:pt x="498" y="42"/>
                    </a:lnTo>
                    <a:lnTo>
                      <a:pt x="504" y="47"/>
                    </a:lnTo>
                    <a:lnTo>
                      <a:pt x="504" y="47"/>
                    </a:lnTo>
                    <a:lnTo>
                      <a:pt x="509" y="54"/>
                    </a:lnTo>
                    <a:lnTo>
                      <a:pt x="504" y="63"/>
                    </a:lnTo>
                    <a:lnTo>
                      <a:pt x="504" y="63"/>
                    </a:lnTo>
                    <a:lnTo>
                      <a:pt x="502" y="64"/>
                    </a:lnTo>
                    <a:lnTo>
                      <a:pt x="502" y="67"/>
                    </a:lnTo>
                    <a:lnTo>
                      <a:pt x="502" y="68"/>
                    </a:lnTo>
                    <a:lnTo>
                      <a:pt x="501" y="71"/>
                    </a:lnTo>
                    <a:lnTo>
                      <a:pt x="501" y="71"/>
                    </a:lnTo>
                    <a:lnTo>
                      <a:pt x="501" y="71"/>
                    </a:lnTo>
                    <a:lnTo>
                      <a:pt x="501" y="72"/>
                    </a:lnTo>
                    <a:lnTo>
                      <a:pt x="501" y="72"/>
                    </a:lnTo>
                    <a:lnTo>
                      <a:pt x="502" y="71"/>
                    </a:lnTo>
                    <a:lnTo>
                      <a:pt x="502" y="71"/>
                    </a:lnTo>
                    <a:lnTo>
                      <a:pt x="502" y="72"/>
                    </a:lnTo>
                    <a:lnTo>
                      <a:pt x="502" y="72"/>
                    </a:lnTo>
                    <a:lnTo>
                      <a:pt x="502" y="72"/>
                    </a:lnTo>
                    <a:lnTo>
                      <a:pt x="502" y="72"/>
                    </a:lnTo>
                    <a:lnTo>
                      <a:pt x="502" y="76"/>
                    </a:lnTo>
                    <a:lnTo>
                      <a:pt x="502" y="79"/>
                    </a:lnTo>
                    <a:lnTo>
                      <a:pt x="501" y="84"/>
                    </a:lnTo>
                    <a:lnTo>
                      <a:pt x="500" y="84"/>
                    </a:lnTo>
                    <a:lnTo>
                      <a:pt x="500" y="84"/>
                    </a:lnTo>
                    <a:lnTo>
                      <a:pt x="501" y="88"/>
                    </a:lnTo>
                    <a:lnTo>
                      <a:pt x="501" y="92"/>
                    </a:lnTo>
                    <a:lnTo>
                      <a:pt x="501" y="95"/>
                    </a:lnTo>
                    <a:lnTo>
                      <a:pt x="498" y="97"/>
                    </a:lnTo>
                    <a:lnTo>
                      <a:pt x="497" y="99"/>
                    </a:lnTo>
                    <a:lnTo>
                      <a:pt x="497" y="99"/>
                    </a:lnTo>
                    <a:lnTo>
                      <a:pt x="496" y="101"/>
                    </a:lnTo>
                    <a:lnTo>
                      <a:pt x="494" y="105"/>
                    </a:lnTo>
                    <a:lnTo>
                      <a:pt x="494" y="111"/>
                    </a:lnTo>
                    <a:lnTo>
                      <a:pt x="494" y="111"/>
                    </a:lnTo>
                    <a:lnTo>
                      <a:pt x="489" y="117"/>
                    </a:lnTo>
                    <a:lnTo>
                      <a:pt x="489" y="117"/>
                    </a:lnTo>
                    <a:lnTo>
                      <a:pt x="488" y="117"/>
                    </a:lnTo>
                    <a:lnTo>
                      <a:pt x="488" y="117"/>
                    </a:lnTo>
                    <a:lnTo>
                      <a:pt x="488" y="117"/>
                    </a:lnTo>
                    <a:lnTo>
                      <a:pt x="485" y="119"/>
                    </a:lnTo>
                    <a:lnTo>
                      <a:pt x="485" y="119"/>
                    </a:lnTo>
                    <a:lnTo>
                      <a:pt x="485" y="119"/>
                    </a:lnTo>
                    <a:lnTo>
                      <a:pt x="485" y="119"/>
                    </a:lnTo>
                    <a:lnTo>
                      <a:pt x="485" y="119"/>
                    </a:lnTo>
                    <a:lnTo>
                      <a:pt x="488" y="124"/>
                    </a:lnTo>
                    <a:lnTo>
                      <a:pt x="488" y="124"/>
                    </a:lnTo>
                    <a:lnTo>
                      <a:pt x="490" y="127"/>
                    </a:lnTo>
                    <a:lnTo>
                      <a:pt x="492" y="131"/>
                    </a:lnTo>
                    <a:lnTo>
                      <a:pt x="493" y="132"/>
                    </a:lnTo>
                    <a:lnTo>
                      <a:pt x="493" y="152"/>
                    </a:lnTo>
                    <a:lnTo>
                      <a:pt x="490" y="157"/>
                    </a:lnTo>
                    <a:lnTo>
                      <a:pt x="490" y="157"/>
                    </a:lnTo>
                    <a:lnTo>
                      <a:pt x="489" y="161"/>
                    </a:lnTo>
                    <a:lnTo>
                      <a:pt x="489" y="161"/>
                    </a:lnTo>
                    <a:lnTo>
                      <a:pt x="489" y="162"/>
                    </a:lnTo>
                    <a:lnTo>
                      <a:pt x="489" y="162"/>
                    </a:lnTo>
                    <a:lnTo>
                      <a:pt x="489" y="161"/>
                    </a:lnTo>
                    <a:lnTo>
                      <a:pt x="492" y="166"/>
                    </a:lnTo>
                    <a:lnTo>
                      <a:pt x="492" y="168"/>
                    </a:lnTo>
                    <a:lnTo>
                      <a:pt x="486" y="174"/>
                    </a:lnTo>
                    <a:lnTo>
                      <a:pt x="486" y="174"/>
                    </a:lnTo>
                    <a:lnTo>
                      <a:pt x="489" y="172"/>
                    </a:lnTo>
                    <a:lnTo>
                      <a:pt x="490" y="170"/>
                    </a:lnTo>
                    <a:lnTo>
                      <a:pt x="490" y="170"/>
                    </a:lnTo>
                    <a:lnTo>
                      <a:pt x="490" y="172"/>
                    </a:lnTo>
                    <a:lnTo>
                      <a:pt x="490" y="172"/>
                    </a:lnTo>
                    <a:lnTo>
                      <a:pt x="490" y="176"/>
                    </a:lnTo>
                    <a:lnTo>
                      <a:pt x="490" y="177"/>
                    </a:lnTo>
                    <a:lnTo>
                      <a:pt x="490" y="177"/>
                    </a:lnTo>
                    <a:lnTo>
                      <a:pt x="490" y="177"/>
                    </a:lnTo>
                    <a:lnTo>
                      <a:pt x="490" y="177"/>
                    </a:lnTo>
                    <a:lnTo>
                      <a:pt x="490" y="177"/>
                    </a:lnTo>
                    <a:lnTo>
                      <a:pt x="489" y="178"/>
                    </a:lnTo>
                    <a:lnTo>
                      <a:pt x="489" y="178"/>
                    </a:lnTo>
                    <a:lnTo>
                      <a:pt x="489" y="178"/>
                    </a:lnTo>
                    <a:lnTo>
                      <a:pt x="489" y="178"/>
                    </a:lnTo>
                    <a:lnTo>
                      <a:pt x="490" y="178"/>
                    </a:lnTo>
                    <a:lnTo>
                      <a:pt x="492" y="178"/>
                    </a:lnTo>
                    <a:lnTo>
                      <a:pt x="494" y="178"/>
                    </a:lnTo>
                    <a:lnTo>
                      <a:pt x="500" y="182"/>
                    </a:lnTo>
                    <a:lnTo>
                      <a:pt x="500" y="182"/>
                    </a:lnTo>
                    <a:lnTo>
                      <a:pt x="500" y="181"/>
                    </a:lnTo>
                    <a:lnTo>
                      <a:pt x="498" y="179"/>
                    </a:lnTo>
                    <a:lnTo>
                      <a:pt x="498" y="179"/>
                    </a:lnTo>
                    <a:lnTo>
                      <a:pt x="501" y="181"/>
                    </a:lnTo>
                    <a:lnTo>
                      <a:pt x="502" y="183"/>
                    </a:lnTo>
                    <a:lnTo>
                      <a:pt x="502" y="186"/>
                    </a:lnTo>
                    <a:lnTo>
                      <a:pt x="501" y="191"/>
                    </a:lnTo>
                    <a:lnTo>
                      <a:pt x="501" y="191"/>
                    </a:lnTo>
                    <a:lnTo>
                      <a:pt x="498" y="195"/>
                    </a:lnTo>
                    <a:lnTo>
                      <a:pt x="497" y="203"/>
                    </a:lnTo>
                    <a:lnTo>
                      <a:pt x="497" y="203"/>
                    </a:lnTo>
                    <a:lnTo>
                      <a:pt x="496" y="211"/>
                    </a:lnTo>
                    <a:lnTo>
                      <a:pt x="496" y="215"/>
                    </a:lnTo>
                    <a:lnTo>
                      <a:pt x="493" y="216"/>
                    </a:lnTo>
                    <a:lnTo>
                      <a:pt x="493" y="216"/>
                    </a:lnTo>
                    <a:lnTo>
                      <a:pt x="493" y="216"/>
                    </a:lnTo>
                    <a:lnTo>
                      <a:pt x="489" y="220"/>
                    </a:lnTo>
                    <a:lnTo>
                      <a:pt x="489" y="220"/>
                    </a:lnTo>
                    <a:lnTo>
                      <a:pt x="492" y="219"/>
                    </a:lnTo>
                    <a:lnTo>
                      <a:pt x="493" y="218"/>
                    </a:lnTo>
                    <a:lnTo>
                      <a:pt x="493" y="218"/>
                    </a:lnTo>
                    <a:lnTo>
                      <a:pt x="493" y="223"/>
                    </a:lnTo>
                    <a:lnTo>
                      <a:pt x="490" y="227"/>
                    </a:lnTo>
                    <a:lnTo>
                      <a:pt x="490" y="227"/>
                    </a:lnTo>
                    <a:lnTo>
                      <a:pt x="490" y="228"/>
                    </a:lnTo>
                    <a:lnTo>
                      <a:pt x="490" y="228"/>
                    </a:lnTo>
                    <a:lnTo>
                      <a:pt x="490" y="228"/>
                    </a:lnTo>
                    <a:lnTo>
                      <a:pt x="490" y="228"/>
                    </a:lnTo>
                    <a:lnTo>
                      <a:pt x="490" y="227"/>
                    </a:lnTo>
                    <a:lnTo>
                      <a:pt x="490" y="228"/>
                    </a:lnTo>
                    <a:lnTo>
                      <a:pt x="490" y="228"/>
                    </a:lnTo>
                    <a:lnTo>
                      <a:pt x="489" y="227"/>
                    </a:lnTo>
                    <a:lnTo>
                      <a:pt x="488" y="226"/>
                    </a:lnTo>
                    <a:lnTo>
                      <a:pt x="490" y="230"/>
                    </a:lnTo>
                    <a:lnTo>
                      <a:pt x="492" y="232"/>
                    </a:lnTo>
                    <a:lnTo>
                      <a:pt x="492" y="232"/>
                    </a:lnTo>
                    <a:lnTo>
                      <a:pt x="492" y="231"/>
                    </a:lnTo>
                    <a:lnTo>
                      <a:pt x="493" y="232"/>
                    </a:lnTo>
                    <a:lnTo>
                      <a:pt x="493" y="236"/>
                    </a:lnTo>
                    <a:lnTo>
                      <a:pt x="493" y="236"/>
                    </a:lnTo>
                    <a:lnTo>
                      <a:pt x="493" y="239"/>
                    </a:lnTo>
                    <a:lnTo>
                      <a:pt x="494" y="239"/>
                    </a:lnTo>
                    <a:lnTo>
                      <a:pt x="494" y="239"/>
                    </a:lnTo>
                    <a:lnTo>
                      <a:pt x="494" y="239"/>
                    </a:lnTo>
                    <a:lnTo>
                      <a:pt x="494" y="239"/>
                    </a:lnTo>
                    <a:lnTo>
                      <a:pt x="494" y="238"/>
                    </a:lnTo>
                    <a:lnTo>
                      <a:pt x="494" y="238"/>
                    </a:lnTo>
                    <a:lnTo>
                      <a:pt x="496" y="236"/>
                    </a:lnTo>
                    <a:lnTo>
                      <a:pt x="501" y="234"/>
                    </a:lnTo>
                    <a:lnTo>
                      <a:pt x="502" y="234"/>
                    </a:lnTo>
                    <a:lnTo>
                      <a:pt x="504" y="234"/>
                    </a:lnTo>
                    <a:lnTo>
                      <a:pt x="504" y="234"/>
                    </a:lnTo>
                    <a:lnTo>
                      <a:pt x="508" y="235"/>
                    </a:lnTo>
                    <a:lnTo>
                      <a:pt x="510" y="238"/>
                    </a:lnTo>
                    <a:lnTo>
                      <a:pt x="512" y="240"/>
                    </a:lnTo>
                    <a:lnTo>
                      <a:pt x="513" y="244"/>
                    </a:lnTo>
                    <a:lnTo>
                      <a:pt x="513" y="251"/>
                    </a:lnTo>
                    <a:lnTo>
                      <a:pt x="513" y="256"/>
                    </a:lnTo>
                    <a:lnTo>
                      <a:pt x="508" y="260"/>
                    </a:lnTo>
                    <a:lnTo>
                      <a:pt x="508" y="261"/>
                    </a:lnTo>
                    <a:lnTo>
                      <a:pt x="508" y="261"/>
                    </a:lnTo>
                    <a:lnTo>
                      <a:pt x="509" y="260"/>
                    </a:lnTo>
                    <a:lnTo>
                      <a:pt x="509" y="260"/>
                    </a:lnTo>
                    <a:lnTo>
                      <a:pt x="508" y="261"/>
                    </a:lnTo>
                    <a:lnTo>
                      <a:pt x="508" y="261"/>
                    </a:lnTo>
                    <a:lnTo>
                      <a:pt x="508" y="263"/>
                    </a:lnTo>
                    <a:lnTo>
                      <a:pt x="513" y="269"/>
                    </a:lnTo>
                    <a:lnTo>
                      <a:pt x="513" y="283"/>
                    </a:lnTo>
                    <a:lnTo>
                      <a:pt x="513" y="283"/>
                    </a:lnTo>
                    <a:lnTo>
                      <a:pt x="513" y="287"/>
                    </a:lnTo>
                    <a:lnTo>
                      <a:pt x="512" y="289"/>
                    </a:lnTo>
                    <a:lnTo>
                      <a:pt x="509" y="291"/>
                    </a:lnTo>
                    <a:lnTo>
                      <a:pt x="506" y="292"/>
                    </a:lnTo>
                    <a:lnTo>
                      <a:pt x="506" y="292"/>
                    </a:lnTo>
                    <a:lnTo>
                      <a:pt x="505" y="292"/>
                    </a:lnTo>
                    <a:lnTo>
                      <a:pt x="505" y="292"/>
                    </a:lnTo>
                    <a:lnTo>
                      <a:pt x="505" y="292"/>
                    </a:lnTo>
                    <a:lnTo>
                      <a:pt x="505" y="292"/>
                    </a:lnTo>
                    <a:lnTo>
                      <a:pt x="505" y="297"/>
                    </a:lnTo>
                    <a:lnTo>
                      <a:pt x="505" y="297"/>
                    </a:lnTo>
                    <a:lnTo>
                      <a:pt x="505" y="300"/>
                    </a:lnTo>
                    <a:lnTo>
                      <a:pt x="505" y="300"/>
                    </a:lnTo>
                    <a:lnTo>
                      <a:pt x="504" y="302"/>
                    </a:lnTo>
                    <a:lnTo>
                      <a:pt x="504" y="302"/>
                    </a:lnTo>
                    <a:lnTo>
                      <a:pt x="502" y="305"/>
                    </a:lnTo>
                    <a:lnTo>
                      <a:pt x="502" y="305"/>
                    </a:lnTo>
                    <a:lnTo>
                      <a:pt x="504" y="305"/>
                    </a:lnTo>
                    <a:lnTo>
                      <a:pt x="504" y="305"/>
                    </a:lnTo>
                    <a:lnTo>
                      <a:pt x="508" y="305"/>
                    </a:lnTo>
                    <a:lnTo>
                      <a:pt x="512" y="306"/>
                    </a:lnTo>
                    <a:lnTo>
                      <a:pt x="512" y="306"/>
                    </a:lnTo>
                    <a:lnTo>
                      <a:pt x="517" y="310"/>
                    </a:lnTo>
                    <a:lnTo>
                      <a:pt x="521" y="313"/>
                    </a:lnTo>
                    <a:lnTo>
                      <a:pt x="521" y="313"/>
                    </a:lnTo>
                    <a:lnTo>
                      <a:pt x="525" y="316"/>
                    </a:lnTo>
                    <a:lnTo>
                      <a:pt x="526" y="316"/>
                    </a:lnTo>
                    <a:lnTo>
                      <a:pt x="526" y="316"/>
                    </a:lnTo>
                    <a:lnTo>
                      <a:pt x="529" y="317"/>
                    </a:lnTo>
                    <a:lnTo>
                      <a:pt x="529" y="317"/>
                    </a:lnTo>
                    <a:lnTo>
                      <a:pt x="534" y="320"/>
                    </a:lnTo>
                    <a:lnTo>
                      <a:pt x="539" y="325"/>
                    </a:lnTo>
                    <a:lnTo>
                      <a:pt x="543" y="330"/>
                    </a:lnTo>
                    <a:lnTo>
                      <a:pt x="545" y="334"/>
                    </a:lnTo>
                    <a:lnTo>
                      <a:pt x="545" y="338"/>
                    </a:lnTo>
                    <a:lnTo>
                      <a:pt x="545" y="338"/>
                    </a:lnTo>
                    <a:lnTo>
                      <a:pt x="550" y="343"/>
                    </a:lnTo>
                    <a:lnTo>
                      <a:pt x="555" y="350"/>
                    </a:lnTo>
                    <a:lnTo>
                      <a:pt x="555" y="350"/>
                    </a:lnTo>
                    <a:lnTo>
                      <a:pt x="559" y="355"/>
                    </a:lnTo>
                    <a:lnTo>
                      <a:pt x="558" y="355"/>
                    </a:lnTo>
                    <a:lnTo>
                      <a:pt x="560" y="358"/>
                    </a:lnTo>
                    <a:lnTo>
                      <a:pt x="560" y="358"/>
                    </a:lnTo>
                    <a:lnTo>
                      <a:pt x="559" y="355"/>
                    </a:lnTo>
                    <a:lnTo>
                      <a:pt x="558" y="355"/>
                    </a:lnTo>
                    <a:lnTo>
                      <a:pt x="558" y="355"/>
                    </a:lnTo>
                    <a:lnTo>
                      <a:pt x="558" y="355"/>
                    </a:lnTo>
                    <a:lnTo>
                      <a:pt x="558" y="355"/>
                    </a:lnTo>
                    <a:lnTo>
                      <a:pt x="560" y="354"/>
                    </a:lnTo>
                    <a:lnTo>
                      <a:pt x="560" y="354"/>
                    </a:lnTo>
                    <a:lnTo>
                      <a:pt x="564" y="354"/>
                    </a:lnTo>
                    <a:lnTo>
                      <a:pt x="564" y="354"/>
                    </a:lnTo>
                    <a:lnTo>
                      <a:pt x="566" y="354"/>
                    </a:lnTo>
                    <a:lnTo>
                      <a:pt x="567" y="354"/>
                    </a:lnTo>
                    <a:lnTo>
                      <a:pt x="571" y="357"/>
                    </a:lnTo>
                    <a:lnTo>
                      <a:pt x="571" y="357"/>
                    </a:lnTo>
                    <a:lnTo>
                      <a:pt x="574" y="359"/>
                    </a:lnTo>
                    <a:lnTo>
                      <a:pt x="575" y="362"/>
                    </a:lnTo>
                    <a:lnTo>
                      <a:pt x="575" y="366"/>
                    </a:lnTo>
                    <a:lnTo>
                      <a:pt x="575" y="371"/>
                    </a:lnTo>
                    <a:lnTo>
                      <a:pt x="575" y="374"/>
                    </a:lnTo>
                    <a:lnTo>
                      <a:pt x="574" y="375"/>
                    </a:lnTo>
                    <a:lnTo>
                      <a:pt x="574" y="375"/>
                    </a:lnTo>
                    <a:lnTo>
                      <a:pt x="574" y="375"/>
                    </a:lnTo>
                    <a:lnTo>
                      <a:pt x="574" y="375"/>
                    </a:lnTo>
                    <a:lnTo>
                      <a:pt x="572" y="374"/>
                    </a:lnTo>
                    <a:lnTo>
                      <a:pt x="574" y="375"/>
                    </a:lnTo>
                    <a:lnTo>
                      <a:pt x="571" y="379"/>
                    </a:lnTo>
                    <a:lnTo>
                      <a:pt x="571" y="379"/>
                    </a:lnTo>
                    <a:lnTo>
                      <a:pt x="574" y="376"/>
                    </a:lnTo>
                    <a:lnTo>
                      <a:pt x="574" y="376"/>
                    </a:lnTo>
                    <a:lnTo>
                      <a:pt x="574" y="376"/>
                    </a:lnTo>
                    <a:lnTo>
                      <a:pt x="576" y="379"/>
                    </a:lnTo>
                    <a:lnTo>
                      <a:pt x="576" y="380"/>
                    </a:lnTo>
                    <a:lnTo>
                      <a:pt x="576" y="380"/>
                    </a:lnTo>
                    <a:lnTo>
                      <a:pt x="576" y="382"/>
                    </a:lnTo>
                    <a:lnTo>
                      <a:pt x="576" y="382"/>
                    </a:lnTo>
                    <a:lnTo>
                      <a:pt x="576" y="380"/>
                    </a:lnTo>
                    <a:lnTo>
                      <a:pt x="579" y="386"/>
                    </a:lnTo>
                    <a:lnTo>
                      <a:pt x="579" y="387"/>
                    </a:lnTo>
                    <a:lnTo>
                      <a:pt x="579" y="387"/>
                    </a:lnTo>
                    <a:lnTo>
                      <a:pt x="579" y="388"/>
                    </a:lnTo>
                    <a:lnTo>
                      <a:pt x="579" y="388"/>
                    </a:lnTo>
                    <a:lnTo>
                      <a:pt x="578" y="387"/>
                    </a:lnTo>
                    <a:lnTo>
                      <a:pt x="582" y="392"/>
                    </a:lnTo>
                    <a:lnTo>
                      <a:pt x="582" y="394"/>
                    </a:lnTo>
                    <a:lnTo>
                      <a:pt x="582" y="394"/>
                    </a:lnTo>
                    <a:lnTo>
                      <a:pt x="583" y="396"/>
                    </a:lnTo>
                    <a:lnTo>
                      <a:pt x="583" y="399"/>
                    </a:lnTo>
                    <a:lnTo>
                      <a:pt x="576" y="404"/>
                    </a:lnTo>
                    <a:lnTo>
                      <a:pt x="576" y="404"/>
                    </a:lnTo>
                    <a:lnTo>
                      <a:pt x="576" y="404"/>
                    </a:lnTo>
                    <a:lnTo>
                      <a:pt x="576" y="404"/>
                    </a:lnTo>
                    <a:lnTo>
                      <a:pt x="579" y="404"/>
                    </a:lnTo>
                    <a:lnTo>
                      <a:pt x="578" y="404"/>
                    </a:lnTo>
                    <a:lnTo>
                      <a:pt x="578" y="404"/>
                    </a:lnTo>
                    <a:lnTo>
                      <a:pt x="574" y="407"/>
                    </a:lnTo>
                    <a:lnTo>
                      <a:pt x="570" y="407"/>
                    </a:lnTo>
                    <a:lnTo>
                      <a:pt x="570" y="407"/>
                    </a:lnTo>
                    <a:lnTo>
                      <a:pt x="567" y="407"/>
                    </a:lnTo>
                    <a:lnTo>
                      <a:pt x="567" y="407"/>
                    </a:lnTo>
                    <a:lnTo>
                      <a:pt x="567" y="407"/>
                    </a:lnTo>
                    <a:lnTo>
                      <a:pt x="563" y="406"/>
                    </a:lnTo>
                    <a:lnTo>
                      <a:pt x="560" y="403"/>
                    </a:lnTo>
                    <a:lnTo>
                      <a:pt x="559" y="398"/>
                    </a:lnTo>
                    <a:lnTo>
                      <a:pt x="559" y="398"/>
                    </a:lnTo>
                    <a:lnTo>
                      <a:pt x="558" y="395"/>
                    </a:lnTo>
                    <a:lnTo>
                      <a:pt x="558" y="395"/>
                    </a:lnTo>
                    <a:lnTo>
                      <a:pt x="559" y="396"/>
                    </a:lnTo>
                    <a:lnTo>
                      <a:pt x="557" y="392"/>
                    </a:lnTo>
                    <a:lnTo>
                      <a:pt x="557" y="392"/>
                    </a:lnTo>
                    <a:lnTo>
                      <a:pt x="557" y="392"/>
                    </a:lnTo>
                    <a:lnTo>
                      <a:pt x="557" y="392"/>
                    </a:lnTo>
                    <a:lnTo>
                      <a:pt x="557" y="392"/>
                    </a:lnTo>
                    <a:lnTo>
                      <a:pt x="557" y="392"/>
                    </a:lnTo>
                    <a:lnTo>
                      <a:pt x="553" y="395"/>
                    </a:lnTo>
                    <a:lnTo>
                      <a:pt x="553" y="395"/>
                    </a:lnTo>
                    <a:lnTo>
                      <a:pt x="550" y="395"/>
                    </a:lnTo>
                    <a:lnTo>
                      <a:pt x="550" y="395"/>
                    </a:lnTo>
                    <a:lnTo>
                      <a:pt x="547" y="395"/>
                    </a:lnTo>
                    <a:lnTo>
                      <a:pt x="547" y="395"/>
                    </a:lnTo>
                    <a:lnTo>
                      <a:pt x="550" y="394"/>
                    </a:lnTo>
                    <a:lnTo>
                      <a:pt x="551" y="391"/>
                    </a:lnTo>
                    <a:lnTo>
                      <a:pt x="545" y="396"/>
                    </a:lnTo>
                    <a:lnTo>
                      <a:pt x="541" y="396"/>
                    </a:lnTo>
                    <a:lnTo>
                      <a:pt x="541" y="396"/>
                    </a:lnTo>
                    <a:lnTo>
                      <a:pt x="543" y="395"/>
                    </a:lnTo>
                    <a:lnTo>
                      <a:pt x="545" y="392"/>
                    </a:lnTo>
                    <a:lnTo>
                      <a:pt x="539" y="398"/>
                    </a:lnTo>
                    <a:lnTo>
                      <a:pt x="538" y="398"/>
                    </a:lnTo>
                    <a:lnTo>
                      <a:pt x="538" y="398"/>
                    </a:lnTo>
                    <a:lnTo>
                      <a:pt x="538" y="398"/>
                    </a:lnTo>
                    <a:lnTo>
                      <a:pt x="538" y="402"/>
                    </a:lnTo>
                    <a:lnTo>
                      <a:pt x="538" y="402"/>
                    </a:lnTo>
                    <a:lnTo>
                      <a:pt x="538" y="403"/>
                    </a:lnTo>
                    <a:lnTo>
                      <a:pt x="538" y="403"/>
                    </a:lnTo>
                    <a:lnTo>
                      <a:pt x="537" y="400"/>
                    </a:lnTo>
                    <a:lnTo>
                      <a:pt x="537" y="400"/>
                    </a:lnTo>
                    <a:lnTo>
                      <a:pt x="534" y="399"/>
                    </a:lnTo>
                    <a:lnTo>
                      <a:pt x="539" y="406"/>
                    </a:lnTo>
                    <a:lnTo>
                      <a:pt x="539" y="407"/>
                    </a:lnTo>
                    <a:lnTo>
                      <a:pt x="539" y="407"/>
                    </a:lnTo>
                    <a:lnTo>
                      <a:pt x="539" y="412"/>
                    </a:lnTo>
                    <a:lnTo>
                      <a:pt x="537" y="417"/>
                    </a:lnTo>
                    <a:lnTo>
                      <a:pt x="533" y="420"/>
                    </a:lnTo>
                    <a:lnTo>
                      <a:pt x="531" y="420"/>
                    </a:lnTo>
                    <a:lnTo>
                      <a:pt x="531" y="420"/>
                    </a:lnTo>
                    <a:lnTo>
                      <a:pt x="527" y="421"/>
                    </a:lnTo>
                    <a:lnTo>
                      <a:pt x="526" y="423"/>
                    </a:lnTo>
                    <a:lnTo>
                      <a:pt x="526" y="423"/>
                    </a:lnTo>
                    <a:lnTo>
                      <a:pt x="523" y="424"/>
                    </a:lnTo>
                    <a:lnTo>
                      <a:pt x="523" y="424"/>
                    </a:lnTo>
                    <a:lnTo>
                      <a:pt x="521" y="425"/>
                    </a:lnTo>
                    <a:lnTo>
                      <a:pt x="521" y="425"/>
                    </a:lnTo>
                    <a:lnTo>
                      <a:pt x="521" y="427"/>
                    </a:lnTo>
                    <a:lnTo>
                      <a:pt x="523" y="429"/>
                    </a:lnTo>
                    <a:lnTo>
                      <a:pt x="523" y="429"/>
                    </a:lnTo>
                    <a:lnTo>
                      <a:pt x="523" y="432"/>
                    </a:lnTo>
                    <a:lnTo>
                      <a:pt x="523" y="432"/>
                    </a:lnTo>
                    <a:lnTo>
                      <a:pt x="526" y="435"/>
                    </a:lnTo>
                    <a:lnTo>
                      <a:pt x="527" y="440"/>
                    </a:lnTo>
                    <a:lnTo>
                      <a:pt x="527" y="441"/>
                    </a:lnTo>
                    <a:lnTo>
                      <a:pt x="527" y="443"/>
                    </a:lnTo>
                    <a:lnTo>
                      <a:pt x="527" y="443"/>
                    </a:lnTo>
                    <a:lnTo>
                      <a:pt x="525" y="447"/>
                    </a:lnTo>
                    <a:lnTo>
                      <a:pt x="521" y="449"/>
                    </a:lnTo>
                    <a:lnTo>
                      <a:pt x="521" y="449"/>
                    </a:lnTo>
                    <a:lnTo>
                      <a:pt x="521" y="449"/>
                    </a:lnTo>
                    <a:lnTo>
                      <a:pt x="517" y="452"/>
                    </a:lnTo>
                    <a:lnTo>
                      <a:pt x="517" y="452"/>
                    </a:lnTo>
                    <a:lnTo>
                      <a:pt x="519" y="454"/>
                    </a:lnTo>
                    <a:lnTo>
                      <a:pt x="521" y="458"/>
                    </a:lnTo>
                    <a:lnTo>
                      <a:pt x="521" y="469"/>
                    </a:lnTo>
                    <a:lnTo>
                      <a:pt x="516" y="474"/>
                    </a:lnTo>
                    <a:lnTo>
                      <a:pt x="516" y="474"/>
                    </a:lnTo>
                    <a:lnTo>
                      <a:pt x="513" y="476"/>
                    </a:lnTo>
                    <a:lnTo>
                      <a:pt x="513" y="476"/>
                    </a:lnTo>
                    <a:lnTo>
                      <a:pt x="513" y="476"/>
                    </a:lnTo>
                    <a:lnTo>
                      <a:pt x="510" y="480"/>
                    </a:lnTo>
                    <a:lnTo>
                      <a:pt x="510" y="480"/>
                    </a:lnTo>
                    <a:lnTo>
                      <a:pt x="508" y="481"/>
                    </a:lnTo>
                    <a:lnTo>
                      <a:pt x="508" y="481"/>
                    </a:lnTo>
                    <a:lnTo>
                      <a:pt x="506" y="482"/>
                    </a:lnTo>
                    <a:lnTo>
                      <a:pt x="506" y="482"/>
                    </a:lnTo>
                    <a:lnTo>
                      <a:pt x="508" y="480"/>
                    </a:lnTo>
                    <a:lnTo>
                      <a:pt x="504" y="484"/>
                    </a:lnTo>
                    <a:lnTo>
                      <a:pt x="504" y="484"/>
                    </a:lnTo>
                    <a:lnTo>
                      <a:pt x="504" y="485"/>
                    </a:lnTo>
                    <a:lnTo>
                      <a:pt x="504" y="485"/>
                    </a:lnTo>
                    <a:lnTo>
                      <a:pt x="505" y="488"/>
                    </a:lnTo>
                    <a:lnTo>
                      <a:pt x="505" y="490"/>
                    </a:lnTo>
                    <a:lnTo>
                      <a:pt x="498" y="495"/>
                    </a:lnTo>
                    <a:lnTo>
                      <a:pt x="498" y="495"/>
                    </a:lnTo>
                    <a:lnTo>
                      <a:pt x="498" y="495"/>
                    </a:lnTo>
                    <a:lnTo>
                      <a:pt x="498" y="495"/>
                    </a:lnTo>
                    <a:lnTo>
                      <a:pt x="501" y="495"/>
                    </a:lnTo>
                    <a:lnTo>
                      <a:pt x="500" y="497"/>
                    </a:lnTo>
                    <a:lnTo>
                      <a:pt x="500" y="497"/>
                    </a:lnTo>
                    <a:lnTo>
                      <a:pt x="498" y="498"/>
                    </a:lnTo>
                    <a:lnTo>
                      <a:pt x="498" y="498"/>
                    </a:lnTo>
                    <a:lnTo>
                      <a:pt x="498" y="498"/>
                    </a:lnTo>
                    <a:lnTo>
                      <a:pt x="498" y="499"/>
                    </a:lnTo>
                    <a:lnTo>
                      <a:pt x="498" y="499"/>
                    </a:lnTo>
                    <a:lnTo>
                      <a:pt x="498" y="505"/>
                    </a:lnTo>
                    <a:lnTo>
                      <a:pt x="498" y="507"/>
                    </a:lnTo>
                    <a:lnTo>
                      <a:pt x="496" y="511"/>
                    </a:lnTo>
                    <a:lnTo>
                      <a:pt x="494" y="511"/>
                    </a:lnTo>
                    <a:lnTo>
                      <a:pt x="494" y="511"/>
                    </a:lnTo>
                    <a:lnTo>
                      <a:pt x="497" y="509"/>
                    </a:lnTo>
                    <a:lnTo>
                      <a:pt x="489" y="514"/>
                    </a:lnTo>
                    <a:lnTo>
                      <a:pt x="489" y="514"/>
                    </a:lnTo>
                    <a:lnTo>
                      <a:pt x="489" y="514"/>
                    </a:lnTo>
                    <a:lnTo>
                      <a:pt x="489" y="514"/>
                    </a:lnTo>
                    <a:lnTo>
                      <a:pt x="488" y="514"/>
                    </a:lnTo>
                    <a:lnTo>
                      <a:pt x="488" y="514"/>
                    </a:lnTo>
                    <a:lnTo>
                      <a:pt x="485" y="515"/>
                    </a:lnTo>
                    <a:lnTo>
                      <a:pt x="482" y="515"/>
                    </a:lnTo>
                    <a:lnTo>
                      <a:pt x="482" y="515"/>
                    </a:lnTo>
                    <a:lnTo>
                      <a:pt x="480" y="515"/>
                    </a:lnTo>
                    <a:lnTo>
                      <a:pt x="480" y="515"/>
                    </a:lnTo>
                    <a:lnTo>
                      <a:pt x="476" y="517"/>
                    </a:lnTo>
                    <a:lnTo>
                      <a:pt x="472" y="519"/>
                    </a:lnTo>
                    <a:lnTo>
                      <a:pt x="472" y="519"/>
                    </a:lnTo>
                    <a:lnTo>
                      <a:pt x="469" y="523"/>
                    </a:lnTo>
                    <a:lnTo>
                      <a:pt x="467" y="525"/>
                    </a:lnTo>
                    <a:lnTo>
                      <a:pt x="467" y="525"/>
                    </a:lnTo>
                    <a:lnTo>
                      <a:pt x="464" y="527"/>
                    </a:lnTo>
                    <a:lnTo>
                      <a:pt x="464" y="527"/>
                    </a:lnTo>
                    <a:lnTo>
                      <a:pt x="460" y="531"/>
                    </a:lnTo>
                    <a:lnTo>
                      <a:pt x="455" y="535"/>
                    </a:lnTo>
                    <a:lnTo>
                      <a:pt x="452" y="535"/>
                    </a:lnTo>
                    <a:lnTo>
                      <a:pt x="451" y="535"/>
                    </a:lnTo>
                    <a:lnTo>
                      <a:pt x="451" y="535"/>
                    </a:lnTo>
                    <a:lnTo>
                      <a:pt x="451" y="535"/>
                    </a:lnTo>
                    <a:lnTo>
                      <a:pt x="451" y="535"/>
                    </a:lnTo>
                    <a:lnTo>
                      <a:pt x="452" y="535"/>
                    </a:lnTo>
                    <a:lnTo>
                      <a:pt x="447" y="538"/>
                    </a:lnTo>
                    <a:lnTo>
                      <a:pt x="445" y="535"/>
                    </a:lnTo>
                    <a:lnTo>
                      <a:pt x="445" y="535"/>
                    </a:lnTo>
                    <a:lnTo>
                      <a:pt x="445" y="536"/>
                    </a:lnTo>
                    <a:lnTo>
                      <a:pt x="445" y="538"/>
                    </a:lnTo>
                    <a:lnTo>
                      <a:pt x="445" y="538"/>
                    </a:lnTo>
                    <a:lnTo>
                      <a:pt x="444" y="538"/>
                    </a:lnTo>
                    <a:lnTo>
                      <a:pt x="444" y="538"/>
                    </a:lnTo>
                    <a:lnTo>
                      <a:pt x="444" y="539"/>
                    </a:lnTo>
                    <a:lnTo>
                      <a:pt x="444" y="539"/>
                    </a:lnTo>
                    <a:lnTo>
                      <a:pt x="444" y="538"/>
                    </a:lnTo>
                    <a:lnTo>
                      <a:pt x="447" y="542"/>
                    </a:lnTo>
                    <a:lnTo>
                      <a:pt x="447" y="542"/>
                    </a:lnTo>
                    <a:lnTo>
                      <a:pt x="447" y="542"/>
                    </a:lnTo>
                    <a:lnTo>
                      <a:pt x="447" y="543"/>
                    </a:lnTo>
                    <a:lnTo>
                      <a:pt x="447" y="543"/>
                    </a:lnTo>
                    <a:lnTo>
                      <a:pt x="447" y="543"/>
                    </a:lnTo>
                    <a:lnTo>
                      <a:pt x="447" y="543"/>
                    </a:lnTo>
                    <a:lnTo>
                      <a:pt x="448" y="550"/>
                    </a:lnTo>
                    <a:lnTo>
                      <a:pt x="445" y="555"/>
                    </a:lnTo>
                    <a:lnTo>
                      <a:pt x="447" y="556"/>
                    </a:lnTo>
                    <a:lnTo>
                      <a:pt x="447" y="560"/>
                    </a:lnTo>
                    <a:lnTo>
                      <a:pt x="447" y="560"/>
                    </a:lnTo>
                    <a:lnTo>
                      <a:pt x="448" y="563"/>
                    </a:lnTo>
                    <a:lnTo>
                      <a:pt x="448" y="566"/>
                    </a:lnTo>
                    <a:lnTo>
                      <a:pt x="445" y="568"/>
                    </a:lnTo>
                    <a:lnTo>
                      <a:pt x="444" y="569"/>
                    </a:lnTo>
                    <a:lnTo>
                      <a:pt x="444" y="569"/>
                    </a:lnTo>
                    <a:lnTo>
                      <a:pt x="441" y="571"/>
                    </a:lnTo>
                    <a:lnTo>
                      <a:pt x="439" y="572"/>
                    </a:lnTo>
                    <a:lnTo>
                      <a:pt x="439" y="572"/>
                    </a:lnTo>
                    <a:lnTo>
                      <a:pt x="435" y="571"/>
                    </a:lnTo>
                    <a:lnTo>
                      <a:pt x="434" y="571"/>
                    </a:lnTo>
                    <a:lnTo>
                      <a:pt x="434" y="571"/>
                    </a:lnTo>
                    <a:lnTo>
                      <a:pt x="432" y="572"/>
                    </a:lnTo>
                    <a:lnTo>
                      <a:pt x="428" y="573"/>
                    </a:lnTo>
                    <a:lnTo>
                      <a:pt x="428" y="573"/>
                    </a:lnTo>
                    <a:lnTo>
                      <a:pt x="428" y="576"/>
                    </a:lnTo>
                    <a:lnTo>
                      <a:pt x="424" y="580"/>
                    </a:lnTo>
                    <a:lnTo>
                      <a:pt x="424" y="580"/>
                    </a:lnTo>
                    <a:lnTo>
                      <a:pt x="416" y="584"/>
                    </a:lnTo>
                    <a:lnTo>
                      <a:pt x="410" y="589"/>
                    </a:lnTo>
                    <a:lnTo>
                      <a:pt x="410" y="589"/>
                    </a:lnTo>
                    <a:lnTo>
                      <a:pt x="410" y="593"/>
                    </a:lnTo>
                    <a:lnTo>
                      <a:pt x="410" y="595"/>
                    </a:lnTo>
                    <a:lnTo>
                      <a:pt x="410" y="595"/>
                    </a:lnTo>
                    <a:lnTo>
                      <a:pt x="408" y="597"/>
                    </a:lnTo>
                    <a:lnTo>
                      <a:pt x="406" y="603"/>
                    </a:lnTo>
                    <a:lnTo>
                      <a:pt x="406" y="603"/>
                    </a:lnTo>
                    <a:lnTo>
                      <a:pt x="407" y="603"/>
                    </a:lnTo>
                    <a:lnTo>
                      <a:pt x="407" y="603"/>
                    </a:lnTo>
                    <a:lnTo>
                      <a:pt x="406" y="604"/>
                    </a:lnTo>
                    <a:lnTo>
                      <a:pt x="406" y="604"/>
                    </a:lnTo>
                    <a:lnTo>
                      <a:pt x="404" y="608"/>
                    </a:lnTo>
                    <a:lnTo>
                      <a:pt x="401" y="610"/>
                    </a:lnTo>
                    <a:lnTo>
                      <a:pt x="401" y="610"/>
                    </a:lnTo>
                    <a:lnTo>
                      <a:pt x="398" y="610"/>
                    </a:lnTo>
                    <a:lnTo>
                      <a:pt x="398" y="610"/>
                    </a:lnTo>
                    <a:lnTo>
                      <a:pt x="395" y="609"/>
                    </a:lnTo>
                    <a:lnTo>
                      <a:pt x="393" y="608"/>
                    </a:lnTo>
                    <a:lnTo>
                      <a:pt x="393" y="608"/>
                    </a:lnTo>
                    <a:lnTo>
                      <a:pt x="389" y="610"/>
                    </a:lnTo>
                    <a:lnTo>
                      <a:pt x="383" y="613"/>
                    </a:lnTo>
                    <a:lnTo>
                      <a:pt x="383" y="613"/>
                    </a:lnTo>
                    <a:lnTo>
                      <a:pt x="378" y="614"/>
                    </a:lnTo>
                    <a:lnTo>
                      <a:pt x="375" y="617"/>
                    </a:lnTo>
                    <a:lnTo>
                      <a:pt x="371" y="620"/>
                    </a:lnTo>
                    <a:lnTo>
                      <a:pt x="371" y="620"/>
                    </a:lnTo>
                    <a:lnTo>
                      <a:pt x="371" y="621"/>
                    </a:lnTo>
                    <a:lnTo>
                      <a:pt x="371" y="621"/>
                    </a:lnTo>
                    <a:lnTo>
                      <a:pt x="369" y="622"/>
                    </a:lnTo>
                    <a:lnTo>
                      <a:pt x="363" y="622"/>
                    </a:lnTo>
                    <a:lnTo>
                      <a:pt x="363" y="622"/>
                    </a:lnTo>
                    <a:lnTo>
                      <a:pt x="363" y="622"/>
                    </a:lnTo>
                    <a:lnTo>
                      <a:pt x="362" y="624"/>
                    </a:lnTo>
                    <a:lnTo>
                      <a:pt x="360" y="624"/>
                    </a:lnTo>
                    <a:lnTo>
                      <a:pt x="358" y="624"/>
                    </a:lnTo>
                    <a:lnTo>
                      <a:pt x="356" y="621"/>
                    </a:lnTo>
                    <a:lnTo>
                      <a:pt x="352" y="625"/>
                    </a:lnTo>
                    <a:lnTo>
                      <a:pt x="352" y="625"/>
                    </a:lnTo>
                    <a:lnTo>
                      <a:pt x="352" y="625"/>
                    </a:lnTo>
                    <a:lnTo>
                      <a:pt x="352" y="625"/>
                    </a:lnTo>
                    <a:lnTo>
                      <a:pt x="350" y="626"/>
                    </a:lnTo>
                    <a:lnTo>
                      <a:pt x="349" y="626"/>
                    </a:lnTo>
                    <a:lnTo>
                      <a:pt x="349" y="626"/>
                    </a:lnTo>
                    <a:lnTo>
                      <a:pt x="348" y="628"/>
                    </a:lnTo>
                    <a:lnTo>
                      <a:pt x="348" y="628"/>
                    </a:lnTo>
                    <a:lnTo>
                      <a:pt x="346" y="629"/>
                    </a:lnTo>
                    <a:lnTo>
                      <a:pt x="346" y="629"/>
                    </a:lnTo>
                    <a:lnTo>
                      <a:pt x="346" y="628"/>
                    </a:lnTo>
                    <a:lnTo>
                      <a:pt x="341" y="632"/>
                    </a:lnTo>
                    <a:lnTo>
                      <a:pt x="340" y="632"/>
                    </a:lnTo>
                    <a:lnTo>
                      <a:pt x="334" y="629"/>
                    </a:lnTo>
                    <a:lnTo>
                      <a:pt x="334" y="629"/>
                    </a:lnTo>
                    <a:lnTo>
                      <a:pt x="333" y="626"/>
                    </a:lnTo>
                    <a:lnTo>
                      <a:pt x="333" y="626"/>
                    </a:lnTo>
                    <a:lnTo>
                      <a:pt x="332" y="625"/>
                    </a:lnTo>
                    <a:lnTo>
                      <a:pt x="329" y="625"/>
                    </a:lnTo>
                    <a:lnTo>
                      <a:pt x="328" y="625"/>
                    </a:lnTo>
                    <a:lnTo>
                      <a:pt x="328" y="625"/>
                    </a:lnTo>
                    <a:lnTo>
                      <a:pt x="324" y="626"/>
                    </a:lnTo>
                    <a:lnTo>
                      <a:pt x="322" y="628"/>
                    </a:lnTo>
                    <a:lnTo>
                      <a:pt x="319" y="629"/>
                    </a:lnTo>
                    <a:lnTo>
                      <a:pt x="317" y="629"/>
                    </a:lnTo>
                    <a:lnTo>
                      <a:pt x="317" y="629"/>
                    </a:lnTo>
                    <a:lnTo>
                      <a:pt x="316" y="629"/>
                    </a:lnTo>
                    <a:lnTo>
                      <a:pt x="316" y="629"/>
                    </a:lnTo>
                    <a:lnTo>
                      <a:pt x="317" y="629"/>
                    </a:lnTo>
                    <a:lnTo>
                      <a:pt x="312" y="632"/>
                    </a:lnTo>
                    <a:lnTo>
                      <a:pt x="311" y="632"/>
                    </a:lnTo>
                    <a:lnTo>
                      <a:pt x="311" y="632"/>
                    </a:lnTo>
                    <a:lnTo>
                      <a:pt x="309" y="632"/>
                    </a:lnTo>
                    <a:lnTo>
                      <a:pt x="309" y="632"/>
                    </a:lnTo>
                    <a:lnTo>
                      <a:pt x="311" y="630"/>
                    </a:lnTo>
                    <a:lnTo>
                      <a:pt x="307" y="633"/>
                    </a:lnTo>
                    <a:lnTo>
                      <a:pt x="307" y="633"/>
                    </a:lnTo>
                    <a:lnTo>
                      <a:pt x="307" y="633"/>
                    </a:lnTo>
                    <a:lnTo>
                      <a:pt x="305" y="634"/>
                    </a:lnTo>
                    <a:lnTo>
                      <a:pt x="300" y="636"/>
                    </a:lnTo>
                    <a:lnTo>
                      <a:pt x="300" y="636"/>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1" name="Freeform 13">
                <a:extLst>
                  <a:ext uri="{FF2B5EF4-FFF2-40B4-BE49-F238E27FC236}">
                    <a16:creationId xmlns:a16="http://schemas.microsoft.com/office/drawing/2014/main" xmlns="" id="{FB719557-80A5-4C1F-B3D6-142CC7C6196C}"/>
                  </a:ext>
                </a:extLst>
              </p:cNvPr>
              <p:cNvSpPr>
                <a:spLocks/>
              </p:cNvSpPr>
              <p:nvPr/>
            </p:nvSpPr>
            <p:spPr bwMode="auto">
              <a:xfrm>
                <a:off x="5296287" y="1785013"/>
                <a:ext cx="833975" cy="680761"/>
              </a:xfrm>
              <a:custGeom>
                <a:avLst/>
                <a:gdLst>
                  <a:gd name="T0" fmla="*/ 221 w 479"/>
                  <a:gd name="T1" fmla="*/ 385 h 391"/>
                  <a:gd name="T2" fmla="*/ 205 w 479"/>
                  <a:gd name="T3" fmla="*/ 382 h 391"/>
                  <a:gd name="T4" fmla="*/ 197 w 479"/>
                  <a:gd name="T5" fmla="*/ 379 h 391"/>
                  <a:gd name="T6" fmla="*/ 174 w 479"/>
                  <a:gd name="T7" fmla="*/ 381 h 391"/>
                  <a:gd name="T8" fmla="*/ 156 w 479"/>
                  <a:gd name="T9" fmla="*/ 383 h 391"/>
                  <a:gd name="T10" fmla="*/ 123 w 479"/>
                  <a:gd name="T11" fmla="*/ 374 h 391"/>
                  <a:gd name="T12" fmla="*/ 114 w 479"/>
                  <a:gd name="T13" fmla="*/ 367 h 391"/>
                  <a:gd name="T14" fmla="*/ 96 w 479"/>
                  <a:gd name="T15" fmla="*/ 370 h 391"/>
                  <a:gd name="T16" fmla="*/ 90 w 479"/>
                  <a:gd name="T17" fmla="*/ 357 h 391"/>
                  <a:gd name="T18" fmla="*/ 84 w 479"/>
                  <a:gd name="T19" fmla="*/ 334 h 391"/>
                  <a:gd name="T20" fmla="*/ 52 w 479"/>
                  <a:gd name="T21" fmla="*/ 301 h 391"/>
                  <a:gd name="T22" fmla="*/ 18 w 479"/>
                  <a:gd name="T23" fmla="*/ 283 h 391"/>
                  <a:gd name="T24" fmla="*/ 24 w 479"/>
                  <a:gd name="T25" fmla="*/ 260 h 391"/>
                  <a:gd name="T26" fmla="*/ 27 w 479"/>
                  <a:gd name="T27" fmla="*/ 231 h 391"/>
                  <a:gd name="T28" fmla="*/ 15 w 479"/>
                  <a:gd name="T29" fmla="*/ 209 h 391"/>
                  <a:gd name="T30" fmla="*/ 4 w 479"/>
                  <a:gd name="T31" fmla="*/ 210 h 391"/>
                  <a:gd name="T32" fmla="*/ 10 w 479"/>
                  <a:gd name="T33" fmla="*/ 181 h 391"/>
                  <a:gd name="T34" fmla="*/ 4 w 479"/>
                  <a:gd name="T35" fmla="*/ 153 h 391"/>
                  <a:gd name="T36" fmla="*/ 6 w 479"/>
                  <a:gd name="T37" fmla="*/ 112 h 391"/>
                  <a:gd name="T38" fmla="*/ 3 w 479"/>
                  <a:gd name="T39" fmla="*/ 102 h 391"/>
                  <a:gd name="T40" fmla="*/ 15 w 479"/>
                  <a:gd name="T41" fmla="*/ 53 h 391"/>
                  <a:gd name="T42" fmla="*/ 40 w 479"/>
                  <a:gd name="T43" fmla="*/ 25 h 391"/>
                  <a:gd name="T44" fmla="*/ 57 w 479"/>
                  <a:gd name="T45" fmla="*/ 24 h 391"/>
                  <a:gd name="T46" fmla="*/ 97 w 479"/>
                  <a:gd name="T47" fmla="*/ 34 h 391"/>
                  <a:gd name="T48" fmla="*/ 133 w 479"/>
                  <a:gd name="T49" fmla="*/ 20 h 391"/>
                  <a:gd name="T50" fmla="*/ 147 w 479"/>
                  <a:gd name="T51" fmla="*/ 16 h 391"/>
                  <a:gd name="T52" fmla="*/ 164 w 479"/>
                  <a:gd name="T53" fmla="*/ 2 h 391"/>
                  <a:gd name="T54" fmla="*/ 167 w 479"/>
                  <a:gd name="T55" fmla="*/ 43 h 391"/>
                  <a:gd name="T56" fmla="*/ 195 w 479"/>
                  <a:gd name="T57" fmla="*/ 69 h 391"/>
                  <a:gd name="T58" fmla="*/ 208 w 479"/>
                  <a:gd name="T59" fmla="*/ 86 h 391"/>
                  <a:gd name="T60" fmla="*/ 241 w 479"/>
                  <a:gd name="T61" fmla="*/ 102 h 391"/>
                  <a:gd name="T62" fmla="*/ 254 w 479"/>
                  <a:gd name="T63" fmla="*/ 100 h 391"/>
                  <a:gd name="T64" fmla="*/ 294 w 479"/>
                  <a:gd name="T65" fmla="*/ 100 h 391"/>
                  <a:gd name="T66" fmla="*/ 310 w 479"/>
                  <a:gd name="T67" fmla="*/ 74 h 391"/>
                  <a:gd name="T68" fmla="*/ 336 w 479"/>
                  <a:gd name="T69" fmla="*/ 76 h 391"/>
                  <a:gd name="T70" fmla="*/ 380 w 479"/>
                  <a:gd name="T71" fmla="*/ 82 h 391"/>
                  <a:gd name="T72" fmla="*/ 391 w 479"/>
                  <a:gd name="T73" fmla="*/ 78 h 391"/>
                  <a:gd name="T74" fmla="*/ 412 w 479"/>
                  <a:gd name="T75" fmla="*/ 78 h 391"/>
                  <a:gd name="T76" fmla="*/ 461 w 479"/>
                  <a:gd name="T77" fmla="*/ 98 h 391"/>
                  <a:gd name="T78" fmla="*/ 447 w 479"/>
                  <a:gd name="T79" fmla="*/ 120 h 391"/>
                  <a:gd name="T80" fmla="*/ 434 w 479"/>
                  <a:gd name="T81" fmla="*/ 116 h 391"/>
                  <a:gd name="T82" fmla="*/ 425 w 479"/>
                  <a:gd name="T83" fmla="*/ 117 h 391"/>
                  <a:gd name="T84" fmla="*/ 433 w 479"/>
                  <a:gd name="T85" fmla="*/ 125 h 391"/>
                  <a:gd name="T86" fmla="*/ 443 w 479"/>
                  <a:gd name="T87" fmla="*/ 141 h 391"/>
                  <a:gd name="T88" fmla="*/ 470 w 479"/>
                  <a:gd name="T89" fmla="*/ 152 h 391"/>
                  <a:gd name="T90" fmla="*/ 463 w 479"/>
                  <a:gd name="T91" fmla="*/ 186 h 391"/>
                  <a:gd name="T92" fmla="*/ 439 w 479"/>
                  <a:gd name="T93" fmla="*/ 190 h 391"/>
                  <a:gd name="T94" fmla="*/ 405 w 479"/>
                  <a:gd name="T95" fmla="*/ 190 h 391"/>
                  <a:gd name="T96" fmla="*/ 396 w 479"/>
                  <a:gd name="T97" fmla="*/ 189 h 391"/>
                  <a:gd name="T98" fmla="*/ 401 w 479"/>
                  <a:gd name="T99" fmla="*/ 202 h 391"/>
                  <a:gd name="T100" fmla="*/ 400 w 479"/>
                  <a:gd name="T101" fmla="*/ 235 h 391"/>
                  <a:gd name="T102" fmla="*/ 392 w 479"/>
                  <a:gd name="T103" fmla="*/ 247 h 391"/>
                  <a:gd name="T104" fmla="*/ 391 w 479"/>
                  <a:gd name="T105" fmla="*/ 267 h 391"/>
                  <a:gd name="T106" fmla="*/ 388 w 479"/>
                  <a:gd name="T107" fmla="*/ 309 h 391"/>
                  <a:gd name="T108" fmla="*/ 363 w 479"/>
                  <a:gd name="T109" fmla="*/ 316 h 391"/>
                  <a:gd name="T110" fmla="*/ 335 w 479"/>
                  <a:gd name="T111" fmla="*/ 329 h 391"/>
                  <a:gd name="T112" fmla="*/ 330 w 479"/>
                  <a:gd name="T113" fmla="*/ 322 h 391"/>
                  <a:gd name="T114" fmla="*/ 309 w 479"/>
                  <a:gd name="T115" fmla="*/ 307 h 391"/>
                  <a:gd name="T116" fmla="*/ 285 w 479"/>
                  <a:gd name="T117" fmla="*/ 318 h 391"/>
                  <a:gd name="T118" fmla="*/ 268 w 479"/>
                  <a:gd name="T119" fmla="*/ 322 h 391"/>
                  <a:gd name="T120" fmla="*/ 258 w 479"/>
                  <a:gd name="T121" fmla="*/ 369 h 391"/>
                  <a:gd name="T122" fmla="*/ 254 w 479"/>
                  <a:gd name="T123" fmla="*/ 387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 h="391">
                    <a:moveTo>
                      <a:pt x="248" y="391"/>
                    </a:moveTo>
                    <a:lnTo>
                      <a:pt x="248" y="391"/>
                    </a:lnTo>
                    <a:lnTo>
                      <a:pt x="244" y="391"/>
                    </a:lnTo>
                    <a:lnTo>
                      <a:pt x="244" y="391"/>
                    </a:lnTo>
                    <a:lnTo>
                      <a:pt x="240" y="390"/>
                    </a:lnTo>
                    <a:lnTo>
                      <a:pt x="240" y="390"/>
                    </a:lnTo>
                    <a:lnTo>
                      <a:pt x="233" y="388"/>
                    </a:lnTo>
                    <a:lnTo>
                      <a:pt x="227" y="386"/>
                    </a:lnTo>
                    <a:lnTo>
                      <a:pt x="227" y="385"/>
                    </a:lnTo>
                    <a:lnTo>
                      <a:pt x="223" y="382"/>
                    </a:lnTo>
                    <a:lnTo>
                      <a:pt x="223" y="383"/>
                    </a:lnTo>
                    <a:lnTo>
                      <a:pt x="223" y="383"/>
                    </a:lnTo>
                    <a:lnTo>
                      <a:pt x="225" y="385"/>
                    </a:lnTo>
                    <a:lnTo>
                      <a:pt x="224" y="385"/>
                    </a:lnTo>
                    <a:lnTo>
                      <a:pt x="224" y="385"/>
                    </a:lnTo>
                    <a:lnTo>
                      <a:pt x="223" y="385"/>
                    </a:lnTo>
                    <a:lnTo>
                      <a:pt x="221" y="385"/>
                    </a:lnTo>
                    <a:lnTo>
                      <a:pt x="216" y="381"/>
                    </a:lnTo>
                    <a:lnTo>
                      <a:pt x="216" y="381"/>
                    </a:lnTo>
                    <a:lnTo>
                      <a:pt x="217" y="383"/>
                    </a:lnTo>
                    <a:lnTo>
                      <a:pt x="219" y="383"/>
                    </a:lnTo>
                    <a:lnTo>
                      <a:pt x="219" y="383"/>
                    </a:lnTo>
                    <a:lnTo>
                      <a:pt x="219" y="383"/>
                    </a:lnTo>
                    <a:lnTo>
                      <a:pt x="219" y="383"/>
                    </a:lnTo>
                    <a:lnTo>
                      <a:pt x="216" y="383"/>
                    </a:lnTo>
                    <a:lnTo>
                      <a:pt x="216" y="383"/>
                    </a:lnTo>
                    <a:lnTo>
                      <a:pt x="212" y="383"/>
                    </a:lnTo>
                    <a:lnTo>
                      <a:pt x="212" y="383"/>
                    </a:lnTo>
                    <a:lnTo>
                      <a:pt x="209" y="383"/>
                    </a:lnTo>
                    <a:lnTo>
                      <a:pt x="209" y="383"/>
                    </a:lnTo>
                    <a:lnTo>
                      <a:pt x="204" y="381"/>
                    </a:lnTo>
                    <a:lnTo>
                      <a:pt x="204" y="381"/>
                    </a:lnTo>
                    <a:lnTo>
                      <a:pt x="205" y="382"/>
                    </a:lnTo>
                    <a:lnTo>
                      <a:pt x="205" y="382"/>
                    </a:lnTo>
                    <a:lnTo>
                      <a:pt x="204" y="381"/>
                    </a:lnTo>
                    <a:lnTo>
                      <a:pt x="204" y="381"/>
                    </a:lnTo>
                    <a:lnTo>
                      <a:pt x="201" y="381"/>
                    </a:lnTo>
                    <a:lnTo>
                      <a:pt x="201" y="381"/>
                    </a:lnTo>
                    <a:lnTo>
                      <a:pt x="201" y="381"/>
                    </a:lnTo>
                    <a:lnTo>
                      <a:pt x="201" y="381"/>
                    </a:lnTo>
                    <a:lnTo>
                      <a:pt x="201" y="381"/>
                    </a:lnTo>
                    <a:lnTo>
                      <a:pt x="201" y="381"/>
                    </a:lnTo>
                    <a:lnTo>
                      <a:pt x="196" y="377"/>
                    </a:lnTo>
                    <a:lnTo>
                      <a:pt x="196" y="377"/>
                    </a:lnTo>
                    <a:lnTo>
                      <a:pt x="197" y="378"/>
                    </a:lnTo>
                    <a:lnTo>
                      <a:pt x="199" y="379"/>
                    </a:lnTo>
                    <a:lnTo>
                      <a:pt x="199" y="379"/>
                    </a:lnTo>
                    <a:lnTo>
                      <a:pt x="199" y="379"/>
                    </a:lnTo>
                    <a:lnTo>
                      <a:pt x="199" y="379"/>
                    </a:lnTo>
                    <a:lnTo>
                      <a:pt x="197" y="379"/>
                    </a:lnTo>
                    <a:lnTo>
                      <a:pt x="197" y="379"/>
                    </a:lnTo>
                    <a:lnTo>
                      <a:pt x="194" y="379"/>
                    </a:lnTo>
                    <a:lnTo>
                      <a:pt x="194" y="379"/>
                    </a:lnTo>
                    <a:lnTo>
                      <a:pt x="192" y="379"/>
                    </a:lnTo>
                    <a:lnTo>
                      <a:pt x="191" y="379"/>
                    </a:lnTo>
                    <a:lnTo>
                      <a:pt x="191" y="379"/>
                    </a:lnTo>
                    <a:lnTo>
                      <a:pt x="191" y="379"/>
                    </a:lnTo>
                    <a:lnTo>
                      <a:pt x="191" y="379"/>
                    </a:lnTo>
                    <a:lnTo>
                      <a:pt x="191" y="379"/>
                    </a:lnTo>
                    <a:lnTo>
                      <a:pt x="186" y="385"/>
                    </a:lnTo>
                    <a:lnTo>
                      <a:pt x="186" y="385"/>
                    </a:lnTo>
                    <a:lnTo>
                      <a:pt x="186" y="385"/>
                    </a:lnTo>
                    <a:lnTo>
                      <a:pt x="184" y="386"/>
                    </a:lnTo>
                    <a:lnTo>
                      <a:pt x="182" y="386"/>
                    </a:lnTo>
                    <a:lnTo>
                      <a:pt x="175" y="381"/>
                    </a:lnTo>
                    <a:lnTo>
                      <a:pt x="175" y="381"/>
                    </a:lnTo>
                    <a:lnTo>
                      <a:pt x="176" y="379"/>
                    </a:lnTo>
                    <a:lnTo>
                      <a:pt x="174" y="381"/>
                    </a:lnTo>
                    <a:lnTo>
                      <a:pt x="172" y="379"/>
                    </a:lnTo>
                    <a:lnTo>
                      <a:pt x="172" y="379"/>
                    </a:lnTo>
                    <a:lnTo>
                      <a:pt x="174" y="382"/>
                    </a:lnTo>
                    <a:lnTo>
                      <a:pt x="170" y="385"/>
                    </a:lnTo>
                    <a:lnTo>
                      <a:pt x="170" y="385"/>
                    </a:lnTo>
                    <a:lnTo>
                      <a:pt x="170" y="385"/>
                    </a:lnTo>
                    <a:lnTo>
                      <a:pt x="167" y="385"/>
                    </a:lnTo>
                    <a:lnTo>
                      <a:pt x="167" y="385"/>
                    </a:lnTo>
                    <a:lnTo>
                      <a:pt x="170" y="383"/>
                    </a:lnTo>
                    <a:lnTo>
                      <a:pt x="171" y="381"/>
                    </a:lnTo>
                    <a:lnTo>
                      <a:pt x="164" y="386"/>
                    </a:lnTo>
                    <a:lnTo>
                      <a:pt x="162" y="386"/>
                    </a:lnTo>
                    <a:lnTo>
                      <a:pt x="156" y="381"/>
                    </a:lnTo>
                    <a:lnTo>
                      <a:pt x="156" y="381"/>
                    </a:lnTo>
                    <a:lnTo>
                      <a:pt x="158" y="383"/>
                    </a:lnTo>
                    <a:lnTo>
                      <a:pt x="158" y="383"/>
                    </a:lnTo>
                    <a:lnTo>
                      <a:pt x="156" y="383"/>
                    </a:lnTo>
                    <a:lnTo>
                      <a:pt x="156" y="383"/>
                    </a:lnTo>
                    <a:lnTo>
                      <a:pt x="154" y="382"/>
                    </a:lnTo>
                    <a:lnTo>
                      <a:pt x="154" y="382"/>
                    </a:lnTo>
                    <a:lnTo>
                      <a:pt x="149" y="378"/>
                    </a:lnTo>
                    <a:lnTo>
                      <a:pt x="143" y="374"/>
                    </a:lnTo>
                    <a:lnTo>
                      <a:pt x="143" y="374"/>
                    </a:lnTo>
                    <a:lnTo>
                      <a:pt x="139" y="369"/>
                    </a:lnTo>
                    <a:lnTo>
                      <a:pt x="134" y="366"/>
                    </a:lnTo>
                    <a:lnTo>
                      <a:pt x="134" y="366"/>
                    </a:lnTo>
                    <a:lnTo>
                      <a:pt x="133" y="369"/>
                    </a:lnTo>
                    <a:lnTo>
                      <a:pt x="133" y="369"/>
                    </a:lnTo>
                    <a:lnTo>
                      <a:pt x="130" y="373"/>
                    </a:lnTo>
                    <a:lnTo>
                      <a:pt x="123" y="375"/>
                    </a:lnTo>
                    <a:lnTo>
                      <a:pt x="123" y="375"/>
                    </a:lnTo>
                    <a:lnTo>
                      <a:pt x="121" y="374"/>
                    </a:lnTo>
                    <a:lnTo>
                      <a:pt x="121" y="374"/>
                    </a:lnTo>
                    <a:lnTo>
                      <a:pt x="123" y="374"/>
                    </a:lnTo>
                    <a:lnTo>
                      <a:pt x="121" y="373"/>
                    </a:lnTo>
                    <a:lnTo>
                      <a:pt x="119" y="367"/>
                    </a:lnTo>
                    <a:lnTo>
                      <a:pt x="119" y="371"/>
                    </a:lnTo>
                    <a:lnTo>
                      <a:pt x="118" y="370"/>
                    </a:lnTo>
                    <a:lnTo>
                      <a:pt x="118" y="371"/>
                    </a:lnTo>
                    <a:lnTo>
                      <a:pt x="118" y="371"/>
                    </a:lnTo>
                    <a:lnTo>
                      <a:pt x="119" y="373"/>
                    </a:lnTo>
                    <a:lnTo>
                      <a:pt x="119" y="373"/>
                    </a:lnTo>
                    <a:lnTo>
                      <a:pt x="119" y="374"/>
                    </a:lnTo>
                    <a:lnTo>
                      <a:pt x="119" y="374"/>
                    </a:lnTo>
                    <a:lnTo>
                      <a:pt x="117" y="373"/>
                    </a:lnTo>
                    <a:lnTo>
                      <a:pt x="114" y="373"/>
                    </a:lnTo>
                    <a:lnTo>
                      <a:pt x="113" y="371"/>
                    </a:lnTo>
                    <a:lnTo>
                      <a:pt x="113" y="371"/>
                    </a:lnTo>
                    <a:lnTo>
                      <a:pt x="114" y="370"/>
                    </a:lnTo>
                    <a:lnTo>
                      <a:pt x="114" y="370"/>
                    </a:lnTo>
                    <a:lnTo>
                      <a:pt x="114" y="367"/>
                    </a:lnTo>
                    <a:lnTo>
                      <a:pt x="114" y="365"/>
                    </a:lnTo>
                    <a:lnTo>
                      <a:pt x="112" y="370"/>
                    </a:lnTo>
                    <a:lnTo>
                      <a:pt x="109" y="365"/>
                    </a:lnTo>
                    <a:lnTo>
                      <a:pt x="109" y="365"/>
                    </a:lnTo>
                    <a:lnTo>
                      <a:pt x="108" y="367"/>
                    </a:lnTo>
                    <a:lnTo>
                      <a:pt x="109" y="370"/>
                    </a:lnTo>
                    <a:lnTo>
                      <a:pt x="109" y="370"/>
                    </a:lnTo>
                    <a:lnTo>
                      <a:pt x="110" y="371"/>
                    </a:lnTo>
                    <a:lnTo>
                      <a:pt x="109" y="373"/>
                    </a:lnTo>
                    <a:lnTo>
                      <a:pt x="109" y="373"/>
                    </a:lnTo>
                    <a:lnTo>
                      <a:pt x="109" y="373"/>
                    </a:lnTo>
                    <a:lnTo>
                      <a:pt x="109" y="374"/>
                    </a:lnTo>
                    <a:lnTo>
                      <a:pt x="109" y="374"/>
                    </a:lnTo>
                    <a:lnTo>
                      <a:pt x="106" y="375"/>
                    </a:lnTo>
                    <a:lnTo>
                      <a:pt x="101" y="375"/>
                    </a:lnTo>
                    <a:lnTo>
                      <a:pt x="101" y="375"/>
                    </a:lnTo>
                    <a:lnTo>
                      <a:pt x="96" y="370"/>
                    </a:lnTo>
                    <a:lnTo>
                      <a:pt x="96" y="369"/>
                    </a:lnTo>
                    <a:lnTo>
                      <a:pt x="96" y="369"/>
                    </a:lnTo>
                    <a:lnTo>
                      <a:pt x="96" y="367"/>
                    </a:lnTo>
                    <a:lnTo>
                      <a:pt x="96" y="367"/>
                    </a:lnTo>
                    <a:lnTo>
                      <a:pt x="96" y="369"/>
                    </a:lnTo>
                    <a:lnTo>
                      <a:pt x="93" y="363"/>
                    </a:lnTo>
                    <a:lnTo>
                      <a:pt x="93" y="362"/>
                    </a:lnTo>
                    <a:lnTo>
                      <a:pt x="93" y="362"/>
                    </a:lnTo>
                    <a:lnTo>
                      <a:pt x="93" y="362"/>
                    </a:lnTo>
                    <a:lnTo>
                      <a:pt x="93" y="362"/>
                    </a:lnTo>
                    <a:lnTo>
                      <a:pt x="93" y="362"/>
                    </a:lnTo>
                    <a:lnTo>
                      <a:pt x="90" y="357"/>
                    </a:lnTo>
                    <a:lnTo>
                      <a:pt x="90" y="355"/>
                    </a:lnTo>
                    <a:lnTo>
                      <a:pt x="90" y="355"/>
                    </a:lnTo>
                    <a:lnTo>
                      <a:pt x="90" y="355"/>
                    </a:lnTo>
                    <a:lnTo>
                      <a:pt x="90" y="355"/>
                    </a:lnTo>
                    <a:lnTo>
                      <a:pt x="90" y="357"/>
                    </a:lnTo>
                    <a:lnTo>
                      <a:pt x="88" y="350"/>
                    </a:lnTo>
                    <a:lnTo>
                      <a:pt x="88" y="349"/>
                    </a:lnTo>
                    <a:lnTo>
                      <a:pt x="92" y="342"/>
                    </a:lnTo>
                    <a:lnTo>
                      <a:pt x="92" y="342"/>
                    </a:lnTo>
                    <a:lnTo>
                      <a:pt x="89" y="344"/>
                    </a:lnTo>
                    <a:lnTo>
                      <a:pt x="89" y="346"/>
                    </a:lnTo>
                    <a:lnTo>
                      <a:pt x="89" y="346"/>
                    </a:lnTo>
                    <a:lnTo>
                      <a:pt x="89" y="345"/>
                    </a:lnTo>
                    <a:lnTo>
                      <a:pt x="89" y="345"/>
                    </a:lnTo>
                    <a:lnTo>
                      <a:pt x="89" y="342"/>
                    </a:lnTo>
                    <a:lnTo>
                      <a:pt x="89" y="342"/>
                    </a:lnTo>
                    <a:lnTo>
                      <a:pt x="89" y="340"/>
                    </a:lnTo>
                    <a:lnTo>
                      <a:pt x="89" y="340"/>
                    </a:lnTo>
                    <a:lnTo>
                      <a:pt x="86" y="336"/>
                    </a:lnTo>
                    <a:lnTo>
                      <a:pt x="86" y="336"/>
                    </a:lnTo>
                    <a:lnTo>
                      <a:pt x="85" y="336"/>
                    </a:lnTo>
                    <a:lnTo>
                      <a:pt x="84" y="334"/>
                    </a:lnTo>
                    <a:lnTo>
                      <a:pt x="84" y="334"/>
                    </a:lnTo>
                    <a:lnTo>
                      <a:pt x="81" y="334"/>
                    </a:lnTo>
                    <a:lnTo>
                      <a:pt x="81" y="334"/>
                    </a:lnTo>
                    <a:lnTo>
                      <a:pt x="73" y="332"/>
                    </a:lnTo>
                    <a:lnTo>
                      <a:pt x="71" y="330"/>
                    </a:lnTo>
                    <a:lnTo>
                      <a:pt x="67" y="326"/>
                    </a:lnTo>
                    <a:lnTo>
                      <a:pt x="67" y="326"/>
                    </a:lnTo>
                    <a:lnTo>
                      <a:pt x="64" y="321"/>
                    </a:lnTo>
                    <a:lnTo>
                      <a:pt x="64" y="321"/>
                    </a:lnTo>
                    <a:lnTo>
                      <a:pt x="63" y="320"/>
                    </a:lnTo>
                    <a:lnTo>
                      <a:pt x="61" y="317"/>
                    </a:lnTo>
                    <a:lnTo>
                      <a:pt x="61" y="317"/>
                    </a:lnTo>
                    <a:lnTo>
                      <a:pt x="59" y="314"/>
                    </a:lnTo>
                    <a:lnTo>
                      <a:pt x="59" y="310"/>
                    </a:lnTo>
                    <a:lnTo>
                      <a:pt x="59" y="310"/>
                    </a:lnTo>
                    <a:lnTo>
                      <a:pt x="56" y="305"/>
                    </a:lnTo>
                    <a:lnTo>
                      <a:pt x="52" y="301"/>
                    </a:lnTo>
                    <a:lnTo>
                      <a:pt x="48" y="299"/>
                    </a:lnTo>
                    <a:lnTo>
                      <a:pt x="44" y="296"/>
                    </a:lnTo>
                    <a:lnTo>
                      <a:pt x="43" y="296"/>
                    </a:lnTo>
                    <a:lnTo>
                      <a:pt x="39" y="295"/>
                    </a:lnTo>
                    <a:lnTo>
                      <a:pt x="39" y="295"/>
                    </a:lnTo>
                    <a:lnTo>
                      <a:pt x="36" y="292"/>
                    </a:lnTo>
                    <a:lnTo>
                      <a:pt x="36" y="292"/>
                    </a:lnTo>
                    <a:lnTo>
                      <a:pt x="32" y="288"/>
                    </a:lnTo>
                    <a:lnTo>
                      <a:pt x="28" y="287"/>
                    </a:lnTo>
                    <a:lnTo>
                      <a:pt x="27" y="287"/>
                    </a:lnTo>
                    <a:lnTo>
                      <a:pt x="20" y="281"/>
                    </a:lnTo>
                    <a:lnTo>
                      <a:pt x="20" y="281"/>
                    </a:lnTo>
                    <a:lnTo>
                      <a:pt x="22" y="284"/>
                    </a:lnTo>
                    <a:lnTo>
                      <a:pt x="24" y="285"/>
                    </a:lnTo>
                    <a:lnTo>
                      <a:pt x="24" y="285"/>
                    </a:lnTo>
                    <a:lnTo>
                      <a:pt x="20" y="284"/>
                    </a:lnTo>
                    <a:lnTo>
                      <a:pt x="18" y="283"/>
                    </a:lnTo>
                    <a:lnTo>
                      <a:pt x="16" y="279"/>
                    </a:lnTo>
                    <a:lnTo>
                      <a:pt x="16" y="276"/>
                    </a:lnTo>
                    <a:lnTo>
                      <a:pt x="16" y="276"/>
                    </a:lnTo>
                    <a:lnTo>
                      <a:pt x="18" y="272"/>
                    </a:lnTo>
                    <a:lnTo>
                      <a:pt x="18" y="269"/>
                    </a:lnTo>
                    <a:lnTo>
                      <a:pt x="18" y="269"/>
                    </a:lnTo>
                    <a:lnTo>
                      <a:pt x="18" y="269"/>
                    </a:lnTo>
                    <a:lnTo>
                      <a:pt x="18" y="272"/>
                    </a:lnTo>
                    <a:lnTo>
                      <a:pt x="20" y="267"/>
                    </a:lnTo>
                    <a:lnTo>
                      <a:pt x="20" y="267"/>
                    </a:lnTo>
                    <a:lnTo>
                      <a:pt x="19" y="268"/>
                    </a:lnTo>
                    <a:lnTo>
                      <a:pt x="19" y="268"/>
                    </a:lnTo>
                    <a:lnTo>
                      <a:pt x="20" y="267"/>
                    </a:lnTo>
                    <a:lnTo>
                      <a:pt x="20" y="267"/>
                    </a:lnTo>
                    <a:lnTo>
                      <a:pt x="22" y="264"/>
                    </a:lnTo>
                    <a:lnTo>
                      <a:pt x="24" y="262"/>
                    </a:lnTo>
                    <a:lnTo>
                      <a:pt x="24" y="260"/>
                    </a:lnTo>
                    <a:lnTo>
                      <a:pt x="24" y="260"/>
                    </a:lnTo>
                    <a:lnTo>
                      <a:pt x="26" y="258"/>
                    </a:lnTo>
                    <a:lnTo>
                      <a:pt x="26" y="258"/>
                    </a:lnTo>
                    <a:lnTo>
                      <a:pt x="26" y="259"/>
                    </a:lnTo>
                    <a:lnTo>
                      <a:pt x="31" y="254"/>
                    </a:lnTo>
                    <a:lnTo>
                      <a:pt x="31" y="254"/>
                    </a:lnTo>
                    <a:lnTo>
                      <a:pt x="28" y="255"/>
                    </a:lnTo>
                    <a:lnTo>
                      <a:pt x="27" y="256"/>
                    </a:lnTo>
                    <a:lnTo>
                      <a:pt x="27" y="256"/>
                    </a:lnTo>
                    <a:lnTo>
                      <a:pt x="27" y="255"/>
                    </a:lnTo>
                    <a:lnTo>
                      <a:pt x="27" y="255"/>
                    </a:lnTo>
                    <a:lnTo>
                      <a:pt x="27" y="250"/>
                    </a:lnTo>
                    <a:lnTo>
                      <a:pt x="27" y="243"/>
                    </a:lnTo>
                    <a:lnTo>
                      <a:pt x="27" y="243"/>
                    </a:lnTo>
                    <a:lnTo>
                      <a:pt x="26" y="240"/>
                    </a:lnTo>
                    <a:lnTo>
                      <a:pt x="26" y="238"/>
                    </a:lnTo>
                    <a:lnTo>
                      <a:pt x="27" y="231"/>
                    </a:lnTo>
                    <a:lnTo>
                      <a:pt x="27" y="231"/>
                    </a:lnTo>
                    <a:lnTo>
                      <a:pt x="27" y="223"/>
                    </a:lnTo>
                    <a:lnTo>
                      <a:pt x="27" y="221"/>
                    </a:lnTo>
                    <a:lnTo>
                      <a:pt x="27" y="218"/>
                    </a:lnTo>
                    <a:lnTo>
                      <a:pt x="26" y="217"/>
                    </a:lnTo>
                    <a:lnTo>
                      <a:pt x="26" y="217"/>
                    </a:lnTo>
                    <a:lnTo>
                      <a:pt x="24" y="215"/>
                    </a:lnTo>
                    <a:lnTo>
                      <a:pt x="22" y="215"/>
                    </a:lnTo>
                    <a:lnTo>
                      <a:pt x="19" y="213"/>
                    </a:lnTo>
                    <a:lnTo>
                      <a:pt x="19" y="213"/>
                    </a:lnTo>
                    <a:lnTo>
                      <a:pt x="18" y="214"/>
                    </a:lnTo>
                    <a:lnTo>
                      <a:pt x="18" y="213"/>
                    </a:lnTo>
                    <a:lnTo>
                      <a:pt x="18" y="213"/>
                    </a:lnTo>
                    <a:lnTo>
                      <a:pt x="18" y="213"/>
                    </a:lnTo>
                    <a:lnTo>
                      <a:pt x="18" y="213"/>
                    </a:lnTo>
                    <a:lnTo>
                      <a:pt x="19" y="213"/>
                    </a:lnTo>
                    <a:lnTo>
                      <a:pt x="15" y="209"/>
                    </a:lnTo>
                    <a:lnTo>
                      <a:pt x="15" y="209"/>
                    </a:lnTo>
                    <a:lnTo>
                      <a:pt x="15" y="210"/>
                    </a:lnTo>
                    <a:lnTo>
                      <a:pt x="16" y="213"/>
                    </a:lnTo>
                    <a:lnTo>
                      <a:pt x="16" y="213"/>
                    </a:lnTo>
                    <a:lnTo>
                      <a:pt x="16" y="213"/>
                    </a:lnTo>
                    <a:lnTo>
                      <a:pt x="15" y="211"/>
                    </a:lnTo>
                    <a:lnTo>
                      <a:pt x="15" y="211"/>
                    </a:lnTo>
                    <a:lnTo>
                      <a:pt x="16" y="213"/>
                    </a:lnTo>
                    <a:lnTo>
                      <a:pt x="16" y="213"/>
                    </a:lnTo>
                    <a:lnTo>
                      <a:pt x="18" y="214"/>
                    </a:lnTo>
                    <a:lnTo>
                      <a:pt x="18" y="214"/>
                    </a:lnTo>
                    <a:lnTo>
                      <a:pt x="15" y="215"/>
                    </a:lnTo>
                    <a:lnTo>
                      <a:pt x="11" y="215"/>
                    </a:lnTo>
                    <a:lnTo>
                      <a:pt x="11" y="215"/>
                    </a:lnTo>
                    <a:lnTo>
                      <a:pt x="10" y="215"/>
                    </a:lnTo>
                    <a:lnTo>
                      <a:pt x="4" y="210"/>
                    </a:lnTo>
                    <a:lnTo>
                      <a:pt x="4" y="210"/>
                    </a:lnTo>
                    <a:lnTo>
                      <a:pt x="6" y="209"/>
                    </a:lnTo>
                    <a:lnTo>
                      <a:pt x="4" y="207"/>
                    </a:lnTo>
                    <a:lnTo>
                      <a:pt x="4" y="207"/>
                    </a:lnTo>
                    <a:lnTo>
                      <a:pt x="4" y="202"/>
                    </a:lnTo>
                    <a:lnTo>
                      <a:pt x="6" y="199"/>
                    </a:lnTo>
                    <a:lnTo>
                      <a:pt x="7" y="198"/>
                    </a:lnTo>
                    <a:lnTo>
                      <a:pt x="7" y="198"/>
                    </a:lnTo>
                    <a:lnTo>
                      <a:pt x="6" y="197"/>
                    </a:lnTo>
                    <a:lnTo>
                      <a:pt x="6" y="197"/>
                    </a:lnTo>
                    <a:lnTo>
                      <a:pt x="6" y="193"/>
                    </a:lnTo>
                    <a:lnTo>
                      <a:pt x="6" y="190"/>
                    </a:lnTo>
                    <a:lnTo>
                      <a:pt x="8" y="186"/>
                    </a:lnTo>
                    <a:lnTo>
                      <a:pt x="8" y="186"/>
                    </a:lnTo>
                    <a:lnTo>
                      <a:pt x="10" y="184"/>
                    </a:lnTo>
                    <a:lnTo>
                      <a:pt x="10" y="184"/>
                    </a:lnTo>
                    <a:lnTo>
                      <a:pt x="10" y="181"/>
                    </a:lnTo>
                    <a:lnTo>
                      <a:pt x="10" y="181"/>
                    </a:lnTo>
                    <a:lnTo>
                      <a:pt x="10" y="181"/>
                    </a:lnTo>
                    <a:lnTo>
                      <a:pt x="12" y="174"/>
                    </a:lnTo>
                    <a:lnTo>
                      <a:pt x="15" y="169"/>
                    </a:lnTo>
                    <a:lnTo>
                      <a:pt x="15" y="169"/>
                    </a:lnTo>
                    <a:lnTo>
                      <a:pt x="16" y="165"/>
                    </a:lnTo>
                    <a:lnTo>
                      <a:pt x="16" y="160"/>
                    </a:lnTo>
                    <a:lnTo>
                      <a:pt x="16" y="158"/>
                    </a:lnTo>
                    <a:lnTo>
                      <a:pt x="16" y="158"/>
                    </a:lnTo>
                    <a:lnTo>
                      <a:pt x="16" y="158"/>
                    </a:lnTo>
                    <a:lnTo>
                      <a:pt x="16" y="158"/>
                    </a:lnTo>
                    <a:lnTo>
                      <a:pt x="16" y="158"/>
                    </a:lnTo>
                    <a:lnTo>
                      <a:pt x="14" y="158"/>
                    </a:lnTo>
                    <a:lnTo>
                      <a:pt x="14" y="158"/>
                    </a:lnTo>
                    <a:lnTo>
                      <a:pt x="11" y="158"/>
                    </a:lnTo>
                    <a:lnTo>
                      <a:pt x="4" y="153"/>
                    </a:lnTo>
                    <a:lnTo>
                      <a:pt x="4" y="153"/>
                    </a:lnTo>
                    <a:lnTo>
                      <a:pt x="4" y="153"/>
                    </a:lnTo>
                    <a:lnTo>
                      <a:pt x="3" y="149"/>
                    </a:lnTo>
                    <a:lnTo>
                      <a:pt x="3" y="149"/>
                    </a:lnTo>
                    <a:lnTo>
                      <a:pt x="4" y="145"/>
                    </a:lnTo>
                    <a:lnTo>
                      <a:pt x="3" y="141"/>
                    </a:lnTo>
                    <a:lnTo>
                      <a:pt x="3" y="141"/>
                    </a:lnTo>
                    <a:lnTo>
                      <a:pt x="3" y="135"/>
                    </a:lnTo>
                    <a:lnTo>
                      <a:pt x="4" y="131"/>
                    </a:lnTo>
                    <a:lnTo>
                      <a:pt x="4" y="128"/>
                    </a:lnTo>
                    <a:lnTo>
                      <a:pt x="4" y="127"/>
                    </a:lnTo>
                    <a:lnTo>
                      <a:pt x="8" y="123"/>
                    </a:lnTo>
                    <a:lnTo>
                      <a:pt x="8" y="123"/>
                    </a:lnTo>
                    <a:lnTo>
                      <a:pt x="7" y="124"/>
                    </a:lnTo>
                    <a:lnTo>
                      <a:pt x="7" y="124"/>
                    </a:lnTo>
                    <a:lnTo>
                      <a:pt x="6" y="120"/>
                    </a:lnTo>
                    <a:lnTo>
                      <a:pt x="6" y="120"/>
                    </a:lnTo>
                    <a:lnTo>
                      <a:pt x="6" y="113"/>
                    </a:lnTo>
                    <a:lnTo>
                      <a:pt x="6" y="112"/>
                    </a:lnTo>
                    <a:lnTo>
                      <a:pt x="6" y="112"/>
                    </a:lnTo>
                    <a:lnTo>
                      <a:pt x="6" y="111"/>
                    </a:lnTo>
                    <a:lnTo>
                      <a:pt x="6" y="111"/>
                    </a:lnTo>
                    <a:lnTo>
                      <a:pt x="6" y="110"/>
                    </a:lnTo>
                    <a:lnTo>
                      <a:pt x="6" y="110"/>
                    </a:lnTo>
                    <a:lnTo>
                      <a:pt x="7" y="111"/>
                    </a:lnTo>
                    <a:lnTo>
                      <a:pt x="10" y="113"/>
                    </a:lnTo>
                    <a:lnTo>
                      <a:pt x="4" y="107"/>
                    </a:lnTo>
                    <a:lnTo>
                      <a:pt x="4" y="106"/>
                    </a:lnTo>
                    <a:lnTo>
                      <a:pt x="4" y="106"/>
                    </a:lnTo>
                    <a:lnTo>
                      <a:pt x="6" y="104"/>
                    </a:lnTo>
                    <a:lnTo>
                      <a:pt x="6" y="104"/>
                    </a:lnTo>
                    <a:lnTo>
                      <a:pt x="6" y="104"/>
                    </a:lnTo>
                    <a:lnTo>
                      <a:pt x="4" y="103"/>
                    </a:lnTo>
                    <a:lnTo>
                      <a:pt x="4" y="103"/>
                    </a:lnTo>
                    <a:lnTo>
                      <a:pt x="4" y="103"/>
                    </a:lnTo>
                    <a:lnTo>
                      <a:pt x="3" y="102"/>
                    </a:lnTo>
                    <a:lnTo>
                      <a:pt x="3" y="102"/>
                    </a:lnTo>
                    <a:lnTo>
                      <a:pt x="0" y="99"/>
                    </a:lnTo>
                    <a:lnTo>
                      <a:pt x="0" y="95"/>
                    </a:lnTo>
                    <a:lnTo>
                      <a:pt x="0" y="92"/>
                    </a:lnTo>
                    <a:lnTo>
                      <a:pt x="3" y="90"/>
                    </a:lnTo>
                    <a:lnTo>
                      <a:pt x="7" y="87"/>
                    </a:lnTo>
                    <a:lnTo>
                      <a:pt x="7" y="87"/>
                    </a:lnTo>
                    <a:lnTo>
                      <a:pt x="8" y="83"/>
                    </a:lnTo>
                    <a:lnTo>
                      <a:pt x="8" y="83"/>
                    </a:lnTo>
                    <a:lnTo>
                      <a:pt x="10" y="76"/>
                    </a:lnTo>
                    <a:lnTo>
                      <a:pt x="11" y="74"/>
                    </a:lnTo>
                    <a:lnTo>
                      <a:pt x="14" y="71"/>
                    </a:lnTo>
                    <a:lnTo>
                      <a:pt x="14" y="71"/>
                    </a:lnTo>
                    <a:lnTo>
                      <a:pt x="15" y="66"/>
                    </a:lnTo>
                    <a:lnTo>
                      <a:pt x="15" y="59"/>
                    </a:lnTo>
                    <a:lnTo>
                      <a:pt x="15" y="59"/>
                    </a:lnTo>
                    <a:lnTo>
                      <a:pt x="15" y="53"/>
                    </a:lnTo>
                    <a:lnTo>
                      <a:pt x="15" y="45"/>
                    </a:lnTo>
                    <a:lnTo>
                      <a:pt x="15" y="42"/>
                    </a:lnTo>
                    <a:lnTo>
                      <a:pt x="16" y="38"/>
                    </a:lnTo>
                    <a:lnTo>
                      <a:pt x="16" y="38"/>
                    </a:lnTo>
                    <a:lnTo>
                      <a:pt x="22" y="34"/>
                    </a:lnTo>
                    <a:lnTo>
                      <a:pt x="22" y="34"/>
                    </a:lnTo>
                    <a:lnTo>
                      <a:pt x="24" y="33"/>
                    </a:lnTo>
                    <a:lnTo>
                      <a:pt x="23" y="32"/>
                    </a:lnTo>
                    <a:lnTo>
                      <a:pt x="23" y="30"/>
                    </a:lnTo>
                    <a:lnTo>
                      <a:pt x="28" y="24"/>
                    </a:lnTo>
                    <a:lnTo>
                      <a:pt x="39" y="24"/>
                    </a:lnTo>
                    <a:lnTo>
                      <a:pt x="45" y="30"/>
                    </a:lnTo>
                    <a:lnTo>
                      <a:pt x="45" y="30"/>
                    </a:lnTo>
                    <a:lnTo>
                      <a:pt x="44" y="26"/>
                    </a:lnTo>
                    <a:lnTo>
                      <a:pt x="44" y="26"/>
                    </a:lnTo>
                    <a:lnTo>
                      <a:pt x="41" y="25"/>
                    </a:lnTo>
                    <a:lnTo>
                      <a:pt x="40" y="25"/>
                    </a:lnTo>
                    <a:lnTo>
                      <a:pt x="40" y="25"/>
                    </a:lnTo>
                    <a:lnTo>
                      <a:pt x="41" y="25"/>
                    </a:lnTo>
                    <a:lnTo>
                      <a:pt x="41" y="25"/>
                    </a:lnTo>
                    <a:lnTo>
                      <a:pt x="44" y="25"/>
                    </a:lnTo>
                    <a:lnTo>
                      <a:pt x="44" y="25"/>
                    </a:lnTo>
                    <a:lnTo>
                      <a:pt x="45" y="25"/>
                    </a:lnTo>
                    <a:lnTo>
                      <a:pt x="48" y="25"/>
                    </a:lnTo>
                    <a:lnTo>
                      <a:pt x="48" y="25"/>
                    </a:lnTo>
                    <a:lnTo>
                      <a:pt x="51" y="25"/>
                    </a:lnTo>
                    <a:lnTo>
                      <a:pt x="51" y="25"/>
                    </a:lnTo>
                    <a:lnTo>
                      <a:pt x="53" y="25"/>
                    </a:lnTo>
                    <a:lnTo>
                      <a:pt x="53" y="25"/>
                    </a:lnTo>
                    <a:lnTo>
                      <a:pt x="55" y="25"/>
                    </a:lnTo>
                    <a:lnTo>
                      <a:pt x="55" y="25"/>
                    </a:lnTo>
                    <a:lnTo>
                      <a:pt x="52" y="26"/>
                    </a:lnTo>
                    <a:lnTo>
                      <a:pt x="51" y="29"/>
                    </a:lnTo>
                    <a:lnTo>
                      <a:pt x="57" y="24"/>
                    </a:lnTo>
                    <a:lnTo>
                      <a:pt x="60" y="24"/>
                    </a:lnTo>
                    <a:lnTo>
                      <a:pt x="65" y="26"/>
                    </a:lnTo>
                    <a:lnTo>
                      <a:pt x="65" y="26"/>
                    </a:lnTo>
                    <a:lnTo>
                      <a:pt x="72" y="32"/>
                    </a:lnTo>
                    <a:lnTo>
                      <a:pt x="78" y="38"/>
                    </a:lnTo>
                    <a:lnTo>
                      <a:pt x="84" y="38"/>
                    </a:lnTo>
                    <a:lnTo>
                      <a:pt x="89" y="41"/>
                    </a:lnTo>
                    <a:lnTo>
                      <a:pt x="89" y="41"/>
                    </a:lnTo>
                    <a:lnTo>
                      <a:pt x="89" y="42"/>
                    </a:lnTo>
                    <a:lnTo>
                      <a:pt x="92" y="42"/>
                    </a:lnTo>
                    <a:lnTo>
                      <a:pt x="92" y="42"/>
                    </a:lnTo>
                    <a:lnTo>
                      <a:pt x="92" y="42"/>
                    </a:lnTo>
                    <a:lnTo>
                      <a:pt x="94" y="39"/>
                    </a:lnTo>
                    <a:lnTo>
                      <a:pt x="94" y="39"/>
                    </a:lnTo>
                    <a:lnTo>
                      <a:pt x="94" y="38"/>
                    </a:lnTo>
                    <a:lnTo>
                      <a:pt x="94" y="38"/>
                    </a:lnTo>
                    <a:lnTo>
                      <a:pt x="97" y="34"/>
                    </a:lnTo>
                    <a:lnTo>
                      <a:pt x="97" y="34"/>
                    </a:lnTo>
                    <a:lnTo>
                      <a:pt x="101" y="32"/>
                    </a:lnTo>
                    <a:lnTo>
                      <a:pt x="102" y="30"/>
                    </a:lnTo>
                    <a:lnTo>
                      <a:pt x="102" y="30"/>
                    </a:lnTo>
                    <a:lnTo>
                      <a:pt x="106" y="28"/>
                    </a:lnTo>
                    <a:lnTo>
                      <a:pt x="110" y="28"/>
                    </a:lnTo>
                    <a:lnTo>
                      <a:pt x="110" y="28"/>
                    </a:lnTo>
                    <a:lnTo>
                      <a:pt x="114" y="26"/>
                    </a:lnTo>
                    <a:lnTo>
                      <a:pt x="114" y="26"/>
                    </a:lnTo>
                    <a:lnTo>
                      <a:pt x="117" y="25"/>
                    </a:lnTo>
                    <a:lnTo>
                      <a:pt x="119" y="25"/>
                    </a:lnTo>
                    <a:lnTo>
                      <a:pt x="122" y="22"/>
                    </a:lnTo>
                    <a:lnTo>
                      <a:pt x="122" y="22"/>
                    </a:lnTo>
                    <a:lnTo>
                      <a:pt x="123" y="22"/>
                    </a:lnTo>
                    <a:lnTo>
                      <a:pt x="123" y="22"/>
                    </a:lnTo>
                    <a:lnTo>
                      <a:pt x="127" y="21"/>
                    </a:lnTo>
                    <a:lnTo>
                      <a:pt x="133" y="20"/>
                    </a:lnTo>
                    <a:lnTo>
                      <a:pt x="133" y="20"/>
                    </a:lnTo>
                    <a:lnTo>
                      <a:pt x="134" y="20"/>
                    </a:lnTo>
                    <a:lnTo>
                      <a:pt x="134" y="20"/>
                    </a:lnTo>
                    <a:lnTo>
                      <a:pt x="137" y="18"/>
                    </a:lnTo>
                    <a:lnTo>
                      <a:pt x="141" y="17"/>
                    </a:lnTo>
                    <a:lnTo>
                      <a:pt x="141" y="17"/>
                    </a:lnTo>
                    <a:lnTo>
                      <a:pt x="141" y="17"/>
                    </a:lnTo>
                    <a:lnTo>
                      <a:pt x="141" y="16"/>
                    </a:lnTo>
                    <a:lnTo>
                      <a:pt x="142" y="16"/>
                    </a:lnTo>
                    <a:lnTo>
                      <a:pt x="142" y="16"/>
                    </a:lnTo>
                    <a:lnTo>
                      <a:pt x="142" y="16"/>
                    </a:lnTo>
                    <a:lnTo>
                      <a:pt x="145" y="16"/>
                    </a:lnTo>
                    <a:lnTo>
                      <a:pt x="145" y="16"/>
                    </a:lnTo>
                    <a:lnTo>
                      <a:pt x="147" y="16"/>
                    </a:lnTo>
                    <a:lnTo>
                      <a:pt x="147" y="16"/>
                    </a:lnTo>
                    <a:lnTo>
                      <a:pt x="147" y="16"/>
                    </a:lnTo>
                    <a:lnTo>
                      <a:pt x="147" y="16"/>
                    </a:lnTo>
                    <a:lnTo>
                      <a:pt x="146" y="17"/>
                    </a:lnTo>
                    <a:lnTo>
                      <a:pt x="145" y="18"/>
                    </a:lnTo>
                    <a:lnTo>
                      <a:pt x="145" y="18"/>
                    </a:lnTo>
                    <a:lnTo>
                      <a:pt x="143" y="21"/>
                    </a:lnTo>
                    <a:lnTo>
                      <a:pt x="149" y="16"/>
                    </a:lnTo>
                    <a:lnTo>
                      <a:pt x="149" y="16"/>
                    </a:lnTo>
                    <a:lnTo>
                      <a:pt x="149" y="16"/>
                    </a:lnTo>
                    <a:lnTo>
                      <a:pt x="149" y="16"/>
                    </a:lnTo>
                    <a:lnTo>
                      <a:pt x="149" y="10"/>
                    </a:lnTo>
                    <a:lnTo>
                      <a:pt x="149" y="10"/>
                    </a:lnTo>
                    <a:lnTo>
                      <a:pt x="149" y="5"/>
                    </a:lnTo>
                    <a:lnTo>
                      <a:pt x="154" y="0"/>
                    </a:lnTo>
                    <a:lnTo>
                      <a:pt x="154" y="0"/>
                    </a:lnTo>
                    <a:lnTo>
                      <a:pt x="156" y="0"/>
                    </a:lnTo>
                    <a:lnTo>
                      <a:pt x="156" y="0"/>
                    </a:lnTo>
                    <a:lnTo>
                      <a:pt x="162" y="0"/>
                    </a:lnTo>
                    <a:lnTo>
                      <a:pt x="164" y="2"/>
                    </a:lnTo>
                    <a:lnTo>
                      <a:pt x="164" y="2"/>
                    </a:lnTo>
                    <a:lnTo>
                      <a:pt x="166" y="5"/>
                    </a:lnTo>
                    <a:lnTo>
                      <a:pt x="166" y="9"/>
                    </a:lnTo>
                    <a:lnTo>
                      <a:pt x="166" y="9"/>
                    </a:lnTo>
                    <a:lnTo>
                      <a:pt x="166" y="17"/>
                    </a:lnTo>
                    <a:lnTo>
                      <a:pt x="166" y="17"/>
                    </a:lnTo>
                    <a:lnTo>
                      <a:pt x="166" y="22"/>
                    </a:lnTo>
                    <a:lnTo>
                      <a:pt x="166" y="22"/>
                    </a:lnTo>
                    <a:lnTo>
                      <a:pt x="166" y="22"/>
                    </a:lnTo>
                    <a:lnTo>
                      <a:pt x="167" y="26"/>
                    </a:lnTo>
                    <a:lnTo>
                      <a:pt x="167" y="30"/>
                    </a:lnTo>
                    <a:lnTo>
                      <a:pt x="167" y="30"/>
                    </a:lnTo>
                    <a:lnTo>
                      <a:pt x="167" y="38"/>
                    </a:lnTo>
                    <a:lnTo>
                      <a:pt x="167" y="38"/>
                    </a:lnTo>
                    <a:lnTo>
                      <a:pt x="167" y="43"/>
                    </a:lnTo>
                    <a:lnTo>
                      <a:pt x="167" y="43"/>
                    </a:lnTo>
                    <a:lnTo>
                      <a:pt x="167" y="43"/>
                    </a:lnTo>
                    <a:lnTo>
                      <a:pt x="167" y="43"/>
                    </a:lnTo>
                    <a:lnTo>
                      <a:pt x="167" y="46"/>
                    </a:lnTo>
                    <a:lnTo>
                      <a:pt x="167" y="46"/>
                    </a:lnTo>
                    <a:lnTo>
                      <a:pt x="168" y="46"/>
                    </a:lnTo>
                    <a:lnTo>
                      <a:pt x="168" y="46"/>
                    </a:lnTo>
                    <a:lnTo>
                      <a:pt x="174" y="47"/>
                    </a:lnTo>
                    <a:lnTo>
                      <a:pt x="178" y="49"/>
                    </a:lnTo>
                    <a:lnTo>
                      <a:pt x="178" y="50"/>
                    </a:lnTo>
                    <a:lnTo>
                      <a:pt x="178" y="50"/>
                    </a:lnTo>
                    <a:lnTo>
                      <a:pt x="182" y="53"/>
                    </a:lnTo>
                    <a:lnTo>
                      <a:pt x="186" y="55"/>
                    </a:lnTo>
                    <a:lnTo>
                      <a:pt x="191" y="62"/>
                    </a:lnTo>
                    <a:lnTo>
                      <a:pt x="191" y="62"/>
                    </a:lnTo>
                    <a:lnTo>
                      <a:pt x="194" y="66"/>
                    </a:lnTo>
                    <a:lnTo>
                      <a:pt x="194" y="66"/>
                    </a:lnTo>
                    <a:lnTo>
                      <a:pt x="195" y="69"/>
                    </a:lnTo>
                    <a:lnTo>
                      <a:pt x="195" y="69"/>
                    </a:lnTo>
                    <a:lnTo>
                      <a:pt x="197" y="66"/>
                    </a:lnTo>
                    <a:lnTo>
                      <a:pt x="203" y="66"/>
                    </a:lnTo>
                    <a:lnTo>
                      <a:pt x="203" y="66"/>
                    </a:lnTo>
                    <a:lnTo>
                      <a:pt x="204" y="66"/>
                    </a:lnTo>
                    <a:lnTo>
                      <a:pt x="205" y="66"/>
                    </a:lnTo>
                    <a:lnTo>
                      <a:pt x="211" y="71"/>
                    </a:lnTo>
                    <a:lnTo>
                      <a:pt x="211" y="71"/>
                    </a:lnTo>
                    <a:lnTo>
                      <a:pt x="211" y="76"/>
                    </a:lnTo>
                    <a:lnTo>
                      <a:pt x="209" y="80"/>
                    </a:lnTo>
                    <a:lnTo>
                      <a:pt x="209" y="80"/>
                    </a:lnTo>
                    <a:lnTo>
                      <a:pt x="208" y="82"/>
                    </a:lnTo>
                    <a:lnTo>
                      <a:pt x="209" y="83"/>
                    </a:lnTo>
                    <a:lnTo>
                      <a:pt x="209" y="86"/>
                    </a:lnTo>
                    <a:lnTo>
                      <a:pt x="208" y="86"/>
                    </a:lnTo>
                    <a:lnTo>
                      <a:pt x="208" y="86"/>
                    </a:lnTo>
                    <a:lnTo>
                      <a:pt x="208" y="86"/>
                    </a:lnTo>
                    <a:lnTo>
                      <a:pt x="208" y="86"/>
                    </a:lnTo>
                    <a:lnTo>
                      <a:pt x="212" y="95"/>
                    </a:lnTo>
                    <a:lnTo>
                      <a:pt x="212" y="95"/>
                    </a:lnTo>
                    <a:lnTo>
                      <a:pt x="212" y="94"/>
                    </a:lnTo>
                    <a:lnTo>
                      <a:pt x="212" y="94"/>
                    </a:lnTo>
                    <a:lnTo>
                      <a:pt x="216" y="91"/>
                    </a:lnTo>
                    <a:lnTo>
                      <a:pt x="221" y="90"/>
                    </a:lnTo>
                    <a:lnTo>
                      <a:pt x="221" y="90"/>
                    </a:lnTo>
                    <a:lnTo>
                      <a:pt x="229" y="90"/>
                    </a:lnTo>
                    <a:lnTo>
                      <a:pt x="235" y="92"/>
                    </a:lnTo>
                    <a:lnTo>
                      <a:pt x="235" y="92"/>
                    </a:lnTo>
                    <a:lnTo>
                      <a:pt x="237" y="96"/>
                    </a:lnTo>
                    <a:lnTo>
                      <a:pt x="237" y="96"/>
                    </a:lnTo>
                    <a:lnTo>
                      <a:pt x="238" y="100"/>
                    </a:lnTo>
                    <a:lnTo>
                      <a:pt x="240" y="102"/>
                    </a:lnTo>
                    <a:lnTo>
                      <a:pt x="240" y="102"/>
                    </a:lnTo>
                    <a:lnTo>
                      <a:pt x="241" y="102"/>
                    </a:lnTo>
                    <a:lnTo>
                      <a:pt x="241" y="102"/>
                    </a:lnTo>
                    <a:lnTo>
                      <a:pt x="242" y="102"/>
                    </a:lnTo>
                    <a:lnTo>
                      <a:pt x="242" y="102"/>
                    </a:lnTo>
                    <a:lnTo>
                      <a:pt x="244" y="103"/>
                    </a:lnTo>
                    <a:lnTo>
                      <a:pt x="244" y="103"/>
                    </a:lnTo>
                    <a:lnTo>
                      <a:pt x="245" y="103"/>
                    </a:lnTo>
                    <a:lnTo>
                      <a:pt x="245" y="103"/>
                    </a:lnTo>
                    <a:lnTo>
                      <a:pt x="244" y="103"/>
                    </a:lnTo>
                    <a:lnTo>
                      <a:pt x="242" y="104"/>
                    </a:lnTo>
                    <a:lnTo>
                      <a:pt x="242" y="104"/>
                    </a:lnTo>
                    <a:lnTo>
                      <a:pt x="241" y="107"/>
                    </a:lnTo>
                    <a:lnTo>
                      <a:pt x="248" y="102"/>
                    </a:lnTo>
                    <a:lnTo>
                      <a:pt x="252" y="102"/>
                    </a:lnTo>
                    <a:lnTo>
                      <a:pt x="252" y="102"/>
                    </a:lnTo>
                    <a:lnTo>
                      <a:pt x="249" y="102"/>
                    </a:lnTo>
                    <a:lnTo>
                      <a:pt x="248" y="106"/>
                    </a:lnTo>
                    <a:lnTo>
                      <a:pt x="253" y="100"/>
                    </a:lnTo>
                    <a:lnTo>
                      <a:pt x="254" y="100"/>
                    </a:lnTo>
                    <a:lnTo>
                      <a:pt x="254" y="100"/>
                    </a:lnTo>
                    <a:lnTo>
                      <a:pt x="257" y="100"/>
                    </a:lnTo>
                    <a:lnTo>
                      <a:pt x="257" y="100"/>
                    </a:lnTo>
                    <a:lnTo>
                      <a:pt x="260" y="100"/>
                    </a:lnTo>
                    <a:lnTo>
                      <a:pt x="264" y="102"/>
                    </a:lnTo>
                    <a:lnTo>
                      <a:pt x="265" y="100"/>
                    </a:lnTo>
                    <a:lnTo>
                      <a:pt x="275" y="100"/>
                    </a:lnTo>
                    <a:lnTo>
                      <a:pt x="275" y="100"/>
                    </a:lnTo>
                    <a:lnTo>
                      <a:pt x="275" y="100"/>
                    </a:lnTo>
                    <a:lnTo>
                      <a:pt x="283" y="102"/>
                    </a:lnTo>
                    <a:lnTo>
                      <a:pt x="289" y="106"/>
                    </a:lnTo>
                    <a:lnTo>
                      <a:pt x="289" y="106"/>
                    </a:lnTo>
                    <a:lnTo>
                      <a:pt x="290" y="106"/>
                    </a:lnTo>
                    <a:lnTo>
                      <a:pt x="290" y="106"/>
                    </a:lnTo>
                    <a:lnTo>
                      <a:pt x="290" y="106"/>
                    </a:lnTo>
                    <a:lnTo>
                      <a:pt x="293" y="106"/>
                    </a:lnTo>
                    <a:lnTo>
                      <a:pt x="294" y="100"/>
                    </a:lnTo>
                    <a:lnTo>
                      <a:pt x="294" y="100"/>
                    </a:lnTo>
                    <a:lnTo>
                      <a:pt x="297" y="94"/>
                    </a:lnTo>
                    <a:lnTo>
                      <a:pt x="301" y="90"/>
                    </a:lnTo>
                    <a:lnTo>
                      <a:pt x="301" y="90"/>
                    </a:lnTo>
                    <a:lnTo>
                      <a:pt x="301" y="90"/>
                    </a:lnTo>
                    <a:lnTo>
                      <a:pt x="301" y="90"/>
                    </a:lnTo>
                    <a:lnTo>
                      <a:pt x="301" y="84"/>
                    </a:lnTo>
                    <a:lnTo>
                      <a:pt x="301" y="84"/>
                    </a:lnTo>
                    <a:lnTo>
                      <a:pt x="301" y="84"/>
                    </a:lnTo>
                    <a:lnTo>
                      <a:pt x="301" y="84"/>
                    </a:lnTo>
                    <a:lnTo>
                      <a:pt x="301" y="80"/>
                    </a:lnTo>
                    <a:lnTo>
                      <a:pt x="303" y="76"/>
                    </a:lnTo>
                    <a:lnTo>
                      <a:pt x="303" y="76"/>
                    </a:lnTo>
                    <a:lnTo>
                      <a:pt x="305" y="75"/>
                    </a:lnTo>
                    <a:lnTo>
                      <a:pt x="309" y="74"/>
                    </a:lnTo>
                    <a:lnTo>
                      <a:pt x="309" y="74"/>
                    </a:lnTo>
                    <a:lnTo>
                      <a:pt x="310" y="74"/>
                    </a:lnTo>
                    <a:lnTo>
                      <a:pt x="315" y="74"/>
                    </a:lnTo>
                    <a:lnTo>
                      <a:pt x="315" y="74"/>
                    </a:lnTo>
                    <a:lnTo>
                      <a:pt x="318" y="74"/>
                    </a:lnTo>
                    <a:lnTo>
                      <a:pt x="318" y="74"/>
                    </a:lnTo>
                    <a:lnTo>
                      <a:pt x="322" y="75"/>
                    </a:lnTo>
                    <a:lnTo>
                      <a:pt x="326" y="76"/>
                    </a:lnTo>
                    <a:lnTo>
                      <a:pt x="326" y="76"/>
                    </a:lnTo>
                    <a:lnTo>
                      <a:pt x="327" y="78"/>
                    </a:lnTo>
                    <a:lnTo>
                      <a:pt x="328" y="79"/>
                    </a:lnTo>
                    <a:lnTo>
                      <a:pt x="328" y="79"/>
                    </a:lnTo>
                    <a:lnTo>
                      <a:pt x="326" y="80"/>
                    </a:lnTo>
                    <a:lnTo>
                      <a:pt x="323" y="83"/>
                    </a:lnTo>
                    <a:lnTo>
                      <a:pt x="328" y="79"/>
                    </a:lnTo>
                    <a:lnTo>
                      <a:pt x="331" y="84"/>
                    </a:lnTo>
                    <a:lnTo>
                      <a:pt x="331" y="84"/>
                    </a:lnTo>
                    <a:lnTo>
                      <a:pt x="331" y="82"/>
                    </a:lnTo>
                    <a:lnTo>
                      <a:pt x="336" y="76"/>
                    </a:lnTo>
                    <a:lnTo>
                      <a:pt x="336" y="76"/>
                    </a:lnTo>
                    <a:lnTo>
                      <a:pt x="336" y="76"/>
                    </a:lnTo>
                    <a:lnTo>
                      <a:pt x="339" y="75"/>
                    </a:lnTo>
                    <a:lnTo>
                      <a:pt x="340" y="75"/>
                    </a:lnTo>
                    <a:lnTo>
                      <a:pt x="340" y="75"/>
                    </a:lnTo>
                    <a:lnTo>
                      <a:pt x="344" y="74"/>
                    </a:lnTo>
                    <a:lnTo>
                      <a:pt x="350" y="72"/>
                    </a:lnTo>
                    <a:lnTo>
                      <a:pt x="350" y="72"/>
                    </a:lnTo>
                    <a:lnTo>
                      <a:pt x="360" y="74"/>
                    </a:lnTo>
                    <a:lnTo>
                      <a:pt x="360" y="74"/>
                    </a:lnTo>
                    <a:lnTo>
                      <a:pt x="363" y="75"/>
                    </a:lnTo>
                    <a:lnTo>
                      <a:pt x="363" y="75"/>
                    </a:lnTo>
                    <a:lnTo>
                      <a:pt x="368" y="76"/>
                    </a:lnTo>
                    <a:lnTo>
                      <a:pt x="375" y="78"/>
                    </a:lnTo>
                    <a:lnTo>
                      <a:pt x="376" y="78"/>
                    </a:lnTo>
                    <a:lnTo>
                      <a:pt x="380" y="82"/>
                    </a:lnTo>
                    <a:lnTo>
                      <a:pt x="380" y="82"/>
                    </a:lnTo>
                    <a:lnTo>
                      <a:pt x="380" y="82"/>
                    </a:lnTo>
                    <a:lnTo>
                      <a:pt x="377" y="79"/>
                    </a:lnTo>
                    <a:lnTo>
                      <a:pt x="380" y="79"/>
                    </a:lnTo>
                    <a:lnTo>
                      <a:pt x="380" y="79"/>
                    </a:lnTo>
                    <a:lnTo>
                      <a:pt x="381" y="79"/>
                    </a:lnTo>
                    <a:lnTo>
                      <a:pt x="381" y="79"/>
                    </a:lnTo>
                    <a:lnTo>
                      <a:pt x="387" y="83"/>
                    </a:lnTo>
                    <a:lnTo>
                      <a:pt x="387" y="83"/>
                    </a:lnTo>
                    <a:lnTo>
                      <a:pt x="385" y="82"/>
                    </a:lnTo>
                    <a:lnTo>
                      <a:pt x="385" y="82"/>
                    </a:lnTo>
                    <a:lnTo>
                      <a:pt x="388" y="82"/>
                    </a:lnTo>
                    <a:lnTo>
                      <a:pt x="388" y="82"/>
                    </a:lnTo>
                    <a:lnTo>
                      <a:pt x="389" y="82"/>
                    </a:lnTo>
                    <a:lnTo>
                      <a:pt x="389" y="82"/>
                    </a:lnTo>
                    <a:lnTo>
                      <a:pt x="389" y="82"/>
                    </a:lnTo>
                    <a:lnTo>
                      <a:pt x="389" y="82"/>
                    </a:lnTo>
                    <a:lnTo>
                      <a:pt x="391" y="78"/>
                    </a:lnTo>
                    <a:lnTo>
                      <a:pt x="392" y="75"/>
                    </a:lnTo>
                    <a:lnTo>
                      <a:pt x="394" y="74"/>
                    </a:lnTo>
                    <a:lnTo>
                      <a:pt x="396" y="74"/>
                    </a:lnTo>
                    <a:lnTo>
                      <a:pt x="397" y="72"/>
                    </a:lnTo>
                    <a:lnTo>
                      <a:pt x="401" y="72"/>
                    </a:lnTo>
                    <a:lnTo>
                      <a:pt x="406" y="78"/>
                    </a:lnTo>
                    <a:lnTo>
                      <a:pt x="406" y="78"/>
                    </a:lnTo>
                    <a:lnTo>
                      <a:pt x="406" y="76"/>
                    </a:lnTo>
                    <a:lnTo>
                      <a:pt x="404" y="75"/>
                    </a:lnTo>
                    <a:lnTo>
                      <a:pt x="404" y="75"/>
                    </a:lnTo>
                    <a:lnTo>
                      <a:pt x="405" y="75"/>
                    </a:lnTo>
                    <a:lnTo>
                      <a:pt x="405" y="75"/>
                    </a:lnTo>
                    <a:lnTo>
                      <a:pt x="405" y="75"/>
                    </a:lnTo>
                    <a:lnTo>
                      <a:pt x="406" y="75"/>
                    </a:lnTo>
                    <a:lnTo>
                      <a:pt x="408" y="75"/>
                    </a:lnTo>
                    <a:lnTo>
                      <a:pt x="412" y="78"/>
                    </a:lnTo>
                    <a:lnTo>
                      <a:pt x="412" y="78"/>
                    </a:lnTo>
                    <a:lnTo>
                      <a:pt x="414" y="79"/>
                    </a:lnTo>
                    <a:lnTo>
                      <a:pt x="417" y="79"/>
                    </a:lnTo>
                    <a:lnTo>
                      <a:pt x="417" y="79"/>
                    </a:lnTo>
                    <a:lnTo>
                      <a:pt x="417" y="79"/>
                    </a:lnTo>
                    <a:lnTo>
                      <a:pt x="421" y="78"/>
                    </a:lnTo>
                    <a:lnTo>
                      <a:pt x="432" y="78"/>
                    </a:lnTo>
                    <a:lnTo>
                      <a:pt x="437" y="83"/>
                    </a:lnTo>
                    <a:lnTo>
                      <a:pt x="437" y="83"/>
                    </a:lnTo>
                    <a:lnTo>
                      <a:pt x="438" y="86"/>
                    </a:lnTo>
                    <a:lnTo>
                      <a:pt x="439" y="87"/>
                    </a:lnTo>
                    <a:lnTo>
                      <a:pt x="447" y="91"/>
                    </a:lnTo>
                    <a:lnTo>
                      <a:pt x="447" y="91"/>
                    </a:lnTo>
                    <a:lnTo>
                      <a:pt x="453" y="92"/>
                    </a:lnTo>
                    <a:lnTo>
                      <a:pt x="455" y="94"/>
                    </a:lnTo>
                    <a:lnTo>
                      <a:pt x="455" y="94"/>
                    </a:lnTo>
                    <a:lnTo>
                      <a:pt x="458" y="94"/>
                    </a:lnTo>
                    <a:lnTo>
                      <a:pt x="461" y="98"/>
                    </a:lnTo>
                    <a:lnTo>
                      <a:pt x="461" y="98"/>
                    </a:lnTo>
                    <a:lnTo>
                      <a:pt x="459" y="96"/>
                    </a:lnTo>
                    <a:lnTo>
                      <a:pt x="459" y="96"/>
                    </a:lnTo>
                    <a:lnTo>
                      <a:pt x="461" y="96"/>
                    </a:lnTo>
                    <a:lnTo>
                      <a:pt x="461" y="96"/>
                    </a:lnTo>
                    <a:lnTo>
                      <a:pt x="463" y="96"/>
                    </a:lnTo>
                    <a:lnTo>
                      <a:pt x="467" y="99"/>
                    </a:lnTo>
                    <a:lnTo>
                      <a:pt x="469" y="106"/>
                    </a:lnTo>
                    <a:lnTo>
                      <a:pt x="469" y="106"/>
                    </a:lnTo>
                    <a:lnTo>
                      <a:pt x="466" y="111"/>
                    </a:lnTo>
                    <a:lnTo>
                      <a:pt x="463" y="115"/>
                    </a:lnTo>
                    <a:lnTo>
                      <a:pt x="463" y="115"/>
                    </a:lnTo>
                    <a:lnTo>
                      <a:pt x="459" y="120"/>
                    </a:lnTo>
                    <a:lnTo>
                      <a:pt x="454" y="124"/>
                    </a:lnTo>
                    <a:lnTo>
                      <a:pt x="453" y="124"/>
                    </a:lnTo>
                    <a:lnTo>
                      <a:pt x="447" y="120"/>
                    </a:lnTo>
                    <a:lnTo>
                      <a:pt x="447" y="120"/>
                    </a:lnTo>
                    <a:lnTo>
                      <a:pt x="447" y="120"/>
                    </a:lnTo>
                    <a:lnTo>
                      <a:pt x="443" y="117"/>
                    </a:lnTo>
                    <a:lnTo>
                      <a:pt x="443" y="117"/>
                    </a:lnTo>
                    <a:lnTo>
                      <a:pt x="442" y="116"/>
                    </a:lnTo>
                    <a:lnTo>
                      <a:pt x="442" y="116"/>
                    </a:lnTo>
                    <a:lnTo>
                      <a:pt x="442" y="115"/>
                    </a:lnTo>
                    <a:lnTo>
                      <a:pt x="442" y="115"/>
                    </a:lnTo>
                    <a:lnTo>
                      <a:pt x="441" y="113"/>
                    </a:lnTo>
                    <a:lnTo>
                      <a:pt x="441" y="113"/>
                    </a:lnTo>
                    <a:lnTo>
                      <a:pt x="441" y="113"/>
                    </a:lnTo>
                    <a:lnTo>
                      <a:pt x="441" y="113"/>
                    </a:lnTo>
                    <a:lnTo>
                      <a:pt x="441" y="113"/>
                    </a:lnTo>
                    <a:lnTo>
                      <a:pt x="439" y="116"/>
                    </a:lnTo>
                    <a:lnTo>
                      <a:pt x="435" y="116"/>
                    </a:lnTo>
                    <a:lnTo>
                      <a:pt x="435" y="116"/>
                    </a:lnTo>
                    <a:lnTo>
                      <a:pt x="434" y="116"/>
                    </a:lnTo>
                    <a:lnTo>
                      <a:pt x="434" y="116"/>
                    </a:lnTo>
                    <a:lnTo>
                      <a:pt x="430" y="116"/>
                    </a:lnTo>
                    <a:lnTo>
                      <a:pt x="430" y="116"/>
                    </a:lnTo>
                    <a:lnTo>
                      <a:pt x="429" y="115"/>
                    </a:lnTo>
                    <a:lnTo>
                      <a:pt x="429" y="115"/>
                    </a:lnTo>
                    <a:lnTo>
                      <a:pt x="430" y="115"/>
                    </a:lnTo>
                    <a:lnTo>
                      <a:pt x="432" y="112"/>
                    </a:lnTo>
                    <a:lnTo>
                      <a:pt x="428" y="115"/>
                    </a:lnTo>
                    <a:lnTo>
                      <a:pt x="429" y="116"/>
                    </a:lnTo>
                    <a:lnTo>
                      <a:pt x="429" y="119"/>
                    </a:lnTo>
                    <a:lnTo>
                      <a:pt x="429" y="119"/>
                    </a:lnTo>
                    <a:lnTo>
                      <a:pt x="429" y="120"/>
                    </a:lnTo>
                    <a:lnTo>
                      <a:pt x="429" y="120"/>
                    </a:lnTo>
                    <a:lnTo>
                      <a:pt x="429" y="121"/>
                    </a:lnTo>
                    <a:lnTo>
                      <a:pt x="429" y="121"/>
                    </a:lnTo>
                    <a:lnTo>
                      <a:pt x="428" y="120"/>
                    </a:lnTo>
                    <a:lnTo>
                      <a:pt x="425" y="117"/>
                    </a:lnTo>
                    <a:lnTo>
                      <a:pt x="425" y="117"/>
                    </a:lnTo>
                    <a:lnTo>
                      <a:pt x="425" y="119"/>
                    </a:lnTo>
                    <a:lnTo>
                      <a:pt x="430" y="124"/>
                    </a:lnTo>
                    <a:lnTo>
                      <a:pt x="430" y="124"/>
                    </a:lnTo>
                    <a:lnTo>
                      <a:pt x="430" y="124"/>
                    </a:lnTo>
                    <a:lnTo>
                      <a:pt x="430" y="124"/>
                    </a:lnTo>
                    <a:lnTo>
                      <a:pt x="430" y="124"/>
                    </a:lnTo>
                    <a:lnTo>
                      <a:pt x="429" y="124"/>
                    </a:lnTo>
                    <a:lnTo>
                      <a:pt x="429" y="125"/>
                    </a:lnTo>
                    <a:lnTo>
                      <a:pt x="430" y="125"/>
                    </a:lnTo>
                    <a:lnTo>
                      <a:pt x="430" y="125"/>
                    </a:lnTo>
                    <a:lnTo>
                      <a:pt x="430" y="125"/>
                    </a:lnTo>
                    <a:lnTo>
                      <a:pt x="430" y="125"/>
                    </a:lnTo>
                    <a:lnTo>
                      <a:pt x="430" y="125"/>
                    </a:lnTo>
                    <a:lnTo>
                      <a:pt x="430" y="124"/>
                    </a:lnTo>
                    <a:lnTo>
                      <a:pt x="430" y="124"/>
                    </a:lnTo>
                    <a:lnTo>
                      <a:pt x="430" y="125"/>
                    </a:lnTo>
                    <a:lnTo>
                      <a:pt x="433" y="125"/>
                    </a:lnTo>
                    <a:lnTo>
                      <a:pt x="438" y="129"/>
                    </a:lnTo>
                    <a:lnTo>
                      <a:pt x="438" y="129"/>
                    </a:lnTo>
                    <a:lnTo>
                      <a:pt x="438" y="132"/>
                    </a:lnTo>
                    <a:lnTo>
                      <a:pt x="438" y="135"/>
                    </a:lnTo>
                    <a:lnTo>
                      <a:pt x="438" y="135"/>
                    </a:lnTo>
                    <a:lnTo>
                      <a:pt x="438" y="136"/>
                    </a:lnTo>
                    <a:lnTo>
                      <a:pt x="438" y="136"/>
                    </a:lnTo>
                    <a:lnTo>
                      <a:pt x="437" y="133"/>
                    </a:lnTo>
                    <a:lnTo>
                      <a:pt x="437" y="133"/>
                    </a:lnTo>
                    <a:lnTo>
                      <a:pt x="434" y="132"/>
                    </a:lnTo>
                    <a:lnTo>
                      <a:pt x="439" y="137"/>
                    </a:lnTo>
                    <a:lnTo>
                      <a:pt x="439" y="141"/>
                    </a:lnTo>
                    <a:lnTo>
                      <a:pt x="443" y="144"/>
                    </a:lnTo>
                    <a:lnTo>
                      <a:pt x="443" y="144"/>
                    </a:lnTo>
                    <a:lnTo>
                      <a:pt x="443" y="144"/>
                    </a:lnTo>
                    <a:lnTo>
                      <a:pt x="441" y="141"/>
                    </a:lnTo>
                    <a:lnTo>
                      <a:pt x="443" y="141"/>
                    </a:lnTo>
                    <a:lnTo>
                      <a:pt x="443" y="141"/>
                    </a:lnTo>
                    <a:lnTo>
                      <a:pt x="445" y="141"/>
                    </a:lnTo>
                    <a:lnTo>
                      <a:pt x="447" y="141"/>
                    </a:lnTo>
                    <a:lnTo>
                      <a:pt x="447" y="141"/>
                    </a:lnTo>
                    <a:lnTo>
                      <a:pt x="446" y="143"/>
                    </a:lnTo>
                    <a:lnTo>
                      <a:pt x="445" y="145"/>
                    </a:lnTo>
                    <a:lnTo>
                      <a:pt x="445" y="145"/>
                    </a:lnTo>
                    <a:lnTo>
                      <a:pt x="445" y="144"/>
                    </a:lnTo>
                    <a:lnTo>
                      <a:pt x="445" y="145"/>
                    </a:lnTo>
                    <a:lnTo>
                      <a:pt x="445" y="145"/>
                    </a:lnTo>
                    <a:lnTo>
                      <a:pt x="445" y="145"/>
                    </a:lnTo>
                    <a:lnTo>
                      <a:pt x="445" y="145"/>
                    </a:lnTo>
                    <a:lnTo>
                      <a:pt x="450" y="140"/>
                    </a:lnTo>
                    <a:lnTo>
                      <a:pt x="459" y="140"/>
                    </a:lnTo>
                    <a:lnTo>
                      <a:pt x="465" y="144"/>
                    </a:lnTo>
                    <a:lnTo>
                      <a:pt x="465" y="144"/>
                    </a:lnTo>
                    <a:lnTo>
                      <a:pt x="470" y="152"/>
                    </a:lnTo>
                    <a:lnTo>
                      <a:pt x="470" y="152"/>
                    </a:lnTo>
                    <a:lnTo>
                      <a:pt x="474" y="157"/>
                    </a:lnTo>
                    <a:lnTo>
                      <a:pt x="476" y="164"/>
                    </a:lnTo>
                    <a:lnTo>
                      <a:pt x="479" y="172"/>
                    </a:lnTo>
                    <a:lnTo>
                      <a:pt x="479" y="176"/>
                    </a:lnTo>
                    <a:lnTo>
                      <a:pt x="478" y="180"/>
                    </a:lnTo>
                    <a:lnTo>
                      <a:pt x="475" y="184"/>
                    </a:lnTo>
                    <a:lnTo>
                      <a:pt x="475" y="184"/>
                    </a:lnTo>
                    <a:lnTo>
                      <a:pt x="472" y="185"/>
                    </a:lnTo>
                    <a:lnTo>
                      <a:pt x="469" y="185"/>
                    </a:lnTo>
                    <a:lnTo>
                      <a:pt x="467" y="185"/>
                    </a:lnTo>
                    <a:lnTo>
                      <a:pt x="467" y="185"/>
                    </a:lnTo>
                    <a:lnTo>
                      <a:pt x="466" y="185"/>
                    </a:lnTo>
                    <a:lnTo>
                      <a:pt x="466" y="185"/>
                    </a:lnTo>
                    <a:lnTo>
                      <a:pt x="467" y="185"/>
                    </a:lnTo>
                    <a:lnTo>
                      <a:pt x="469" y="181"/>
                    </a:lnTo>
                    <a:lnTo>
                      <a:pt x="463" y="186"/>
                    </a:lnTo>
                    <a:lnTo>
                      <a:pt x="459" y="186"/>
                    </a:lnTo>
                    <a:lnTo>
                      <a:pt x="454" y="184"/>
                    </a:lnTo>
                    <a:lnTo>
                      <a:pt x="454" y="184"/>
                    </a:lnTo>
                    <a:lnTo>
                      <a:pt x="453" y="182"/>
                    </a:lnTo>
                    <a:lnTo>
                      <a:pt x="453" y="180"/>
                    </a:lnTo>
                    <a:lnTo>
                      <a:pt x="450" y="180"/>
                    </a:lnTo>
                    <a:lnTo>
                      <a:pt x="450" y="180"/>
                    </a:lnTo>
                    <a:lnTo>
                      <a:pt x="449" y="178"/>
                    </a:lnTo>
                    <a:lnTo>
                      <a:pt x="449" y="178"/>
                    </a:lnTo>
                    <a:lnTo>
                      <a:pt x="449" y="182"/>
                    </a:lnTo>
                    <a:lnTo>
                      <a:pt x="449" y="184"/>
                    </a:lnTo>
                    <a:lnTo>
                      <a:pt x="449" y="185"/>
                    </a:lnTo>
                    <a:lnTo>
                      <a:pt x="443" y="190"/>
                    </a:lnTo>
                    <a:lnTo>
                      <a:pt x="442" y="190"/>
                    </a:lnTo>
                    <a:lnTo>
                      <a:pt x="442" y="190"/>
                    </a:lnTo>
                    <a:lnTo>
                      <a:pt x="439" y="190"/>
                    </a:lnTo>
                    <a:lnTo>
                      <a:pt x="439" y="190"/>
                    </a:lnTo>
                    <a:lnTo>
                      <a:pt x="442" y="189"/>
                    </a:lnTo>
                    <a:lnTo>
                      <a:pt x="443" y="186"/>
                    </a:lnTo>
                    <a:lnTo>
                      <a:pt x="438" y="191"/>
                    </a:lnTo>
                    <a:lnTo>
                      <a:pt x="430" y="191"/>
                    </a:lnTo>
                    <a:lnTo>
                      <a:pt x="428" y="190"/>
                    </a:lnTo>
                    <a:lnTo>
                      <a:pt x="428" y="190"/>
                    </a:lnTo>
                    <a:lnTo>
                      <a:pt x="425" y="193"/>
                    </a:lnTo>
                    <a:lnTo>
                      <a:pt x="425" y="193"/>
                    </a:lnTo>
                    <a:lnTo>
                      <a:pt x="422" y="195"/>
                    </a:lnTo>
                    <a:lnTo>
                      <a:pt x="422" y="195"/>
                    </a:lnTo>
                    <a:lnTo>
                      <a:pt x="422" y="195"/>
                    </a:lnTo>
                    <a:lnTo>
                      <a:pt x="420" y="197"/>
                    </a:lnTo>
                    <a:lnTo>
                      <a:pt x="414" y="198"/>
                    </a:lnTo>
                    <a:lnTo>
                      <a:pt x="413" y="198"/>
                    </a:lnTo>
                    <a:lnTo>
                      <a:pt x="413" y="198"/>
                    </a:lnTo>
                    <a:lnTo>
                      <a:pt x="408" y="194"/>
                    </a:lnTo>
                    <a:lnTo>
                      <a:pt x="405" y="190"/>
                    </a:lnTo>
                    <a:lnTo>
                      <a:pt x="405" y="190"/>
                    </a:lnTo>
                    <a:lnTo>
                      <a:pt x="402" y="188"/>
                    </a:lnTo>
                    <a:lnTo>
                      <a:pt x="402" y="188"/>
                    </a:lnTo>
                    <a:lnTo>
                      <a:pt x="401" y="185"/>
                    </a:lnTo>
                    <a:lnTo>
                      <a:pt x="401" y="185"/>
                    </a:lnTo>
                    <a:lnTo>
                      <a:pt x="401" y="184"/>
                    </a:lnTo>
                    <a:lnTo>
                      <a:pt x="401" y="181"/>
                    </a:lnTo>
                    <a:lnTo>
                      <a:pt x="400" y="184"/>
                    </a:lnTo>
                    <a:lnTo>
                      <a:pt x="397" y="181"/>
                    </a:lnTo>
                    <a:lnTo>
                      <a:pt x="397" y="181"/>
                    </a:lnTo>
                    <a:lnTo>
                      <a:pt x="397" y="184"/>
                    </a:lnTo>
                    <a:lnTo>
                      <a:pt x="398" y="185"/>
                    </a:lnTo>
                    <a:lnTo>
                      <a:pt x="396" y="188"/>
                    </a:lnTo>
                    <a:lnTo>
                      <a:pt x="396" y="188"/>
                    </a:lnTo>
                    <a:lnTo>
                      <a:pt x="396" y="188"/>
                    </a:lnTo>
                    <a:lnTo>
                      <a:pt x="396" y="189"/>
                    </a:lnTo>
                    <a:lnTo>
                      <a:pt x="396" y="189"/>
                    </a:lnTo>
                    <a:lnTo>
                      <a:pt x="394" y="191"/>
                    </a:lnTo>
                    <a:lnTo>
                      <a:pt x="394" y="191"/>
                    </a:lnTo>
                    <a:lnTo>
                      <a:pt x="393" y="194"/>
                    </a:lnTo>
                    <a:lnTo>
                      <a:pt x="392" y="195"/>
                    </a:lnTo>
                    <a:lnTo>
                      <a:pt x="392" y="195"/>
                    </a:lnTo>
                    <a:lnTo>
                      <a:pt x="392" y="197"/>
                    </a:lnTo>
                    <a:lnTo>
                      <a:pt x="392" y="197"/>
                    </a:lnTo>
                    <a:lnTo>
                      <a:pt x="392" y="197"/>
                    </a:lnTo>
                    <a:lnTo>
                      <a:pt x="392" y="197"/>
                    </a:lnTo>
                    <a:lnTo>
                      <a:pt x="393" y="201"/>
                    </a:lnTo>
                    <a:lnTo>
                      <a:pt x="393" y="201"/>
                    </a:lnTo>
                    <a:lnTo>
                      <a:pt x="394" y="202"/>
                    </a:lnTo>
                    <a:lnTo>
                      <a:pt x="394" y="202"/>
                    </a:lnTo>
                    <a:lnTo>
                      <a:pt x="397" y="201"/>
                    </a:lnTo>
                    <a:lnTo>
                      <a:pt x="398" y="201"/>
                    </a:lnTo>
                    <a:lnTo>
                      <a:pt x="401" y="202"/>
                    </a:lnTo>
                    <a:lnTo>
                      <a:pt x="401" y="202"/>
                    </a:lnTo>
                    <a:lnTo>
                      <a:pt x="406" y="206"/>
                    </a:lnTo>
                    <a:lnTo>
                      <a:pt x="408" y="209"/>
                    </a:lnTo>
                    <a:lnTo>
                      <a:pt x="409" y="211"/>
                    </a:lnTo>
                    <a:lnTo>
                      <a:pt x="409" y="211"/>
                    </a:lnTo>
                    <a:lnTo>
                      <a:pt x="408" y="217"/>
                    </a:lnTo>
                    <a:lnTo>
                      <a:pt x="405" y="221"/>
                    </a:lnTo>
                    <a:lnTo>
                      <a:pt x="404" y="223"/>
                    </a:lnTo>
                    <a:lnTo>
                      <a:pt x="404" y="223"/>
                    </a:lnTo>
                    <a:lnTo>
                      <a:pt x="401" y="226"/>
                    </a:lnTo>
                    <a:lnTo>
                      <a:pt x="402" y="229"/>
                    </a:lnTo>
                    <a:lnTo>
                      <a:pt x="402" y="230"/>
                    </a:lnTo>
                    <a:lnTo>
                      <a:pt x="402" y="231"/>
                    </a:lnTo>
                    <a:lnTo>
                      <a:pt x="402" y="231"/>
                    </a:lnTo>
                    <a:lnTo>
                      <a:pt x="401" y="235"/>
                    </a:lnTo>
                    <a:lnTo>
                      <a:pt x="398" y="236"/>
                    </a:lnTo>
                    <a:lnTo>
                      <a:pt x="398" y="236"/>
                    </a:lnTo>
                    <a:lnTo>
                      <a:pt x="400" y="235"/>
                    </a:lnTo>
                    <a:lnTo>
                      <a:pt x="400" y="232"/>
                    </a:lnTo>
                    <a:lnTo>
                      <a:pt x="396" y="236"/>
                    </a:lnTo>
                    <a:lnTo>
                      <a:pt x="397" y="236"/>
                    </a:lnTo>
                    <a:lnTo>
                      <a:pt x="397" y="236"/>
                    </a:lnTo>
                    <a:lnTo>
                      <a:pt x="397" y="238"/>
                    </a:lnTo>
                    <a:lnTo>
                      <a:pt x="397" y="238"/>
                    </a:lnTo>
                    <a:lnTo>
                      <a:pt x="397" y="238"/>
                    </a:lnTo>
                    <a:lnTo>
                      <a:pt x="397" y="238"/>
                    </a:lnTo>
                    <a:lnTo>
                      <a:pt x="397" y="238"/>
                    </a:lnTo>
                    <a:lnTo>
                      <a:pt x="397" y="238"/>
                    </a:lnTo>
                    <a:lnTo>
                      <a:pt x="396" y="242"/>
                    </a:lnTo>
                    <a:lnTo>
                      <a:pt x="394" y="243"/>
                    </a:lnTo>
                    <a:lnTo>
                      <a:pt x="394" y="243"/>
                    </a:lnTo>
                    <a:lnTo>
                      <a:pt x="394" y="243"/>
                    </a:lnTo>
                    <a:lnTo>
                      <a:pt x="394" y="243"/>
                    </a:lnTo>
                    <a:lnTo>
                      <a:pt x="396" y="242"/>
                    </a:lnTo>
                    <a:lnTo>
                      <a:pt x="392" y="247"/>
                    </a:lnTo>
                    <a:lnTo>
                      <a:pt x="392" y="247"/>
                    </a:lnTo>
                    <a:lnTo>
                      <a:pt x="393" y="246"/>
                    </a:lnTo>
                    <a:lnTo>
                      <a:pt x="393" y="246"/>
                    </a:lnTo>
                    <a:lnTo>
                      <a:pt x="393" y="248"/>
                    </a:lnTo>
                    <a:lnTo>
                      <a:pt x="393" y="248"/>
                    </a:lnTo>
                    <a:lnTo>
                      <a:pt x="391" y="247"/>
                    </a:lnTo>
                    <a:lnTo>
                      <a:pt x="397" y="254"/>
                    </a:lnTo>
                    <a:lnTo>
                      <a:pt x="397" y="254"/>
                    </a:lnTo>
                    <a:lnTo>
                      <a:pt x="397" y="254"/>
                    </a:lnTo>
                    <a:lnTo>
                      <a:pt x="396" y="258"/>
                    </a:lnTo>
                    <a:lnTo>
                      <a:pt x="394" y="260"/>
                    </a:lnTo>
                    <a:lnTo>
                      <a:pt x="391" y="264"/>
                    </a:lnTo>
                    <a:lnTo>
                      <a:pt x="391" y="264"/>
                    </a:lnTo>
                    <a:lnTo>
                      <a:pt x="391" y="266"/>
                    </a:lnTo>
                    <a:lnTo>
                      <a:pt x="391" y="266"/>
                    </a:lnTo>
                    <a:lnTo>
                      <a:pt x="391" y="266"/>
                    </a:lnTo>
                    <a:lnTo>
                      <a:pt x="391" y="267"/>
                    </a:lnTo>
                    <a:lnTo>
                      <a:pt x="391" y="279"/>
                    </a:lnTo>
                    <a:lnTo>
                      <a:pt x="391" y="279"/>
                    </a:lnTo>
                    <a:lnTo>
                      <a:pt x="392" y="283"/>
                    </a:lnTo>
                    <a:lnTo>
                      <a:pt x="393" y="291"/>
                    </a:lnTo>
                    <a:lnTo>
                      <a:pt x="393" y="291"/>
                    </a:lnTo>
                    <a:lnTo>
                      <a:pt x="391" y="293"/>
                    </a:lnTo>
                    <a:lnTo>
                      <a:pt x="391" y="293"/>
                    </a:lnTo>
                    <a:lnTo>
                      <a:pt x="389" y="297"/>
                    </a:lnTo>
                    <a:lnTo>
                      <a:pt x="391" y="301"/>
                    </a:lnTo>
                    <a:lnTo>
                      <a:pt x="391" y="301"/>
                    </a:lnTo>
                    <a:lnTo>
                      <a:pt x="391" y="301"/>
                    </a:lnTo>
                    <a:lnTo>
                      <a:pt x="391" y="304"/>
                    </a:lnTo>
                    <a:lnTo>
                      <a:pt x="391" y="307"/>
                    </a:lnTo>
                    <a:lnTo>
                      <a:pt x="389" y="309"/>
                    </a:lnTo>
                    <a:lnTo>
                      <a:pt x="387" y="312"/>
                    </a:lnTo>
                    <a:lnTo>
                      <a:pt x="387" y="312"/>
                    </a:lnTo>
                    <a:lnTo>
                      <a:pt x="388" y="309"/>
                    </a:lnTo>
                    <a:lnTo>
                      <a:pt x="385" y="313"/>
                    </a:lnTo>
                    <a:lnTo>
                      <a:pt x="384" y="313"/>
                    </a:lnTo>
                    <a:lnTo>
                      <a:pt x="384" y="313"/>
                    </a:lnTo>
                    <a:lnTo>
                      <a:pt x="383" y="313"/>
                    </a:lnTo>
                    <a:lnTo>
                      <a:pt x="383" y="313"/>
                    </a:lnTo>
                    <a:lnTo>
                      <a:pt x="384" y="312"/>
                    </a:lnTo>
                    <a:lnTo>
                      <a:pt x="377" y="318"/>
                    </a:lnTo>
                    <a:lnTo>
                      <a:pt x="376" y="318"/>
                    </a:lnTo>
                    <a:lnTo>
                      <a:pt x="376" y="318"/>
                    </a:lnTo>
                    <a:lnTo>
                      <a:pt x="373" y="318"/>
                    </a:lnTo>
                    <a:lnTo>
                      <a:pt x="371" y="317"/>
                    </a:lnTo>
                    <a:lnTo>
                      <a:pt x="368" y="313"/>
                    </a:lnTo>
                    <a:lnTo>
                      <a:pt x="368" y="313"/>
                    </a:lnTo>
                    <a:lnTo>
                      <a:pt x="367" y="313"/>
                    </a:lnTo>
                    <a:lnTo>
                      <a:pt x="365" y="313"/>
                    </a:lnTo>
                    <a:lnTo>
                      <a:pt x="365" y="313"/>
                    </a:lnTo>
                    <a:lnTo>
                      <a:pt x="363" y="316"/>
                    </a:lnTo>
                    <a:lnTo>
                      <a:pt x="361" y="318"/>
                    </a:lnTo>
                    <a:lnTo>
                      <a:pt x="361" y="318"/>
                    </a:lnTo>
                    <a:lnTo>
                      <a:pt x="356" y="322"/>
                    </a:lnTo>
                    <a:lnTo>
                      <a:pt x="355" y="324"/>
                    </a:lnTo>
                    <a:lnTo>
                      <a:pt x="351" y="325"/>
                    </a:lnTo>
                    <a:lnTo>
                      <a:pt x="350" y="325"/>
                    </a:lnTo>
                    <a:lnTo>
                      <a:pt x="350" y="325"/>
                    </a:lnTo>
                    <a:lnTo>
                      <a:pt x="350" y="325"/>
                    </a:lnTo>
                    <a:lnTo>
                      <a:pt x="350" y="325"/>
                    </a:lnTo>
                    <a:lnTo>
                      <a:pt x="351" y="324"/>
                    </a:lnTo>
                    <a:lnTo>
                      <a:pt x="344" y="328"/>
                    </a:lnTo>
                    <a:lnTo>
                      <a:pt x="344" y="328"/>
                    </a:lnTo>
                    <a:lnTo>
                      <a:pt x="344" y="328"/>
                    </a:lnTo>
                    <a:lnTo>
                      <a:pt x="342" y="329"/>
                    </a:lnTo>
                    <a:lnTo>
                      <a:pt x="339" y="329"/>
                    </a:lnTo>
                    <a:lnTo>
                      <a:pt x="339" y="329"/>
                    </a:lnTo>
                    <a:lnTo>
                      <a:pt x="335" y="329"/>
                    </a:lnTo>
                    <a:lnTo>
                      <a:pt x="331" y="322"/>
                    </a:lnTo>
                    <a:lnTo>
                      <a:pt x="331" y="322"/>
                    </a:lnTo>
                    <a:lnTo>
                      <a:pt x="331" y="321"/>
                    </a:lnTo>
                    <a:lnTo>
                      <a:pt x="331" y="321"/>
                    </a:lnTo>
                    <a:lnTo>
                      <a:pt x="332" y="324"/>
                    </a:lnTo>
                    <a:lnTo>
                      <a:pt x="335" y="325"/>
                    </a:lnTo>
                    <a:lnTo>
                      <a:pt x="331" y="321"/>
                    </a:lnTo>
                    <a:lnTo>
                      <a:pt x="331" y="321"/>
                    </a:lnTo>
                    <a:lnTo>
                      <a:pt x="332" y="321"/>
                    </a:lnTo>
                    <a:lnTo>
                      <a:pt x="332" y="321"/>
                    </a:lnTo>
                    <a:lnTo>
                      <a:pt x="331" y="321"/>
                    </a:lnTo>
                    <a:lnTo>
                      <a:pt x="331" y="320"/>
                    </a:lnTo>
                    <a:lnTo>
                      <a:pt x="331" y="320"/>
                    </a:lnTo>
                    <a:lnTo>
                      <a:pt x="331" y="320"/>
                    </a:lnTo>
                    <a:lnTo>
                      <a:pt x="331" y="321"/>
                    </a:lnTo>
                    <a:lnTo>
                      <a:pt x="330" y="322"/>
                    </a:lnTo>
                    <a:lnTo>
                      <a:pt x="330" y="322"/>
                    </a:lnTo>
                    <a:lnTo>
                      <a:pt x="330" y="322"/>
                    </a:lnTo>
                    <a:lnTo>
                      <a:pt x="330" y="322"/>
                    </a:lnTo>
                    <a:lnTo>
                      <a:pt x="327" y="324"/>
                    </a:lnTo>
                    <a:lnTo>
                      <a:pt x="323" y="325"/>
                    </a:lnTo>
                    <a:lnTo>
                      <a:pt x="322" y="325"/>
                    </a:lnTo>
                    <a:lnTo>
                      <a:pt x="319" y="324"/>
                    </a:lnTo>
                    <a:lnTo>
                      <a:pt x="319" y="324"/>
                    </a:lnTo>
                    <a:lnTo>
                      <a:pt x="315" y="321"/>
                    </a:lnTo>
                    <a:lnTo>
                      <a:pt x="314" y="318"/>
                    </a:lnTo>
                    <a:lnTo>
                      <a:pt x="314" y="318"/>
                    </a:lnTo>
                    <a:lnTo>
                      <a:pt x="314" y="317"/>
                    </a:lnTo>
                    <a:lnTo>
                      <a:pt x="314" y="317"/>
                    </a:lnTo>
                    <a:lnTo>
                      <a:pt x="314" y="317"/>
                    </a:lnTo>
                    <a:lnTo>
                      <a:pt x="309" y="313"/>
                    </a:lnTo>
                    <a:lnTo>
                      <a:pt x="309" y="313"/>
                    </a:lnTo>
                    <a:lnTo>
                      <a:pt x="309" y="310"/>
                    </a:lnTo>
                    <a:lnTo>
                      <a:pt x="309" y="307"/>
                    </a:lnTo>
                    <a:lnTo>
                      <a:pt x="309" y="307"/>
                    </a:lnTo>
                    <a:lnTo>
                      <a:pt x="309" y="305"/>
                    </a:lnTo>
                    <a:lnTo>
                      <a:pt x="309" y="305"/>
                    </a:lnTo>
                    <a:lnTo>
                      <a:pt x="309" y="305"/>
                    </a:lnTo>
                    <a:lnTo>
                      <a:pt x="307" y="305"/>
                    </a:lnTo>
                    <a:lnTo>
                      <a:pt x="307" y="305"/>
                    </a:lnTo>
                    <a:lnTo>
                      <a:pt x="303" y="307"/>
                    </a:lnTo>
                    <a:lnTo>
                      <a:pt x="301" y="308"/>
                    </a:lnTo>
                    <a:lnTo>
                      <a:pt x="301" y="308"/>
                    </a:lnTo>
                    <a:lnTo>
                      <a:pt x="297" y="312"/>
                    </a:lnTo>
                    <a:lnTo>
                      <a:pt x="297" y="312"/>
                    </a:lnTo>
                    <a:lnTo>
                      <a:pt x="294" y="313"/>
                    </a:lnTo>
                    <a:lnTo>
                      <a:pt x="291" y="316"/>
                    </a:lnTo>
                    <a:lnTo>
                      <a:pt x="291" y="316"/>
                    </a:lnTo>
                    <a:lnTo>
                      <a:pt x="291" y="316"/>
                    </a:lnTo>
                    <a:lnTo>
                      <a:pt x="287" y="318"/>
                    </a:lnTo>
                    <a:lnTo>
                      <a:pt x="285" y="318"/>
                    </a:lnTo>
                    <a:lnTo>
                      <a:pt x="285" y="318"/>
                    </a:lnTo>
                    <a:lnTo>
                      <a:pt x="285" y="318"/>
                    </a:lnTo>
                    <a:lnTo>
                      <a:pt x="286" y="317"/>
                    </a:lnTo>
                    <a:lnTo>
                      <a:pt x="287" y="314"/>
                    </a:lnTo>
                    <a:lnTo>
                      <a:pt x="283" y="318"/>
                    </a:lnTo>
                    <a:lnTo>
                      <a:pt x="283" y="318"/>
                    </a:lnTo>
                    <a:lnTo>
                      <a:pt x="283" y="318"/>
                    </a:lnTo>
                    <a:lnTo>
                      <a:pt x="279" y="320"/>
                    </a:lnTo>
                    <a:lnTo>
                      <a:pt x="277" y="321"/>
                    </a:lnTo>
                    <a:lnTo>
                      <a:pt x="277" y="321"/>
                    </a:lnTo>
                    <a:lnTo>
                      <a:pt x="274" y="321"/>
                    </a:lnTo>
                    <a:lnTo>
                      <a:pt x="274" y="321"/>
                    </a:lnTo>
                    <a:lnTo>
                      <a:pt x="277" y="320"/>
                    </a:lnTo>
                    <a:lnTo>
                      <a:pt x="272" y="322"/>
                    </a:lnTo>
                    <a:lnTo>
                      <a:pt x="270" y="317"/>
                    </a:lnTo>
                    <a:lnTo>
                      <a:pt x="270" y="322"/>
                    </a:lnTo>
                    <a:lnTo>
                      <a:pt x="268" y="322"/>
                    </a:lnTo>
                    <a:lnTo>
                      <a:pt x="268" y="322"/>
                    </a:lnTo>
                    <a:lnTo>
                      <a:pt x="268" y="324"/>
                    </a:lnTo>
                    <a:lnTo>
                      <a:pt x="268" y="324"/>
                    </a:lnTo>
                    <a:lnTo>
                      <a:pt x="266" y="326"/>
                    </a:lnTo>
                    <a:lnTo>
                      <a:pt x="266" y="329"/>
                    </a:lnTo>
                    <a:lnTo>
                      <a:pt x="266" y="329"/>
                    </a:lnTo>
                    <a:lnTo>
                      <a:pt x="266" y="333"/>
                    </a:lnTo>
                    <a:lnTo>
                      <a:pt x="265" y="336"/>
                    </a:lnTo>
                    <a:lnTo>
                      <a:pt x="265" y="353"/>
                    </a:lnTo>
                    <a:lnTo>
                      <a:pt x="264" y="357"/>
                    </a:lnTo>
                    <a:lnTo>
                      <a:pt x="264" y="357"/>
                    </a:lnTo>
                    <a:lnTo>
                      <a:pt x="264" y="357"/>
                    </a:lnTo>
                    <a:lnTo>
                      <a:pt x="258" y="365"/>
                    </a:lnTo>
                    <a:lnTo>
                      <a:pt x="258" y="365"/>
                    </a:lnTo>
                    <a:lnTo>
                      <a:pt x="258" y="365"/>
                    </a:lnTo>
                    <a:lnTo>
                      <a:pt x="258" y="365"/>
                    </a:lnTo>
                    <a:lnTo>
                      <a:pt x="258" y="369"/>
                    </a:lnTo>
                    <a:lnTo>
                      <a:pt x="258" y="371"/>
                    </a:lnTo>
                    <a:lnTo>
                      <a:pt x="254" y="377"/>
                    </a:lnTo>
                    <a:lnTo>
                      <a:pt x="256" y="377"/>
                    </a:lnTo>
                    <a:lnTo>
                      <a:pt x="256" y="377"/>
                    </a:lnTo>
                    <a:lnTo>
                      <a:pt x="257" y="374"/>
                    </a:lnTo>
                    <a:lnTo>
                      <a:pt x="257" y="374"/>
                    </a:lnTo>
                    <a:lnTo>
                      <a:pt x="257" y="374"/>
                    </a:lnTo>
                    <a:lnTo>
                      <a:pt x="257" y="374"/>
                    </a:lnTo>
                    <a:lnTo>
                      <a:pt x="257" y="377"/>
                    </a:lnTo>
                    <a:lnTo>
                      <a:pt x="257" y="381"/>
                    </a:lnTo>
                    <a:lnTo>
                      <a:pt x="252" y="386"/>
                    </a:lnTo>
                    <a:lnTo>
                      <a:pt x="252" y="386"/>
                    </a:lnTo>
                    <a:lnTo>
                      <a:pt x="254" y="385"/>
                    </a:lnTo>
                    <a:lnTo>
                      <a:pt x="256" y="383"/>
                    </a:lnTo>
                    <a:lnTo>
                      <a:pt x="256" y="383"/>
                    </a:lnTo>
                    <a:lnTo>
                      <a:pt x="256" y="383"/>
                    </a:lnTo>
                    <a:lnTo>
                      <a:pt x="254" y="387"/>
                    </a:lnTo>
                    <a:lnTo>
                      <a:pt x="252" y="390"/>
                    </a:lnTo>
                    <a:lnTo>
                      <a:pt x="249" y="391"/>
                    </a:lnTo>
                    <a:lnTo>
                      <a:pt x="248" y="391"/>
                    </a:lnTo>
                    <a:lnTo>
                      <a:pt x="248" y="391"/>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2" name="Freeform 17">
                <a:extLst>
                  <a:ext uri="{FF2B5EF4-FFF2-40B4-BE49-F238E27FC236}">
                    <a16:creationId xmlns:a16="http://schemas.microsoft.com/office/drawing/2014/main" xmlns="" id="{ECEE423A-1D31-4AAF-842B-1605020C6F23}"/>
                  </a:ext>
                </a:extLst>
              </p:cNvPr>
              <p:cNvSpPr>
                <a:spLocks/>
              </p:cNvSpPr>
              <p:nvPr/>
            </p:nvSpPr>
            <p:spPr bwMode="auto">
              <a:xfrm>
                <a:off x="3664901" y="2042695"/>
                <a:ext cx="1380672" cy="1351072"/>
              </a:xfrm>
              <a:custGeom>
                <a:avLst/>
                <a:gdLst>
                  <a:gd name="T0" fmla="*/ 549 w 793"/>
                  <a:gd name="T1" fmla="*/ 740 h 776"/>
                  <a:gd name="T2" fmla="*/ 594 w 793"/>
                  <a:gd name="T3" fmla="*/ 666 h 776"/>
                  <a:gd name="T4" fmla="*/ 575 w 793"/>
                  <a:gd name="T5" fmla="*/ 662 h 776"/>
                  <a:gd name="T6" fmla="*/ 534 w 793"/>
                  <a:gd name="T7" fmla="*/ 654 h 776"/>
                  <a:gd name="T8" fmla="*/ 512 w 793"/>
                  <a:gd name="T9" fmla="*/ 678 h 776"/>
                  <a:gd name="T10" fmla="*/ 499 w 793"/>
                  <a:gd name="T11" fmla="*/ 732 h 776"/>
                  <a:gd name="T12" fmla="*/ 450 w 793"/>
                  <a:gd name="T13" fmla="*/ 738 h 776"/>
                  <a:gd name="T14" fmla="*/ 446 w 793"/>
                  <a:gd name="T15" fmla="*/ 686 h 776"/>
                  <a:gd name="T16" fmla="*/ 438 w 793"/>
                  <a:gd name="T17" fmla="*/ 665 h 776"/>
                  <a:gd name="T18" fmla="*/ 397 w 793"/>
                  <a:gd name="T19" fmla="*/ 673 h 776"/>
                  <a:gd name="T20" fmla="*/ 368 w 793"/>
                  <a:gd name="T21" fmla="*/ 653 h 776"/>
                  <a:gd name="T22" fmla="*/ 354 w 793"/>
                  <a:gd name="T23" fmla="*/ 591 h 776"/>
                  <a:gd name="T24" fmla="*/ 317 w 793"/>
                  <a:gd name="T25" fmla="*/ 546 h 776"/>
                  <a:gd name="T26" fmla="*/ 339 w 793"/>
                  <a:gd name="T27" fmla="*/ 493 h 776"/>
                  <a:gd name="T28" fmla="*/ 343 w 793"/>
                  <a:gd name="T29" fmla="*/ 465 h 776"/>
                  <a:gd name="T30" fmla="*/ 305 w 793"/>
                  <a:gd name="T31" fmla="*/ 443 h 776"/>
                  <a:gd name="T32" fmla="*/ 259 w 793"/>
                  <a:gd name="T33" fmla="*/ 426 h 776"/>
                  <a:gd name="T34" fmla="*/ 227 w 793"/>
                  <a:gd name="T35" fmla="*/ 412 h 776"/>
                  <a:gd name="T36" fmla="*/ 165 w 793"/>
                  <a:gd name="T37" fmla="*/ 340 h 776"/>
                  <a:gd name="T38" fmla="*/ 148 w 793"/>
                  <a:gd name="T39" fmla="*/ 275 h 776"/>
                  <a:gd name="T40" fmla="*/ 148 w 793"/>
                  <a:gd name="T41" fmla="*/ 218 h 776"/>
                  <a:gd name="T42" fmla="*/ 186 w 793"/>
                  <a:gd name="T43" fmla="*/ 205 h 776"/>
                  <a:gd name="T44" fmla="*/ 152 w 793"/>
                  <a:gd name="T45" fmla="*/ 201 h 776"/>
                  <a:gd name="T46" fmla="*/ 115 w 793"/>
                  <a:gd name="T47" fmla="*/ 219 h 776"/>
                  <a:gd name="T48" fmla="*/ 85 w 793"/>
                  <a:gd name="T49" fmla="*/ 246 h 776"/>
                  <a:gd name="T50" fmla="*/ 71 w 793"/>
                  <a:gd name="T51" fmla="*/ 250 h 776"/>
                  <a:gd name="T52" fmla="*/ 32 w 793"/>
                  <a:gd name="T53" fmla="*/ 324 h 776"/>
                  <a:gd name="T54" fmla="*/ 8 w 793"/>
                  <a:gd name="T55" fmla="*/ 238 h 776"/>
                  <a:gd name="T56" fmla="*/ 19 w 793"/>
                  <a:gd name="T57" fmla="*/ 206 h 776"/>
                  <a:gd name="T58" fmla="*/ 27 w 793"/>
                  <a:gd name="T59" fmla="*/ 180 h 776"/>
                  <a:gd name="T60" fmla="*/ 30 w 793"/>
                  <a:gd name="T61" fmla="*/ 139 h 776"/>
                  <a:gd name="T62" fmla="*/ 46 w 793"/>
                  <a:gd name="T63" fmla="*/ 108 h 776"/>
                  <a:gd name="T64" fmla="*/ 64 w 793"/>
                  <a:gd name="T65" fmla="*/ 49 h 776"/>
                  <a:gd name="T66" fmla="*/ 97 w 793"/>
                  <a:gd name="T67" fmla="*/ 10 h 776"/>
                  <a:gd name="T68" fmla="*/ 146 w 793"/>
                  <a:gd name="T69" fmla="*/ 1 h 776"/>
                  <a:gd name="T70" fmla="*/ 205 w 793"/>
                  <a:gd name="T71" fmla="*/ 5 h 776"/>
                  <a:gd name="T72" fmla="*/ 242 w 793"/>
                  <a:gd name="T73" fmla="*/ 33 h 776"/>
                  <a:gd name="T74" fmla="*/ 284 w 793"/>
                  <a:gd name="T75" fmla="*/ 61 h 776"/>
                  <a:gd name="T76" fmla="*/ 327 w 793"/>
                  <a:gd name="T77" fmla="*/ 96 h 776"/>
                  <a:gd name="T78" fmla="*/ 344 w 793"/>
                  <a:gd name="T79" fmla="*/ 102 h 776"/>
                  <a:gd name="T80" fmla="*/ 382 w 793"/>
                  <a:gd name="T81" fmla="*/ 95 h 776"/>
                  <a:gd name="T82" fmla="*/ 436 w 793"/>
                  <a:gd name="T83" fmla="*/ 132 h 776"/>
                  <a:gd name="T84" fmla="*/ 484 w 793"/>
                  <a:gd name="T85" fmla="*/ 159 h 776"/>
                  <a:gd name="T86" fmla="*/ 540 w 793"/>
                  <a:gd name="T87" fmla="*/ 238 h 776"/>
                  <a:gd name="T88" fmla="*/ 542 w 793"/>
                  <a:gd name="T89" fmla="*/ 272 h 776"/>
                  <a:gd name="T90" fmla="*/ 571 w 793"/>
                  <a:gd name="T91" fmla="*/ 308 h 776"/>
                  <a:gd name="T92" fmla="*/ 603 w 793"/>
                  <a:gd name="T93" fmla="*/ 340 h 776"/>
                  <a:gd name="T94" fmla="*/ 632 w 793"/>
                  <a:gd name="T95" fmla="*/ 367 h 776"/>
                  <a:gd name="T96" fmla="*/ 625 w 793"/>
                  <a:gd name="T97" fmla="*/ 404 h 776"/>
                  <a:gd name="T98" fmla="*/ 643 w 793"/>
                  <a:gd name="T99" fmla="*/ 427 h 776"/>
                  <a:gd name="T100" fmla="*/ 680 w 793"/>
                  <a:gd name="T101" fmla="*/ 435 h 776"/>
                  <a:gd name="T102" fmla="*/ 747 w 793"/>
                  <a:gd name="T103" fmla="*/ 471 h 776"/>
                  <a:gd name="T104" fmla="*/ 746 w 793"/>
                  <a:gd name="T105" fmla="*/ 512 h 776"/>
                  <a:gd name="T106" fmla="*/ 760 w 793"/>
                  <a:gd name="T107" fmla="*/ 529 h 776"/>
                  <a:gd name="T108" fmla="*/ 784 w 793"/>
                  <a:gd name="T109" fmla="*/ 549 h 776"/>
                  <a:gd name="T110" fmla="*/ 771 w 793"/>
                  <a:gd name="T111" fmla="*/ 578 h 776"/>
                  <a:gd name="T112" fmla="*/ 771 w 793"/>
                  <a:gd name="T113" fmla="*/ 605 h 776"/>
                  <a:gd name="T114" fmla="*/ 780 w 793"/>
                  <a:gd name="T115" fmla="*/ 638 h 776"/>
                  <a:gd name="T116" fmla="*/ 750 w 793"/>
                  <a:gd name="T117" fmla="*/ 666 h 776"/>
                  <a:gd name="T118" fmla="*/ 710 w 793"/>
                  <a:gd name="T119" fmla="*/ 662 h 776"/>
                  <a:gd name="T120" fmla="*/ 680 w 793"/>
                  <a:gd name="T121" fmla="*/ 682 h 776"/>
                  <a:gd name="T122" fmla="*/ 635 w 793"/>
                  <a:gd name="T123" fmla="*/ 724 h 776"/>
                  <a:gd name="T124" fmla="*/ 578 w 793"/>
                  <a:gd name="T125" fmla="*/ 77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3" h="776">
                    <a:moveTo>
                      <a:pt x="567" y="771"/>
                    </a:moveTo>
                    <a:lnTo>
                      <a:pt x="567" y="771"/>
                    </a:lnTo>
                    <a:lnTo>
                      <a:pt x="574" y="772"/>
                    </a:lnTo>
                    <a:lnTo>
                      <a:pt x="567" y="771"/>
                    </a:lnTo>
                    <a:lnTo>
                      <a:pt x="567" y="769"/>
                    </a:lnTo>
                    <a:lnTo>
                      <a:pt x="566" y="769"/>
                    </a:lnTo>
                    <a:lnTo>
                      <a:pt x="566" y="769"/>
                    </a:lnTo>
                    <a:lnTo>
                      <a:pt x="565" y="767"/>
                    </a:lnTo>
                    <a:lnTo>
                      <a:pt x="565" y="767"/>
                    </a:lnTo>
                    <a:lnTo>
                      <a:pt x="565" y="765"/>
                    </a:lnTo>
                    <a:lnTo>
                      <a:pt x="565" y="765"/>
                    </a:lnTo>
                    <a:lnTo>
                      <a:pt x="565" y="767"/>
                    </a:lnTo>
                    <a:lnTo>
                      <a:pt x="565" y="767"/>
                    </a:lnTo>
                    <a:lnTo>
                      <a:pt x="566" y="767"/>
                    </a:lnTo>
                    <a:lnTo>
                      <a:pt x="562" y="763"/>
                    </a:lnTo>
                    <a:lnTo>
                      <a:pt x="562" y="763"/>
                    </a:lnTo>
                    <a:lnTo>
                      <a:pt x="562" y="763"/>
                    </a:lnTo>
                    <a:lnTo>
                      <a:pt x="559" y="759"/>
                    </a:lnTo>
                    <a:lnTo>
                      <a:pt x="559" y="759"/>
                    </a:lnTo>
                    <a:lnTo>
                      <a:pt x="557" y="753"/>
                    </a:lnTo>
                    <a:lnTo>
                      <a:pt x="554" y="751"/>
                    </a:lnTo>
                    <a:lnTo>
                      <a:pt x="553" y="748"/>
                    </a:lnTo>
                    <a:lnTo>
                      <a:pt x="553" y="748"/>
                    </a:lnTo>
                    <a:lnTo>
                      <a:pt x="551" y="744"/>
                    </a:lnTo>
                    <a:lnTo>
                      <a:pt x="551" y="744"/>
                    </a:lnTo>
                    <a:lnTo>
                      <a:pt x="551" y="744"/>
                    </a:lnTo>
                    <a:lnTo>
                      <a:pt x="551" y="744"/>
                    </a:lnTo>
                    <a:lnTo>
                      <a:pt x="553" y="746"/>
                    </a:lnTo>
                    <a:lnTo>
                      <a:pt x="553" y="744"/>
                    </a:lnTo>
                    <a:lnTo>
                      <a:pt x="553" y="744"/>
                    </a:lnTo>
                    <a:lnTo>
                      <a:pt x="549" y="740"/>
                    </a:lnTo>
                    <a:lnTo>
                      <a:pt x="549" y="740"/>
                    </a:lnTo>
                    <a:lnTo>
                      <a:pt x="549" y="740"/>
                    </a:lnTo>
                    <a:lnTo>
                      <a:pt x="549" y="740"/>
                    </a:lnTo>
                    <a:lnTo>
                      <a:pt x="549" y="740"/>
                    </a:lnTo>
                    <a:lnTo>
                      <a:pt x="549" y="739"/>
                    </a:lnTo>
                    <a:lnTo>
                      <a:pt x="549" y="739"/>
                    </a:lnTo>
                    <a:lnTo>
                      <a:pt x="549" y="739"/>
                    </a:lnTo>
                    <a:lnTo>
                      <a:pt x="549" y="739"/>
                    </a:lnTo>
                    <a:lnTo>
                      <a:pt x="546" y="736"/>
                    </a:lnTo>
                    <a:lnTo>
                      <a:pt x="546" y="734"/>
                    </a:lnTo>
                    <a:lnTo>
                      <a:pt x="546" y="730"/>
                    </a:lnTo>
                    <a:lnTo>
                      <a:pt x="550" y="726"/>
                    </a:lnTo>
                    <a:lnTo>
                      <a:pt x="550" y="726"/>
                    </a:lnTo>
                    <a:lnTo>
                      <a:pt x="550" y="726"/>
                    </a:lnTo>
                    <a:lnTo>
                      <a:pt x="550" y="726"/>
                    </a:lnTo>
                    <a:lnTo>
                      <a:pt x="550" y="723"/>
                    </a:lnTo>
                    <a:lnTo>
                      <a:pt x="550" y="722"/>
                    </a:lnTo>
                    <a:lnTo>
                      <a:pt x="550" y="722"/>
                    </a:lnTo>
                    <a:lnTo>
                      <a:pt x="558" y="710"/>
                    </a:lnTo>
                    <a:lnTo>
                      <a:pt x="567" y="701"/>
                    </a:lnTo>
                    <a:lnTo>
                      <a:pt x="567" y="701"/>
                    </a:lnTo>
                    <a:lnTo>
                      <a:pt x="575" y="690"/>
                    </a:lnTo>
                    <a:lnTo>
                      <a:pt x="577" y="687"/>
                    </a:lnTo>
                    <a:lnTo>
                      <a:pt x="577" y="687"/>
                    </a:lnTo>
                    <a:lnTo>
                      <a:pt x="584" y="679"/>
                    </a:lnTo>
                    <a:lnTo>
                      <a:pt x="584" y="679"/>
                    </a:lnTo>
                    <a:lnTo>
                      <a:pt x="591" y="673"/>
                    </a:lnTo>
                    <a:lnTo>
                      <a:pt x="594" y="669"/>
                    </a:lnTo>
                    <a:lnTo>
                      <a:pt x="594" y="668"/>
                    </a:lnTo>
                    <a:lnTo>
                      <a:pt x="594" y="668"/>
                    </a:lnTo>
                    <a:lnTo>
                      <a:pt x="594" y="666"/>
                    </a:lnTo>
                    <a:lnTo>
                      <a:pt x="594" y="666"/>
                    </a:lnTo>
                    <a:lnTo>
                      <a:pt x="594" y="666"/>
                    </a:lnTo>
                    <a:lnTo>
                      <a:pt x="594" y="666"/>
                    </a:lnTo>
                    <a:lnTo>
                      <a:pt x="594" y="666"/>
                    </a:lnTo>
                    <a:lnTo>
                      <a:pt x="594" y="666"/>
                    </a:lnTo>
                    <a:lnTo>
                      <a:pt x="590" y="664"/>
                    </a:lnTo>
                    <a:lnTo>
                      <a:pt x="590" y="664"/>
                    </a:lnTo>
                    <a:lnTo>
                      <a:pt x="591" y="665"/>
                    </a:lnTo>
                    <a:lnTo>
                      <a:pt x="591" y="665"/>
                    </a:lnTo>
                    <a:lnTo>
                      <a:pt x="590" y="665"/>
                    </a:lnTo>
                    <a:lnTo>
                      <a:pt x="588" y="665"/>
                    </a:lnTo>
                    <a:lnTo>
                      <a:pt x="586" y="661"/>
                    </a:lnTo>
                    <a:lnTo>
                      <a:pt x="586" y="661"/>
                    </a:lnTo>
                    <a:lnTo>
                      <a:pt x="587" y="660"/>
                    </a:lnTo>
                    <a:lnTo>
                      <a:pt x="587" y="658"/>
                    </a:lnTo>
                    <a:lnTo>
                      <a:pt x="584" y="660"/>
                    </a:lnTo>
                    <a:lnTo>
                      <a:pt x="583" y="658"/>
                    </a:lnTo>
                    <a:lnTo>
                      <a:pt x="583" y="658"/>
                    </a:lnTo>
                    <a:lnTo>
                      <a:pt x="583" y="660"/>
                    </a:lnTo>
                    <a:lnTo>
                      <a:pt x="584" y="661"/>
                    </a:lnTo>
                    <a:lnTo>
                      <a:pt x="582" y="665"/>
                    </a:lnTo>
                    <a:lnTo>
                      <a:pt x="578" y="665"/>
                    </a:lnTo>
                    <a:lnTo>
                      <a:pt x="578" y="665"/>
                    </a:lnTo>
                    <a:lnTo>
                      <a:pt x="577" y="665"/>
                    </a:lnTo>
                    <a:lnTo>
                      <a:pt x="577" y="665"/>
                    </a:lnTo>
                    <a:lnTo>
                      <a:pt x="574" y="665"/>
                    </a:lnTo>
                    <a:lnTo>
                      <a:pt x="574" y="665"/>
                    </a:lnTo>
                    <a:lnTo>
                      <a:pt x="573" y="664"/>
                    </a:lnTo>
                    <a:lnTo>
                      <a:pt x="573" y="664"/>
                    </a:lnTo>
                    <a:lnTo>
                      <a:pt x="574" y="664"/>
                    </a:lnTo>
                    <a:lnTo>
                      <a:pt x="575" y="662"/>
                    </a:lnTo>
                    <a:lnTo>
                      <a:pt x="575" y="662"/>
                    </a:lnTo>
                    <a:lnTo>
                      <a:pt x="577" y="660"/>
                    </a:lnTo>
                    <a:lnTo>
                      <a:pt x="571" y="666"/>
                    </a:lnTo>
                    <a:lnTo>
                      <a:pt x="570" y="666"/>
                    </a:lnTo>
                    <a:lnTo>
                      <a:pt x="570" y="666"/>
                    </a:lnTo>
                    <a:lnTo>
                      <a:pt x="567" y="666"/>
                    </a:lnTo>
                    <a:lnTo>
                      <a:pt x="567" y="666"/>
                    </a:lnTo>
                    <a:lnTo>
                      <a:pt x="565" y="666"/>
                    </a:lnTo>
                    <a:lnTo>
                      <a:pt x="565" y="666"/>
                    </a:lnTo>
                    <a:lnTo>
                      <a:pt x="563" y="665"/>
                    </a:lnTo>
                    <a:lnTo>
                      <a:pt x="563" y="665"/>
                    </a:lnTo>
                    <a:lnTo>
                      <a:pt x="565" y="665"/>
                    </a:lnTo>
                    <a:lnTo>
                      <a:pt x="567" y="664"/>
                    </a:lnTo>
                    <a:lnTo>
                      <a:pt x="567" y="664"/>
                    </a:lnTo>
                    <a:lnTo>
                      <a:pt x="569" y="661"/>
                    </a:lnTo>
                    <a:lnTo>
                      <a:pt x="562" y="668"/>
                    </a:lnTo>
                    <a:lnTo>
                      <a:pt x="562" y="668"/>
                    </a:lnTo>
                    <a:lnTo>
                      <a:pt x="562" y="668"/>
                    </a:lnTo>
                    <a:lnTo>
                      <a:pt x="559" y="668"/>
                    </a:lnTo>
                    <a:lnTo>
                      <a:pt x="559" y="668"/>
                    </a:lnTo>
                    <a:lnTo>
                      <a:pt x="555" y="668"/>
                    </a:lnTo>
                    <a:lnTo>
                      <a:pt x="555" y="668"/>
                    </a:lnTo>
                    <a:lnTo>
                      <a:pt x="551" y="666"/>
                    </a:lnTo>
                    <a:lnTo>
                      <a:pt x="551" y="666"/>
                    </a:lnTo>
                    <a:lnTo>
                      <a:pt x="550" y="666"/>
                    </a:lnTo>
                    <a:lnTo>
                      <a:pt x="550" y="666"/>
                    </a:lnTo>
                    <a:lnTo>
                      <a:pt x="551" y="666"/>
                    </a:lnTo>
                    <a:lnTo>
                      <a:pt x="547" y="669"/>
                    </a:lnTo>
                    <a:lnTo>
                      <a:pt x="541" y="669"/>
                    </a:lnTo>
                    <a:lnTo>
                      <a:pt x="534" y="662"/>
                    </a:lnTo>
                    <a:lnTo>
                      <a:pt x="534" y="654"/>
                    </a:lnTo>
                    <a:lnTo>
                      <a:pt x="534" y="654"/>
                    </a:lnTo>
                    <a:lnTo>
                      <a:pt x="533" y="650"/>
                    </a:lnTo>
                    <a:lnTo>
                      <a:pt x="533" y="645"/>
                    </a:lnTo>
                    <a:lnTo>
                      <a:pt x="533" y="645"/>
                    </a:lnTo>
                    <a:lnTo>
                      <a:pt x="532" y="642"/>
                    </a:lnTo>
                    <a:lnTo>
                      <a:pt x="532" y="642"/>
                    </a:lnTo>
                    <a:lnTo>
                      <a:pt x="532" y="642"/>
                    </a:lnTo>
                    <a:lnTo>
                      <a:pt x="532" y="642"/>
                    </a:lnTo>
                    <a:lnTo>
                      <a:pt x="532" y="642"/>
                    </a:lnTo>
                    <a:lnTo>
                      <a:pt x="529" y="646"/>
                    </a:lnTo>
                    <a:lnTo>
                      <a:pt x="529" y="646"/>
                    </a:lnTo>
                    <a:lnTo>
                      <a:pt x="529" y="648"/>
                    </a:lnTo>
                    <a:lnTo>
                      <a:pt x="522" y="652"/>
                    </a:lnTo>
                    <a:lnTo>
                      <a:pt x="522" y="652"/>
                    </a:lnTo>
                    <a:lnTo>
                      <a:pt x="521" y="652"/>
                    </a:lnTo>
                    <a:lnTo>
                      <a:pt x="521" y="652"/>
                    </a:lnTo>
                    <a:lnTo>
                      <a:pt x="518" y="652"/>
                    </a:lnTo>
                    <a:lnTo>
                      <a:pt x="518" y="652"/>
                    </a:lnTo>
                    <a:lnTo>
                      <a:pt x="521" y="650"/>
                    </a:lnTo>
                    <a:lnTo>
                      <a:pt x="522" y="648"/>
                    </a:lnTo>
                    <a:lnTo>
                      <a:pt x="517" y="653"/>
                    </a:lnTo>
                    <a:lnTo>
                      <a:pt x="516" y="653"/>
                    </a:lnTo>
                    <a:lnTo>
                      <a:pt x="516" y="653"/>
                    </a:lnTo>
                    <a:lnTo>
                      <a:pt x="513" y="654"/>
                    </a:lnTo>
                    <a:lnTo>
                      <a:pt x="512" y="656"/>
                    </a:lnTo>
                    <a:lnTo>
                      <a:pt x="512" y="660"/>
                    </a:lnTo>
                    <a:lnTo>
                      <a:pt x="512" y="666"/>
                    </a:lnTo>
                    <a:lnTo>
                      <a:pt x="512" y="666"/>
                    </a:lnTo>
                    <a:lnTo>
                      <a:pt x="512" y="671"/>
                    </a:lnTo>
                    <a:lnTo>
                      <a:pt x="512" y="678"/>
                    </a:lnTo>
                    <a:lnTo>
                      <a:pt x="512" y="678"/>
                    </a:lnTo>
                    <a:lnTo>
                      <a:pt x="510" y="682"/>
                    </a:lnTo>
                    <a:lnTo>
                      <a:pt x="509" y="685"/>
                    </a:lnTo>
                    <a:lnTo>
                      <a:pt x="510" y="686"/>
                    </a:lnTo>
                    <a:lnTo>
                      <a:pt x="510" y="686"/>
                    </a:lnTo>
                    <a:lnTo>
                      <a:pt x="509" y="689"/>
                    </a:lnTo>
                    <a:lnTo>
                      <a:pt x="506" y="691"/>
                    </a:lnTo>
                    <a:lnTo>
                      <a:pt x="506" y="691"/>
                    </a:lnTo>
                    <a:lnTo>
                      <a:pt x="508" y="693"/>
                    </a:lnTo>
                    <a:lnTo>
                      <a:pt x="508" y="693"/>
                    </a:lnTo>
                    <a:lnTo>
                      <a:pt x="510" y="694"/>
                    </a:lnTo>
                    <a:lnTo>
                      <a:pt x="512" y="698"/>
                    </a:lnTo>
                    <a:lnTo>
                      <a:pt x="513" y="702"/>
                    </a:lnTo>
                    <a:lnTo>
                      <a:pt x="512" y="707"/>
                    </a:lnTo>
                    <a:lnTo>
                      <a:pt x="506" y="710"/>
                    </a:lnTo>
                    <a:lnTo>
                      <a:pt x="506" y="710"/>
                    </a:lnTo>
                    <a:lnTo>
                      <a:pt x="506" y="710"/>
                    </a:lnTo>
                    <a:lnTo>
                      <a:pt x="505" y="714"/>
                    </a:lnTo>
                    <a:lnTo>
                      <a:pt x="502" y="718"/>
                    </a:lnTo>
                    <a:lnTo>
                      <a:pt x="496" y="722"/>
                    </a:lnTo>
                    <a:lnTo>
                      <a:pt x="496" y="722"/>
                    </a:lnTo>
                    <a:lnTo>
                      <a:pt x="495" y="722"/>
                    </a:lnTo>
                    <a:lnTo>
                      <a:pt x="496" y="723"/>
                    </a:lnTo>
                    <a:lnTo>
                      <a:pt x="496" y="723"/>
                    </a:lnTo>
                    <a:lnTo>
                      <a:pt x="496" y="723"/>
                    </a:lnTo>
                    <a:lnTo>
                      <a:pt x="496" y="723"/>
                    </a:lnTo>
                    <a:lnTo>
                      <a:pt x="495" y="723"/>
                    </a:lnTo>
                    <a:lnTo>
                      <a:pt x="495" y="723"/>
                    </a:lnTo>
                    <a:lnTo>
                      <a:pt x="495" y="723"/>
                    </a:lnTo>
                    <a:lnTo>
                      <a:pt x="499" y="727"/>
                    </a:lnTo>
                    <a:lnTo>
                      <a:pt x="499" y="727"/>
                    </a:lnTo>
                    <a:lnTo>
                      <a:pt x="499" y="732"/>
                    </a:lnTo>
                    <a:lnTo>
                      <a:pt x="497" y="736"/>
                    </a:lnTo>
                    <a:lnTo>
                      <a:pt x="497" y="736"/>
                    </a:lnTo>
                    <a:lnTo>
                      <a:pt x="497" y="738"/>
                    </a:lnTo>
                    <a:lnTo>
                      <a:pt x="497" y="738"/>
                    </a:lnTo>
                    <a:lnTo>
                      <a:pt x="497" y="744"/>
                    </a:lnTo>
                    <a:lnTo>
                      <a:pt x="496" y="749"/>
                    </a:lnTo>
                    <a:lnTo>
                      <a:pt x="493" y="755"/>
                    </a:lnTo>
                    <a:lnTo>
                      <a:pt x="488" y="759"/>
                    </a:lnTo>
                    <a:lnTo>
                      <a:pt x="488" y="759"/>
                    </a:lnTo>
                    <a:lnTo>
                      <a:pt x="488" y="759"/>
                    </a:lnTo>
                    <a:lnTo>
                      <a:pt x="485" y="760"/>
                    </a:lnTo>
                    <a:lnTo>
                      <a:pt x="483" y="761"/>
                    </a:lnTo>
                    <a:lnTo>
                      <a:pt x="483" y="761"/>
                    </a:lnTo>
                    <a:lnTo>
                      <a:pt x="483" y="767"/>
                    </a:lnTo>
                    <a:lnTo>
                      <a:pt x="479" y="772"/>
                    </a:lnTo>
                    <a:lnTo>
                      <a:pt x="479" y="772"/>
                    </a:lnTo>
                    <a:lnTo>
                      <a:pt x="475" y="773"/>
                    </a:lnTo>
                    <a:lnTo>
                      <a:pt x="475" y="773"/>
                    </a:lnTo>
                    <a:lnTo>
                      <a:pt x="469" y="772"/>
                    </a:lnTo>
                    <a:lnTo>
                      <a:pt x="465" y="771"/>
                    </a:lnTo>
                    <a:lnTo>
                      <a:pt x="460" y="764"/>
                    </a:lnTo>
                    <a:lnTo>
                      <a:pt x="460" y="764"/>
                    </a:lnTo>
                    <a:lnTo>
                      <a:pt x="455" y="760"/>
                    </a:lnTo>
                    <a:lnTo>
                      <a:pt x="454" y="752"/>
                    </a:lnTo>
                    <a:lnTo>
                      <a:pt x="454" y="752"/>
                    </a:lnTo>
                    <a:lnTo>
                      <a:pt x="455" y="747"/>
                    </a:lnTo>
                    <a:lnTo>
                      <a:pt x="454" y="743"/>
                    </a:lnTo>
                    <a:lnTo>
                      <a:pt x="454" y="743"/>
                    </a:lnTo>
                    <a:lnTo>
                      <a:pt x="452" y="742"/>
                    </a:lnTo>
                    <a:lnTo>
                      <a:pt x="450" y="738"/>
                    </a:lnTo>
                    <a:lnTo>
                      <a:pt x="450" y="738"/>
                    </a:lnTo>
                    <a:lnTo>
                      <a:pt x="450" y="738"/>
                    </a:lnTo>
                    <a:lnTo>
                      <a:pt x="446" y="734"/>
                    </a:lnTo>
                    <a:lnTo>
                      <a:pt x="446" y="734"/>
                    </a:lnTo>
                    <a:lnTo>
                      <a:pt x="443" y="731"/>
                    </a:lnTo>
                    <a:lnTo>
                      <a:pt x="443" y="731"/>
                    </a:lnTo>
                    <a:lnTo>
                      <a:pt x="438" y="732"/>
                    </a:lnTo>
                    <a:lnTo>
                      <a:pt x="438" y="732"/>
                    </a:lnTo>
                    <a:lnTo>
                      <a:pt x="435" y="731"/>
                    </a:lnTo>
                    <a:lnTo>
                      <a:pt x="431" y="724"/>
                    </a:lnTo>
                    <a:lnTo>
                      <a:pt x="431" y="724"/>
                    </a:lnTo>
                    <a:lnTo>
                      <a:pt x="432" y="718"/>
                    </a:lnTo>
                    <a:lnTo>
                      <a:pt x="436" y="711"/>
                    </a:lnTo>
                    <a:lnTo>
                      <a:pt x="440" y="707"/>
                    </a:lnTo>
                    <a:lnTo>
                      <a:pt x="444" y="703"/>
                    </a:lnTo>
                    <a:lnTo>
                      <a:pt x="444" y="703"/>
                    </a:lnTo>
                    <a:lnTo>
                      <a:pt x="447" y="701"/>
                    </a:lnTo>
                    <a:lnTo>
                      <a:pt x="448" y="699"/>
                    </a:lnTo>
                    <a:lnTo>
                      <a:pt x="448" y="699"/>
                    </a:lnTo>
                    <a:lnTo>
                      <a:pt x="447" y="699"/>
                    </a:lnTo>
                    <a:lnTo>
                      <a:pt x="447" y="699"/>
                    </a:lnTo>
                    <a:lnTo>
                      <a:pt x="447" y="698"/>
                    </a:lnTo>
                    <a:lnTo>
                      <a:pt x="447" y="698"/>
                    </a:lnTo>
                    <a:lnTo>
                      <a:pt x="451" y="693"/>
                    </a:lnTo>
                    <a:lnTo>
                      <a:pt x="451" y="693"/>
                    </a:lnTo>
                    <a:lnTo>
                      <a:pt x="450" y="693"/>
                    </a:lnTo>
                    <a:lnTo>
                      <a:pt x="450" y="693"/>
                    </a:lnTo>
                    <a:lnTo>
                      <a:pt x="450" y="693"/>
                    </a:lnTo>
                    <a:lnTo>
                      <a:pt x="450" y="690"/>
                    </a:lnTo>
                    <a:lnTo>
                      <a:pt x="450" y="690"/>
                    </a:lnTo>
                    <a:lnTo>
                      <a:pt x="448" y="690"/>
                    </a:lnTo>
                    <a:lnTo>
                      <a:pt x="446" y="686"/>
                    </a:lnTo>
                    <a:lnTo>
                      <a:pt x="446" y="686"/>
                    </a:lnTo>
                    <a:lnTo>
                      <a:pt x="444" y="686"/>
                    </a:lnTo>
                    <a:lnTo>
                      <a:pt x="444" y="686"/>
                    </a:lnTo>
                    <a:lnTo>
                      <a:pt x="447" y="687"/>
                    </a:lnTo>
                    <a:lnTo>
                      <a:pt x="442" y="679"/>
                    </a:lnTo>
                    <a:lnTo>
                      <a:pt x="442" y="679"/>
                    </a:lnTo>
                    <a:lnTo>
                      <a:pt x="444" y="677"/>
                    </a:lnTo>
                    <a:lnTo>
                      <a:pt x="444" y="677"/>
                    </a:lnTo>
                    <a:lnTo>
                      <a:pt x="444" y="677"/>
                    </a:lnTo>
                    <a:lnTo>
                      <a:pt x="447" y="671"/>
                    </a:lnTo>
                    <a:lnTo>
                      <a:pt x="447" y="671"/>
                    </a:lnTo>
                    <a:lnTo>
                      <a:pt x="447" y="673"/>
                    </a:lnTo>
                    <a:lnTo>
                      <a:pt x="447" y="673"/>
                    </a:lnTo>
                    <a:lnTo>
                      <a:pt x="447" y="670"/>
                    </a:lnTo>
                    <a:lnTo>
                      <a:pt x="447" y="670"/>
                    </a:lnTo>
                    <a:lnTo>
                      <a:pt x="448" y="668"/>
                    </a:lnTo>
                    <a:lnTo>
                      <a:pt x="448" y="668"/>
                    </a:lnTo>
                    <a:lnTo>
                      <a:pt x="448" y="668"/>
                    </a:lnTo>
                    <a:lnTo>
                      <a:pt x="446" y="665"/>
                    </a:lnTo>
                    <a:lnTo>
                      <a:pt x="442" y="664"/>
                    </a:lnTo>
                    <a:lnTo>
                      <a:pt x="442" y="664"/>
                    </a:lnTo>
                    <a:lnTo>
                      <a:pt x="440" y="664"/>
                    </a:lnTo>
                    <a:lnTo>
                      <a:pt x="440" y="664"/>
                    </a:lnTo>
                    <a:lnTo>
                      <a:pt x="440" y="664"/>
                    </a:lnTo>
                    <a:lnTo>
                      <a:pt x="442" y="662"/>
                    </a:lnTo>
                    <a:lnTo>
                      <a:pt x="443" y="660"/>
                    </a:lnTo>
                    <a:lnTo>
                      <a:pt x="438" y="664"/>
                    </a:lnTo>
                    <a:lnTo>
                      <a:pt x="438" y="664"/>
                    </a:lnTo>
                    <a:lnTo>
                      <a:pt x="438" y="665"/>
                    </a:lnTo>
                    <a:lnTo>
                      <a:pt x="438" y="665"/>
                    </a:lnTo>
                    <a:lnTo>
                      <a:pt x="438" y="665"/>
                    </a:lnTo>
                    <a:lnTo>
                      <a:pt x="436" y="666"/>
                    </a:lnTo>
                    <a:lnTo>
                      <a:pt x="432" y="666"/>
                    </a:lnTo>
                    <a:lnTo>
                      <a:pt x="432" y="666"/>
                    </a:lnTo>
                    <a:lnTo>
                      <a:pt x="435" y="665"/>
                    </a:lnTo>
                    <a:lnTo>
                      <a:pt x="436" y="662"/>
                    </a:lnTo>
                    <a:lnTo>
                      <a:pt x="428" y="666"/>
                    </a:lnTo>
                    <a:lnTo>
                      <a:pt x="428" y="666"/>
                    </a:lnTo>
                    <a:lnTo>
                      <a:pt x="428" y="666"/>
                    </a:lnTo>
                    <a:lnTo>
                      <a:pt x="428" y="666"/>
                    </a:lnTo>
                    <a:lnTo>
                      <a:pt x="427" y="668"/>
                    </a:lnTo>
                    <a:lnTo>
                      <a:pt x="427" y="668"/>
                    </a:lnTo>
                    <a:lnTo>
                      <a:pt x="424" y="668"/>
                    </a:lnTo>
                    <a:lnTo>
                      <a:pt x="422" y="669"/>
                    </a:lnTo>
                    <a:lnTo>
                      <a:pt x="422" y="669"/>
                    </a:lnTo>
                    <a:lnTo>
                      <a:pt x="419" y="669"/>
                    </a:lnTo>
                    <a:lnTo>
                      <a:pt x="419" y="669"/>
                    </a:lnTo>
                    <a:lnTo>
                      <a:pt x="419" y="668"/>
                    </a:lnTo>
                    <a:lnTo>
                      <a:pt x="418" y="669"/>
                    </a:lnTo>
                    <a:lnTo>
                      <a:pt x="418" y="669"/>
                    </a:lnTo>
                    <a:lnTo>
                      <a:pt x="415" y="670"/>
                    </a:lnTo>
                    <a:lnTo>
                      <a:pt x="410" y="671"/>
                    </a:lnTo>
                    <a:lnTo>
                      <a:pt x="410" y="671"/>
                    </a:lnTo>
                    <a:lnTo>
                      <a:pt x="409" y="670"/>
                    </a:lnTo>
                    <a:lnTo>
                      <a:pt x="409" y="670"/>
                    </a:lnTo>
                    <a:lnTo>
                      <a:pt x="407" y="670"/>
                    </a:lnTo>
                    <a:lnTo>
                      <a:pt x="407" y="671"/>
                    </a:lnTo>
                    <a:lnTo>
                      <a:pt x="407" y="671"/>
                    </a:lnTo>
                    <a:lnTo>
                      <a:pt x="403" y="673"/>
                    </a:lnTo>
                    <a:lnTo>
                      <a:pt x="399" y="673"/>
                    </a:lnTo>
                    <a:lnTo>
                      <a:pt x="399" y="673"/>
                    </a:lnTo>
                    <a:lnTo>
                      <a:pt x="397" y="673"/>
                    </a:lnTo>
                    <a:lnTo>
                      <a:pt x="395" y="673"/>
                    </a:lnTo>
                    <a:lnTo>
                      <a:pt x="394" y="674"/>
                    </a:lnTo>
                    <a:lnTo>
                      <a:pt x="394" y="674"/>
                    </a:lnTo>
                    <a:lnTo>
                      <a:pt x="394" y="674"/>
                    </a:lnTo>
                    <a:lnTo>
                      <a:pt x="387" y="677"/>
                    </a:lnTo>
                    <a:lnTo>
                      <a:pt x="381" y="677"/>
                    </a:lnTo>
                    <a:lnTo>
                      <a:pt x="381" y="677"/>
                    </a:lnTo>
                    <a:lnTo>
                      <a:pt x="380" y="677"/>
                    </a:lnTo>
                    <a:lnTo>
                      <a:pt x="380" y="677"/>
                    </a:lnTo>
                    <a:lnTo>
                      <a:pt x="380" y="677"/>
                    </a:lnTo>
                    <a:lnTo>
                      <a:pt x="377" y="679"/>
                    </a:lnTo>
                    <a:lnTo>
                      <a:pt x="372" y="679"/>
                    </a:lnTo>
                    <a:lnTo>
                      <a:pt x="366" y="675"/>
                    </a:lnTo>
                    <a:lnTo>
                      <a:pt x="366" y="675"/>
                    </a:lnTo>
                    <a:lnTo>
                      <a:pt x="365" y="674"/>
                    </a:lnTo>
                    <a:lnTo>
                      <a:pt x="365" y="674"/>
                    </a:lnTo>
                    <a:lnTo>
                      <a:pt x="364" y="670"/>
                    </a:lnTo>
                    <a:lnTo>
                      <a:pt x="364" y="668"/>
                    </a:lnTo>
                    <a:lnTo>
                      <a:pt x="364" y="664"/>
                    </a:lnTo>
                    <a:lnTo>
                      <a:pt x="368" y="660"/>
                    </a:lnTo>
                    <a:lnTo>
                      <a:pt x="366" y="660"/>
                    </a:lnTo>
                    <a:lnTo>
                      <a:pt x="366" y="660"/>
                    </a:lnTo>
                    <a:lnTo>
                      <a:pt x="365" y="662"/>
                    </a:lnTo>
                    <a:lnTo>
                      <a:pt x="365" y="662"/>
                    </a:lnTo>
                    <a:lnTo>
                      <a:pt x="365" y="661"/>
                    </a:lnTo>
                    <a:lnTo>
                      <a:pt x="365" y="661"/>
                    </a:lnTo>
                    <a:lnTo>
                      <a:pt x="365" y="660"/>
                    </a:lnTo>
                    <a:lnTo>
                      <a:pt x="365" y="658"/>
                    </a:lnTo>
                    <a:lnTo>
                      <a:pt x="369" y="653"/>
                    </a:lnTo>
                    <a:lnTo>
                      <a:pt x="368" y="653"/>
                    </a:lnTo>
                    <a:lnTo>
                      <a:pt x="368" y="653"/>
                    </a:lnTo>
                    <a:lnTo>
                      <a:pt x="366" y="656"/>
                    </a:lnTo>
                    <a:lnTo>
                      <a:pt x="366" y="656"/>
                    </a:lnTo>
                    <a:lnTo>
                      <a:pt x="366" y="656"/>
                    </a:lnTo>
                    <a:lnTo>
                      <a:pt x="366" y="656"/>
                    </a:lnTo>
                    <a:lnTo>
                      <a:pt x="366" y="653"/>
                    </a:lnTo>
                    <a:lnTo>
                      <a:pt x="366" y="652"/>
                    </a:lnTo>
                    <a:lnTo>
                      <a:pt x="369" y="646"/>
                    </a:lnTo>
                    <a:lnTo>
                      <a:pt x="369" y="646"/>
                    </a:lnTo>
                    <a:lnTo>
                      <a:pt x="369" y="648"/>
                    </a:lnTo>
                    <a:lnTo>
                      <a:pt x="369" y="648"/>
                    </a:lnTo>
                    <a:lnTo>
                      <a:pt x="369" y="646"/>
                    </a:lnTo>
                    <a:lnTo>
                      <a:pt x="368" y="646"/>
                    </a:lnTo>
                    <a:lnTo>
                      <a:pt x="365" y="645"/>
                    </a:lnTo>
                    <a:lnTo>
                      <a:pt x="365" y="645"/>
                    </a:lnTo>
                    <a:lnTo>
                      <a:pt x="364" y="645"/>
                    </a:lnTo>
                    <a:lnTo>
                      <a:pt x="364" y="645"/>
                    </a:lnTo>
                    <a:lnTo>
                      <a:pt x="361" y="644"/>
                    </a:lnTo>
                    <a:lnTo>
                      <a:pt x="358" y="642"/>
                    </a:lnTo>
                    <a:lnTo>
                      <a:pt x="358" y="642"/>
                    </a:lnTo>
                    <a:lnTo>
                      <a:pt x="358" y="642"/>
                    </a:lnTo>
                    <a:lnTo>
                      <a:pt x="357" y="642"/>
                    </a:lnTo>
                    <a:lnTo>
                      <a:pt x="353" y="637"/>
                    </a:lnTo>
                    <a:lnTo>
                      <a:pt x="353" y="596"/>
                    </a:lnTo>
                    <a:lnTo>
                      <a:pt x="358" y="591"/>
                    </a:lnTo>
                    <a:lnTo>
                      <a:pt x="358" y="591"/>
                    </a:lnTo>
                    <a:lnTo>
                      <a:pt x="356" y="592"/>
                    </a:lnTo>
                    <a:lnTo>
                      <a:pt x="354" y="593"/>
                    </a:lnTo>
                    <a:lnTo>
                      <a:pt x="354" y="593"/>
                    </a:lnTo>
                    <a:lnTo>
                      <a:pt x="354" y="593"/>
                    </a:lnTo>
                    <a:lnTo>
                      <a:pt x="354" y="593"/>
                    </a:lnTo>
                    <a:lnTo>
                      <a:pt x="354" y="591"/>
                    </a:lnTo>
                    <a:lnTo>
                      <a:pt x="354" y="591"/>
                    </a:lnTo>
                    <a:lnTo>
                      <a:pt x="356" y="583"/>
                    </a:lnTo>
                    <a:lnTo>
                      <a:pt x="358" y="576"/>
                    </a:lnTo>
                    <a:lnTo>
                      <a:pt x="358" y="576"/>
                    </a:lnTo>
                    <a:lnTo>
                      <a:pt x="360" y="574"/>
                    </a:lnTo>
                    <a:lnTo>
                      <a:pt x="358" y="574"/>
                    </a:lnTo>
                    <a:lnTo>
                      <a:pt x="352" y="570"/>
                    </a:lnTo>
                    <a:lnTo>
                      <a:pt x="352" y="570"/>
                    </a:lnTo>
                    <a:lnTo>
                      <a:pt x="353" y="571"/>
                    </a:lnTo>
                    <a:lnTo>
                      <a:pt x="353" y="571"/>
                    </a:lnTo>
                    <a:lnTo>
                      <a:pt x="352" y="570"/>
                    </a:lnTo>
                    <a:lnTo>
                      <a:pt x="352" y="570"/>
                    </a:lnTo>
                    <a:lnTo>
                      <a:pt x="348" y="567"/>
                    </a:lnTo>
                    <a:lnTo>
                      <a:pt x="346" y="567"/>
                    </a:lnTo>
                    <a:lnTo>
                      <a:pt x="346" y="567"/>
                    </a:lnTo>
                    <a:lnTo>
                      <a:pt x="343" y="563"/>
                    </a:lnTo>
                    <a:lnTo>
                      <a:pt x="339" y="560"/>
                    </a:lnTo>
                    <a:lnTo>
                      <a:pt x="339" y="560"/>
                    </a:lnTo>
                    <a:lnTo>
                      <a:pt x="329" y="554"/>
                    </a:lnTo>
                    <a:lnTo>
                      <a:pt x="331" y="554"/>
                    </a:lnTo>
                    <a:lnTo>
                      <a:pt x="327" y="551"/>
                    </a:lnTo>
                    <a:lnTo>
                      <a:pt x="327" y="551"/>
                    </a:lnTo>
                    <a:lnTo>
                      <a:pt x="328" y="552"/>
                    </a:lnTo>
                    <a:lnTo>
                      <a:pt x="328" y="552"/>
                    </a:lnTo>
                    <a:lnTo>
                      <a:pt x="325" y="551"/>
                    </a:lnTo>
                    <a:lnTo>
                      <a:pt x="325" y="551"/>
                    </a:lnTo>
                    <a:lnTo>
                      <a:pt x="321" y="549"/>
                    </a:lnTo>
                    <a:lnTo>
                      <a:pt x="321" y="549"/>
                    </a:lnTo>
                    <a:lnTo>
                      <a:pt x="319" y="547"/>
                    </a:lnTo>
                    <a:lnTo>
                      <a:pt x="319" y="547"/>
                    </a:lnTo>
                    <a:lnTo>
                      <a:pt x="317" y="546"/>
                    </a:lnTo>
                    <a:lnTo>
                      <a:pt x="317" y="546"/>
                    </a:lnTo>
                    <a:lnTo>
                      <a:pt x="320" y="547"/>
                    </a:lnTo>
                    <a:lnTo>
                      <a:pt x="315" y="542"/>
                    </a:lnTo>
                    <a:lnTo>
                      <a:pt x="315" y="542"/>
                    </a:lnTo>
                    <a:lnTo>
                      <a:pt x="315" y="539"/>
                    </a:lnTo>
                    <a:lnTo>
                      <a:pt x="316" y="537"/>
                    </a:lnTo>
                    <a:lnTo>
                      <a:pt x="319" y="534"/>
                    </a:lnTo>
                    <a:lnTo>
                      <a:pt x="319" y="533"/>
                    </a:lnTo>
                    <a:lnTo>
                      <a:pt x="321" y="529"/>
                    </a:lnTo>
                    <a:lnTo>
                      <a:pt x="321" y="529"/>
                    </a:lnTo>
                    <a:lnTo>
                      <a:pt x="323" y="525"/>
                    </a:lnTo>
                    <a:lnTo>
                      <a:pt x="323" y="523"/>
                    </a:lnTo>
                    <a:lnTo>
                      <a:pt x="324" y="519"/>
                    </a:lnTo>
                    <a:lnTo>
                      <a:pt x="324" y="519"/>
                    </a:lnTo>
                    <a:lnTo>
                      <a:pt x="327" y="517"/>
                    </a:lnTo>
                    <a:lnTo>
                      <a:pt x="328" y="513"/>
                    </a:lnTo>
                    <a:lnTo>
                      <a:pt x="328" y="513"/>
                    </a:lnTo>
                    <a:lnTo>
                      <a:pt x="329" y="508"/>
                    </a:lnTo>
                    <a:lnTo>
                      <a:pt x="329" y="508"/>
                    </a:lnTo>
                    <a:lnTo>
                      <a:pt x="332" y="505"/>
                    </a:lnTo>
                    <a:lnTo>
                      <a:pt x="332" y="502"/>
                    </a:lnTo>
                    <a:lnTo>
                      <a:pt x="332" y="501"/>
                    </a:lnTo>
                    <a:lnTo>
                      <a:pt x="332" y="501"/>
                    </a:lnTo>
                    <a:lnTo>
                      <a:pt x="333" y="497"/>
                    </a:lnTo>
                    <a:lnTo>
                      <a:pt x="333" y="497"/>
                    </a:lnTo>
                    <a:lnTo>
                      <a:pt x="333" y="500"/>
                    </a:lnTo>
                    <a:lnTo>
                      <a:pt x="335" y="494"/>
                    </a:lnTo>
                    <a:lnTo>
                      <a:pt x="335" y="494"/>
                    </a:lnTo>
                    <a:lnTo>
                      <a:pt x="337" y="493"/>
                    </a:lnTo>
                    <a:lnTo>
                      <a:pt x="337" y="493"/>
                    </a:lnTo>
                    <a:lnTo>
                      <a:pt x="339" y="493"/>
                    </a:lnTo>
                    <a:lnTo>
                      <a:pt x="341" y="490"/>
                    </a:lnTo>
                    <a:lnTo>
                      <a:pt x="341" y="490"/>
                    </a:lnTo>
                    <a:lnTo>
                      <a:pt x="345" y="489"/>
                    </a:lnTo>
                    <a:lnTo>
                      <a:pt x="345" y="489"/>
                    </a:lnTo>
                    <a:lnTo>
                      <a:pt x="348" y="488"/>
                    </a:lnTo>
                    <a:lnTo>
                      <a:pt x="348" y="486"/>
                    </a:lnTo>
                    <a:lnTo>
                      <a:pt x="348" y="486"/>
                    </a:lnTo>
                    <a:lnTo>
                      <a:pt x="348" y="484"/>
                    </a:lnTo>
                    <a:lnTo>
                      <a:pt x="348" y="484"/>
                    </a:lnTo>
                    <a:lnTo>
                      <a:pt x="348" y="482"/>
                    </a:lnTo>
                    <a:lnTo>
                      <a:pt x="348" y="482"/>
                    </a:lnTo>
                    <a:lnTo>
                      <a:pt x="349" y="485"/>
                    </a:lnTo>
                    <a:lnTo>
                      <a:pt x="352" y="486"/>
                    </a:lnTo>
                    <a:lnTo>
                      <a:pt x="346" y="481"/>
                    </a:lnTo>
                    <a:lnTo>
                      <a:pt x="346" y="480"/>
                    </a:lnTo>
                    <a:lnTo>
                      <a:pt x="346" y="480"/>
                    </a:lnTo>
                    <a:lnTo>
                      <a:pt x="346" y="477"/>
                    </a:lnTo>
                    <a:lnTo>
                      <a:pt x="346" y="477"/>
                    </a:lnTo>
                    <a:lnTo>
                      <a:pt x="346" y="477"/>
                    </a:lnTo>
                    <a:lnTo>
                      <a:pt x="345" y="476"/>
                    </a:lnTo>
                    <a:lnTo>
                      <a:pt x="345" y="476"/>
                    </a:lnTo>
                    <a:lnTo>
                      <a:pt x="346" y="477"/>
                    </a:lnTo>
                    <a:lnTo>
                      <a:pt x="346" y="477"/>
                    </a:lnTo>
                    <a:lnTo>
                      <a:pt x="345" y="476"/>
                    </a:lnTo>
                    <a:lnTo>
                      <a:pt x="344" y="472"/>
                    </a:lnTo>
                    <a:lnTo>
                      <a:pt x="344" y="469"/>
                    </a:lnTo>
                    <a:lnTo>
                      <a:pt x="344" y="469"/>
                    </a:lnTo>
                    <a:lnTo>
                      <a:pt x="344" y="469"/>
                    </a:lnTo>
                    <a:lnTo>
                      <a:pt x="344" y="469"/>
                    </a:lnTo>
                    <a:lnTo>
                      <a:pt x="345" y="469"/>
                    </a:lnTo>
                    <a:lnTo>
                      <a:pt x="343" y="465"/>
                    </a:lnTo>
                    <a:lnTo>
                      <a:pt x="343" y="465"/>
                    </a:lnTo>
                    <a:lnTo>
                      <a:pt x="343" y="464"/>
                    </a:lnTo>
                    <a:lnTo>
                      <a:pt x="341" y="464"/>
                    </a:lnTo>
                    <a:lnTo>
                      <a:pt x="341" y="464"/>
                    </a:lnTo>
                    <a:lnTo>
                      <a:pt x="341" y="464"/>
                    </a:lnTo>
                    <a:lnTo>
                      <a:pt x="341" y="464"/>
                    </a:lnTo>
                    <a:lnTo>
                      <a:pt x="340" y="457"/>
                    </a:lnTo>
                    <a:lnTo>
                      <a:pt x="336" y="453"/>
                    </a:lnTo>
                    <a:lnTo>
                      <a:pt x="335" y="451"/>
                    </a:lnTo>
                    <a:lnTo>
                      <a:pt x="335" y="451"/>
                    </a:lnTo>
                    <a:lnTo>
                      <a:pt x="333" y="448"/>
                    </a:lnTo>
                    <a:lnTo>
                      <a:pt x="333" y="448"/>
                    </a:lnTo>
                    <a:lnTo>
                      <a:pt x="328" y="445"/>
                    </a:lnTo>
                    <a:lnTo>
                      <a:pt x="328" y="445"/>
                    </a:lnTo>
                    <a:lnTo>
                      <a:pt x="327" y="443"/>
                    </a:lnTo>
                    <a:lnTo>
                      <a:pt x="323" y="440"/>
                    </a:lnTo>
                    <a:lnTo>
                      <a:pt x="319" y="437"/>
                    </a:lnTo>
                    <a:lnTo>
                      <a:pt x="315" y="437"/>
                    </a:lnTo>
                    <a:lnTo>
                      <a:pt x="315" y="437"/>
                    </a:lnTo>
                    <a:lnTo>
                      <a:pt x="312" y="437"/>
                    </a:lnTo>
                    <a:lnTo>
                      <a:pt x="311" y="439"/>
                    </a:lnTo>
                    <a:lnTo>
                      <a:pt x="311" y="439"/>
                    </a:lnTo>
                    <a:lnTo>
                      <a:pt x="311" y="440"/>
                    </a:lnTo>
                    <a:lnTo>
                      <a:pt x="309" y="441"/>
                    </a:lnTo>
                    <a:lnTo>
                      <a:pt x="309" y="441"/>
                    </a:lnTo>
                    <a:lnTo>
                      <a:pt x="311" y="439"/>
                    </a:lnTo>
                    <a:lnTo>
                      <a:pt x="311" y="439"/>
                    </a:lnTo>
                    <a:lnTo>
                      <a:pt x="311" y="439"/>
                    </a:lnTo>
                    <a:lnTo>
                      <a:pt x="309" y="439"/>
                    </a:lnTo>
                    <a:lnTo>
                      <a:pt x="305" y="443"/>
                    </a:lnTo>
                    <a:lnTo>
                      <a:pt x="305" y="443"/>
                    </a:lnTo>
                    <a:lnTo>
                      <a:pt x="307" y="443"/>
                    </a:lnTo>
                    <a:lnTo>
                      <a:pt x="302" y="444"/>
                    </a:lnTo>
                    <a:lnTo>
                      <a:pt x="302" y="444"/>
                    </a:lnTo>
                    <a:lnTo>
                      <a:pt x="298" y="443"/>
                    </a:lnTo>
                    <a:lnTo>
                      <a:pt x="298" y="443"/>
                    </a:lnTo>
                    <a:lnTo>
                      <a:pt x="295" y="440"/>
                    </a:lnTo>
                    <a:lnTo>
                      <a:pt x="295" y="440"/>
                    </a:lnTo>
                    <a:lnTo>
                      <a:pt x="290" y="436"/>
                    </a:lnTo>
                    <a:lnTo>
                      <a:pt x="290" y="436"/>
                    </a:lnTo>
                    <a:lnTo>
                      <a:pt x="291" y="437"/>
                    </a:lnTo>
                    <a:lnTo>
                      <a:pt x="291" y="437"/>
                    </a:lnTo>
                    <a:lnTo>
                      <a:pt x="290" y="437"/>
                    </a:lnTo>
                    <a:lnTo>
                      <a:pt x="290" y="437"/>
                    </a:lnTo>
                    <a:lnTo>
                      <a:pt x="284" y="435"/>
                    </a:lnTo>
                    <a:lnTo>
                      <a:pt x="284" y="435"/>
                    </a:lnTo>
                    <a:lnTo>
                      <a:pt x="282" y="432"/>
                    </a:lnTo>
                    <a:lnTo>
                      <a:pt x="282" y="432"/>
                    </a:lnTo>
                    <a:lnTo>
                      <a:pt x="276" y="431"/>
                    </a:lnTo>
                    <a:lnTo>
                      <a:pt x="276" y="431"/>
                    </a:lnTo>
                    <a:lnTo>
                      <a:pt x="271" y="430"/>
                    </a:lnTo>
                    <a:lnTo>
                      <a:pt x="267" y="428"/>
                    </a:lnTo>
                    <a:lnTo>
                      <a:pt x="267" y="428"/>
                    </a:lnTo>
                    <a:lnTo>
                      <a:pt x="266" y="428"/>
                    </a:lnTo>
                    <a:lnTo>
                      <a:pt x="263" y="426"/>
                    </a:lnTo>
                    <a:lnTo>
                      <a:pt x="263" y="426"/>
                    </a:lnTo>
                    <a:lnTo>
                      <a:pt x="263" y="426"/>
                    </a:lnTo>
                    <a:lnTo>
                      <a:pt x="263" y="426"/>
                    </a:lnTo>
                    <a:lnTo>
                      <a:pt x="261" y="426"/>
                    </a:lnTo>
                    <a:lnTo>
                      <a:pt x="261" y="426"/>
                    </a:lnTo>
                    <a:lnTo>
                      <a:pt x="259" y="426"/>
                    </a:lnTo>
                    <a:lnTo>
                      <a:pt x="259" y="426"/>
                    </a:lnTo>
                    <a:lnTo>
                      <a:pt x="255" y="426"/>
                    </a:lnTo>
                    <a:lnTo>
                      <a:pt x="254" y="424"/>
                    </a:lnTo>
                    <a:lnTo>
                      <a:pt x="250" y="420"/>
                    </a:lnTo>
                    <a:lnTo>
                      <a:pt x="250" y="420"/>
                    </a:lnTo>
                    <a:lnTo>
                      <a:pt x="250" y="420"/>
                    </a:lnTo>
                    <a:lnTo>
                      <a:pt x="250" y="420"/>
                    </a:lnTo>
                    <a:lnTo>
                      <a:pt x="250" y="422"/>
                    </a:lnTo>
                    <a:lnTo>
                      <a:pt x="250" y="422"/>
                    </a:lnTo>
                    <a:lnTo>
                      <a:pt x="250" y="422"/>
                    </a:lnTo>
                    <a:lnTo>
                      <a:pt x="250" y="422"/>
                    </a:lnTo>
                    <a:lnTo>
                      <a:pt x="246" y="419"/>
                    </a:lnTo>
                    <a:lnTo>
                      <a:pt x="246" y="419"/>
                    </a:lnTo>
                    <a:lnTo>
                      <a:pt x="245" y="418"/>
                    </a:lnTo>
                    <a:lnTo>
                      <a:pt x="245" y="418"/>
                    </a:lnTo>
                    <a:lnTo>
                      <a:pt x="245" y="418"/>
                    </a:lnTo>
                    <a:lnTo>
                      <a:pt x="245" y="418"/>
                    </a:lnTo>
                    <a:lnTo>
                      <a:pt x="245" y="418"/>
                    </a:lnTo>
                    <a:lnTo>
                      <a:pt x="245" y="418"/>
                    </a:lnTo>
                    <a:lnTo>
                      <a:pt x="243" y="418"/>
                    </a:lnTo>
                    <a:lnTo>
                      <a:pt x="243" y="418"/>
                    </a:lnTo>
                    <a:lnTo>
                      <a:pt x="242" y="418"/>
                    </a:lnTo>
                    <a:lnTo>
                      <a:pt x="242" y="418"/>
                    </a:lnTo>
                    <a:lnTo>
                      <a:pt x="239" y="418"/>
                    </a:lnTo>
                    <a:lnTo>
                      <a:pt x="237" y="416"/>
                    </a:lnTo>
                    <a:lnTo>
                      <a:pt x="233" y="414"/>
                    </a:lnTo>
                    <a:lnTo>
                      <a:pt x="233" y="414"/>
                    </a:lnTo>
                    <a:lnTo>
                      <a:pt x="234" y="415"/>
                    </a:lnTo>
                    <a:lnTo>
                      <a:pt x="234" y="415"/>
                    </a:lnTo>
                    <a:lnTo>
                      <a:pt x="233" y="414"/>
                    </a:lnTo>
                    <a:lnTo>
                      <a:pt x="233" y="415"/>
                    </a:lnTo>
                    <a:lnTo>
                      <a:pt x="227" y="412"/>
                    </a:lnTo>
                    <a:lnTo>
                      <a:pt x="227" y="412"/>
                    </a:lnTo>
                    <a:lnTo>
                      <a:pt x="224" y="410"/>
                    </a:lnTo>
                    <a:lnTo>
                      <a:pt x="224" y="410"/>
                    </a:lnTo>
                    <a:lnTo>
                      <a:pt x="218" y="407"/>
                    </a:lnTo>
                    <a:lnTo>
                      <a:pt x="216" y="400"/>
                    </a:lnTo>
                    <a:lnTo>
                      <a:pt x="216" y="400"/>
                    </a:lnTo>
                    <a:lnTo>
                      <a:pt x="216" y="398"/>
                    </a:lnTo>
                    <a:lnTo>
                      <a:pt x="216" y="398"/>
                    </a:lnTo>
                    <a:lnTo>
                      <a:pt x="217" y="395"/>
                    </a:lnTo>
                    <a:lnTo>
                      <a:pt x="220" y="391"/>
                    </a:lnTo>
                    <a:lnTo>
                      <a:pt x="220" y="391"/>
                    </a:lnTo>
                    <a:lnTo>
                      <a:pt x="220" y="391"/>
                    </a:lnTo>
                    <a:lnTo>
                      <a:pt x="227" y="381"/>
                    </a:lnTo>
                    <a:lnTo>
                      <a:pt x="235" y="370"/>
                    </a:lnTo>
                    <a:lnTo>
                      <a:pt x="235" y="370"/>
                    </a:lnTo>
                    <a:lnTo>
                      <a:pt x="235" y="370"/>
                    </a:lnTo>
                    <a:lnTo>
                      <a:pt x="233" y="367"/>
                    </a:lnTo>
                    <a:lnTo>
                      <a:pt x="233" y="367"/>
                    </a:lnTo>
                    <a:lnTo>
                      <a:pt x="229" y="365"/>
                    </a:lnTo>
                    <a:lnTo>
                      <a:pt x="226" y="363"/>
                    </a:lnTo>
                    <a:lnTo>
                      <a:pt x="226" y="363"/>
                    </a:lnTo>
                    <a:lnTo>
                      <a:pt x="221" y="358"/>
                    </a:lnTo>
                    <a:lnTo>
                      <a:pt x="213" y="353"/>
                    </a:lnTo>
                    <a:lnTo>
                      <a:pt x="213" y="353"/>
                    </a:lnTo>
                    <a:lnTo>
                      <a:pt x="209" y="350"/>
                    </a:lnTo>
                    <a:lnTo>
                      <a:pt x="208" y="350"/>
                    </a:lnTo>
                    <a:lnTo>
                      <a:pt x="206" y="349"/>
                    </a:lnTo>
                    <a:lnTo>
                      <a:pt x="201" y="348"/>
                    </a:lnTo>
                    <a:lnTo>
                      <a:pt x="201" y="348"/>
                    </a:lnTo>
                    <a:lnTo>
                      <a:pt x="184" y="344"/>
                    </a:lnTo>
                    <a:lnTo>
                      <a:pt x="165" y="340"/>
                    </a:lnTo>
                    <a:lnTo>
                      <a:pt x="160" y="336"/>
                    </a:lnTo>
                    <a:lnTo>
                      <a:pt x="160" y="336"/>
                    </a:lnTo>
                    <a:lnTo>
                      <a:pt x="163" y="337"/>
                    </a:lnTo>
                    <a:lnTo>
                      <a:pt x="163" y="337"/>
                    </a:lnTo>
                    <a:lnTo>
                      <a:pt x="159" y="334"/>
                    </a:lnTo>
                    <a:lnTo>
                      <a:pt x="157" y="332"/>
                    </a:lnTo>
                    <a:lnTo>
                      <a:pt x="157" y="329"/>
                    </a:lnTo>
                    <a:lnTo>
                      <a:pt x="157" y="326"/>
                    </a:lnTo>
                    <a:lnTo>
                      <a:pt x="159" y="325"/>
                    </a:lnTo>
                    <a:lnTo>
                      <a:pt x="159" y="325"/>
                    </a:lnTo>
                    <a:lnTo>
                      <a:pt x="159" y="322"/>
                    </a:lnTo>
                    <a:lnTo>
                      <a:pt x="159" y="322"/>
                    </a:lnTo>
                    <a:lnTo>
                      <a:pt x="159" y="316"/>
                    </a:lnTo>
                    <a:lnTo>
                      <a:pt x="159" y="315"/>
                    </a:lnTo>
                    <a:lnTo>
                      <a:pt x="161" y="309"/>
                    </a:lnTo>
                    <a:lnTo>
                      <a:pt x="161" y="309"/>
                    </a:lnTo>
                    <a:lnTo>
                      <a:pt x="160" y="311"/>
                    </a:lnTo>
                    <a:lnTo>
                      <a:pt x="160" y="311"/>
                    </a:lnTo>
                    <a:lnTo>
                      <a:pt x="160" y="308"/>
                    </a:lnTo>
                    <a:lnTo>
                      <a:pt x="160" y="308"/>
                    </a:lnTo>
                    <a:lnTo>
                      <a:pt x="160" y="301"/>
                    </a:lnTo>
                    <a:lnTo>
                      <a:pt x="160" y="299"/>
                    </a:lnTo>
                    <a:lnTo>
                      <a:pt x="160" y="297"/>
                    </a:lnTo>
                    <a:lnTo>
                      <a:pt x="160" y="297"/>
                    </a:lnTo>
                    <a:lnTo>
                      <a:pt x="161" y="296"/>
                    </a:lnTo>
                    <a:lnTo>
                      <a:pt x="160" y="293"/>
                    </a:lnTo>
                    <a:lnTo>
                      <a:pt x="156" y="288"/>
                    </a:lnTo>
                    <a:lnTo>
                      <a:pt x="156" y="288"/>
                    </a:lnTo>
                    <a:lnTo>
                      <a:pt x="151" y="283"/>
                    </a:lnTo>
                    <a:lnTo>
                      <a:pt x="149" y="279"/>
                    </a:lnTo>
                    <a:lnTo>
                      <a:pt x="148" y="275"/>
                    </a:lnTo>
                    <a:lnTo>
                      <a:pt x="148" y="274"/>
                    </a:lnTo>
                    <a:lnTo>
                      <a:pt x="148" y="272"/>
                    </a:lnTo>
                    <a:lnTo>
                      <a:pt x="152" y="267"/>
                    </a:lnTo>
                    <a:lnTo>
                      <a:pt x="152" y="267"/>
                    </a:lnTo>
                    <a:lnTo>
                      <a:pt x="151" y="267"/>
                    </a:lnTo>
                    <a:lnTo>
                      <a:pt x="151" y="267"/>
                    </a:lnTo>
                    <a:lnTo>
                      <a:pt x="152" y="266"/>
                    </a:lnTo>
                    <a:lnTo>
                      <a:pt x="152" y="266"/>
                    </a:lnTo>
                    <a:lnTo>
                      <a:pt x="153" y="263"/>
                    </a:lnTo>
                    <a:lnTo>
                      <a:pt x="155" y="259"/>
                    </a:lnTo>
                    <a:lnTo>
                      <a:pt x="155" y="259"/>
                    </a:lnTo>
                    <a:lnTo>
                      <a:pt x="159" y="254"/>
                    </a:lnTo>
                    <a:lnTo>
                      <a:pt x="164" y="246"/>
                    </a:lnTo>
                    <a:lnTo>
                      <a:pt x="164" y="246"/>
                    </a:lnTo>
                    <a:lnTo>
                      <a:pt x="165" y="243"/>
                    </a:lnTo>
                    <a:lnTo>
                      <a:pt x="165" y="243"/>
                    </a:lnTo>
                    <a:lnTo>
                      <a:pt x="165" y="240"/>
                    </a:lnTo>
                    <a:lnTo>
                      <a:pt x="165" y="240"/>
                    </a:lnTo>
                    <a:lnTo>
                      <a:pt x="160" y="238"/>
                    </a:lnTo>
                    <a:lnTo>
                      <a:pt x="160" y="238"/>
                    </a:lnTo>
                    <a:lnTo>
                      <a:pt x="152" y="234"/>
                    </a:lnTo>
                    <a:lnTo>
                      <a:pt x="152" y="234"/>
                    </a:lnTo>
                    <a:lnTo>
                      <a:pt x="152" y="234"/>
                    </a:lnTo>
                    <a:lnTo>
                      <a:pt x="152" y="234"/>
                    </a:lnTo>
                    <a:lnTo>
                      <a:pt x="151" y="234"/>
                    </a:lnTo>
                    <a:lnTo>
                      <a:pt x="146" y="229"/>
                    </a:lnTo>
                    <a:lnTo>
                      <a:pt x="146" y="223"/>
                    </a:lnTo>
                    <a:lnTo>
                      <a:pt x="151" y="218"/>
                    </a:lnTo>
                    <a:lnTo>
                      <a:pt x="151" y="217"/>
                    </a:lnTo>
                    <a:lnTo>
                      <a:pt x="151" y="217"/>
                    </a:lnTo>
                    <a:lnTo>
                      <a:pt x="148" y="218"/>
                    </a:lnTo>
                    <a:lnTo>
                      <a:pt x="149" y="217"/>
                    </a:lnTo>
                    <a:lnTo>
                      <a:pt x="149" y="217"/>
                    </a:lnTo>
                    <a:lnTo>
                      <a:pt x="152" y="215"/>
                    </a:lnTo>
                    <a:lnTo>
                      <a:pt x="156" y="214"/>
                    </a:lnTo>
                    <a:lnTo>
                      <a:pt x="156" y="214"/>
                    </a:lnTo>
                    <a:lnTo>
                      <a:pt x="156" y="214"/>
                    </a:lnTo>
                    <a:lnTo>
                      <a:pt x="164" y="215"/>
                    </a:lnTo>
                    <a:lnTo>
                      <a:pt x="169" y="217"/>
                    </a:lnTo>
                    <a:lnTo>
                      <a:pt x="169" y="218"/>
                    </a:lnTo>
                    <a:lnTo>
                      <a:pt x="172" y="219"/>
                    </a:lnTo>
                    <a:lnTo>
                      <a:pt x="172" y="219"/>
                    </a:lnTo>
                    <a:lnTo>
                      <a:pt x="172" y="219"/>
                    </a:lnTo>
                    <a:lnTo>
                      <a:pt x="172" y="219"/>
                    </a:lnTo>
                    <a:lnTo>
                      <a:pt x="172" y="219"/>
                    </a:lnTo>
                    <a:lnTo>
                      <a:pt x="172" y="219"/>
                    </a:lnTo>
                    <a:lnTo>
                      <a:pt x="173" y="219"/>
                    </a:lnTo>
                    <a:lnTo>
                      <a:pt x="173" y="219"/>
                    </a:lnTo>
                    <a:lnTo>
                      <a:pt x="173" y="219"/>
                    </a:lnTo>
                    <a:lnTo>
                      <a:pt x="176" y="221"/>
                    </a:lnTo>
                    <a:lnTo>
                      <a:pt x="177" y="221"/>
                    </a:lnTo>
                    <a:lnTo>
                      <a:pt x="179" y="221"/>
                    </a:lnTo>
                    <a:lnTo>
                      <a:pt x="179" y="221"/>
                    </a:lnTo>
                    <a:lnTo>
                      <a:pt x="180" y="221"/>
                    </a:lnTo>
                    <a:lnTo>
                      <a:pt x="180" y="221"/>
                    </a:lnTo>
                    <a:lnTo>
                      <a:pt x="180" y="218"/>
                    </a:lnTo>
                    <a:lnTo>
                      <a:pt x="180" y="218"/>
                    </a:lnTo>
                    <a:lnTo>
                      <a:pt x="181" y="214"/>
                    </a:lnTo>
                    <a:lnTo>
                      <a:pt x="183" y="210"/>
                    </a:lnTo>
                    <a:lnTo>
                      <a:pt x="183" y="210"/>
                    </a:lnTo>
                    <a:lnTo>
                      <a:pt x="184" y="209"/>
                    </a:lnTo>
                    <a:lnTo>
                      <a:pt x="186" y="205"/>
                    </a:lnTo>
                    <a:lnTo>
                      <a:pt x="186" y="205"/>
                    </a:lnTo>
                    <a:lnTo>
                      <a:pt x="185" y="206"/>
                    </a:lnTo>
                    <a:lnTo>
                      <a:pt x="185" y="206"/>
                    </a:lnTo>
                    <a:lnTo>
                      <a:pt x="185" y="205"/>
                    </a:lnTo>
                    <a:lnTo>
                      <a:pt x="185" y="203"/>
                    </a:lnTo>
                    <a:lnTo>
                      <a:pt x="185" y="203"/>
                    </a:lnTo>
                    <a:lnTo>
                      <a:pt x="183" y="203"/>
                    </a:lnTo>
                    <a:lnTo>
                      <a:pt x="181" y="203"/>
                    </a:lnTo>
                    <a:lnTo>
                      <a:pt x="176" y="199"/>
                    </a:lnTo>
                    <a:lnTo>
                      <a:pt x="176" y="201"/>
                    </a:lnTo>
                    <a:lnTo>
                      <a:pt x="176" y="201"/>
                    </a:lnTo>
                    <a:lnTo>
                      <a:pt x="179" y="202"/>
                    </a:lnTo>
                    <a:lnTo>
                      <a:pt x="177" y="202"/>
                    </a:lnTo>
                    <a:lnTo>
                      <a:pt x="177" y="202"/>
                    </a:lnTo>
                    <a:lnTo>
                      <a:pt x="176" y="202"/>
                    </a:lnTo>
                    <a:lnTo>
                      <a:pt x="175" y="202"/>
                    </a:lnTo>
                    <a:lnTo>
                      <a:pt x="169" y="199"/>
                    </a:lnTo>
                    <a:lnTo>
                      <a:pt x="169" y="199"/>
                    </a:lnTo>
                    <a:lnTo>
                      <a:pt x="171" y="201"/>
                    </a:lnTo>
                    <a:lnTo>
                      <a:pt x="172" y="201"/>
                    </a:lnTo>
                    <a:lnTo>
                      <a:pt x="172" y="201"/>
                    </a:lnTo>
                    <a:lnTo>
                      <a:pt x="172" y="201"/>
                    </a:lnTo>
                    <a:lnTo>
                      <a:pt x="172" y="201"/>
                    </a:lnTo>
                    <a:lnTo>
                      <a:pt x="169" y="201"/>
                    </a:lnTo>
                    <a:lnTo>
                      <a:pt x="169" y="201"/>
                    </a:lnTo>
                    <a:lnTo>
                      <a:pt x="165" y="201"/>
                    </a:lnTo>
                    <a:lnTo>
                      <a:pt x="165" y="201"/>
                    </a:lnTo>
                    <a:lnTo>
                      <a:pt x="163" y="201"/>
                    </a:lnTo>
                    <a:lnTo>
                      <a:pt x="155" y="201"/>
                    </a:lnTo>
                    <a:lnTo>
                      <a:pt x="152" y="201"/>
                    </a:lnTo>
                    <a:lnTo>
                      <a:pt x="152" y="201"/>
                    </a:lnTo>
                    <a:lnTo>
                      <a:pt x="146" y="199"/>
                    </a:lnTo>
                    <a:lnTo>
                      <a:pt x="146" y="199"/>
                    </a:lnTo>
                    <a:lnTo>
                      <a:pt x="140" y="199"/>
                    </a:lnTo>
                    <a:lnTo>
                      <a:pt x="140" y="199"/>
                    </a:lnTo>
                    <a:lnTo>
                      <a:pt x="134" y="199"/>
                    </a:lnTo>
                    <a:lnTo>
                      <a:pt x="134" y="199"/>
                    </a:lnTo>
                    <a:lnTo>
                      <a:pt x="130" y="199"/>
                    </a:lnTo>
                    <a:lnTo>
                      <a:pt x="122" y="199"/>
                    </a:lnTo>
                    <a:lnTo>
                      <a:pt x="120" y="197"/>
                    </a:lnTo>
                    <a:lnTo>
                      <a:pt x="120" y="197"/>
                    </a:lnTo>
                    <a:lnTo>
                      <a:pt x="120" y="197"/>
                    </a:lnTo>
                    <a:lnTo>
                      <a:pt x="120" y="197"/>
                    </a:lnTo>
                    <a:lnTo>
                      <a:pt x="122" y="194"/>
                    </a:lnTo>
                    <a:lnTo>
                      <a:pt x="122" y="193"/>
                    </a:lnTo>
                    <a:lnTo>
                      <a:pt x="119" y="196"/>
                    </a:lnTo>
                    <a:lnTo>
                      <a:pt x="116" y="193"/>
                    </a:lnTo>
                    <a:lnTo>
                      <a:pt x="116" y="193"/>
                    </a:lnTo>
                    <a:lnTo>
                      <a:pt x="116" y="194"/>
                    </a:lnTo>
                    <a:lnTo>
                      <a:pt x="116" y="197"/>
                    </a:lnTo>
                    <a:lnTo>
                      <a:pt x="116" y="197"/>
                    </a:lnTo>
                    <a:lnTo>
                      <a:pt x="118" y="197"/>
                    </a:lnTo>
                    <a:lnTo>
                      <a:pt x="115" y="199"/>
                    </a:lnTo>
                    <a:lnTo>
                      <a:pt x="116" y="199"/>
                    </a:lnTo>
                    <a:lnTo>
                      <a:pt x="116" y="199"/>
                    </a:lnTo>
                    <a:lnTo>
                      <a:pt x="116" y="199"/>
                    </a:lnTo>
                    <a:lnTo>
                      <a:pt x="116" y="199"/>
                    </a:lnTo>
                    <a:lnTo>
                      <a:pt x="116" y="202"/>
                    </a:lnTo>
                    <a:lnTo>
                      <a:pt x="116" y="206"/>
                    </a:lnTo>
                    <a:lnTo>
                      <a:pt x="116" y="206"/>
                    </a:lnTo>
                    <a:lnTo>
                      <a:pt x="116" y="213"/>
                    </a:lnTo>
                    <a:lnTo>
                      <a:pt x="115" y="219"/>
                    </a:lnTo>
                    <a:lnTo>
                      <a:pt x="115" y="221"/>
                    </a:lnTo>
                    <a:lnTo>
                      <a:pt x="115" y="222"/>
                    </a:lnTo>
                    <a:lnTo>
                      <a:pt x="115" y="222"/>
                    </a:lnTo>
                    <a:lnTo>
                      <a:pt x="112" y="226"/>
                    </a:lnTo>
                    <a:lnTo>
                      <a:pt x="112" y="226"/>
                    </a:lnTo>
                    <a:lnTo>
                      <a:pt x="114" y="223"/>
                    </a:lnTo>
                    <a:lnTo>
                      <a:pt x="112" y="227"/>
                    </a:lnTo>
                    <a:lnTo>
                      <a:pt x="112" y="227"/>
                    </a:lnTo>
                    <a:lnTo>
                      <a:pt x="110" y="229"/>
                    </a:lnTo>
                    <a:lnTo>
                      <a:pt x="107" y="230"/>
                    </a:lnTo>
                    <a:lnTo>
                      <a:pt x="103" y="230"/>
                    </a:lnTo>
                    <a:lnTo>
                      <a:pt x="103" y="230"/>
                    </a:lnTo>
                    <a:lnTo>
                      <a:pt x="101" y="230"/>
                    </a:lnTo>
                    <a:lnTo>
                      <a:pt x="98" y="230"/>
                    </a:lnTo>
                    <a:lnTo>
                      <a:pt x="93" y="229"/>
                    </a:lnTo>
                    <a:lnTo>
                      <a:pt x="93" y="229"/>
                    </a:lnTo>
                    <a:lnTo>
                      <a:pt x="94" y="229"/>
                    </a:lnTo>
                    <a:lnTo>
                      <a:pt x="94" y="229"/>
                    </a:lnTo>
                    <a:lnTo>
                      <a:pt x="93" y="229"/>
                    </a:lnTo>
                    <a:lnTo>
                      <a:pt x="93" y="229"/>
                    </a:lnTo>
                    <a:lnTo>
                      <a:pt x="93" y="229"/>
                    </a:lnTo>
                    <a:lnTo>
                      <a:pt x="93" y="230"/>
                    </a:lnTo>
                    <a:lnTo>
                      <a:pt x="89" y="235"/>
                    </a:lnTo>
                    <a:lnTo>
                      <a:pt x="89" y="235"/>
                    </a:lnTo>
                    <a:lnTo>
                      <a:pt x="90" y="234"/>
                    </a:lnTo>
                    <a:lnTo>
                      <a:pt x="91" y="233"/>
                    </a:lnTo>
                    <a:lnTo>
                      <a:pt x="91" y="233"/>
                    </a:lnTo>
                    <a:lnTo>
                      <a:pt x="91" y="235"/>
                    </a:lnTo>
                    <a:lnTo>
                      <a:pt x="91" y="235"/>
                    </a:lnTo>
                    <a:lnTo>
                      <a:pt x="91" y="240"/>
                    </a:lnTo>
                    <a:lnTo>
                      <a:pt x="85" y="246"/>
                    </a:lnTo>
                    <a:lnTo>
                      <a:pt x="77" y="246"/>
                    </a:lnTo>
                    <a:lnTo>
                      <a:pt x="74" y="243"/>
                    </a:lnTo>
                    <a:lnTo>
                      <a:pt x="74" y="243"/>
                    </a:lnTo>
                    <a:lnTo>
                      <a:pt x="75" y="240"/>
                    </a:lnTo>
                    <a:lnTo>
                      <a:pt x="75" y="239"/>
                    </a:lnTo>
                    <a:lnTo>
                      <a:pt x="74" y="242"/>
                    </a:lnTo>
                    <a:lnTo>
                      <a:pt x="71" y="239"/>
                    </a:lnTo>
                    <a:lnTo>
                      <a:pt x="71" y="239"/>
                    </a:lnTo>
                    <a:lnTo>
                      <a:pt x="71" y="242"/>
                    </a:lnTo>
                    <a:lnTo>
                      <a:pt x="73" y="243"/>
                    </a:lnTo>
                    <a:lnTo>
                      <a:pt x="71" y="244"/>
                    </a:lnTo>
                    <a:lnTo>
                      <a:pt x="71" y="244"/>
                    </a:lnTo>
                    <a:lnTo>
                      <a:pt x="71" y="246"/>
                    </a:lnTo>
                    <a:lnTo>
                      <a:pt x="71" y="246"/>
                    </a:lnTo>
                    <a:lnTo>
                      <a:pt x="73" y="243"/>
                    </a:lnTo>
                    <a:lnTo>
                      <a:pt x="73" y="243"/>
                    </a:lnTo>
                    <a:lnTo>
                      <a:pt x="73" y="243"/>
                    </a:lnTo>
                    <a:lnTo>
                      <a:pt x="73" y="244"/>
                    </a:lnTo>
                    <a:lnTo>
                      <a:pt x="73" y="244"/>
                    </a:lnTo>
                    <a:lnTo>
                      <a:pt x="74" y="243"/>
                    </a:lnTo>
                    <a:lnTo>
                      <a:pt x="74" y="243"/>
                    </a:lnTo>
                    <a:lnTo>
                      <a:pt x="74" y="244"/>
                    </a:lnTo>
                    <a:lnTo>
                      <a:pt x="74" y="244"/>
                    </a:lnTo>
                    <a:lnTo>
                      <a:pt x="74" y="244"/>
                    </a:lnTo>
                    <a:lnTo>
                      <a:pt x="74" y="244"/>
                    </a:lnTo>
                    <a:lnTo>
                      <a:pt x="73" y="244"/>
                    </a:lnTo>
                    <a:lnTo>
                      <a:pt x="73" y="244"/>
                    </a:lnTo>
                    <a:lnTo>
                      <a:pt x="73" y="244"/>
                    </a:lnTo>
                    <a:lnTo>
                      <a:pt x="71" y="246"/>
                    </a:lnTo>
                    <a:lnTo>
                      <a:pt x="71" y="246"/>
                    </a:lnTo>
                    <a:lnTo>
                      <a:pt x="71" y="250"/>
                    </a:lnTo>
                    <a:lnTo>
                      <a:pt x="71" y="252"/>
                    </a:lnTo>
                    <a:lnTo>
                      <a:pt x="71" y="254"/>
                    </a:lnTo>
                    <a:lnTo>
                      <a:pt x="71" y="254"/>
                    </a:lnTo>
                    <a:lnTo>
                      <a:pt x="70" y="263"/>
                    </a:lnTo>
                    <a:lnTo>
                      <a:pt x="70" y="263"/>
                    </a:lnTo>
                    <a:lnTo>
                      <a:pt x="68" y="271"/>
                    </a:lnTo>
                    <a:lnTo>
                      <a:pt x="68" y="271"/>
                    </a:lnTo>
                    <a:lnTo>
                      <a:pt x="61" y="301"/>
                    </a:lnTo>
                    <a:lnTo>
                      <a:pt x="60" y="301"/>
                    </a:lnTo>
                    <a:lnTo>
                      <a:pt x="60" y="301"/>
                    </a:lnTo>
                    <a:lnTo>
                      <a:pt x="58" y="308"/>
                    </a:lnTo>
                    <a:lnTo>
                      <a:pt x="58" y="308"/>
                    </a:lnTo>
                    <a:lnTo>
                      <a:pt x="54" y="316"/>
                    </a:lnTo>
                    <a:lnTo>
                      <a:pt x="54" y="316"/>
                    </a:lnTo>
                    <a:lnTo>
                      <a:pt x="53" y="320"/>
                    </a:lnTo>
                    <a:lnTo>
                      <a:pt x="52" y="321"/>
                    </a:lnTo>
                    <a:lnTo>
                      <a:pt x="52" y="321"/>
                    </a:lnTo>
                    <a:lnTo>
                      <a:pt x="52" y="322"/>
                    </a:lnTo>
                    <a:lnTo>
                      <a:pt x="52" y="322"/>
                    </a:lnTo>
                    <a:lnTo>
                      <a:pt x="50" y="325"/>
                    </a:lnTo>
                    <a:lnTo>
                      <a:pt x="48" y="326"/>
                    </a:lnTo>
                    <a:lnTo>
                      <a:pt x="45" y="328"/>
                    </a:lnTo>
                    <a:lnTo>
                      <a:pt x="38" y="325"/>
                    </a:lnTo>
                    <a:lnTo>
                      <a:pt x="38" y="325"/>
                    </a:lnTo>
                    <a:lnTo>
                      <a:pt x="38" y="325"/>
                    </a:lnTo>
                    <a:lnTo>
                      <a:pt x="38" y="325"/>
                    </a:lnTo>
                    <a:lnTo>
                      <a:pt x="37" y="325"/>
                    </a:lnTo>
                    <a:lnTo>
                      <a:pt x="37" y="325"/>
                    </a:lnTo>
                    <a:lnTo>
                      <a:pt x="34" y="324"/>
                    </a:lnTo>
                    <a:lnTo>
                      <a:pt x="34" y="324"/>
                    </a:lnTo>
                    <a:lnTo>
                      <a:pt x="32" y="324"/>
                    </a:lnTo>
                    <a:lnTo>
                      <a:pt x="29" y="322"/>
                    </a:lnTo>
                    <a:lnTo>
                      <a:pt x="29" y="322"/>
                    </a:lnTo>
                    <a:lnTo>
                      <a:pt x="29" y="321"/>
                    </a:lnTo>
                    <a:lnTo>
                      <a:pt x="25" y="318"/>
                    </a:lnTo>
                    <a:lnTo>
                      <a:pt x="25" y="318"/>
                    </a:lnTo>
                    <a:lnTo>
                      <a:pt x="27" y="320"/>
                    </a:lnTo>
                    <a:lnTo>
                      <a:pt x="27" y="320"/>
                    </a:lnTo>
                    <a:lnTo>
                      <a:pt x="25" y="318"/>
                    </a:lnTo>
                    <a:lnTo>
                      <a:pt x="20" y="313"/>
                    </a:lnTo>
                    <a:lnTo>
                      <a:pt x="20" y="312"/>
                    </a:lnTo>
                    <a:lnTo>
                      <a:pt x="20" y="312"/>
                    </a:lnTo>
                    <a:lnTo>
                      <a:pt x="20" y="303"/>
                    </a:lnTo>
                    <a:lnTo>
                      <a:pt x="20" y="303"/>
                    </a:lnTo>
                    <a:lnTo>
                      <a:pt x="20" y="296"/>
                    </a:lnTo>
                    <a:lnTo>
                      <a:pt x="19" y="292"/>
                    </a:lnTo>
                    <a:lnTo>
                      <a:pt x="19" y="289"/>
                    </a:lnTo>
                    <a:lnTo>
                      <a:pt x="19" y="279"/>
                    </a:lnTo>
                    <a:lnTo>
                      <a:pt x="19" y="279"/>
                    </a:lnTo>
                    <a:lnTo>
                      <a:pt x="19" y="267"/>
                    </a:lnTo>
                    <a:lnTo>
                      <a:pt x="19" y="267"/>
                    </a:lnTo>
                    <a:lnTo>
                      <a:pt x="19" y="259"/>
                    </a:lnTo>
                    <a:lnTo>
                      <a:pt x="17" y="254"/>
                    </a:lnTo>
                    <a:lnTo>
                      <a:pt x="17" y="251"/>
                    </a:lnTo>
                    <a:lnTo>
                      <a:pt x="17" y="238"/>
                    </a:lnTo>
                    <a:lnTo>
                      <a:pt x="17" y="238"/>
                    </a:lnTo>
                    <a:lnTo>
                      <a:pt x="17" y="238"/>
                    </a:lnTo>
                    <a:lnTo>
                      <a:pt x="15" y="238"/>
                    </a:lnTo>
                    <a:lnTo>
                      <a:pt x="15" y="238"/>
                    </a:lnTo>
                    <a:lnTo>
                      <a:pt x="12" y="238"/>
                    </a:lnTo>
                    <a:lnTo>
                      <a:pt x="12" y="238"/>
                    </a:lnTo>
                    <a:lnTo>
                      <a:pt x="8" y="238"/>
                    </a:lnTo>
                    <a:lnTo>
                      <a:pt x="8" y="238"/>
                    </a:lnTo>
                    <a:lnTo>
                      <a:pt x="5" y="238"/>
                    </a:lnTo>
                    <a:lnTo>
                      <a:pt x="0" y="231"/>
                    </a:lnTo>
                    <a:lnTo>
                      <a:pt x="0" y="231"/>
                    </a:lnTo>
                    <a:lnTo>
                      <a:pt x="1" y="229"/>
                    </a:lnTo>
                    <a:lnTo>
                      <a:pt x="1" y="227"/>
                    </a:lnTo>
                    <a:lnTo>
                      <a:pt x="7" y="223"/>
                    </a:lnTo>
                    <a:lnTo>
                      <a:pt x="7" y="223"/>
                    </a:lnTo>
                    <a:lnTo>
                      <a:pt x="7" y="223"/>
                    </a:lnTo>
                    <a:lnTo>
                      <a:pt x="7" y="225"/>
                    </a:lnTo>
                    <a:lnTo>
                      <a:pt x="5" y="227"/>
                    </a:lnTo>
                    <a:lnTo>
                      <a:pt x="9" y="223"/>
                    </a:lnTo>
                    <a:lnTo>
                      <a:pt x="9" y="223"/>
                    </a:lnTo>
                    <a:lnTo>
                      <a:pt x="9" y="219"/>
                    </a:lnTo>
                    <a:lnTo>
                      <a:pt x="9" y="219"/>
                    </a:lnTo>
                    <a:lnTo>
                      <a:pt x="9" y="217"/>
                    </a:lnTo>
                    <a:lnTo>
                      <a:pt x="9" y="217"/>
                    </a:lnTo>
                    <a:lnTo>
                      <a:pt x="11" y="218"/>
                    </a:lnTo>
                    <a:lnTo>
                      <a:pt x="8" y="213"/>
                    </a:lnTo>
                    <a:lnTo>
                      <a:pt x="8" y="213"/>
                    </a:lnTo>
                    <a:lnTo>
                      <a:pt x="8" y="210"/>
                    </a:lnTo>
                    <a:lnTo>
                      <a:pt x="9" y="207"/>
                    </a:lnTo>
                    <a:lnTo>
                      <a:pt x="9" y="207"/>
                    </a:lnTo>
                    <a:lnTo>
                      <a:pt x="12" y="206"/>
                    </a:lnTo>
                    <a:lnTo>
                      <a:pt x="16" y="206"/>
                    </a:lnTo>
                    <a:lnTo>
                      <a:pt x="16" y="206"/>
                    </a:lnTo>
                    <a:lnTo>
                      <a:pt x="19" y="206"/>
                    </a:lnTo>
                    <a:lnTo>
                      <a:pt x="19" y="206"/>
                    </a:lnTo>
                    <a:lnTo>
                      <a:pt x="19" y="206"/>
                    </a:lnTo>
                    <a:lnTo>
                      <a:pt x="19" y="206"/>
                    </a:lnTo>
                    <a:lnTo>
                      <a:pt x="19" y="206"/>
                    </a:lnTo>
                    <a:lnTo>
                      <a:pt x="20" y="206"/>
                    </a:lnTo>
                    <a:lnTo>
                      <a:pt x="21" y="206"/>
                    </a:lnTo>
                    <a:lnTo>
                      <a:pt x="23" y="206"/>
                    </a:lnTo>
                    <a:lnTo>
                      <a:pt x="23" y="206"/>
                    </a:lnTo>
                    <a:lnTo>
                      <a:pt x="21" y="201"/>
                    </a:lnTo>
                    <a:lnTo>
                      <a:pt x="21" y="199"/>
                    </a:lnTo>
                    <a:lnTo>
                      <a:pt x="24" y="198"/>
                    </a:lnTo>
                    <a:lnTo>
                      <a:pt x="24" y="198"/>
                    </a:lnTo>
                    <a:lnTo>
                      <a:pt x="25" y="199"/>
                    </a:lnTo>
                    <a:lnTo>
                      <a:pt x="28" y="199"/>
                    </a:lnTo>
                    <a:lnTo>
                      <a:pt x="28" y="198"/>
                    </a:lnTo>
                    <a:lnTo>
                      <a:pt x="28" y="199"/>
                    </a:lnTo>
                    <a:lnTo>
                      <a:pt x="28" y="198"/>
                    </a:lnTo>
                    <a:lnTo>
                      <a:pt x="25" y="197"/>
                    </a:lnTo>
                    <a:lnTo>
                      <a:pt x="28" y="194"/>
                    </a:lnTo>
                    <a:lnTo>
                      <a:pt x="28" y="193"/>
                    </a:lnTo>
                    <a:lnTo>
                      <a:pt x="28" y="193"/>
                    </a:lnTo>
                    <a:lnTo>
                      <a:pt x="25" y="194"/>
                    </a:lnTo>
                    <a:lnTo>
                      <a:pt x="24" y="196"/>
                    </a:lnTo>
                    <a:lnTo>
                      <a:pt x="21" y="194"/>
                    </a:lnTo>
                    <a:lnTo>
                      <a:pt x="21" y="193"/>
                    </a:lnTo>
                    <a:lnTo>
                      <a:pt x="21" y="193"/>
                    </a:lnTo>
                    <a:lnTo>
                      <a:pt x="21" y="189"/>
                    </a:lnTo>
                    <a:lnTo>
                      <a:pt x="23" y="185"/>
                    </a:lnTo>
                    <a:lnTo>
                      <a:pt x="27" y="181"/>
                    </a:lnTo>
                    <a:lnTo>
                      <a:pt x="27" y="181"/>
                    </a:lnTo>
                    <a:lnTo>
                      <a:pt x="27" y="181"/>
                    </a:lnTo>
                    <a:lnTo>
                      <a:pt x="27" y="181"/>
                    </a:lnTo>
                    <a:lnTo>
                      <a:pt x="27" y="181"/>
                    </a:lnTo>
                    <a:lnTo>
                      <a:pt x="27" y="180"/>
                    </a:lnTo>
                    <a:lnTo>
                      <a:pt x="27" y="180"/>
                    </a:lnTo>
                    <a:lnTo>
                      <a:pt x="24" y="178"/>
                    </a:lnTo>
                    <a:lnTo>
                      <a:pt x="23" y="176"/>
                    </a:lnTo>
                    <a:lnTo>
                      <a:pt x="23" y="174"/>
                    </a:lnTo>
                    <a:lnTo>
                      <a:pt x="23" y="174"/>
                    </a:lnTo>
                    <a:lnTo>
                      <a:pt x="23" y="170"/>
                    </a:lnTo>
                    <a:lnTo>
                      <a:pt x="24" y="169"/>
                    </a:lnTo>
                    <a:lnTo>
                      <a:pt x="24" y="165"/>
                    </a:lnTo>
                    <a:lnTo>
                      <a:pt x="30" y="159"/>
                    </a:lnTo>
                    <a:lnTo>
                      <a:pt x="32" y="159"/>
                    </a:lnTo>
                    <a:lnTo>
                      <a:pt x="32" y="159"/>
                    </a:lnTo>
                    <a:lnTo>
                      <a:pt x="32" y="159"/>
                    </a:lnTo>
                    <a:lnTo>
                      <a:pt x="32" y="159"/>
                    </a:lnTo>
                    <a:lnTo>
                      <a:pt x="34" y="156"/>
                    </a:lnTo>
                    <a:lnTo>
                      <a:pt x="34" y="156"/>
                    </a:lnTo>
                    <a:lnTo>
                      <a:pt x="34" y="155"/>
                    </a:lnTo>
                    <a:lnTo>
                      <a:pt x="34" y="155"/>
                    </a:lnTo>
                    <a:lnTo>
                      <a:pt x="33" y="155"/>
                    </a:lnTo>
                    <a:lnTo>
                      <a:pt x="33" y="155"/>
                    </a:lnTo>
                    <a:lnTo>
                      <a:pt x="29" y="151"/>
                    </a:lnTo>
                    <a:lnTo>
                      <a:pt x="28" y="145"/>
                    </a:lnTo>
                    <a:lnTo>
                      <a:pt x="28" y="145"/>
                    </a:lnTo>
                    <a:lnTo>
                      <a:pt x="30" y="141"/>
                    </a:lnTo>
                    <a:lnTo>
                      <a:pt x="30" y="141"/>
                    </a:lnTo>
                    <a:lnTo>
                      <a:pt x="29" y="144"/>
                    </a:lnTo>
                    <a:lnTo>
                      <a:pt x="33" y="139"/>
                    </a:lnTo>
                    <a:lnTo>
                      <a:pt x="33" y="139"/>
                    </a:lnTo>
                    <a:lnTo>
                      <a:pt x="32" y="140"/>
                    </a:lnTo>
                    <a:lnTo>
                      <a:pt x="30" y="141"/>
                    </a:lnTo>
                    <a:lnTo>
                      <a:pt x="30" y="141"/>
                    </a:lnTo>
                    <a:lnTo>
                      <a:pt x="30" y="139"/>
                    </a:lnTo>
                    <a:lnTo>
                      <a:pt x="30" y="139"/>
                    </a:lnTo>
                    <a:lnTo>
                      <a:pt x="30" y="132"/>
                    </a:lnTo>
                    <a:lnTo>
                      <a:pt x="32" y="129"/>
                    </a:lnTo>
                    <a:lnTo>
                      <a:pt x="32" y="129"/>
                    </a:lnTo>
                    <a:lnTo>
                      <a:pt x="34" y="127"/>
                    </a:lnTo>
                    <a:lnTo>
                      <a:pt x="37" y="127"/>
                    </a:lnTo>
                    <a:lnTo>
                      <a:pt x="37" y="127"/>
                    </a:lnTo>
                    <a:lnTo>
                      <a:pt x="36" y="127"/>
                    </a:lnTo>
                    <a:lnTo>
                      <a:pt x="34" y="129"/>
                    </a:lnTo>
                    <a:lnTo>
                      <a:pt x="40" y="125"/>
                    </a:lnTo>
                    <a:lnTo>
                      <a:pt x="40" y="125"/>
                    </a:lnTo>
                    <a:lnTo>
                      <a:pt x="40" y="125"/>
                    </a:lnTo>
                    <a:lnTo>
                      <a:pt x="41" y="124"/>
                    </a:lnTo>
                    <a:lnTo>
                      <a:pt x="41" y="123"/>
                    </a:lnTo>
                    <a:lnTo>
                      <a:pt x="41" y="121"/>
                    </a:lnTo>
                    <a:lnTo>
                      <a:pt x="41" y="121"/>
                    </a:lnTo>
                    <a:lnTo>
                      <a:pt x="42" y="119"/>
                    </a:lnTo>
                    <a:lnTo>
                      <a:pt x="44" y="116"/>
                    </a:lnTo>
                    <a:lnTo>
                      <a:pt x="44" y="116"/>
                    </a:lnTo>
                    <a:lnTo>
                      <a:pt x="44" y="116"/>
                    </a:lnTo>
                    <a:lnTo>
                      <a:pt x="44" y="118"/>
                    </a:lnTo>
                    <a:lnTo>
                      <a:pt x="46" y="115"/>
                    </a:lnTo>
                    <a:lnTo>
                      <a:pt x="45" y="115"/>
                    </a:lnTo>
                    <a:lnTo>
                      <a:pt x="45" y="115"/>
                    </a:lnTo>
                    <a:lnTo>
                      <a:pt x="45" y="116"/>
                    </a:lnTo>
                    <a:lnTo>
                      <a:pt x="45" y="116"/>
                    </a:lnTo>
                    <a:lnTo>
                      <a:pt x="45" y="116"/>
                    </a:lnTo>
                    <a:lnTo>
                      <a:pt x="45" y="116"/>
                    </a:lnTo>
                    <a:lnTo>
                      <a:pt x="45" y="114"/>
                    </a:lnTo>
                    <a:lnTo>
                      <a:pt x="45" y="114"/>
                    </a:lnTo>
                    <a:lnTo>
                      <a:pt x="45" y="110"/>
                    </a:lnTo>
                    <a:lnTo>
                      <a:pt x="46" y="108"/>
                    </a:lnTo>
                    <a:lnTo>
                      <a:pt x="46" y="108"/>
                    </a:lnTo>
                    <a:lnTo>
                      <a:pt x="46" y="110"/>
                    </a:lnTo>
                    <a:lnTo>
                      <a:pt x="48" y="110"/>
                    </a:lnTo>
                    <a:lnTo>
                      <a:pt x="44" y="99"/>
                    </a:lnTo>
                    <a:lnTo>
                      <a:pt x="44" y="99"/>
                    </a:lnTo>
                    <a:lnTo>
                      <a:pt x="50" y="96"/>
                    </a:lnTo>
                    <a:lnTo>
                      <a:pt x="50" y="96"/>
                    </a:lnTo>
                    <a:lnTo>
                      <a:pt x="52" y="96"/>
                    </a:lnTo>
                    <a:lnTo>
                      <a:pt x="52" y="96"/>
                    </a:lnTo>
                    <a:lnTo>
                      <a:pt x="50" y="94"/>
                    </a:lnTo>
                    <a:lnTo>
                      <a:pt x="50" y="94"/>
                    </a:lnTo>
                    <a:lnTo>
                      <a:pt x="46" y="91"/>
                    </a:lnTo>
                    <a:lnTo>
                      <a:pt x="45" y="88"/>
                    </a:lnTo>
                    <a:lnTo>
                      <a:pt x="45" y="88"/>
                    </a:lnTo>
                    <a:lnTo>
                      <a:pt x="45" y="83"/>
                    </a:lnTo>
                    <a:lnTo>
                      <a:pt x="46" y="82"/>
                    </a:lnTo>
                    <a:lnTo>
                      <a:pt x="46" y="82"/>
                    </a:lnTo>
                    <a:lnTo>
                      <a:pt x="46" y="82"/>
                    </a:lnTo>
                    <a:lnTo>
                      <a:pt x="46" y="82"/>
                    </a:lnTo>
                    <a:lnTo>
                      <a:pt x="46" y="83"/>
                    </a:lnTo>
                    <a:lnTo>
                      <a:pt x="49" y="78"/>
                    </a:lnTo>
                    <a:lnTo>
                      <a:pt x="49" y="78"/>
                    </a:lnTo>
                    <a:lnTo>
                      <a:pt x="50" y="75"/>
                    </a:lnTo>
                    <a:lnTo>
                      <a:pt x="52" y="71"/>
                    </a:lnTo>
                    <a:lnTo>
                      <a:pt x="52" y="71"/>
                    </a:lnTo>
                    <a:lnTo>
                      <a:pt x="54" y="66"/>
                    </a:lnTo>
                    <a:lnTo>
                      <a:pt x="58" y="59"/>
                    </a:lnTo>
                    <a:lnTo>
                      <a:pt x="62" y="58"/>
                    </a:lnTo>
                    <a:lnTo>
                      <a:pt x="62" y="58"/>
                    </a:lnTo>
                    <a:lnTo>
                      <a:pt x="62" y="54"/>
                    </a:lnTo>
                    <a:lnTo>
                      <a:pt x="64" y="49"/>
                    </a:lnTo>
                    <a:lnTo>
                      <a:pt x="64" y="47"/>
                    </a:lnTo>
                    <a:lnTo>
                      <a:pt x="64" y="47"/>
                    </a:lnTo>
                    <a:lnTo>
                      <a:pt x="65" y="43"/>
                    </a:lnTo>
                    <a:lnTo>
                      <a:pt x="68" y="41"/>
                    </a:lnTo>
                    <a:lnTo>
                      <a:pt x="71" y="37"/>
                    </a:lnTo>
                    <a:lnTo>
                      <a:pt x="71" y="37"/>
                    </a:lnTo>
                    <a:lnTo>
                      <a:pt x="75" y="34"/>
                    </a:lnTo>
                    <a:lnTo>
                      <a:pt x="77" y="33"/>
                    </a:lnTo>
                    <a:lnTo>
                      <a:pt x="77" y="33"/>
                    </a:lnTo>
                    <a:lnTo>
                      <a:pt x="77" y="33"/>
                    </a:lnTo>
                    <a:lnTo>
                      <a:pt x="79" y="32"/>
                    </a:lnTo>
                    <a:lnTo>
                      <a:pt x="79" y="32"/>
                    </a:lnTo>
                    <a:lnTo>
                      <a:pt x="82" y="30"/>
                    </a:lnTo>
                    <a:lnTo>
                      <a:pt x="82" y="26"/>
                    </a:lnTo>
                    <a:lnTo>
                      <a:pt x="82" y="26"/>
                    </a:lnTo>
                    <a:lnTo>
                      <a:pt x="82" y="24"/>
                    </a:lnTo>
                    <a:lnTo>
                      <a:pt x="83" y="21"/>
                    </a:lnTo>
                    <a:lnTo>
                      <a:pt x="83" y="21"/>
                    </a:lnTo>
                    <a:lnTo>
                      <a:pt x="86" y="18"/>
                    </a:lnTo>
                    <a:lnTo>
                      <a:pt x="90" y="18"/>
                    </a:lnTo>
                    <a:lnTo>
                      <a:pt x="91" y="18"/>
                    </a:lnTo>
                    <a:lnTo>
                      <a:pt x="91" y="18"/>
                    </a:lnTo>
                    <a:lnTo>
                      <a:pt x="91" y="17"/>
                    </a:lnTo>
                    <a:lnTo>
                      <a:pt x="91" y="17"/>
                    </a:lnTo>
                    <a:lnTo>
                      <a:pt x="97" y="13"/>
                    </a:lnTo>
                    <a:lnTo>
                      <a:pt x="97" y="13"/>
                    </a:lnTo>
                    <a:lnTo>
                      <a:pt x="93" y="14"/>
                    </a:lnTo>
                    <a:lnTo>
                      <a:pt x="91" y="17"/>
                    </a:lnTo>
                    <a:lnTo>
                      <a:pt x="91" y="17"/>
                    </a:lnTo>
                    <a:lnTo>
                      <a:pt x="91" y="14"/>
                    </a:lnTo>
                    <a:lnTo>
                      <a:pt x="97" y="10"/>
                    </a:lnTo>
                    <a:lnTo>
                      <a:pt x="97" y="10"/>
                    </a:lnTo>
                    <a:lnTo>
                      <a:pt x="98" y="10"/>
                    </a:lnTo>
                    <a:lnTo>
                      <a:pt x="98" y="10"/>
                    </a:lnTo>
                    <a:lnTo>
                      <a:pt x="101" y="10"/>
                    </a:lnTo>
                    <a:lnTo>
                      <a:pt x="103" y="12"/>
                    </a:lnTo>
                    <a:lnTo>
                      <a:pt x="106" y="14"/>
                    </a:lnTo>
                    <a:lnTo>
                      <a:pt x="107" y="14"/>
                    </a:lnTo>
                    <a:lnTo>
                      <a:pt x="110" y="14"/>
                    </a:lnTo>
                    <a:lnTo>
                      <a:pt x="110" y="14"/>
                    </a:lnTo>
                    <a:lnTo>
                      <a:pt x="110" y="14"/>
                    </a:lnTo>
                    <a:lnTo>
                      <a:pt x="110" y="14"/>
                    </a:lnTo>
                    <a:lnTo>
                      <a:pt x="110" y="14"/>
                    </a:lnTo>
                    <a:lnTo>
                      <a:pt x="110" y="14"/>
                    </a:lnTo>
                    <a:lnTo>
                      <a:pt x="111" y="12"/>
                    </a:lnTo>
                    <a:lnTo>
                      <a:pt x="116" y="9"/>
                    </a:lnTo>
                    <a:lnTo>
                      <a:pt x="116" y="9"/>
                    </a:lnTo>
                    <a:lnTo>
                      <a:pt x="116" y="9"/>
                    </a:lnTo>
                    <a:lnTo>
                      <a:pt x="120" y="9"/>
                    </a:lnTo>
                    <a:lnTo>
                      <a:pt x="123" y="10"/>
                    </a:lnTo>
                    <a:lnTo>
                      <a:pt x="123" y="10"/>
                    </a:lnTo>
                    <a:lnTo>
                      <a:pt x="126" y="8"/>
                    </a:lnTo>
                    <a:lnTo>
                      <a:pt x="130" y="8"/>
                    </a:lnTo>
                    <a:lnTo>
                      <a:pt x="130" y="8"/>
                    </a:lnTo>
                    <a:lnTo>
                      <a:pt x="130" y="8"/>
                    </a:lnTo>
                    <a:lnTo>
                      <a:pt x="131" y="5"/>
                    </a:lnTo>
                    <a:lnTo>
                      <a:pt x="131" y="5"/>
                    </a:lnTo>
                    <a:lnTo>
                      <a:pt x="135" y="1"/>
                    </a:lnTo>
                    <a:lnTo>
                      <a:pt x="138" y="1"/>
                    </a:lnTo>
                    <a:lnTo>
                      <a:pt x="140" y="0"/>
                    </a:lnTo>
                    <a:lnTo>
                      <a:pt x="140" y="0"/>
                    </a:lnTo>
                    <a:lnTo>
                      <a:pt x="146" y="1"/>
                    </a:lnTo>
                    <a:lnTo>
                      <a:pt x="146" y="1"/>
                    </a:lnTo>
                    <a:lnTo>
                      <a:pt x="148" y="1"/>
                    </a:lnTo>
                    <a:lnTo>
                      <a:pt x="153" y="0"/>
                    </a:lnTo>
                    <a:lnTo>
                      <a:pt x="153" y="0"/>
                    </a:lnTo>
                    <a:lnTo>
                      <a:pt x="155" y="0"/>
                    </a:lnTo>
                    <a:lnTo>
                      <a:pt x="155" y="0"/>
                    </a:lnTo>
                    <a:lnTo>
                      <a:pt x="157" y="0"/>
                    </a:lnTo>
                    <a:lnTo>
                      <a:pt x="157" y="0"/>
                    </a:lnTo>
                    <a:lnTo>
                      <a:pt x="163" y="1"/>
                    </a:lnTo>
                    <a:lnTo>
                      <a:pt x="164" y="3"/>
                    </a:lnTo>
                    <a:lnTo>
                      <a:pt x="164" y="3"/>
                    </a:lnTo>
                    <a:lnTo>
                      <a:pt x="165" y="4"/>
                    </a:lnTo>
                    <a:lnTo>
                      <a:pt x="165" y="4"/>
                    </a:lnTo>
                    <a:lnTo>
                      <a:pt x="165" y="4"/>
                    </a:lnTo>
                    <a:lnTo>
                      <a:pt x="172" y="3"/>
                    </a:lnTo>
                    <a:lnTo>
                      <a:pt x="172" y="3"/>
                    </a:lnTo>
                    <a:lnTo>
                      <a:pt x="179" y="4"/>
                    </a:lnTo>
                    <a:lnTo>
                      <a:pt x="185" y="8"/>
                    </a:lnTo>
                    <a:lnTo>
                      <a:pt x="185" y="8"/>
                    </a:lnTo>
                    <a:lnTo>
                      <a:pt x="189" y="9"/>
                    </a:lnTo>
                    <a:lnTo>
                      <a:pt x="192" y="9"/>
                    </a:lnTo>
                    <a:lnTo>
                      <a:pt x="192" y="9"/>
                    </a:lnTo>
                    <a:lnTo>
                      <a:pt x="194" y="9"/>
                    </a:lnTo>
                    <a:lnTo>
                      <a:pt x="196" y="6"/>
                    </a:lnTo>
                    <a:lnTo>
                      <a:pt x="196" y="6"/>
                    </a:lnTo>
                    <a:lnTo>
                      <a:pt x="197" y="5"/>
                    </a:lnTo>
                    <a:lnTo>
                      <a:pt x="201" y="4"/>
                    </a:lnTo>
                    <a:lnTo>
                      <a:pt x="201" y="4"/>
                    </a:lnTo>
                    <a:lnTo>
                      <a:pt x="204" y="5"/>
                    </a:lnTo>
                    <a:lnTo>
                      <a:pt x="204" y="5"/>
                    </a:lnTo>
                    <a:lnTo>
                      <a:pt x="205" y="5"/>
                    </a:lnTo>
                    <a:lnTo>
                      <a:pt x="205" y="5"/>
                    </a:lnTo>
                    <a:lnTo>
                      <a:pt x="208" y="5"/>
                    </a:lnTo>
                    <a:lnTo>
                      <a:pt x="210" y="6"/>
                    </a:lnTo>
                    <a:lnTo>
                      <a:pt x="214" y="10"/>
                    </a:lnTo>
                    <a:lnTo>
                      <a:pt x="216" y="14"/>
                    </a:lnTo>
                    <a:lnTo>
                      <a:pt x="217" y="18"/>
                    </a:lnTo>
                    <a:lnTo>
                      <a:pt x="217" y="18"/>
                    </a:lnTo>
                    <a:lnTo>
                      <a:pt x="217" y="18"/>
                    </a:lnTo>
                    <a:lnTo>
                      <a:pt x="217" y="18"/>
                    </a:lnTo>
                    <a:lnTo>
                      <a:pt x="221" y="18"/>
                    </a:lnTo>
                    <a:lnTo>
                      <a:pt x="222" y="20"/>
                    </a:lnTo>
                    <a:lnTo>
                      <a:pt x="222" y="20"/>
                    </a:lnTo>
                    <a:lnTo>
                      <a:pt x="222" y="20"/>
                    </a:lnTo>
                    <a:lnTo>
                      <a:pt x="229" y="22"/>
                    </a:lnTo>
                    <a:lnTo>
                      <a:pt x="233" y="25"/>
                    </a:lnTo>
                    <a:lnTo>
                      <a:pt x="233" y="25"/>
                    </a:lnTo>
                    <a:lnTo>
                      <a:pt x="237" y="29"/>
                    </a:lnTo>
                    <a:lnTo>
                      <a:pt x="239" y="32"/>
                    </a:lnTo>
                    <a:lnTo>
                      <a:pt x="239" y="32"/>
                    </a:lnTo>
                    <a:lnTo>
                      <a:pt x="239" y="32"/>
                    </a:lnTo>
                    <a:lnTo>
                      <a:pt x="239" y="32"/>
                    </a:lnTo>
                    <a:lnTo>
                      <a:pt x="239" y="32"/>
                    </a:lnTo>
                    <a:lnTo>
                      <a:pt x="239" y="32"/>
                    </a:lnTo>
                    <a:lnTo>
                      <a:pt x="238" y="30"/>
                    </a:lnTo>
                    <a:lnTo>
                      <a:pt x="243" y="38"/>
                    </a:lnTo>
                    <a:lnTo>
                      <a:pt x="243" y="38"/>
                    </a:lnTo>
                    <a:lnTo>
                      <a:pt x="243" y="36"/>
                    </a:lnTo>
                    <a:lnTo>
                      <a:pt x="242" y="34"/>
                    </a:lnTo>
                    <a:lnTo>
                      <a:pt x="242" y="34"/>
                    </a:lnTo>
                    <a:lnTo>
                      <a:pt x="241" y="33"/>
                    </a:lnTo>
                    <a:lnTo>
                      <a:pt x="242" y="33"/>
                    </a:lnTo>
                    <a:lnTo>
                      <a:pt x="242" y="33"/>
                    </a:lnTo>
                    <a:lnTo>
                      <a:pt x="249" y="38"/>
                    </a:lnTo>
                    <a:lnTo>
                      <a:pt x="249" y="38"/>
                    </a:lnTo>
                    <a:lnTo>
                      <a:pt x="255" y="43"/>
                    </a:lnTo>
                    <a:lnTo>
                      <a:pt x="258" y="45"/>
                    </a:lnTo>
                    <a:lnTo>
                      <a:pt x="263" y="46"/>
                    </a:lnTo>
                    <a:lnTo>
                      <a:pt x="267" y="50"/>
                    </a:lnTo>
                    <a:lnTo>
                      <a:pt x="267" y="50"/>
                    </a:lnTo>
                    <a:lnTo>
                      <a:pt x="267" y="50"/>
                    </a:lnTo>
                    <a:lnTo>
                      <a:pt x="267" y="50"/>
                    </a:lnTo>
                    <a:lnTo>
                      <a:pt x="265" y="50"/>
                    </a:lnTo>
                    <a:lnTo>
                      <a:pt x="263" y="53"/>
                    </a:lnTo>
                    <a:lnTo>
                      <a:pt x="267" y="50"/>
                    </a:lnTo>
                    <a:lnTo>
                      <a:pt x="268" y="51"/>
                    </a:lnTo>
                    <a:lnTo>
                      <a:pt x="268" y="51"/>
                    </a:lnTo>
                    <a:lnTo>
                      <a:pt x="267" y="50"/>
                    </a:lnTo>
                    <a:lnTo>
                      <a:pt x="267" y="50"/>
                    </a:lnTo>
                    <a:lnTo>
                      <a:pt x="267" y="50"/>
                    </a:lnTo>
                    <a:lnTo>
                      <a:pt x="268" y="49"/>
                    </a:lnTo>
                    <a:lnTo>
                      <a:pt x="272" y="49"/>
                    </a:lnTo>
                    <a:lnTo>
                      <a:pt x="276" y="50"/>
                    </a:lnTo>
                    <a:lnTo>
                      <a:pt x="276" y="50"/>
                    </a:lnTo>
                    <a:lnTo>
                      <a:pt x="279" y="53"/>
                    </a:lnTo>
                    <a:lnTo>
                      <a:pt x="279" y="53"/>
                    </a:lnTo>
                    <a:lnTo>
                      <a:pt x="282" y="57"/>
                    </a:lnTo>
                    <a:lnTo>
                      <a:pt x="283" y="59"/>
                    </a:lnTo>
                    <a:lnTo>
                      <a:pt x="283" y="59"/>
                    </a:lnTo>
                    <a:lnTo>
                      <a:pt x="283" y="61"/>
                    </a:lnTo>
                    <a:lnTo>
                      <a:pt x="283" y="61"/>
                    </a:lnTo>
                    <a:lnTo>
                      <a:pt x="284" y="61"/>
                    </a:lnTo>
                    <a:lnTo>
                      <a:pt x="284" y="61"/>
                    </a:lnTo>
                    <a:lnTo>
                      <a:pt x="288" y="63"/>
                    </a:lnTo>
                    <a:lnTo>
                      <a:pt x="291" y="66"/>
                    </a:lnTo>
                    <a:lnTo>
                      <a:pt x="294" y="71"/>
                    </a:lnTo>
                    <a:lnTo>
                      <a:pt x="294" y="71"/>
                    </a:lnTo>
                    <a:lnTo>
                      <a:pt x="295" y="74"/>
                    </a:lnTo>
                    <a:lnTo>
                      <a:pt x="295" y="74"/>
                    </a:lnTo>
                    <a:lnTo>
                      <a:pt x="295" y="74"/>
                    </a:lnTo>
                    <a:lnTo>
                      <a:pt x="298" y="74"/>
                    </a:lnTo>
                    <a:lnTo>
                      <a:pt x="300" y="75"/>
                    </a:lnTo>
                    <a:lnTo>
                      <a:pt x="303" y="79"/>
                    </a:lnTo>
                    <a:lnTo>
                      <a:pt x="303" y="79"/>
                    </a:lnTo>
                    <a:lnTo>
                      <a:pt x="308" y="81"/>
                    </a:lnTo>
                    <a:lnTo>
                      <a:pt x="312" y="83"/>
                    </a:lnTo>
                    <a:lnTo>
                      <a:pt x="316" y="91"/>
                    </a:lnTo>
                    <a:lnTo>
                      <a:pt x="316" y="91"/>
                    </a:lnTo>
                    <a:lnTo>
                      <a:pt x="317" y="94"/>
                    </a:lnTo>
                    <a:lnTo>
                      <a:pt x="319" y="95"/>
                    </a:lnTo>
                    <a:lnTo>
                      <a:pt x="319" y="96"/>
                    </a:lnTo>
                    <a:lnTo>
                      <a:pt x="324" y="100"/>
                    </a:lnTo>
                    <a:lnTo>
                      <a:pt x="324" y="100"/>
                    </a:lnTo>
                    <a:lnTo>
                      <a:pt x="324" y="99"/>
                    </a:lnTo>
                    <a:lnTo>
                      <a:pt x="323" y="98"/>
                    </a:lnTo>
                    <a:lnTo>
                      <a:pt x="323" y="98"/>
                    </a:lnTo>
                    <a:lnTo>
                      <a:pt x="323" y="98"/>
                    </a:lnTo>
                    <a:lnTo>
                      <a:pt x="323" y="98"/>
                    </a:lnTo>
                    <a:lnTo>
                      <a:pt x="323" y="98"/>
                    </a:lnTo>
                    <a:lnTo>
                      <a:pt x="323" y="98"/>
                    </a:lnTo>
                    <a:lnTo>
                      <a:pt x="324" y="98"/>
                    </a:lnTo>
                    <a:lnTo>
                      <a:pt x="324" y="98"/>
                    </a:lnTo>
                    <a:lnTo>
                      <a:pt x="327" y="96"/>
                    </a:lnTo>
                    <a:lnTo>
                      <a:pt x="327" y="96"/>
                    </a:lnTo>
                    <a:lnTo>
                      <a:pt x="328" y="94"/>
                    </a:lnTo>
                    <a:lnTo>
                      <a:pt x="332" y="91"/>
                    </a:lnTo>
                    <a:lnTo>
                      <a:pt x="332" y="91"/>
                    </a:lnTo>
                    <a:lnTo>
                      <a:pt x="333" y="91"/>
                    </a:lnTo>
                    <a:lnTo>
                      <a:pt x="333" y="91"/>
                    </a:lnTo>
                    <a:lnTo>
                      <a:pt x="336" y="92"/>
                    </a:lnTo>
                    <a:lnTo>
                      <a:pt x="339" y="94"/>
                    </a:lnTo>
                    <a:lnTo>
                      <a:pt x="339" y="94"/>
                    </a:lnTo>
                    <a:lnTo>
                      <a:pt x="339" y="94"/>
                    </a:lnTo>
                    <a:lnTo>
                      <a:pt x="339" y="94"/>
                    </a:lnTo>
                    <a:lnTo>
                      <a:pt x="337" y="92"/>
                    </a:lnTo>
                    <a:lnTo>
                      <a:pt x="341" y="96"/>
                    </a:lnTo>
                    <a:lnTo>
                      <a:pt x="341" y="96"/>
                    </a:lnTo>
                    <a:lnTo>
                      <a:pt x="344" y="100"/>
                    </a:lnTo>
                    <a:lnTo>
                      <a:pt x="344" y="100"/>
                    </a:lnTo>
                    <a:lnTo>
                      <a:pt x="341" y="102"/>
                    </a:lnTo>
                    <a:lnTo>
                      <a:pt x="341" y="102"/>
                    </a:lnTo>
                    <a:lnTo>
                      <a:pt x="341" y="102"/>
                    </a:lnTo>
                    <a:lnTo>
                      <a:pt x="341" y="102"/>
                    </a:lnTo>
                    <a:lnTo>
                      <a:pt x="341" y="102"/>
                    </a:lnTo>
                    <a:lnTo>
                      <a:pt x="341" y="102"/>
                    </a:lnTo>
                    <a:lnTo>
                      <a:pt x="340" y="102"/>
                    </a:lnTo>
                    <a:lnTo>
                      <a:pt x="340" y="102"/>
                    </a:lnTo>
                    <a:lnTo>
                      <a:pt x="340" y="102"/>
                    </a:lnTo>
                    <a:lnTo>
                      <a:pt x="339" y="103"/>
                    </a:lnTo>
                    <a:lnTo>
                      <a:pt x="339" y="106"/>
                    </a:lnTo>
                    <a:lnTo>
                      <a:pt x="340" y="104"/>
                    </a:lnTo>
                    <a:lnTo>
                      <a:pt x="340" y="103"/>
                    </a:lnTo>
                    <a:lnTo>
                      <a:pt x="344" y="100"/>
                    </a:lnTo>
                    <a:lnTo>
                      <a:pt x="344" y="100"/>
                    </a:lnTo>
                    <a:lnTo>
                      <a:pt x="344" y="102"/>
                    </a:lnTo>
                    <a:lnTo>
                      <a:pt x="344" y="102"/>
                    </a:lnTo>
                    <a:lnTo>
                      <a:pt x="344" y="100"/>
                    </a:lnTo>
                    <a:lnTo>
                      <a:pt x="344" y="100"/>
                    </a:lnTo>
                    <a:lnTo>
                      <a:pt x="344" y="100"/>
                    </a:lnTo>
                    <a:lnTo>
                      <a:pt x="345" y="99"/>
                    </a:lnTo>
                    <a:lnTo>
                      <a:pt x="349" y="99"/>
                    </a:lnTo>
                    <a:lnTo>
                      <a:pt x="353" y="100"/>
                    </a:lnTo>
                    <a:lnTo>
                      <a:pt x="353" y="100"/>
                    </a:lnTo>
                    <a:lnTo>
                      <a:pt x="354" y="102"/>
                    </a:lnTo>
                    <a:lnTo>
                      <a:pt x="354" y="102"/>
                    </a:lnTo>
                    <a:lnTo>
                      <a:pt x="358" y="100"/>
                    </a:lnTo>
                    <a:lnTo>
                      <a:pt x="362" y="99"/>
                    </a:lnTo>
                    <a:lnTo>
                      <a:pt x="362" y="99"/>
                    </a:lnTo>
                    <a:lnTo>
                      <a:pt x="369" y="95"/>
                    </a:lnTo>
                    <a:lnTo>
                      <a:pt x="370" y="95"/>
                    </a:lnTo>
                    <a:lnTo>
                      <a:pt x="370" y="95"/>
                    </a:lnTo>
                    <a:lnTo>
                      <a:pt x="368" y="98"/>
                    </a:lnTo>
                    <a:lnTo>
                      <a:pt x="366" y="99"/>
                    </a:lnTo>
                    <a:lnTo>
                      <a:pt x="370" y="95"/>
                    </a:lnTo>
                    <a:lnTo>
                      <a:pt x="370" y="95"/>
                    </a:lnTo>
                    <a:lnTo>
                      <a:pt x="370" y="95"/>
                    </a:lnTo>
                    <a:lnTo>
                      <a:pt x="370" y="95"/>
                    </a:lnTo>
                    <a:lnTo>
                      <a:pt x="370" y="95"/>
                    </a:lnTo>
                    <a:lnTo>
                      <a:pt x="372" y="94"/>
                    </a:lnTo>
                    <a:lnTo>
                      <a:pt x="374" y="94"/>
                    </a:lnTo>
                    <a:lnTo>
                      <a:pt x="376" y="94"/>
                    </a:lnTo>
                    <a:lnTo>
                      <a:pt x="376" y="94"/>
                    </a:lnTo>
                    <a:lnTo>
                      <a:pt x="380" y="95"/>
                    </a:lnTo>
                    <a:lnTo>
                      <a:pt x="380" y="95"/>
                    </a:lnTo>
                    <a:lnTo>
                      <a:pt x="382" y="95"/>
                    </a:lnTo>
                    <a:lnTo>
                      <a:pt x="382" y="95"/>
                    </a:lnTo>
                    <a:lnTo>
                      <a:pt x="386" y="94"/>
                    </a:lnTo>
                    <a:lnTo>
                      <a:pt x="393" y="96"/>
                    </a:lnTo>
                    <a:lnTo>
                      <a:pt x="393" y="96"/>
                    </a:lnTo>
                    <a:lnTo>
                      <a:pt x="395" y="99"/>
                    </a:lnTo>
                    <a:lnTo>
                      <a:pt x="395" y="99"/>
                    </a:lnTo>
                    <a:lnTo>
                      <a:pt x="399" y="104"/>
                    </a:lnTo>
                    <a:lnTo>
                      <a:pt x="401" y="104"/>
                    </a:lnTo>
                    <a:lnTo>
                      <a:pt x="401" y="104"/>
                    </a:lnTo>
                    <a:lnTo>
                      <a:pt x="403" y="108"/>
                    </a:lnTo>
                    <a:lnTo>
                      <a:pt x="403" y="108"/>
                    </a:lnTo>
                    <a:lnTo>
                      <a:pt x="406" y="111"/>
                    </a:lnTo>
                    <a:lnTo>
                      <a:pt x="409" y="116"/>
                    </a:lnTo>
                    <a:lnTo>
                      <a:pt x="409" y="118"/>
                    </a:lnTo>
                    <a:lnTo>
                      <a:pt x="409" y="118"/>
                    </a:lnTo>
                    <a:lnTo>
                      <a:pt x="409" y="119"/>
                    </a:lnTo>
                    <a:lnTo>
                      <a:pt x="409" y="119"/>
                    </a:lnTo>
                    <a:lnTo>
                      <a:pt x="413" y="121"/>
                    </a:lnTo>
                    <a:lnTo>
                      <a:pt x="413" y="121"/>
                    </a:lnTo>
                    <a:lnTo>
                      <a:pt x="413" y="121"/>
                    </a:lnTo>
                    <a:lnTo>
                      <a:pt x="413" y="121"/>
                    </a:lnTo>
                    <a:lnTo>
                      <a:pt x="411" y="121"/>
                    </a:lnTo>
                    <a:lnTo>
                      <a:pt x="421" y="121"/>
                    </a:lnTo>
                    <a:lnTo>
                      <a:pt x="421" y="121"/>
                    </a:lnTo>
                    <a:lnTo>
                      <a:pt x="423" y="124"/>
                    </a:lnTo>
                    <a:lnTo>
                      <a:pt x="423" y="124"/>
                    </a:lnTo>
                    <a:lnTo>
                      <a:pt x="428" y="129"/>
                    </a:lnTo>
                    <a:lnTo>
                      <a:pt x="431" y="131"/>
                    </a:lnTo>
                    <a:lnTo>
                      <a:pt x="435" y="132"/>
                    </a:lnTo>
                    <a:lnTo>
                      <a:pt x="435" y="132"/>
                    </a:lnTo>
                    <a:lnTo>
                      <a:pt x="436" y="132"/>
                    </a:lnTo>
                    <a:lnTo>
                      <a:pt x="436" y="132"/>
                    </a:lnTo>
                    <a:lnTo>
                      <a:pt x="438" y="132"/>
                    </a:lnTo>
                    <a:lnTo>
                      <a:pt x="438" y="132"/>
                    </a:lnTo>
                    <a:lnTo>
                      <a:pt x="439" y="132"/>
                    </a:lnTo>
                    <a:lnTo>
                      <a:pt x="442" y="129"/>
                    </a:lnTo>
                    <a:lnTo>
                      <a:pt x="446" y="128"/>
                    </a:lnTo>
                    <a:lnTo>
                      <a:pt x="446" y="128"/>
                    </a:lnTo>
                    <a:lnTo>
                      <a:pt x="446" y="128"/>
                    </a:lnTo>
                    <a:lnTo>
                      <a:pt x="448" y="127"/>
                    </a:lnTo>
                    <a:lnTo>
                      <a:pt x="452" y="125"/>
                    </a:lnTo>
                    <a:lnTo>
                      <a:pt x="452" y="125"/>
                    </a:lnTo>
                    <a:lnTo>
                      <a:pt x="454" y="125"/>
                    </a:lnTo>
                    <a:lnTo>
                      <a:pt x="455" y="125"/>
                    </a:lnTo>
                    <a:lnTo>
                      <a:pt x="459" y="128"/>
                    </a:lnTo>
                    <a:lnTo>
                      <a:pt x="459" y="128"/>
                    </a:lnTo>
                    <a:lnTo>
                      <a:pt x="462" y="131"/>
                    </a:lnTo>
                    <a:lnTo>
                      <a:pt x="462" y="135"/>
                    </a:lnTo>
                    <a:lnTo>
                      <a:pt x="460" y="140"/>
                    </a:lnTo>
                    <a:lnTo>
                      <a:pt x="460" y="140"/>
                    </a:lnTo>
                    <a:lnTo>
                      <a:pt x="459" y="140"/>
                    </a:lnTo>
                    <a:lnTo>
                      <a:pt x="459" y="140"/>
                    </a:lnTo>
                    <a:lnTo>
                      <a:pt x="463" y="144"/>
                    </a:lnTo>
                    <a:lnTo>
                      <a:pt x="467" y="148"/>
                    </a:lnTo>
                    <a:lnTo>
                      <a:pt x="467" y="148"/>
                    </a:lnTo>
                    <a:lnTo>
                      <a:pt x="475" y="152"/>
                    </a:lnTo>
                    <a:lnTo>
                      <a:pt x="475" y="153"/>
                    </a:lnTo>
                    <a:lnTo>
                      <a:pt x="477" y="155"/>
                    </a:lnTo>
                    <a:lnTo>
                      <a:pt x="477" y="155"/>
                    </a:lnTo>
                    <a:lnTo>
                      <a:pt x="480" y="156"/>
                    </a:lnTo>
                    <a:lnTo>
                      <a:pt x="480" y="156"/>
                    </a:lnTo>
                    <a:lnTo>
                      <a:pt x="484" y="159"/>
                    </a:lnTo>
                    <a:lnTo>
                      <a:pt x="484" y="159"/>
                    </a:lnTo>
                    <a:lnTo>
                      <a:pt x="487" y="161"/>
                    </a:lnTo>
                    <a:lnTo>
                      <a:pt x="487" y="161"/>
                    </a:lnTo>
                    <a:lnTo>
                      <a:pt x="489" y="162"/>
                    </a:lnTo>
                    <a:lnTo>
                      <a:pt x="489" y="162"/>
                    </a:lnTo>
                    <a:lnTo>
                      <a:pt x="492" y="165"/>
                    </a:lnTo>
                    <a:lnTo>
                      <a:pt x="492" y="165"/>
                    </a:lnTo>
                    <a:lnTo>
                      <a:pt x="496" y="168"/>
                    </a:lnTo>
                    <a:lnTo>
                      <a:pt x="496" y="168"/>
                    </a:lnTo>
                    <a:lnTo>
                      <a:pt x="497" y="169"/>
                    </a:lnTo>
                    <a:lnTo>
                      <a:pt x="497" y="169"/>
                    </a:lnTo>
                    <a:lnTo>
                      <a:pt x="501" y="172"/>
                    </a:lnTo>
                    <a:lnTo>
                      <a:pt x="501" y="172"/>
                    </a:lnTo>
                    <a:lnTo>
                      <a:pt x="505" y="174"/>
                    </a:lnTo>
                    <a:lnTo>
                      <a:pt x="505" y="174"/>
                    </a:lnTo>
                    <a:lnTo>
                      <a:pt x="505" y="178"/>
                    </a:lnTo>
                    <a:lnTo>
                      <a:pt x="502" y="182"/>
                    </a:lnTo>
                    <a:lnTo>
                      <a:pt x="504" y="182"/>
                    </a:lnTo>
                    <a:lnTo>
                      <a:pt x="504" y="182"/>
                    </a:lnTo>
                    <a:lnTo>
                      <a:pt x="504" y="182"/>
                    </a:lnTo>
                    <a:lnTo>
                      <a:pt x="504" y="182"/>
                    </a:lnTo>
                    <a:lnTo>
                      <a:pt x="504" y="182"/>
                    </a:lnTo>
                    <a:lnTo>
                      <a:pt x="504" y="182"/>
                    </a:lnTo>
                    <a:lnTo>
                      <a:pt x="505" y="188"/>
                    </a:lnTo>
                    <a:lnTo>
                      <a:pt x="505" y="188"/>
                    </a:lnTo>
                    <a:lnTo>
                      <a:pt x="513" y="194"/>
                    </a:lnTo>
                    <a:lnTo>
                      <a:pt x="520" y="202"/>
                    </a:lnTo>
                    <a:lnTo>
                      <a:pt x="530" y="219"/>
                    </a:lnTo>
                    <a:lnTo>
                      <a:pt x="530" y="219"/>
                    </a:lnTo>
                    <a:lnTo>
                      <a:pt x="540" y="235"/>
                    </a:lnTo>
                    <a:lnTo>
                      <a:pt x="540" y="238"/>
                    </a:lnTo>
                    <a:lnTo>
                      <a:pt x="540" y="238"/>
                    </a:lnTo>
                    <a:lnTo>
                      <a:pt x="541" y="240"/>
                    </a:lnTo>
                    <a:lnTo>
                      <a:pt x="541" y="240"/>
                    </a:lnTo>
                    <a:lnTo>
                      <a:pt x="542" y="242"/>
                    </a:lnTo>
                    <a:lnTo>
                      <a:pt x="542" y="242"/>
                    </a:lnTo>
                    <a:lnTo>
                      <a:pt x="541" y="240"/>
                    </a:lnTo>
                    <a:lnTo>
                      <a:pt x="543" y="246"/>
                    </a:lnTo>
                    <a:lnTo>
                      <a:pt x="543" y="251"/>
                    </a:lnTo>
                    <a:lnTo>
                      <a:pt x="538" y="256"/>
                    </a:lnTo>
                    <a:lnTo>
                      <a:pt x="538" y="256"/>
                    </a:lnTo>
                    <a:lnTo>
                      <a:pt x="537" y="256"/>
                    </a:lnTo>
                    <a:lnTo>
                      <a:pt x="537" y="256"/>
                    </a:lnTo>
                    <a:lnTo>
                      <a:pt x="538" y="256"/>
                    </a:lnTo>
                    <a:lnTo>
                      <a:pt x="541" y="254"/>
                    </a:lnTo>
                    <a:lnTo>
                      <a:pt x="534" y="258"/>
                    </a:lnTo>
                    <a:lnTo>
                      <a:pt x="534" y="258"/>
                    </a:lnTo>
                    <a:lnTo>
                      <a:pt x="536" y="259"/>
                    </a:lnTo>
                    <a:lnTo>
                      <a:pt x="536" y="259"/>
                    </a:lnTo>
                    <a:lnTo>
                      <a:pt x="536" y="262"/>
                    </a:lnTo>
                    <a:lnTo>
                      <a:pt x="536" y="262"/>
                    </a:lnTo>
                    <a:lnTo>
                      <a:pt x="534" y="260"/>
                    </a:lnTo>
                    <a:lnTo>
                      <a:pt x="538" y="263"/>
                    </a:lnTo>
                    <a:lnTo>
                      <a:pt x="538" y="263"/>
                    </a:lnTo>
                    <a:lnTo>
                      <a:pt x="540" y="266"/>
                    </a:lnTo>
                    <a:lnTo>
                      <a:pt x="541" y="270"/>
                    </a:lnTo>
                    <a:lnTo>
                      <a:pt x="541" y="270"/>
                    </a:lnTo>
                    <a:lnTo>
                      <a:pt x="541" y="271"/>
                    </a:lnTo>
                    <a:lnTo>
                      <a:pt x="541" y="271"/>
                    </a:lnTo>
                    <a:lnTo>
                      <a:pt x="540" y="270"/>
                    </a:lnTo>
                    <a:lnTo>
                      <a:pt x="540" y="270"/>
                    </a:lnTo>
                    <a:lnTo>
                      <a:pt x="542" y="272"/>
                    </a:lnTo>
                    <a:lnTo>
                      <a:pt x="542" y="272"/>
                    </a:lnTo>
                    <a:lnTo>
                      <a:pt x="545" y="278"/>
                    </a:lnTo>
                    <a:lnTo>
                      <a:pt x="545" y="278"/>
                    </a:lnTo>
                    <a:lnTo>
                      <a:pt x="547" y="281"/>
                    </a:lnTo>
                    <a:lnTo>
                      <a:pt x="549" y="288"/>
                    </a:lnTo>
                    <a:lnTo>
                      <a:pt x="549" y="288"/>
                    </a:lnTo>
                    <a:lnTo>
                      <a:pt x="550" y="291"/>
                    </a:lnTo>
                    <a:lnTo>
                      <a:pt x="550" y="291"/>
                    </a:lnTo>
                    <a:lnTo>
                      <a:pt x="551" y="296"/>
                    </a:lnTo>
                    <a:lnTo>
                      <a:pt x="551" y="299"/>
                    </a:lnTo>
                    <a:lnTo>
                      <a:pt x="550" y="303"/>
                    </a:lnTo>
                    <a:lnTo>
                      <a:pt x="550" y="303"/>
                    </a:lnTo>
                    <a:lnTo>
                      <a:pt x="554" y="304"/>
                    </a:lnTo>
                    <a:lnTo>
                      <a:pt x="553" y="305"/>
                    </a:lnTo>
                    <a:lnTo>
                      <a:pt x="558" y="311"/>
                    </a:lnTo>
                    <a:lnTo>
                      <a:pt x="558" y="311"/>
                    </a:lnTo>
                    <a:lnTo>
                      <a:pt x="558" y="309"/>
                    </a:lnTo>
                    <a:lnTo>
                      <a:pt x="557" y="307"/>
                    </a:lnTo>
                    <a:lnTo>
                      <a:pt x="557" y="307"/>
                    </a:lnTo>
                    <a:lnTo>
                      <a:pt x="555" y="305"/>
                    </a:lnTo>
                    <a:lnTo>
                      <a:pt x="554" y="305"/>
                    </a:lnTo>
                    <a:lnTo>
                      <a:pt x="554" y="305"/>
                    </a:lnTo>
                    <a:lnTo>
                      <a:pt x="555" y="304"/>
                    </a:lnTo>
                    <a:lnTo>
                      <a:pt x="555" y="304"/>
                    </a:lnTo>
                    <a:lnTo>
                      <a:pt x="559" y="300"/>
                    </a:lnTo>
                    <a:lnTo>
                      <a:pt x="563" y="300"/>
                    </a:lnTo>
                    <a:lnTo>
                      <a:pt x="563" y="300"/>
                    </a:lnTo>
                    <a:lnTo>
                      <a:pt x="567" y="301"/>
                    </a:lnTo>
                    <a:lnTo>
                      <a:pt x="569" y="304"/>
                    </a:lnTo>
                    <a:lnTo>
                      <a:pt x="570" y="305"/>
                    </a:lnTo>
                    <a:lnTo>
                      <a:pt x="570" y="305"/>
                    </a:lnTo>
                    <a:lnTo>
                      <a:pt x="571" y="308"/>
                    </a:lnTo>
                    <a:lnTo>
                      <a:pt x="573" y="312"/>
                    </a:lnTo>
                    <a:lnTo>
                      <a:pt x="573" y="312"/>
                    </a:lnTo>
                    <a:lnTo>
                      <a:pt x="573" y="312"/>
                    </a:lnTo>
                    <a:lnTo>
                      <a:pt x="573" y="312"/>
                    </a:lnTo>
                    <a:lnTo>
                      <a:pt x="575" y="311"/>
                    </a:lnTo>
                    <a:lnTo>
                      <a:pt x="575" y="311"/>
                    </a:lnTo>
                    <a:lnTo>
                      <a:pt x="579" y="308"/>
                    </a:lnTo>
                    <a:lnTo>
                      <a:pt x="586" y="307"/>
                    </a:lnTo>
                    <a:lnTo>
                      <a:pt x="592" y="312"/>
                    </a:lnTo>
                    <a:lnTo>
                      <a:pt x="592" y="312"/>
                    </a:lnTo>
                    <a:lnTo>
                      <a:pt x="592" y="315"/>
                    </a:lnTo>
                    <a:lnTo>
                      <a:pt x="594" y="317"/>
                    </a:lnTo>
                    <a:lnTo>
                      <a:pt x="596" y="320"/>
                    </a:lnTo>
                    <a:lnTo>
                      <a:pt x="596" y="320"/>
                    </a:lnTo>
                    <a:lnTo>
                      <a:pt x="598" y="320"/>
                    </a:lnTo>
                    <a:lnTo>
                      <a:pt x="598" y="320"/>
                    </a:lnTo>
                    <a:lnTo>
                      <a:pt x="595" y="318"/>
                    </a:lnTo>
                    <a:lnTo>
                      <a:pt x="599" y="321"/>
                    </a:lnTo>
                    <a:lnTo>
                      <a:pt x="599" y="321"/>
                    </a:lnTo>
                    <a:lnTo>
                      <a:pt x="598" y="320"/>
                    </a:lnTo>
                    <a:lnTo>
                      <a:pt x="598" y="320"/>
                    </a:lnTo>
                    <a:lnTo>
                      <a:pt x="598" y="320"/>
                    </a:lnTo>
                    <a:lnTo>
                      <a:pt x="598" y="320"/>
                    </a:lnTo>
                    <a:lnTo>
                      <a:pt x="603" y="322"/>
                    </a:lnTo>
                    <a:lnTo>
                      <a:pt x="604" y="324"/>
                    </a:lnTo>
                    <a:lnTo>
                      <a:pt x="606" y="326"/>
                    </a:lnTo>
                    <a:lnTo>
                      <a:pt x="606" y="326"/>
                    </a:lnTo>
                    <a:lnTo>
                      <a:pt x="607" y="330"/>
                    </a:lnTo>
                    <a:lnTo>
                      <a:pt x="606" y="334"/>
                    </a:lnTo>
                    <a:lnTo>
                      <a:pt x="602" y="338"/>
                    </a:lnTo>
                    <a:lnTo>
                      <a:pt x="603" y="340"/>
                    </a:lnTo>
                    <a:lnTo>
                      <a:pt x="603" y="340"/>
                    </a:lnTo>
                    <a:lnTo>
                      <a:pt x="603" y="341"/>
                    </a:lnTo>
                    <a:lnTo>
                      <a:pt x="603" y="341"/>
                    </a:lnTo>
                    <a:lnTo>
                      <a:pt x="606" y="348"/>
                    </a:lnTo>
                    <a:lnTo>
                      <a:pt x="606" y="348"/>
                    </a:lnTo>
                    <a:lnTo>
                      <a:pt x="608" y="345"/>
                    </a:lnTo>
                    <a:lnTo>
                      <a:pt x="608" y="345"/>
                    </a:lnTo>
                    <a:lnTo>
                      <a:pt x="610" y="345"/>
                    </a:lnTo>
                    <a:lnTo>
                      <a:pt x="610" y="345"/>
                    </a:lnTo>
                    <a:lnTo>
                      <a:pt x="610" y="346"/>
                    </a:lnTo>
                    <a:lnTo>
                      <a:pt x="615" y="342"/>
                    </a:lnTo>
                    <a:lnTo>
                      <a:pt x="615" y="342"/>
                    </a:lnTo>
                    <a:lnTo>
                      <a:pt x="620" y="342"/>
                    </a:lnTo>
                    <a:lnTo>
                      <a:pt x="620" y="342"/>
                    </a:lnTo>
                    <a:lnTo>
                      <a:pt x="621" y="342"/>
                    </a:lnTo>
                    <a:lnTo>
                      <a:pt x="621" y="342"/>
                    </a:lnTo>
                    <a:lnTo>
                      <a:pt x="621" y="342"/>
                    </a:lnTo>
                    <a:lnTo>
                      <a:pt x="624" y="341"/>
                    </a:lnTo>
                    <a:lnTo>
                      <a:pt x="628" y="340"/>
                    </a:lnTo>
                    <a:lnTo>
                      <a:pt x="635" y="346"/>
                    </a:lnTo>
                    <a:lnTo>
                      <a:pt x="635" y="350"/>
                    </a:lnTo>
                    <a:lnTo>
                      <a:pt x="635" y="350"/>
                    </a:lnTo>
                    <a:lnTo>
                      <a:pt x="633" y="353"/>
                    </a:lnTo>
                    <a:lnTo>
                      <a:pt x="633" y="356"/>
                    </a:lnTo>
                    <a:lnTo>
                      <a:pt x="633" y="362"/>
                    </a:lnTo>
                    <a:lnTo>
                      <a:pt x="632" y="366"/>
                    </a:lnTo>
                    <a:lnTo>
                      <a:pt x="632" y="366"/>
                    </a:lnTo>
                    <a:lnTo>
                      <a:pt x="632" y="366"/>
                    </a:lnTo>
                    <a:lnTo>
                      <a:pt x="632" y="366"/>
                    </a:lnTo>
                    <a:lnTo>
                      <a:pt x="632" y="367"/>
                    </a:lnTo>
                    <a:lnTo>
                      <a:pt x="632" y="367"/>
                    </a:lnTo>
                    <a:lnTo>
                      <a:pt x="632" y="370"/>
                    </a:lnTo>
                    <a:lnTo>
                      <a:pt x="632" y="370"/>
                    </a:lnTo>
                    <a:lnTo>
                      <a:pt x="632" y="370"/>
                    </a:lnTo>
                    <a:lnTo>
                      <a:pt x="632" y="370"/>
                    </a:lnTo>
                    <a:lnTo>
                      <a:pt x="631" y="369"/>
                    </a:lnTo>
                    <a:lnTo>
                      <a:pt x="628" y="367"/>
                    </a:lnTo>
                    <a:lnTo>
                      <a:pt x="633" y="373"/>
                    </a:lnTo>
                    <a:lnTo>
                      <a:pt x="633" y="374"/>
                    </a:lnTo>
                    <a:lnTo>
                      <a:pt x="633" y="374"/>
                    </a:lnTo>
                    <a:lnTo>
                      <a:pt x="633" y="375"/>
                    </a:lnTo>
                    <a:lnTo>
                      <a:pt x="633" y="375"/>
                    </a:lnTo>
                    <a:lnTo>
                      <a:pt x="633" y="375"/>
                    </a:lnTo>
                    <a:lnTo>
                      <a:pt x="635" y="378"/>
                    </a:lnTo>
                    <a:lnTo>
                      <a:pt x="636" y="383"/>
                    </a:lnTo>
                    <a:lnTo>
                      <a:pt x="632" y="389"/>
                    </a:lnTo>
                    <a:lnTo>
                      <a:pt x="632" y="389"/>
                    </a:lnTo>
                    <a:lnTo>
                      <a:pt x="632" y="389"/>
                    </a:lnTo>
                    <a:lnTo>
                      <a:pt x="631" y="390"/>
                    </a:lnTo>
                    <a:lnTo>
                      <a:pt x="631" y="390"/>
                    </a:lnTo>
                    <a:lnTo>
                      <a:pt x="628" y="394"/>
                    </a:lnTo>
                    <a:lnTo>
                      <a:pt x="627" y="399"/>
                    </a:lnTo>
                    <a:lnTo>
                      <a:pt x="627" y="399"/>
                    </a:lnTo>
                    <a:lnTo>
                      <a:pt x="624" y="403"/>
                    </a:lnTo>
                    <a:lnTo>
                      <a:pt x="625" y="403"/>
                    </a:lnTo>
                    <a:lnTo>
                      <a:pt x="625" y="403"/>
                    </a:lnTo>
                    <a:lnTo>
                      <a:pt x="625" y="402"/>
                    </a:lnTo>
                    <a:lnTo>
                      <a:pt x="625" y="402"/>
                    </a:lnTo>
                    <a:lnTo>
                      <a:pt x="625" y="403"/>
                    </a:lnTo>
                    <a:lnTo>
                      <a:pt x="625" y="403"/>
                    </a:lnTo>
                    <a:lnTo>
                      <a:pt x="625" y="404"/>
                    </a:lnTo>
                    <a:lnTo>
                      <a:pt x="625" y="404"/>
                    </a:lnTo>
                    <a:lnTo>
                      <a:pt x="625" y="408"/>
                    </a:lnTo>
                    <a:lnTo>
                      <a:pt x="624" y="411"/>
                    </a:lnTo>
                    <a:lnTo>
                      <a:pt x="624" y="411"/>
                    </a:lnTo>
                    <a:lnTo>
                      <a:pt x="624" y="410"/>
                    </a:lnTo>
                    <a:lnTo>
                      <a:pt x="623" y="414"/>
                    </a:lnTo>
                    <a:lnTo>
                      <a:pt x="623" y="414"/>
                    </a:lnTo>
                    <a:lnTo>
                      <a:pt x="621" y="418"/>
                    </a:lnTo>
                    <a:lnTo>
                      <a:pt x="621" y="418"/>
                    </a:lnTo>
                    <a:lnTo>
                      <a:pt x="619" y="420"/>
                    </a:lnTo>
                    <a:lnTo>
                      <a:pt x="618" y="423"/>
                    </a:lnTo>
                    <a:lnTo>
                      <a:pt x="618" y="423"/>
                    </a:lnTo>
                    <a:lnTo>
                      <a:pt x="615" y="428"/>
                    </a:lnTo>
                    <a:lnTo>
                      <a:pt x="615" y="428"/>
                    </a:lnTo>
                    <a:lnTo>
                      <a:pt x="615" y="428"/>
                    </a:lnTo>
                    <a:lnTo>
                      <a:pt x="615" y="428"/>
                    </a:lnTo>
                    <a:lnTo>
                      <a:pt x="615" y="430"/>
                    </a:lnTo>
                    <a:lnTo>
                      <a:pt x="615" y="434"/>
                    </a:lnTo>
                    <a:lnTo>
                      <a:pt x="614" y="437"/>
                    </a:lnTo>
                    <a:lnTo>
                      <a:pt x="614" y="437"/>
                    </a:lnTo>
                    <a:lnTo>
                      <a:pt x="614" y="437"/>
                    </a:lnTo>
                    <a:lnTo>
                      <a:pt x="614" y="437"/>
                    </a:lnTo>
                    <a:lnTo>
                      <a:pt x="614" y="440"/>
                    </a:lnTo>
                    <a:lnTo>
                      <a:pt x="614" y="440"/>
                    </a:lnTo>
                    <a:lnTo>
                      <a:pt x="619" y="439"/>
                    </a:lnTo>
                    <a:lnTo>
                      <a:pt x="625" y="437"/>
                    </a:lnTo>
                    <a:lnTo>
                      <a:pt x="625" y="437"/>
                    </a:lnTo>
                    <a:lnTo>
                      <a:pt x="629" y="437"/>
                    </a:lnTo>
                    <a:lnTo>
                      <a:pt x="633" y="435"/>
                    </a:lnTo>
                    <a:lnTo>
                      <a:pt x="639" y="428"/>
                    </a:lnTo>
                    <a:lnTo>
                      <a:pt x="643" y="427"/>
                    </a:lnTo>
                    <a:lnTo>
                      <a:pt x="643" y="427"/>
                    </a:lnTo>
                    <a:lnTo>
                      <a:pt x="644" y="426"/>
                    </a:lnTo>
                    <a:lnTo>
                      <a:pt x="644" y="426"/>
                    </a:lnTo>
                    <a:lnTo>
                      <a:pt x="647" y="423"/>
                    </a:lnTo>
                    <a:lnTo>
                      <a:pt x="648" y="422"/>
                    </a:lnTo>
                    <a:lnTo>
                      <a:pt x="652" y="422"/>
                    </a:lnTo>
                    <a:lnTo>
                      <a:pt x="652" y="422"/>
                    </a:lnTo>
                    <a:lnTo>
                      <a:pt x="655" y="422"/>
                    </a:lnTo>
                    <a:lnTo>
                      <a:pt x="657" y="424"/>
                    </a:lnTo>
                    <a:lnTo>
                      <a:pt x="659" y="427"/>
                    </a:lnTo>
                    <a:lnTo>
                      <a:pt x="660" y="428"/>
                    </a:lnTo>
                    <a:lnTo>
                      <a:pt x="660" y="428"/>
                    </a:lnTo>
                    <a:lnTo>
                      <a:pt x="661" y="431"/>
                    </a:lnTo>
                    <a:lnTo>
                      <a:pt x="665" y="436"/>
                    </a:lnTo>
                    <a:lnTo>
                      <a:pt x="665" y="436"/>
                    </a:lnTo>
                    <a:lnTo>
                      <a:pt x="664" y="435"/>
                    </a:lnTo>
                    <a:lnTo>
                      <a:pt x="664" y="434"/>
                    </a:lnTo>
                    <a:lnTo>
                      <a:pt x="664" y="434"/>
                    </a:lnTo>
                    <a:lnTo>
                      <a:pt x="666" y="436"/>
                    </a:lnTo>
                    <a:lnTo>
                      <a:pt x="668" y="440"/>
                    </a:lnTo>
                    <a:lnTo>
                      <a:pt x="668" y="440"/>
                    </a:lnTo>
                    <a:lnTo>
                      <a:pt x="668" y="440"/>
                    </a:lnTo>
                    <a:lnTo>
                      <a:pt x="670" y="439"/>
                    </a:lnTo>
                    <a:lnTo>
                      <a:pt x="672" y="439"/>
                    </a:lnTo>
                    <a:lnTo>
                      <a:pt x="672" y="439"/>
                    </a:lnTo>
                    <a:lnTo>
                      <a:pt x="672" y="439"/>
                    </a:lnTo>
                    <a:lnTo>
                      <a:pt x="672" y="439"/>
                    </a:lnTo>
                    <a:lnTo>
                      <a:pt x="672" y="440"/>
                    </a:lnTo>
                    <a:lnTo>
                      <a:pt x="676" y="437"/>
                    </a:lnTo>
                    <a:lnTo>
                      <a:pt x="676" y="437"/>
                    </a:lnTo>
                    <a:lnTo>
                      <a:pt x="676" y="437"/>
                    </a:lnTo>
                    <a:lnTo>
                      <a:pt x="680" y="435"/>
                    </a:lnTo>
                    <a:lnTo>
                      <a:pt x="685" y="435"/>
                    </a:lnTo>
                    <a:lnTo>
                      <a:pt x="685" y="435"/>
                    </a:lnTo>
                    <a:lnTo>
                      <a:pt x="690" y="436"/>
                    </a:lnTo>
                    <a:lnTo>
                      <a:pt x="694" y="437"/>
                    </a:lnTo>
                    <a:lnTo>
                      <a:pt x="702" y="444"/>
                    </a:lnTo>
                    <a:lnTo>
                      <a:pt x="702" y="444"/>
                    </a:lnTo>
                    <a:lnTo>
                      <a:pt x="707" y="449"/>
                    </a:lnTo>
                    <a:lnTo>
                      <a:pt x="710" y="451"/>
                    </a:lnTo>
                    <a:lnTo>
                      <a:pt x="714" y="452"/>
                    </a:lnTo>
                    <a:lnTo>
                      <a:pt x="718" y="452"/>
                    </a:lnTo>
                    <a:lnTo>
                      <a:pt x="723" y="456"/>
                    </a:lnTo>
                    <a:lnTo>
                      <a:pt x="723" y="455"/>
                    </a:lnTo>
                    <a:lnTo>
                      <a:pt x="723" y="455"/>
                    </a:lnTo>
                    <a:lnTo>
                      <a:pt x="721" y="453"/>
                    </a:lnTo>
                    <a:lnTo>
                      <a:pt x="722" y="453"/>
                    </a:lnTo>
                    <a:lnTo>
                      <a:pt x="722" y="453"/>
                    </a:lnTo>
                    <a:lnTo>
                      <a:pt x="723" y="453"/>
                    </a:lnTo>
                    <a:lnTo>
                      <a:pt x="725" y="453"/>
                    </a:lnTo>
                    <a:lnTo>
                      <a:pt x="727" y="455"/>
                    </a:lnTo>
                    <a:lnTo>
                      <a:pt x="727" y="455"/>
                    </a:lnTo>
                    <a:lnTo>
                      <a:pt x="730" y="452"/>
                    </a:lnTo>
                    <a:lnTo>
                      <a:pt x="734" y="451"/>
                    </a:lnTo>
                    <a:lnTo>
                      <a:pt x="742" y="449"/>
                    </a:lnTo>
                    <a:lnTo>
                      <a:pt x="742" y="449"/>
                    </a:lnTo>
                    <a:lnTo>
                      <a:pt x="746" y="449"/>
                    </a:lnTo>
                    <a:lnTo>
                      <a:pt x="754" y="455"/>
                    </a:lnTo>
                    <a:lnTo>
                      <a:pt x="754" y="461"/>
                    </a:lnTo>
                    <a:lnTo>
                      <a:pt x="747" y="468"/>
                    </a:lnTo>
                    <a:lnTo>
                      <a:pt x="747" y="468"/>
                    </a:lnTo>
                    <a:lnTo>
                      <a:pt x="747" y="468"/>
                    </a:lnTo>
                    <a:lnTo>
                      <a:pt x="747" y="471"/>
                    </a:lnTo>
                    <a:lnTo>
                      <a:pt x="747" y="472"/>
                    </a:lnTo>
                    <a:lnTo>
                      <a:pt x="746" y="473"/>
                    </a:lnTo>
                    <a:lnTo>
                      <a:pt x="748" y="474"/>
                    </a:lnTo>
                    <a:lnTo>
                      <a:pt x="748" y="474"/>
                    </a:lnTo>
                    <a:lnTo>
                      <a:pt x="750" y="478"/>
                    </a:lnTo>
                    <a:lnTo>
                      <a:pt x="750" y="478"/>
                    </a:lnTo>
                    <a:lnTo>
                      <a:pt x="751" y="481"/>
                    </a:lnTo>
                    <a:lnTo>
                      <a:pt x="754" y="486"/>
                    </a:lnTo>
                    <a:lnTo>
                      <a:pt x="754" y="486"/>
                    </a:lnTo>
                    <a:lnTo>
                      <a:pt x="755" y="489"/>
                    </a:lnTo>
                    <a:lnTo>
                      <a:pt x="755" y="489"/>
                    </a:lnTo>
                    <a:lnTo>
                      <a:pt x="755" y="490"/>
                    </a:lnTo>
                    <a:lnTo>
                      <a:pt x="755" y="490"/>
                    </a:lnTo>
                    <a:lnTo>
                      <a:pt x="755" y="490"/>
                    </a:lnTo>
                    <a:lnTo>
                      <a:pt x="759" y="496"/>
                    </a:lnTo>
                    <a:lnTo>
                      <a:pt x="759" y="496"/>
                    </a:lnTo>
                    <a:lnTo>
                      <a:pt x="759" y="496"/>
                    </a:lnTo>
                    <a:lnTo>
                      <a:pt x="759" y="496"/>
                    </a:lnTo>
                    <a:lnTo>
                      <a:pt x="759" y="496"/>
                    </a:lnTo>
                    <a:lnTo>
                      <a:pt x="759" y="497"/>
                    </a:lnTo>
                    <a:lnTo>
                      <a:pt x="759" y="497"/>
                    </a:lnTo>
                    <a:lnTo>
                      <a:pt x="759" y="501"/>
                    </a:lnTo>
                    <a:lnTo>
                      <a:pt x="758" y="504"/>
                    </a:lnTo>
                    <a:lnTo>
                      <a:pt x="755" y="505"/>
                    </a:lnTo>
                    <a:lnTo>
                      <a:pt x="755" y="505"/>
                    </a:lnTo>
                    <a:lnTo>
                      <a:pt x="755" y="504"/>
                    </a:lnTo>
                    <a:lnTo>
                      <a:pt x="756" y="502"/>
                    </a:lnTo>
                    <a:lnTo>
                      <a:pt x="752" y="508"/>
                    </a:lnTo>
                    <a:lnTo>
                      <a:pt x="752" y="508"/>
                    </a:lnTo>
                    <a:lnTo>
                      <a:pt x="752" y="509"/>
                    </a:lnTo>
                    <a:lnTo>
                      <a:pt x="746" y="512"/>
                    </a:lnTo>
                    <a:lnTo>
                      <a:pt x="746" y="512"/>
                    </a:lnTo>
                    <a:lnTo>
                      <a:pt x="746" y="512"/>
                    </a:lnTo>
                    <a:lnTo>
                      <a:pt x="742" y="517"/>
                    </a:lnTo>
                    <a:lnTo>
                      <a:pt x="740" y="517"/>
                    </a:lnTo>
                    <a:lnTo>
                      <a:pt x="738" y="519"/>
                    </a:lnTo>
                    <a:lnTo>
                      <a:pt x="739" y="519"/>
                    </a:lnTo>
                    <a:lnTo>
                      <a:pt x="739" y="519"/>
                    </a:lnTo>
                    <a:lnTo>
                      <a:pt x="740" y="517"/>
                    </a:lnTo>
                    <a:lnTo>
                      <a:pt x="740" y="517"/>
                    </a:lnTo>
                    <a:lnTo>
                      <a:pt x="740" y="518"/>
                    </a:lnTo>
                    <a:lnTo>
                      <a:pt x="740" y="518"/>
                    </a:lnTo>
                    <a:lnTo>
                      <a:pt x="740" y="521"/>
                    </a:lnTo>
                    <a:lnTo>
                      <a:pt x="740" y="522"/>
                    </a:lnTo>
                    <a:lnTo>
                      <a:pt x="740" y="522"/>
                    </a:lnTo>
                    <a:lnTo>
                      <a:pt x="742" y="522"/>
                    </a:lnTo>
                    <a:lnTo>
                      <a:pt x="742" y="522"/>
                    </a:lnTo>
                    <a:lnTo>
                      <a:pt x="744" y="523"/>
                    </a:lnTo>
                    <a:lnTo>
                      <a:pt x="744" y="523"/>
                    </a:lnTo>
                    <a:lnTo>
                      <a:pt x="744" y="523"/>
                    </a:lnTo>
                    <a:lnTo>
                      <a:pt x="747" y="521"/>
                    </a:lnTo>
                    <a:lnTo>
                      <a:pt x="752" y="519"/>
                    </a:lnTo>
                    <a:lnTo>
                      <a:pt x="752" y="519"/>
                    </a:lnTo>
                    <a:lnTo>
                      <a:pt x="754" y="519"/>
                    </a:lnTo>
                    <a:lnTo>
                      <a:pt x="759" y="526"/>
                    </a:lnTo>
                    <a:lnTo>
                      <a:pt x="759" y="526"/>
                    </a:lnTo>
                    <a:lnTo>
                      <a:pt x="758" y="523"/>
                    </a:lnTo>
                    <a:lnTo>
                      <a:pt x="759" y="523"/>
                    </a:lnTo>
                    <a:lnTo>
                      <a:pt x="759" y="523"/>
                    </a:lnTo>
                    <a:lnTo>
                      <a:pt x="760" y="527"/>
                    </a:lnTo>
                    <a:lnTo>
                      <a:pt x="760" y="529"/>
                    </a:lnTo>
                    <a:lnTo>
                      <a:pt x="760" y="529"/>
                    </a:lnTo>
                    <a:lnTo>
                      <a:pt x="762" y="530"/>
                    </a:lnTo>
                    <a:lnTo>
                      <a:pt x="762" y="534"/>
                    </a:lnTo>
                    <a:lnTo>
                      <a:pt x="762" y="534"/>
                    </a:lnTo>
                    <a:lnTo>
                      <a:pt x="762" y="534"/>
                    </a:lnTo>
                    <a:lnTo>
                      <a:pt x="762" y="534"/>
                    </a:lnTo>
                    <a:lnTo>
                      <a:pt x="763" y="534"/>
                    </a:lnTo>
                    <a:lnTo>
                      <a:pt x="763" y="534"/>
                    </a:lnTo>
                    <a:lnTo>
                      <a:pt x="763" y="534"/>
                    </a:lnTo>
                    <a:lnTo>
                      <a:pt x="763" y="534"/>
                    </a:lnTo>
                    <a:lnTo>
                      <a:pt x="763" y="535"/>
                    </a:lnTo>
                    <a:lnTo>
                      <a:pt x="764" y="534"/>
                    </a:lnTo>
                    <a:lnTo>
                      <a:pt x="764" y="533"/>
                    </a:lnTo>
                    <a:lnTo>
                      <a:pt x="764" y="533"/>
                    </a:lnTo>
                    <a:lnTo>
                      <a:pt x="764" y="533"/>
                    </a:lnTo>
                    <a:lnTo>
                      <a:pt x="766" y="531"/>
                    </a:lnTo>
                    <a:lnTo>
                      <a:pt x="774" y="531"/>
                    </a:lnTo>
                    <a:lnTo>
                      <a:pt x="780" y="535"/>
                    </a:lnTo>
                    <a:lnTo>
                      <a:pt x="780" y="535"/>
                    </a:lnTo>
                    <a:lnTo>
                      <a:pt x="780" y="539"/>
                    </a:lnTo>
                    <a:lnTo>
                      <a:pt x="780" y="542"/>
                    </a:lnTo>
                    <a:lnTo>
                      <a:pt x="780" y="542"/>
                    </a:lnTo>
                    <a:lnTo>
                      <a:pt x="780" y="543"/>
                    </a:lnTo>
                    <a:lnTo>
                      <a:pt x="780" y="543"/>
                    </a:lnTo>
                    <a:lnTo>
                      <a:pt x="779" y="541"/>
                    </a:lnTo>
                    <a:lnTo>
                      <a:pt x="776" y="539"/>
                    </a:lnTo>
                    <a:lnTo>
                      <a:pt x="781" y="546"/>
                    </a:lnTo>
                    <a:lnTo>
                      <a:pt x="781" y="546"/>
                    </a:lnTo>
                    <a:lnTo>
                      <a:pt x="781" y="546"/>
                    </a:lnTo>
                    <a:lnTo>
                      <a:pt x="783" y="547"/>
                    </a:lnTo>
                    <a:lnTo>
                      <a:pt x="784" y="549"/>
                    </a:lnTo>
                    <a:lnTo>
                      <a:pt x="784" y="549"/>
                    </a:lnTo>
                    <a:lnTo>
                      <a:pt x="785" y="551"/>
                    </a:lnTo>
                    <a:lnTo>
                      <a:pt x="787" y="554"/>
                    </a:lnTo>
                    <a:lnTo>
                      <a:pt x="787" y="554"/>
                    </a:lnTo>
                    <a:lnTo>
                      <a:pt x="787" y="555"/>
                    </a:lnTo>
                    <a:lnTo>
                      <a:pt x="789" y="559"/>
                    </a:lnTo>
                    <a:lnTo>
                      <a:pt x="789" y="560"/>
                    </a:lnTo>
                    <a:lnTo>
                      <a:pt x="789" y="560"/>
                    </a:lnTo>
                    <a:lnTo>
                      <a:pt x="789" y="563"/>
                    </a:lnTo>
                    <a:lnTo>
                      <a:pt x="789" y="563"/>
                    </a:lnTo>
                    <a:lnTo>
                      <a:pt x="789" y="563"/>
                    </a:lnTo>
                    <a:lnTo>
                      <a:pt x="789" y="563"/>
                    </a:lnTo>
                    <a:lnTo>
                      <a:pt x="788" y="562"/>
                    </a:lnTo>
                    <a:lnTo>
                      <a:pt x="785" y="560"/>
                    </a:lnTo>
                    <a:lnTo>
                      <a:pt x="791" y="566"/>
                    </a:lnTo>
                    <a:lnTo>
                      <a:pt x="791" y="566"/>
                    </a:lnTo>
                    <a:lnTo>
                      <a:pt x="791" y="566"/>
                    </a:lnTo>
                    <a:lnTo>
                      <a:pt x="791" y="566"/>
                    </a:lnTo>
                    <a:lnTo>
                      <a:pt x="791" y="566"/>
                    </a:lnTo>
                    <a:lnTo>
                      <a:pt x="791" y="566"/>
                    </a:lnTo>
                    <a:lnTo>
                      <a:pt x="791" y="571"/>
                    </a:lnTo>
                    <a:lnTo>
                      <a:pt x="789" y="575"/>
                    </a:lnTo>
                    <a:lnTo>
                      <a:pt x="789" y="575"/>
                    </a:lnTo>
                    <a:lnTo>
                      <a:pt x="787" y="576"/>
                    </a:lnTo>
                    <a:lnTo>
                      <a:pt x="784" y="578"/>
                    </a:lnTo>
                    <a:lnTo>
                      <a:pt x="780" y="579"/>
                    </a:lnTo>
                    <a:lnTo>
                      <a:pt x="780" y="579"/>
                    </a:lnTo>
                    <a:lnTo>
                      <a:pt x="775" y="578"/>
                    </a:lnTo>
                    <a:lnTo>
                      <a:pt x="775" y="578"/>
                    </a:lnTo>
                    <a:lnTo>
                      <a:pt x="772" y="578"/>
                    </a:lnTo>
                    <a:lnTo>
                      <a:pt x="772" y="578"/>
                    </a:lnTo>
                    <a:lnTo>
                      <a:pt x="771" y="578"/>
                    </a:lnTo>
                    <a:lnTo>
                      <a:pt x="771" y="578"/>
                    </a:lnTo>
                    <a:lnTo>
                      <a:pt x="774" y="576"/>
                    </a:lnTo>
                    <a:lnTo>
                      <a:pt x="770" y="579"/>
                    </a:lnTo>
                    <a:lnTo>
                      <a:pt x="771" y="579"/>
                    </a:lnTo>
                    <a:lnTo>
                      <a:pt x="771" y="579"/>
                    </a:lnTo>
                    <a:lnTo>
                      <a:pt x="775" y="582"/>
                    </a:lnTo>
                    <a:lnTo>
                      <a:pt x="777" y="582"/>
                    </a:lnTo>
                    <a:lnTo>
                      <a:pt x="779" y="582"/>
                    </a:lnTo>
                    <a:lnTo>
                      <a:pt x="785" y="588"/>
                    </a:lnTo>
                    <a:lnTo>
                      <a:pt x="785" y="588"/>
                    </a:lnTo>
                    <a:lnTo>
                      <a:pt x="785" y="588"/>
                    </a:lnTo>
                    <a:lnTo>
                      <a:pt x="787" y="590"/>
                    </a:lnTo>
                    <a:lnTo>
                      <a:pt x="787" y="596"/>
                    </a:lnTo>
                    <a:lnTo>
                      <a:pt x="780" y="603"/>
                    </a:lnTo>
                    <a:lnTo>
                      <a:pt x="780" y="603"/>
                    </a:lnTo>
                    <a:lnTo>
                      <a:pt x="780" y="603"/>
                    </a:lnTo>
                    <a:lnTo>
                      <a:pt x="780" y="603"/>
                    </a:lnTo>
                    <a:lnTo>
                      <a:pt x="779" y="603"/>
                    </a:lnTo>
                    <a:lnTo>
                      <a:pt x="779" y="603"/>
                    </a:lnTo>
                    <a:lnTo>
                      <a:pt x="779" y="601"/>
                    </a:lnTo>
                    <a:lnTo>
                      <a:pt x="774" y="605"/>
                    </a:lnTo>
                    <a:lnTo>
                      <a:pt x="774" y="605"/>
                    </a:lnTo>
                    <a:lnTo>
                      <a:pt x="774" y="605"/>
                    </a:lnTo>
                    <a:lnTo>
                      <a:pt x="771" y="605"/>
                    </a:lnTo>
                    <a:lnTo>
                      <a:pt x="771" y="605"/>
                    </a:lnTo>
                    <a:lnTo>
                      <a:pt x="771" y="605"/>
                    </a:lnTo>
                    <a:lnTo>
                      <a:pt x="771" y="605"/>
                    </a:lnTo>
                    <a:lnTo>
                      <a:pt x="771" y="607"/>
                    </a:lnTo>
                    <a:lnTo>
                      <a:pt x="771" y="607"/>
                    </a:lnTo>
                    <a:lnTo>
                      <a:pt x="771" y="605"/>
                    </a:lnTo>
                    <a:lnTo>
                      <a:pt x="771" y="605"/>
                    </a:lnTo>
                    <a:lnTo>
                      <a:pt x="771" y="607"/>
                    </a:lnTo>
                    <a:lnTo>
                      <a:pt x="770" y="607"/>
                    </a:lnTo>
                    <a:lnTo>
                      <a:pt x="772" y="609"/>
                    </a:lnTo>
                    <a:lnTo>
                      <a:pt x="772" y="613"/>
                    </a:lnTo>
                    <a:lnTo>
                      <a:pt x="772" y="613"/>
                    </a:lnTo>
                    <a:lnTo>
                      <a:pt x="772" y="615"/>
                    </a:lnTo>
                    <a:lnTo>
                      <a:pt x="772" y="615"/>
                    </a:lnTo>
                    <a:lnTo>
                      <a:pt x="772" y="616"/>
                    </a:lnTo>
                    <a:lnTo>
                      <a:pt x="772" y="616"/>
                    </a:lnTo>
                    <a:lnTo>
                      <a:pt x="771" y="613"/>
                    </a:lnTo>
                    <a:lnTo>
                      <a:pt x="768" y="612"/>
                    </a:lnTo>
                    <a:lnTo>
                      <a:pt x="774" y="617"/>
                    </a:lnTo>
                    <a:lnTo>
                      <a:pt x="774" y="619"/>
                    </a:lnTo>
                    <a:lnTo>
                      <a:pt x="774" y="620"/>
                    </a:lnTo>
                    <a:lnTo>
                      <a:pt x="774" y="620"/>
                    </a:lnTo>
                    <a:lnTo>
                      <a:pt x="776" y="619"/>
                    </a:lnTo>
                    <a:lnTo>
                      <a:pt x="776" y="619"/>
                    </a:lnTo>
                    <a:lnTo>
                      <a:pt x="776" y="619"/>
                    </a:lnTo>
                    <a:lnTo>
                      <a:pt x="780" y="616"/>
                    </a:lnTo>
                    <a:lnTo>
                      <a:pt x="785" y="616"/>
                    </a:lnTo>
                    <a:lnTo>
                      <a:pt x="787" y="616"/>
                    </a:lnTo>
                    <a:lnTo>
                      <a:pt x="793" y="620"/>
                    </a:lnTo>
                    <a:lnTo>
                      <a:pt x="793" y="620"/>
                    </a:lnTo>
                    <a:lnTo>
                      <a:pt x="793" y="624"/>
                    </a:lnTo>
                    <a:lnTo>
                      <a:pt x="793" y="628"/>
                    </a:lnTo>
                    <a:lnTo>
                      <a:pt x="791" y="633"/>
                    </a:lnTo>
                    <a:lnTo>
                      <a:pt x="787" y="636"/>
                    </a:lnTo>
                    <a:lnTo>
                      <a:pt x="783" y="637"/>
                    </a:lnTo>
                    <a:lnTo>
                      <a:pt x="783" y="637"/>
                    </a:lnTo>
                    <a:lnTo>
                      <a:pt x="780" y="638"/>
                    </a:lnTo>
                    <a:lnTo>
                      <a:pt x="780" y="638"/>
                    </a:lnTo>
                    <a:lnTo>
                      <a:pt x="780" y="638"/>
                    </a:lnTo>
                    <a:lnTo>
                      <a:pt x="780" y="638"/>
                    </a:lnTo>
                    <a:lnTo>
                      <a:pt x="781" y="637"/>
                    </a:lnTo>
                    <a:lnTo>
                      <a:pt x="775" y="641"/>
                    </a:lnTo>
                    <a:lnTo>
                      <a:pt x="774" y="641"/>
                    </a:lnTo>
                    <a:lnTo>
                      <a:pt x="774" y="641"/>
                    </a:lnTo>
                    <a:lnTo>
                      <a:pt x="772" y="642"/>
                    </a:lnTo>
                    <a:lnTo>
                      <a:pt x="772" y="642"/>
                    </a:lnTo>
                    <a:lnTo>
                      <a:pt x="772" y="641"/>
                    </a:lnTo>
                    <a:lnTo>
                      <a:pt x="768" y="645"/>
                    </a:lnTo>
                    <a:lnTo>
                      <a:pt x="768" y="645"/>
                    </a:lnTo>
                    <a:lnTo>
                      <a:pt x="768" y="645"/>
                    </a:lnTo>
                    <a:lnTo>
                      <a:pt x="764" y="646"/>
                    </a:lnTo>
                    <a:lnTo>
                      <a:pt x="764" y="646"/>
                    </a:lnTo>
                    <a:lnTo>
                      <a:pt x="755" y="650"/>
                    </a:lnTo>
                    <a:lnTo>
                      <a:pt x="755" y="650"/>
                    </a:lnTo>
                    <a:lnTo>
                      <a:pt x="755" y="650"/>
                    </a:lnTo>
                    <a:lnTo>
                      <a:pt x="755" y="650"/>
                    </a:lnTo>
                    <a:lnTo>
                      <a:pt x="756" y="652"/>
                    </a:lnTo>
                    <a:lnTo>
                      <a:pt x="756" y="653"/>
                    </a:lnTo>
                    <a:lnTo>
                      <a:pt x="751" y="660"/>
                    </a:lnTo>
                    <a:lnTo>
                      <a:pt x="751" y="660"/>
                    </a:lnTo>
                    <a:lnTo>
                      <a:pt x="754" y="658"/>
                    </a:lnTo>
                    <a:lnTo>
                      <a:pt x="755" y="656"/>
                    </a:lnTo>
                    <a:lnTo>
                      <a:pt x="755" y="656"/>
                    </a:lnTo>
                    <a:lnTo>
                      <a:pt x="755" y="657"/>
                    </a:lnTo>
                    <a:lnTo>
                      <a:pt x="755" y="657"/>
                    </a:lnTo>
                    <a:lnTo>
                      <a:pt x="755" y="660"/>
                    </a:lnTo>
                    <a:lnTo>
                      <a:pt x="755" y="662"/>
                    </a:lnTo>
                    <a:lnTo>
                      <a:pt x="750" y="666"/>
                    </a:lnTo>
                    <a:lnTo>
                      <a:pt x="750" y="666"/>
                    </a:lnTo>
                    <a:lnTo>
                      <a:pt x="748" y="668"/>
                    </a:lnTo>
                    <a:lnTo>
                      <a:pt x="748" y="668"/>
                    </a:lnTo>
                    <a:lnTo>
                      <a:pt x="744" y="666"/>
                    </a:lnTo>
                    <a:lnTo>
                      <a:pt x="743" y="665"/>
                    </a:lnTo>
                    <a:lnTo>
                      <a:pt x="743" y="665"/>
                    </a:lnTo>
                    <a:lnTo>
                      <a:pt x="743" y="665"/>
                    </a:lnTo>
                    <a:lnTo>
                      <a:pt x="743" y="665"/>
                    </a:lnTo>
                    <a:lnTo>
                      <a:pt x="744" y="666"/>
                    </a:lnTo>
                    <a:lnTo>
                      <a:pt x="740" y="661"/>
                    </a:lnTo>
                    <a:lnTo>
                      <a:pt x="740" y="661"/>
                    </a:lnTo>
                    <a:lnTo>
                      <a:pt x="740" y="661"/>
                    </a:lnTo>
                    <a:lnTo>
                      <a:pt x="739" y="661"/>
                    </a:lnTo>
                    <a:lnTo>
                      <a:pt x="737" y="660"/>
                    </a:lnTo>
                    <a:lnTo>
                      <a:pt x="737" y="660"/>
                    </a:lnTo>
                    <a:lnTo>
                      <a:pt x="733" y="658"/>
                    </a:lnTo>
                    <a:lnTo>
                      <a:pt x="733" y="658"/>
                    </a:lnTo>
                    <a:lnTo>
                      <a:pt x="731" y="658"/>
                    </a:lnTo>
                    <a:lnTo>
                      <a:pt x="731" y="661"/>
                    </a:lnTo>
                    <a:lnTo>
                      <a:pt x="731" y="661"/>
                    </a:lnTo>
                    <a:lnTo>
                      <a:pt x="729" y="664"/>
                    </a:lnTo>
                    <a:lnTo>
                      <a:pt x="726" y="665"/>
                    </a:lnTo>
                    <a:lnTo>
                      <a:pt x="721" y="666"/>
                    </a:lnTo>
                    <a:lnTo>
                      <a:pt x="721" y="666"/>
                    </a:lnTo>
                    <a:lnTo>
                      <a:pt x="717" y="668"/>
                    </a:lnTo>
                    <a:lnTo>
                      <a:pt x="713" y="669"/>
                    </a:lnTo>
                    <a:lnTo>
                      <a:pt x="710" y="669"/>
                    </a:lnTo>
                    <a:lnTo>
                      <a:pt x="709" y="666"/>
                    </a:lnTo>
                    <a:lnTo>
                      <a:pt x="709" y="666"/>
                    </a:lnTo>
                    <a:lnTo>
                      <a:pt x="710" y="665"/>
                    </a:lnTo>
                    <a:lnTo>
                      <a:pt x="710" y="665"/>
                    </a:lnTo>
                    <a:lnTo>
                      <a:pt x="710" y="662"/>
                    </a:lnTo>
                    <a:lnTo>
                      <a:pt x="710" y="660"/>
                    </a:lnTo>
                    <a:lnTo>
                      <a:pt x="707" y="665"/>
                    </a:lnTo>
                    <a:lnTo>
                      <a:pt x="703" y="660"/>
                    </a:lnTo>
                    <a:lnTo>
                      <a:pt x="703" y="660"/>
                    </a:lnTo>
                    <a:lnTo>
                      <a:pt x="703" y="662"/>
                    </a:lnTo>
                    <a:lnTo>
                      <a:pt x="706" y="665"/>
                    </a:lnTo>
                    <a:lnTo>
                      <a:pt x="706" y="666"/>
                    </a:lnTo>
                    <a:lnTo>
                      <a:pt x="706" y="666"/>
                    </a:lnTo>
                    <a:lnTo>
                      <a:pt x="707" y="666"/>
                    </a:lnTo>
                    <a:lnTo>
                      <a:pt x="707" y="666"/>
                    </a:lnTo>
                    <a:lnTo>
                      <a:pt x="707" y="666"/>
                    </a:lnTo>
                    <a:lnTo>
                      <a:pt x="707" y="666"/>
                    </a:lnTo>
                    <a:lnTo>
                      <a:pt x="705" y="669"/>
                    </a:lnTo>
                    <a:lnTo>
                      <a:pt x="701" y="671"/>
                    </a:lnTo>
                    <a:lnTo>
                      <a:pt x="694" y="673"/>
                    </a:lnTo>
                    <a:lnTo>
                      <a:pt x="694" y="673"/>
                    </a:lnTo>
                    <a:lnTo>
                      <a:pt x="692" y="674"/>
                    </a:lnTo>
                    <a:lnTo>
                      <a:pt x="692" y="674"/>
                    </a:lnTo>
                    <a:lnTo>
                      <a:pt x="692" y="674"/>
                    </a:lnTo>
                    <a:lnTo>
                      <a:pt x="692" y="674"/>
                    </a:lnTo>
                    <a:lnTo>
                      <a:pt x="692" y="674"/>
                    </a:lnTo>
                    <a:lnTo>
                      <a:pt x="692" y="674"/>
                    </a:lnTo>
                    <a:lnTo>
                      <a:pt x="692" y="674"/>
                    </a:lnTo>
                    <a:lnTo>
                      <a:pt x="690" y="674"/>
                    </a:lnTo>
                    <a:lnTo>
                      <a:pt x="686" y="677"/>
                    </a:lnTo>
                    <a:lnTo>
                      <a:pt x="685" y="677"/>
                    </a:lnTo>
                    <a:lnTo>
                      <a:pt x="685" y="677"/>
                    </a:lnTo>
                    <a:lnTo>
                      <a:pt x="684" y="679"/>
                    </a:lnTo>
                    <a:lnTo>
                      <a:pt x="680" y="681"/>
                    </a:lnTo>
                    <a:lnTo>
                      <a:pt x="680" y="682"/>
                    </a:lnTo>
                    <a:lnTo>
                      <a:pt x="680" y="682"/>
                    </a:lnTo>
                    <a:lnTo>
                      <a:pt x="677" y="683"/>
                    </a:lnTo>
                    <a:lnTo>
                      <a:pt x="674" y="687"/>
                    </a:lnTo>
                    <a:lnTo>
                      <a:pt x="674" y="687"/>
                    </a:lnTo>
                    <a:lnTo>
                      <a:pt x="670" y="693"/>
                    </a:lnTo>
                    <a:lnTo>
                      <a:pt x="668" y="695"/>
                    </a:lnTo>
                    <a:lnTo>
                      <a:pt x="668" y="695"/>
                    </a:lnTo>
                    <a:lnTo>
                      <a:pt x="664" y="695"/>
                    </a:lnTo>
                    <a:lnTo>
                      <a:pt x="664" y="695"/>
                    </a:lnTo>
                    <a:lnTo>
                      <a:pt x="661" y="695"/>
                    </a:lnTo>
                    <a:lnTo>
                      <a:pt x="661" y="695"/>
                    </a:lnTo>
                    <a:lnTo>
                      <a:pt x="657" y="695"/>
                    </a:lnTo>
                    <a:lnTo>
                      <a:pt x="657" y="695"/>
                    </a:lnTo>
                    <a:lnTo>
                      <a:pt x="657" y="695"/>
                    </a:lnTo>
                    <a:lnTo>
                      <a:pt x="656" y="695"/>
                    </a:lnTo>
                    <a:lnTo>
                      <a:pt x="656" y="695"/>
                    </a:lnTo>
                    <a:lnTo>
                      <a:pt x="656" y="697"/>
                    </a:lnTo>
                    <a:lnTo>
                      <a:pt x="653" y="699"/>
                    </a:lnTo>
                    <a:lnTo>
                      <a:pt x="653" y="699"/>
                    </a:lnTo>
                    <a:lnTo>
                      <a:pt x="652" y="701"/>
                    </a:lnTo>
                    <a:lnTo>
                      <a:pt x="652" y="701"/>
                    </a:lnTo>
                    <a:lnTo>
                      <a:pt x="651" y="703"/>
                    </a:lnTo>
                    <a:lnTo>
                      <a:pt x="649" y="705"/>
                    </a:lnTo>
                    <a:lnTo>
                      <a:pt x="649" y="705"/>
                    </a:lnTo>
                    <a:lnTo>
                      <a:pt x="648" y="706"/>
                    </a:lnTo>
                    <a:lnTo>
                      <a:pt x="647" y="706"/>
                    </a:lnTo>
                    <a:lnTo>
                      <a:pt x="648" y="714"/>
                    </a:lnTo>
                    <a:lnTo>
                      <a:pt x="648" y="714"/>
                    </a:lnTo>
                    <a:lnTo>
                      <a:pt x="641" y="718"/>
                    </a:lnTo>
                    <a:lnTo>
                      <a:pt x="641" y="718"/>
                    </a:lnTo>
                    <a:lnTo>
                      <a:pt x="636" y="720"/>
                    </a:lnTo>
                    <a:lnTo>
                      <a:pt x="635" y="724"/>
                    </a:lnTo>
                    <a:lnTo>
                      <a:pt x="631" y="727"/>
                    </a:lnTo>
                    <a:lnTo>
                      <a:pt x="631" y="727"/>
                    </a:lnTo>
                    <a:lnTo>
                      <a:pt x="631" y="727"/>
                    </a:lnTo>
                    <a:lnTo>
                      <a:pt x="627" y="730"/>
                    </a:lnTo>
                    <a:lnTo>
                      <a:pt x="623" y="731"/>
                    </a:lnTo>
                    <a:lnTo>
                      <a:pt x="623" y="731"/>
                    </a:lnTo>
                    <a:lnTo>
                      <a:pt x="620" y="736"/>
                    </a:lnTo>
                    <a:lnTo>
                      <a:pt x="616" y="740"/>
                    </a:lnTo>
                    <a:lnTo>
                      <a:pt x="616" y="740"/>
                    </a:lnTo>
                    <a:lnTo>
                      <a:pt x="612" y="744"/>
                    </a:lnTo>
                    <a:lnTo>
                      <a:pt x="612" y="744"/>
                    </a:lnTo>
                    <a:lnTo>
                      <a:pt x="612" y="744"/>
                    </a:lnTo>
                    <a:lnTo>
                      <a:pt x="614" y="748"/>
                    </a:lnTo>
                    <a:lnTo>
                      <a:pt x="614" y="749"/>
                    </a:lnTo>
                    <a:lnTo>
                      <a:pt x="614" y="751"/>
                    </a:lnTo>
                    <a:lnTo>
                      <a:pt x="614" y="751"/>
                    </a:lnTo>
                    <a:lnTo>
                      <a:pt x="612" y="756"/>
                    </a:lnTo>
                    <a:lnTo>
                      <a:pt x="610" y="761"/>
                    </a:lnTo>
                    <a:lnTo>
                      <a:pt x="604" y="767"/>
                    </a:lnTo>
                    <a:lnTo>
                      <a:pt x="600" y="769"/>
                    </a:lnTo>
                    <a:lnTo>
                      <a:pt x="596" y="771"/>
                    </a:lnTo>
                    <a:lnTo>
                      <a:pt x="596" y="771"/>
                    </a:lnTo>
                    <a:lnTo>
                      <a:pt x="594" y="772"/>
                    </a:lnTo>
                    <a:lnTo>
                      <a:pt x="590" y="772"/>
                    </a:lnTo>
                    <a:lnTo>
                      <a:pt x="590" y="772"/>
                    </a:lnTo>
                    <a:lnTo>
                      <a:pt x="590" y="772"/>
                    </a:lnTo>
                    <a:lnTo>
                      <a:pt x="586" y="772"/>
                    </a:lnTo>
                    <a:lnTo>
                      <a:pt x="586" y="772"/>
                    </a:lnTo>
                    <a:lnTo>
                      <a:pt x="582" y="773"/>
                    </a:lnTo>
                    <a:lnTo>
                      <a:pt x="578" y="776"/>
                    </a:lnTo>
                    <a:lnTo>
                      <a:pt x="578" y="776"/>
                    </a:lnTo>
                    <a:lnTo>
                      <a:pt x="567" y="771"/>
                    </a:lnTo>
                    <a:close/>
                  </a:path>
                </a:pathLst>
              </a:custGeom>
              <a:solidFill>
                <a:schemeClr val="bg1">
                  <a:lumMod val="7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3" name="Freeform 24">
                <a:extLst>
                  <a:ext uri="{FF2B5EF4-FFF2-40B4-BE49-F238E27FC236}">
                    <a16:creationId xmlns:a16="http://schemas.microsoft.com/office/drawing/2014/main" xmlns="" id="{BDA19FC1-C1F1-400C-BB15-2DB7895CACFB}"/>
                  </a:ext>
                </a:extLst>
              </p:cNvPr>
              <p:cNvSpPr>
                <a:spLocks/>
              </p:cNvSpPr>
              <p:nvPr/>
            </p:nvSpPr>
            <p:spPr bwMode="auto">
              <a:xfrm>
                <a:off x="4948072" y="2417022"/>
                <a:ext cx="853126" cy="807859"/>
              </a:xfrm>
              <a:custGeom>
                <a:avLst/>
                <a:gdLst>
                  <a:gd name="T0" fmla="*/ 83 w 490"/>
                  <a:gd name="T1" fmla="*/ 434 h 464"/>
                  <a:gd name="T2" fmla="*/ 52 w 490"/>
                  <a:gd name="T3" fmla="*/ 417 h 464"/>
                  <a:gd name="T4" fmla="*/ 56 w 490"/>
                  <a:gd name="T5" fmla="*/ 401 h 464"/>
                  <a:gd name="T6" fmla="*/ 42 w 490"/>
                  <a:gd name="T7" fmla="*/ 408 h 464"/>
                  <a:gd name="T8" fmla="*/ 43 w 490"/>
                  <a:gd name="T9" fmla="*/ 382 h 464"/>
                  <a:gd name="T10" fmla="*/ 47 w 490"/>
                  <a:gd name="T11" fmla="*/ 372 h 464"/>
                  <a:gd name="T12" fmla="*/ 46 w 490"/>
                  <a:gd name="T13" fmla="*/ 343 h 464"/>
                  <a:gd name="T14" fmla="*/ 35 w 490"/>
                  <a:gd name="T15" fmla="*/ 322 h 464"/>
                  <a:gd name="T16" fmla="*/ 9 w 490"/>
                  <a:gd name="T17" fmla="*/ 311 h 464"/>
                  <a:gd name="T18" fmla="*/ 17 w 490"/>
                  <a:gd name="T19" fmla="*/ 283 h 464"/>
                  <a:gd name="T20" fmla="*/ 10 w 490"/>
                  <a:gd name="T21" fmla="*/ 270 h 464"/>
                  <a:gd name="T22" fmla="*/ 31 w 490"/>
                  <a:gd name="T23" fmla="*/ 238 h 464"/>
                  <a:gd name="T24" fmla="*/ 46 w 490"/>
                  <a:gd name="T25" fmla="*/ 232 h 464"/>
                  <a:gd name="T26" fmla="*/ 88 w 490"/>
                  <a:gd name="T27" fmla="*/ 226 h 464"/>
                  <a:gd name="T28" fmla="*/ 125 w 490"/>
                  <a:gd name="T29" fmla="*/ 197 h 464"/>
                  <a:gd name="T30" fmla="*/ 157 w 490"/>
                  <a:gd name="T31" fmla="*/ 179 h 464"/>
                  <a:gd name="T32" fmla="*/ 161 w 490"/>
                  <a:gd name="T33" fmla="*/ 172 h 464"/>
                  <a:gd name="T34" fmla="*/ 166 w 490"/>
                  <a:gd name="T35" fmla="*/ 144 h 464"/>
                  <a:gd name="T36" fmla="*/ 203 w 490"/>
                  <a:gd name="T37" fmla="*/ 119 h 464"/>
                  <a:gd name="T38" fmla="*/ 219 w 490"/>
                  <a:gd name="T39" fmla="*/ 101 h 464"/>
                  <a:gd name="T40" fmla="*/ 232 w 490"/>
                  <a:gd name="T41" fmla="*/ 61 h 464"/>
                  <a:gd name="T42" fmla="*/ 253 w 490"/>
                  <a:gd name="T43" fmla="*/ 25 h 464"/>
                  <a:gd name="T44" fmla="*/ 263 w 490"/>
                  <a:gd name="T45" fmla="*/ 3 h 464"/>
                  <a:gd name="T46" fmla="*/ 273 w 490"/>
                  <a:gd name="T47" fmla="*/ 0 h 464"/>
                  <a:gd name="T48" fmla="*/ 282 w 490"/>
                  <a:gd name="T49" fmla="*/ 18 h 464"/>
                  <a:gd name="T50" fmla="*/ 293 w 490"/>
                  <a:gd name="T51" fmla="*/ 12 h 464"/>
                  <a:gd name="T52" fmla="*/ 325 w 490"/>
                  <a:gd name="T53" fmla="*/ 8 h 464"/>
                  <a:gd name="T54" fmla="*/ 325 w 490"/>
                  <a:gd name="T55" fmla="*/ 8 h 464"/>
                  <a:gd name="T56" fmla="*/ 350 w 490"/>
                  <a:gd name="T57" fmla="*/ 8 h 464"/>
                  <a:gd name="T58" fmla="*/ 382 w 490"/>
                  <a:gd name="T59" fmla="*/ 19 h 464"/>
                  <a:gd name="T60" fmla="*/ 397 w 490"/>
                  <a:gd name="T61" fmla="*/ 12 h 464"/>
                  <a:gd name="T62" fmla="*/ 416 w 490"/>
                  <a:gd name="T63" fmla="*/ 16 h 464"/>
                  <a:gd name="T64" fmla="*/ 433 w 490"/>
                  <a:gd name="T65" fmla="*/ 37 h 464"/>
                  <a:gd name="T66" fmla="*/ 424 w 490"/>
                  <a:gd name="T67" fmla="*/ 43 h 464"/>
                  <a:gd name="T68" fmla="*/ 429 w 490"/>
                  <a:gd name="T69" fmla="*/ 63 h 464"/>
                  <a:gd name="T70" fmla="*/ 399 w 490"/>
                  <a:gd name="T71" fmla="*/ 102 h 464"/>
                  <a:gd name="T72" fmla="*/ 395 w 490"/>
                  <a:gd name="T73" fmla="*/ 135 h 464"/>
                  <a:gd name="T74" fmla="*/ 392 w 490"/>
                  <a:gd name="T75" fmla="*/ 146 h 464"/>
                  <a:gd name="T76" fmla="*/ 403 w 490"/>
                  <a:gd name="T77" fmla="*/ 159 h 464"/>
                  <a:gd name="T78" fmla="*/ 421 w 490"/>
                  <a:gd name="T79" fmla="*/ 160 h 464"/>
                  <a:gd name="T80" fmla="*/ 457 w 490"/>
                  <a:gd name="T81" fmla="*/ 164 h 464"/>
                  <a:gd name="T82" fmla="*/ 474 w 490"/>
                  <a:gd name="T83" fmla="*/ 170 h 464"/>
                  <a:gd name="T84" fmla="*/ 473 w 490"/>
                  <a:gd name="T85" fmla="*/ 211 h 464"/>
                  <a:gd name="T86" fmla="*/ 462 w 490"/>
                  <a:gd name="T87" fmla="*/ 237 h 464"/>
                  <a:gd name="T88" fmla="*/ 423 w 490"/>
                  <a:gd name="T89" fmla="*/ 228 h 464"/>
                  <a:gd name="T90" fmla="*/ 401 w 490"/>
                  <a:gd name="T91" fmla="*/ 250 h 464"/>
                  <a:gd name="T92" fmla="*/ 388 w 490"/>
                  <a:gd name="T93" fmla="*/ 245 h 464"/>
                  <a:gd name="T94" fmla="*/ 368 w 490"/>
                  <a:gd name="T95" fmla="*/ 250 h 464"/>
                  <a:gd name="T96" fmla="*/ 322 w 490"/>
                  <a:gd name="T97" fmla="*/ 242 h 464"/>
                  <a:gd name="T98" fmla="*/ 305 w 490"/>
                  <a:gd name="T99" fmla="*/ 252 h 464"/>
                  <a:gd name="T100" fmla="*/ 273 w 490"/>
                  <a:gd name="T101" fmla="*/ 259 h 464"/>
                  <a:gd name="T102" fmla="*/ 244 w 490"/>
                  <a:gd name="T103" fmla="*/ 278 h 464"/>
                  <a:gd name="T104" fmla="*/ 226 w 490"/>
                  <a:gd name="T105" fmla="*/ 294 h 464"/>
                  <a:gd name="T106" fmla="*/ 200 w 490"/>
                  <a:gd name="T107" fmla="*/ 299 h 464"/>
                  <a:gd name="T108" fmla="*/ 210 w 490"/>
                  <a:gd name="T109" fmla="*/ 323 h 464"/>
                  <a:gd name="T110" fmla="*/ 207 w 490"/>
                  <a:gd name="T111" fmla="*/ 357 h 464"/>
                  <a:gd name="T112" fmla="*/ 208 w 490"/>
                  <a:gd name="T113" fmla="*/ 359 h 464"/>
                  <a:gd name="T114" fmla="*/ 186 w 490"/>
                  <a:gd name="T115" fmla="*/ 371 h 464"/>
                  <a:gd name="T116" fmla="*/ 163 w 490"/>
                  <a:gd name="T117" fmla="*/ 381 h 464"/>
                  <a:gd name="T118" fmla="*/ 152 w 490"/>
                  <a:gd name="T119" fmla="*/ 393 h 464"/>
                  <a:gd name="T120" fmla="*/ 148 w 490"/>
                  <a:gd name="T121" fmla="*/ 405 h 464"/>
                  <a:gd name="T122" fmla="*/ 120 w 490"/>
                  <a:gd name="T123" fmla="*/ 426 h 464"/>
                  <a:gd name="T124" fmla="*/ 115 w 490"/>
                  <a:gd name="T125" fmla="*/ 45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0" h="464">
                    <a:moveTo>
                      <a:pt x="103" y="464"/>
                    </a:moveTo>
                    <a:lnTo>
                      <a:pt x="103" y="464"/>
                    </a:lnTo>
                    <a:lnTo>
                      <a:pt x="100" y="463"/>
                    </a:lnTo>
                    <a:lnTo>
                      <a:pt x="96" y="462"/>
                    </a:lnTo>
                    <a:lnTo>
                      <a:pt x="96" y="462"/>
                    </a:lnTo>
                    <a:lnTo>
                      <a:pt x="95" y="459"/>
                    </a:lnTo>
                    <a:lnTo>
                      <a:pt x="93" y="455"/>
                    </a:lnTo>
                    <a:lnTo>
                      <a:pt x="95" y="450"/>
                    </a:lnTo>
                    <a:lnTo>
                      <a:pt x="95" y="450"/>
                    </a:lnTo>
                    <a:lnTo>
                      <a:pt x="95" y="445"/>
                    </a:lnTo>
                    <a:lnTo>
                      <a:pt x="95" y="445"/>
                    </a:lnTo>
                    <a:lnTo>
                      <a:pt x="95" y="445"/>
                    </a:lnTo>
                    <a:lnTo>
                      <a:pt x="92" y="439"/>
                    </a:lnTo>
                    <a:lnTo>
                      <a:pt x="92" y="439"/>
                    </a:lnTo>
                    <a:lnTo>
                      <a:pt x="89" y="438"/>
                    </a:lnTo>
                    <a:lnTo>
                      <a:pt x="88" y="435"/>
                    </a:lnTo>
                    <a:lnTo>
                      <a:pt x="87" y="435"/>
                    </a:lnTo>
                    <a:lnTo>
                      <a:pt x="83" y="434"/>
                    </a:lnTo>
                    <a:lnTo>
                      <a:pt x="83" y="434"/>
                    </a:lnTo>
                    <a:lnTo>
                      <a:pt x="79" y="430"/>
                    </a:lnTo>
                    <a:lnTo>
                      <a:pt x="74" y="429"/>
                    </a:lnTo>
                    <a:lnTo>
                      <a:pt x="74" y="429"/>
                    </a:lnTo>
                    <a:lnTo>
                      <a:pt x="72" y="430"/>
                    </a:lnTo>
                    <a:lnTo>
                      <a:pt x="72" y="430"/>
                    </a:lnTo>
                    <a:lnTo>
                      <a:pt x="71" y="433"/>
                    </a:lnTo>
                    <a:lnTo>
                      <a:pt x="71" y="433"/>
                    </a:lnTo>
                    <a:lnTo>
                      <a:pt x="71" y="433"/>
                    </a:lnTo>
                    <a:lnTo>
                      <a:pt x="71" y="431"/>
                    </a:lnTo>
                    <a:lnTo>
                      <a:pt x="66" y="437"/>
                    </a:lnTo>
                    <a:lnTo>
                      <a:pt x="64" y="437"/>
                    </a:lnTo>
                    <a:lnTo>
                      <a:pt x="58" y="430"/>
                    </a:lnTo>
                    <a:lnTo>
                      <a:pt x="58" y="430"/>
                    </a:lnTo>
                    <a:lnTo>
                      <a:pt x="58" y="431"/>
                    </a:lnTo>
                    <a:lnTo>
                      <a:pt x="56" y="430"/>
                    </a:lnTo>
                    <a:lnTo>
                      <a:pt x="56" y="430"/>
                    </a:lnTo>
                    <a:lnTo>
                      <a:pt x="55" y="423"/>
                    </a:lnTo>
                    <a:lnTo>
                      <a:pt x="55" y="423"/>
                    </a:lnTo>
                    <a:lnTo>
                      <a:pt x="52" y="417"/>
                    </a:lnTo>
                    <a:lnTo>
                      <a:pt x="51" y="413"/>
                    </a:lnTo>
                    <a:lnTo>
                      <a:pt x="51" y="409"/>
                    </a:lnTo>
                    <a:lnTo>
                      <a:pt x="51" y="406"/>
                    </a:lnTo>
                    <a:lnTo>
                      <a:pt x="54" y="405"/>
                    </a:lnTo>
                    <a:lnTo>
                      <a:pt x="54" y="405"/>
                    </a:lnTo>
                    <a:lnTo>
                      <a:pt x="55" y="406"/>
                    </a:lnTo>
                    <a:lnTo>
                      <a:pt x="58" y="408"/>
                    </a:lnTo>
                    <a:lnTo>
                      <a:pt x="58" y="406"/>
                    </a:lnTo>
                    <a:lnTo>
                      <a:pt x="58" y="406"/>
                    </a:lnTo>
                    <a:lnTo>
                      <a:pt x="58" y="405"/>
                    </a:lnTo>
                    <a:lnTo>
                      <a:pt x="55" y="404"/>
                    </a:lnTo>
                    <a:lnTo>
                      <a:pt x="58" y="402"/>
                    </a:lnTo>
                    <a:lnTo>
                      <a:pt x="58" y="401"/>
                    </a:lnTo>
                    <a:lnTo>
                      <a:pt x="58" y="401"/>
                    </a:lnTo>
                    <a:lnTo>
                      <a:pt x="56" y="401"/>
                    </a:lnTo>
                    <a:lnTo>
                      <a:pt x="56" y="401"/>
                    </a:lnTo>
                    <a:lnTo>
                      <a:pt x="56" y="401"/>
                    </a:lnTo>
                    <a:lnTo>
                      <a:pt x="56" y="401"/>
                    </a:lnTo>
                    <a:lnTo>
                      <a:pt x="56" y="401"/>
                    </a:lnTo>
                    <a:lnTo>
                      <a:pt x="56" y="401"/>
                    </a:lnTo>
                    <a:lnTo>
                      <a:pt x="56" y="401"/>
                    </a:lnTo>
                    <a:lnTo>
                      <a:pt x="56" y="401"/>
                    </a:lnTo>
                    <a:lnTo>
                      <a:pt x="54" y="402"/>
                    </a:lnTo>
                    <a:lnTo>
                      <a:pt x="52" y="402"/>
                    </a:lnTo>
                    <a:lnTo>
                      <a:pt x="51" y="402"/>
                    </a:lnTo>
                    <a:lnTo>
                      <a:pt x="51" y="402"/>
                    </a:lnTo>
                    <a:lnTo>
                      <a:pt x="52" y="404"/>
                    </a:lnTo>
                    <a:lnTo>
                      <a:pt x="52" y="404"/>
                    </a:lnTo>
                    <a:lnTo>
                      <a:pt x="51" y="405"/>
                    </a:lnTo>
                    <a:lnTo>
                      <a:pt x="51" y="405"/>
                    </a:lnTo>
                    <a:lnTo>
                      <a:pt x="48" y="406"/>
                    </a:lnTo>
                    <a:lnTo>
                      <a:pt x="48" y="406"/>
                    </a:lnTo>
                    <a:lnTo>
                      <a:pt x="50" y="406"/>
                    </a:lnTo>
                    <a:lnTo>
                      <a:pt x="50" y="406"/>
                    </a:lnTo>
                    <a:lnTo>
                      <a:pt x="47" y="408"/>
                    </a:lnTo>
                    <a:lnTo>
                      <a:pt x="43" y="408"/>
                    </a:lnTo>
                    <a:lnTo>
                      <a:pt x="43" y="408"/>
                    </a:lnTo>
                    <a:lnTo>
                      <a:pt x="42" y="408"/>
                    </a:lnTo>
                    <a:lnTo>
                      <a:pt x="37" y="408"/>
                    </a:lnTo>
                    <a:lnTo>
                      <a:pt x="31" y="400"/>
                    </a:lnTo>
                    <a:lnTo>
                      <a:pt x="31" y="400"/>
                    </a:lnTo>
                    <a:lnTo>
                      <a:pt x="31" y="402"/>
                    </a:lnTo>
                    <a:lnTo>
                      <a:pt x="30" y="400"/>
                    </a:lnTo>
                    <a:lnTo>
                      <a:pt x="30" y="394"/>
                    </a:lnTo>
                    <a:lnTo>
                      <a:pt x="30" y="394"/>
                    </a:lnTo>
                    <a:lnTo>
                      <a:pt x="30" y="390"/>
                    </a:lnTo>
                    <a:lnTo>
                      <a:pt x="31" y="388"/>
                    </a:lnTo>
                    <a:lnTo>
                      <a:pt x="31" y="388"/>
                    </a:lnTo>
                    <a:lnTo>
                      <a:pt x="31" y="388"/>
                    </a:lnTo>
                    <a:lnTo>
                      <a:pt x="31" y="390"/>
                    </a:lnTo>
                    <a:lnTo>
                      <a:pt x="34" y="385"/>
                    </a:lnTo>
                    <a:lnTo>
                      <a:pt x="34" y="385"/>
                    </a:lnTo>
                    <a:lnTo>
                      <a:pt x="37" y="384"/>
                    </a:lnTo>
                    <a:lnTo>
                      <a:pt x="42" y="382"/>
                    </a:lnTo>
                    <a:lnTo>
                      <a:pt x="42" y="382"/>
                    </a:lnTo>
                    <a:lnTo>
                      <a:pt x="42" y="382"/>
                    </a:lnTo>
                    <a:lnTo>
                      <a:pt x="43" y="382"/>
                    </a:lnTo>
                    <a:lnTo>
                      <a:pt x="43" y="382"/>
                    </a:lnTo>
                    <a:lnTo>
                      <a:pt x="43" y="382"/>
                    </a:lnTo>
                    <a:lnTo>
                      <a:pt x="43" y="384"/>
                    </a:lnTo>
                    <a:lnTo>
                      <a:pt x="44" y="381"/>
                    </a:lnTo>
                    <a:lnTo>
                      <a:pt x="44" y="381"/>
                    </a:lnTo>
                    <a:lnTo>
                      <a:pt x="46" y="380"/>
                    </a:lnTo>
                    <a:lnTo>
                      <a:pt x="46" y="380"/>
                    </a:lnTo>
                    <a:lnTo>
                      <a:pt x="46" y="377"/>
                    </a:lnTo>
                    <a:lnTo>
                      <a:pt x="46" y="377"/>
                    </a:lnTo>
                    <a:lnTo>
                      <a:pt x="47" y="380"/>
                    </a:lnTo>
                    <a:lnTo>
                      <a:pt x="47" y="380"/>
                    </a:lnTo>
                    <a:lnTo>
                      <a:pt x="47" y="380"/>
                    </a:lnTo>
                    <a:lnTo>
                      <a:pt x="44" y="375"/>
                    </a:lnTo>
                    <a:lnTo>
                      <a:pt x="44" y="372"/>
                    </a:lnTo>
                    <a:lnTo>
                      <a:pt x="44" y="372"/>
                    </a:lnTo>
                    <a:lnTo>
                      <a:pt x="44" y="369"/>
                    </a:lnTo>
                    <a:lnTo>
                      <a:pt x="44" y="369"/>
                    </a:lnTo>
                    <a:lnTo>
                      <a:pt x="44" y="371"/>
                    </a:lnTo>
                    <a:lnTo>
                      <a:pt x="47" y="372"/>
                    </a:lnTo>
                    <a:lnTo>
                      <a:pt x="42" y="365"/>
                    </a:lnTo>
                    <a:lnTo>
                      <a:pt x="42" y="365"/>
                    </a:lnTo>
                    <a:lnTo>
                      <a:pt x="43" y="361"/>
                    </a:lnTo>
                    <a:lnTo>
                      <a:pt x="44" y="360"/>
                    </a:lnTo>
                    <a:lnTo>
                      <a:pt x="48" y="359"/>
                    </a:lnTo>
                    <a:lnTo>
                      <a:pt x="48" y="359"/>
                    </a:lnTo>
                    <a:lnTo>
                      <a:pt x="46" y="360"/>
                    </a:lnTo>
                    <a:lnTo>
                      <a:pt x="46" y="364"/>
                    </a:lnTo>
                    <a:lnTo>
                      <a:pt x="51" y="359"/>
                    </a:lnTo>
                    <a:lnTo>
                      <a:pt x="48" y="356"/>
                    </a:lnTo>
                    <a:lnTo>
                      <a:pt x="48" y="355"/>
                    </a:lnTo>
                    <a:lnTo>
                      <a:pt x="48" y="355"/>
                    </a:lnTo>
                    <a:lnTo>
                      <a:pt x="48" y="353"/>
                    </a:lnTo>
                    <a:lnTo>
                      <a:pt x="48" y="352"/>
                    </a:lnTo>
                    <a:lnTo>
                      <a:pt x="48" y="352"/>
                    </a:lnTo>
                    <a:lnTo>
                      <a:pt x="47" y="349"/>
                    </a:lnTo>
                    <a:lnTo>
                      <a:pt x="46" y="345"/>
                    </a:lnTo>
                    <a:lnTo>
                      <a:pt x="46" y="345"/>
                    </a:lnTo>
                    <a:lnTo>
                      <a:pt x="46" y="343"/>
                    </a:lnTo>
                    <a:lnTo>
                      <a:pt x="46" y="340"/>
                    </a:lnTo>
                    <a:lnTo>
                      <a:pt x="46" y="340"/>
                    </a:lnTo>
                    <a:lnTo>
                      <a:pt x="46" y="340"/>
                    </a:lnTo>
                    <a:lnTo>
                      <a:pt x="44" y="337"/>
                    </a:lnTo>
                    <a:lnTo>
                      <a:pt x="44" y="337"/>
                    </a:lnTo>
                    <a:lnTo>
                      <a:pt x="40" y="334"/>
                    </a:lnTo>
                    <a:lnTo>
                      <a:pt x="39" y="330"/>
                    </a:lnTo>
                    <a:lnTo>
                      <a:pt x="39" y="328"/>
                    </a:lnTo>
                    <a:lnTo>
                      <a:pt x="39" y="328"/>
                    </a:lnTo>
                    <a:lnTo>
                      <a:pt x="39" y="323"/>
                    </a:lnTo>
                    <a:lnTo>
                      <a:pt x="39" y="323"/>
                    </a:lnTo>
                    <a:lnTo>
                      <a:pt x="39" y="323"/>
                    </a:lnTo>
                    <a:lnTo>
                      <a:pt x="38" y="322"/>
                    </a:lnTo>
                    <a:lnTo>
                      <a:pt x="38" y="322"/>
                    </a:lnTo>
                    <a:lnTo>
                      <a:pt x="38" y="322"/>
                    </a:lnTo>
                    <a:lnTo>
                      <a:pt x="38" y="322"/>
                    </a:lnTo>
                    <a:lnTo>
                      <a:pt x="37" y="322"/>
                    </a:lnTo>
                    <a:lnTo>
                      <a:pt x="37" y="322"/>
                    </a:lnTo>
                    <a:lnTo>
                      <a:pt x="35" y="322"/>
                    </a:lnTo>
                    <a:lnTo>
                      <a:pt x="35" y="322"/>
                    </a:lnTo>
                    <a:lnTo>
                      <a:pt x="37" y="320"/>
                    </a:lnTo>
                    <a:lnTo>
                      <a:pt x="38" y="318"/>
                    </a:lnTo>
                    <a:lnTo>
                      <a:pt x="33" y="323"/>
                    </a:lnTo>
                    <a:lnTo>
                      <a:pt x="25" y="323"/>
                    </a:lnTo>
                    <a:lnTo>
                      <a:pt x="18" y="316"/>
                    </a:lnTo>
                    <a:lnTo>
                      <a:pt x="18" y="315"/>
                    </a:lnTo>
                    <a:lnTo>
                      <a:pt x="18" y="315"/>
                    </a:lnTo>
                    <a:lnTo>
                      <a:pt x="18" y="312"/>
                    </a:lnTo>
                    <a:lnTo>
                      <a:pt x="17" y="308"/>
                    </a:lnTo>
                    <a:lnTo>
                      <a:pt x="17" y="308"/>
                    </a:lnTo>
                    <a:lnTo>
                      <a:pt x="17" y="311"/>
                    </a:lnTo>
                    <a:lnTo>
                      <a:pt x="17" y="311"/>
                    </a:lnTo>
                    <a:lnTo>
                      <a:pt x="15" y="308"/>
                    </a:lnTo>
                    <a:lnTo>
                      <a:pt x="15" y="308"/>
                    </a:lnTo>
                    <a:lnTo>
                      <a:pt x="15" y="308"/>
                    </a:lnTo>
                    <a:lnTo>
                      <a:pt x="11" y="310"/>
                    </a:lnTo>
                    <a:lnTo>
                      <a:pt x="11" y="310"/>
                    </a:lnTo>
                    <a:lnTo>
                      <a:pt x="9" y="311"/>
                    </a:lnTo>
                    <a:lnTo>
                      <a:pt x="6" y="311"/>
                    </a:lnTo>
                    <a:lnTo>
                      <a:pt x="0" y="306"/>
                    </a:lnTo>
                    <a:lnTo>
                      <a:pt x="0" y="306"/>
                    </a:lnTo>
                    <a:lnTo>
                      <a:pt x="0" y="302"/>
                    </a:lnTo>
                    <a:lnTo>
                      <a:pt x="1" y="299"/>
                    </a:lnTo>
                    <a:lnTo>
                      <a:pt x="3" y="295"/>
                    </a:lnTo>
                    <a:lnTo>
                      <a:pt x="3" y="295"/>
                    </a:lnTo>
                    <a:lnTo>
                      <a:pt x="3" y="295"/>
                    </a:lnTo>
                    <a:lnTo>
                      <a:pt x="3" y="295"/>
                    </a:lnTo>
                    <a:lnTo>
                      <a:pt x="3" y="297"/>
                    </a:lnTo>
                    <a:lnTo>
                      <a:pt x="6" y="294"/>
                    </a:lnTo>
                    <a:lnTo>
                      <a:pt x="6" y="294"/>
                    </a:lnTo>
                    <a:lnTo>
                      <a:pt x="6" y="294"/>
                    </a:lnTo>
                    <a:lnTo>
                      <a:pt x="10" y="290"/>
                    </a:lnTo>
                    <a:lnTo>
                      <a:pt x="13" y="289"/>
                    </a:lnTo>
                    <a:lnTo>
                      <a:pt x="13" y="289"/>
                    </a:lnTo>
                    <a:lnTo>
                      <a:pt x="17" y="286"/>
                    </a:lnTo>
                    <a:lnTo>
                      <a:pt x="17" y="286"/>
                    </a:lnTo>
                    <a:lnTo>
                      <a:pt x="17" y="283"/>
                    </a:lnTo>
                    <a:lnTo>
                      <a:pt x="17" y="283"/>
                    </a:lnTo>
                    <a:lnTo>
                      <a:pt x="18" y="283"/>
                    </a:lnTo>
                    <a:lnTo>
                      <a:pt x="18" y="283"/>
                    </a:lnTo>
                    <a:lnTo>
                      <a:pt x="18" y="285"/>
                    </a:lnTo>
                    <a:lnTo>
                      <a:pt x="22" y="286"/>
                    </a:lnTo>
                    <a:lnTo>
                      <a:pt x="15" y="281"/>
                    </a:lnTo>
                    <a:lnTo>
                      <a:pt x="15" y="281"/>
                    </a:lnTo>
                    <a:lnTo>
                      <a:pt x="15" y="281"/>
                    </a:lnTo>
                    <a:lnTo>
                      <a:pt x="15" y="278"/>
                    </a:lnTo>
                    <a:lnTo>
                      <a:pt x="15" y="278"/>
                    </a:lnTo>
                    <a:lnTo>
                      <a:pt x="17" y="279"/>
                    </a:lnTo>
                    <a:lnTo>
                      <a:pt x="13" y="274"/>
                    </a:lnTo>
                    <a:lnTo>
                      <a:pt x="13" y="274"/>
                    </a:lnTo>
                    <a:lnTo>
                      <a:pt x="13" y="274"/>
                    </a:lnTo>
                    <a:lnTo>
                      <a:pt x="13" y="274"/>
                    </a:lnTo>
                    <a:lnTo>
                      <a:pt x="13" y="273"/>
                    </a:lnTo>
                    <a:lnTo>
                      <a:pt x="13" y="273"/>
                    </a:lnTo>
                    <a:lnTo>
                      <a:pt x="13" y="273"/>
                    </a:lnTo>
                    <a:lnTo>
                      <a:pt x="10" y="270"/>
                    </a:lnTo>
                    <a:lnTo>
                      <a:pt x="10" y="270"/>
                    </a:lnTo>
                    <a:lnTo>
                      <a:pt x="9" y="266"/>
                    </a:lnTo>
                    <a:lnTo>
                      <a:pt x="6" y="262"/>
                    </a:lnTo>
                    <a:lnTo>
                      <a:pt x="6" y="257"/>
                    </a:lnTo>
                    <a:lnTo>
                      <a:pt x="7" y="252"/>
                    </a:lnTo>
                    <a:lnTo>
                      <a:pt x="13" y="249"/>
                    </a:lnTo>
                    <a:lnTo>
                      <a:pt x="17" y="249"/>
                    </a:lnTo>
                    <a:lnTo>
                      <a:pt x="17" y="249"/>
                    </a:lnTo>
                    <a:lnTo>
                      <a:pt x="18" y="248"/>
                    </a:lnTo>
                    <a:lnTo>
                      <a:pt x="18" y="248"/>
                    </a:lnTo>
                    <a:lnTo>
                      <a:pt x="19" y="244"/>
                    </a:lnTo>
                    <a:lnTo>
                      <a:pt x="22" y="241"/>
                    </a:lnTo>
                    <a:lnTo>
                      <a:pt x="25" y="240"/>
                    </a:lnTo>
                    <a:lnTo>
                      <a:pt x="25" y="240"/>
                    </a:lnTo>
                    <a:lnTo>
                      <a:pt x="27" y="238"/>
                    </a:lnTo>
                    <a:lnTo>
                      <a:pt x="31" y="238"/>
                    </a:lnTo>
                    <a:lnTo>
                      <a:pt x="31" y="238"/>
                    </a:lnTo>
                    <a:lnTo>
                      <a:pt x="31" y="238"/>
                    </a:lnTo>
                    <a:lnTo>
                      <a:pt x="31" y="238"/>
                    </a:lnTo>
                    <a:lnTo>
                      <a:pt x="30" y="238"/>
                    </a:lnTo>
                    <a:lnTo>
                      <a:pt x="35" y="236"/>
                    </a:lnTo>
                    <a:lnTo>
                      <a:pt x="35" y="236"/>
                    </a:lnTo>
                    <a:lnTo>
                      <a:pt x="35" y="236"/>
                    </a:lnTo>
                    <a:lnTo>
                      <a:pt x="35" y="236"/>
                    </a:lnTo>
                    <a:lnTo>
                      <a:pt x="37" y="236"/>
                    </a:lnTo>
                    <a:lnTo>
                      <a:pt x="37" y="236"/>
                    </a:lnTo>
                    <a:lnTo>
                      <a:pt x="37" y="236"/>
                    </a:lnTo>
                    <a:lnTo>
                      <a:pt x="38" y="236"/>
                    </a:lnTo>
                    <a:lnTo>
                      <a:pt x="38" y="236"/>
                    </a:lnTo>
                    <a:lnTo>
                      <a:pt x="39" y="234"/>
                    </a:lnTo>
                    <a:lnTo>
                      <a:pt x="39" y="234"/>
                    </a:lnTo>
                    <a:lnTo>
                      <a:pt x="38" y="236"/>
                    </a:lnTo>
                    <a:lnTo>
                      <a:pt x="42" y="233"/>
                    </a:lnTo>
                    <a:lnTo>
                      <a:pt x="42" y="233"/>
                    </a:lnTo>
                    <a:lnTo>
                      <a:pt x="40" y="234"/>
                    </a:lnTo>
                    <a:lnTo>
                      <a:pt x="40" y="234"/>
                    </a:lnTo>
                    <a:lnTo>
                      <a:pt x="43" y="233"/>
                    </a:lnTo>
                    <a:lnTo>
                      <a:pt x="46" y="232"/>
                    </a:lnTo>
                    <a:lnTo>
                      <a:pt x="48" y="232"/>
                    </a:lnTo>
                    <a:lnTo>
                      <a:pt x="54" y="236"/>
                    </a:lnTo>
                    <a:lnTo>
                      <a:pt x="54" y="236"/>
                    </a:lnTo>
                    <a:lnTo>
                      <a:pt x="56" y="240"/>
                    </a:lnTo>
                    <a:lnTo>
                      <a:pt x="56" y="240"/>
                    </a:lnTo>
                    <a:lnTo>
                      <a:pt x="60" y="238"/>
                    </a:lnTo>
                    <a:lnTo>
                      <a:pt x="60" y="238"/>
                    </a:lnTo>
                    <a:lnTo>
                      <a:pt x="63" y="236"/>
                    </a:lnTo>
                    <a:lnTo>
                      <a:pt x="63" y="236"/>
                    </a:lnTo>
                    <a:lnTo>
                      <a:pt x="67" y="233"/>
                    </a:lnTo>
                    <a:lnTo>
                      <a:pt x="70" y="232"/>
                    </a:lnTo>
                    <a:lnTo>
                      <a:pt x="74" y="230"/>
                    </a:lnTo>
                    <a:lnTo>
                      <a:pt x="74" y="230"/>
                    </a:lnTo>
                    <a:lnTo>
                      <a:pt x="78" y="232"/>
                    </a:lnTo>
                    <a:lnTo>
                      <a:pt x="79" y="232"/>
                    </a:lnTo>
                    <a:lnTo>
                      <a:pt x="79" y="232"/>
                    </a:lnTo>
                    <a:lnTo>
                      <a:pt x="84" y="229"/>
                    </a:lnTo>
                    <a:lnTo>
                      <a:pt x="88" y="226"/>
                    </a:lnTo>
                    <a:lnTo>
                      <a:pt x="88" y="226"/>
                    </a:lnTo>
                    <a:lnTo>
                      <a:pt x="88" y="226"/>
                    </a:lnTo>
                    <a:lnTo>
                      <a:pt x="91" y="225"/>
                    </a:lnTo>
                    <a:lnTo>
                      <a:pt x="93" y="224"/>
                    </a:lnTo>
                    <a:lnTo>
                      <a:pt x="93" y="224"/>
                    </a:lnTo>
                    <a:lnTo>
                      <a:pt x="101" y="221"/>
                    </a:lnTo>
                    <a:lnTo>
                      <a:pt x="109" y="220"/>
                    </a:lnTo>
                    <a:lnTo>
                      <a:pt x="109" y="220"/>
                    </a:lnTo>
                    <a:lnTo>
                      <a:pt x="113" y="220"/>
                    </a:lnTo>
                    <a:lnTo>
                      <a:pt x="116" y="220"/>
                    </a:lnTo>
                    <a:lnTo>
                      <a:pt x="116" y="220"/>
                    </a:lnTo>
                    <a:lnTo>
                      <a:pt x="119" y="216"/>
                    </a:lnTo>
                    <a:lnTo>
                      <a:pt x="120" y="212"/>
                    </a:lnTo>
                    <a:lnTo>
                      <a:pt x="120" y="212"/>
                    </a:lnTo>
                    <a:lnTo>
                      <a:pt x="120" y="207"/>
                    </a:lnTo>
                    <a:lnTo>
                      <a:pt x="122" y="203"/>
                    </a:lnTo>
                    <a:lnTo>
                      <a:pt x="122" y="203"/>
                    </a:lnTo>
                    <a:lnTo>
                      <a:pt x="122" y="203"/>
                    </a:lnTo>
                    <a:lnTo>
                      <a:pt x="124" y="199"/>
                    </a:lnTo>
                    <a:lnTo>
                      <a:pt x="125" y="197"/>
                    </a:lnTo>
                    <a:lnTo>
                      <a:pt x="128" y="196"/>
                    </a:lnTo>
                    <a:lnTo>
                      <a:pt x="130" y="195"/>
                    </a:lnTo>
                    <a:lnTo>
                      <a:pt x="130" y="195"/>
                    </a:lnTo>
                    <a:lnTo>
                      <a:pt x="130" y="195"/>
                    </a:lnTo>
                    <a:lnTo>
                      <a:pt x="136" y="188"/>
                    </a:lnTo>
                    <a:lnTo>
                      <a:pt x="140" y="188"/>
                    </a:lnTo>
                    <a:lnTo>
                      <a:pt x="140" y="188"/>
                    </a:lnTo>
                    <a:lnTo>
                      <a:pt x="141" y="188"/>
                    </a:lnTo>
                    <a:lnTo>
                      <a:pt x="141" y="188"/>
                    </a:lnTo>
                    <a:lnTo>
                      <a:pt x="141" y="185"/>
                    </a:lnTo>
                    <a:lnTo>
                      <a:pt x="142" y="183"/>
                    </a:lnTo>
                    <a:lnTo>
                      <a:pt x="148" y="179"/>
                    </a:lnTo>
                    <a:lnTo>
                      <a:pt x="149" y="179"/>
                    </a:lnTo>
                    <a:lnTo>
                      <a:pt x="149" y="179"/>
                    </a:lnTo>
                    <a:lnTo>
                      <a:pt x="152" y="179"/>
                    </a:lnTo>
                    <a:lnTo>
                      <a:pt x="152" y="179"/>
                    </a:lnTo>
                    <a:lnTo>
                      <a:pt x="154" y="179"/>
                    </a:lnTo>
                    <a:lnTo>
                      <a:pt x="154" y="179"/>
                    </a:lnTo>
                    <a:lnTo>
                      <a:pt x="157" y="179"/>
                    </a:lnTo>
                    <a:lnTo>
                      <a:pt x="157" y="179"/>
                    </a:lnTo>
                    <a:lnTo>
                      <a:pt x="154" y="180"/>
                    </a:lnTo>
                    <a:lnTo>
                      <a:pt x="153" y="181"/>
                    </a:lnTo>
                    <a:lnTo>
                      <a:pt x="159" y="178"/>
                    </a:lnTo>
                    <a:lnTo>
                      <a:pt x="161" y="178"/>
                    </a:lnTo>
                    <a:lnTo>
                      <a:pt x="161" y="178"/>
                    </a:lnTo>
                    <a:lnTo>
                      <a:pt x="161" y="178"/>
                    </a:lnTo>
                    <a:lnTo>
                      <a:pt x="162" y="178"/>
                    </a:lnTo>
                    <a:lnTo>
                      <a:pt x="162" y="178"/>
                    </a:lnTo>
                    <a:lnTo>
                      <a:pt x="162" y="176"/>
                    </a:lnTo>
                    <a:lnTo>
                      <a:pt x="162" y="176"/>
                    </a:lnTo>
                    <a:lnTo>
                      <a:pt x="162" y="175"/>
                    </a:lnTo>
                    <a:lnTo>
                      <a:pt x="162" y="175"/>
                    </a:lnTo>
                    <a:lnTo>
                      <a:pt x="162" y="176"/>
                    </a:lnTo>
                    <a:lnTo>
                      <a:pt x="162" y="176"/>
                    </a:lnTo>
                    <a:lnTo>
                      <a:pt x="163" y="176"/>
                    </a:lnTo>
                    <a:lnTo>
                      <a:pt x="161" y="174"/>
                    </a:lnTo>
                    <a:lnTo>
                      <a:pt x="161" y="172"/>
                    </a:lnTo>
                    <a:lnTo>
                      <a:pt x="161" y="172"/>
                    </a:lnTo>
                    <a:lnTo>
                      <a:pt x="161" y="168"/>
                    </a:lnTo>
                    <a:lnTo>
                      <a:pt x="162" y="166"/>
                    </a:lnTo>
                    <a:lnTo>
                      <a:pt x="162" y="166"/>
                    </a:lnTo>
                    <a:lnTo>
                      <a:pt x="163" y="163"/>
                    </a:lnTo>
                    <a:lnTo>
                      <a:pt x="163" y="163"/>
                    </a:lnTo>
                    <a:lnTo>
                      <a:pt x="165" y="163"/>
                    </a:lnTo>
                    <a:lnTo>
                      <a:pt x="165" y="162"/>
                    </a:lnTo>
                    <a:lnTo>
                      <a:pt x="166" y="160"/>
                    </a:lnTo>
                    <a:lnTo>
                      <a:pt x="166" y="160"/>
                    </a:lnTo>
                    <a:lnTo>
                      <a:pt x="163" y="162"/>
                    </a:lnTo>
                    <a:lnTo>
                      <a:pt x="161" y="158"/>
                    </a:lnTo>
                    <a:lnTo>
                      <a:pt x="161" y="156"/>
                    </a:lnTo>
                    <a:lnTo>
                      <a:pt x="161" y="156"/>
                    </a:lnTo>
                    <a:lnTo>
                      <a:pt x="159" y="154"/>
                    </a:lnTo>
                    <a:lnTo>
                      <a:pt x="159" y="148"/>
                    </a:lnTo>
                    <a:lnTo>
                      <a:pt x="165" y="144"/>
                    </a:lnTo>
                    <a:lnTo>
                      <a:pt x="165" y="144"/>
                    </a:lnTo>
                    <a:lnTo>
                      <a:pt x="166" y="144"/>
                    </a:lnTo>
                    <a:lnTo>
                      <a:pt x="166" y="144"/>
                    </a:lnTo>
                    <a:lnTo>
                      <a:pt x="165" y="144"/>
                    </a:lnTo>
                    <a:lnTo>
                      <a:pt x="170" y="142"/>
                    </a:lnTo>
                    <a:lnTo>
                      <a:pt x="171" y="142"/>
                    </a:lnTo>
                    <a:lnTo>
                      <a:pt x="171" y="142"/>
                    </a:lnTo>
                    <a:lnTo>
                      <a:pt x="173" y="142"/>
                    </a:lnTo>
                    <a:lnTo>
                      <a:pt x="173" y="142"/>
                    </a:lnTo>
                    <a:lnTo>
                      <a:pt x="171" y="142"/>
                    </a:lnTo>
                    <a:lnTo>
                      <a:pt x="175" y="139"/>
                    </a:lnTo>
                    <a:lnTo>
                      <a:pt x="175" y="139"/>
                    </a:lnTo>
                    <a:lnTo>
                      <a:pt x="175" y="139"/>
                    </a:lnTo>
                    <a:lnTo>
                      <a:pt x="179" y="137"/>
                    </a:lnTo>
                    <a:lnTo>
                      <a:pt x="183" y="133"/>
                    </a:lnTo>
                    <a:lnTo>
                      <a:pt x="183" y="133"/>
                    </a:lnTo>
                    <a:lnTo>
                      <a:pt x="189" y="126"/>
                    </a:lnTo>
                    <a:lnTo>
                      <a:pt x="193" y="123"/>
                    </a:lnTo>
                    <a:lnTo>
                      <a:pt x="198" y="122"/>
                    </a:lnTo>
                    <a:lnTo>
                      <a:pt x="198" y="122"/>
                    </a:lnTo>
                    <a:lnTo>
                      <a:pt x="198" y="122"/>
                    </a:lnTo>
                    <a:lnTo>
                      <a:pt x="203" y="119"/>
                    </a:lnTo>
                    <a:lnTo>
                      <a:pt x="211" y="119"/>
                    </a:lnTo>
                    <a:lnTo>
                      <a:pt x="212" y="119"/>
                    </a:lnTo>
                    <a:lnTo>
                      <a:pt x="212" y="119"/>
                    </a:lnTo>
                    <a:lnTo>
                      <a:pt x="212" y="119"/>
                    </a:lnTo>
                    <a:lnTo>
                      <a:pt x="212" y="119"/>
                    </a:lnTo>
                    <a:lnTo>
                      <a:pt x="214" y="119"/>
                    </a:lnTo>
                    <a:lnTo>
                      <a:pt x="214" y="119"/>
                    </a:lnTo>
                    <a:lnTo>
                      <a:pt x="212" y="114"/>
                    </a:lnTo>
                    <a:lnTo>
                      <a:pt x="212" y="114"/>
                    </a:lnTo>
                    <a:lnTo>
                      <a:pt x="212" y="114"/>
                    </a:lnTo>
                    <a:lnTo>
                      <a:pt x="212" y="114"/>
                    </a:lnTo>
                    <a:lnTo>
                      <a:pt x="212" y="114"/>
                    </a:lnTo>
                    <a:lnTo>
                      <a:pt x="212" y="114"/>
                    </a:lnTo>
                    <a:lnTo>
                      <a:pt x="211" y="110"/>
                    </a:lnTo>
                    <a:lnTo>
                      <a:pt x="212" y="107"/>
                    </a:lnTo>
                    <a:lnTo>
                      <a:pt x="215" y="103"/>
                    </a:lnTo>
                    <a:lnTo>
                      <a:pt x="218" y="102"/>
                    </a:lnTo>
                    <a:lnTo>
                      <a:pt x="218" y="102"/>
                    </a:lnTo>
                    <a:lnTo>
                      <a:pt x="219" y="101"/>
                    </a:lnTo>
                    <a:lnTo>
                      <a:pt x="219" y="101"/>
                    </a:lnTo>
                    <a:lnTo>
                      <a:pt x="219" y="101"/>
                    </a:lnTo>
                    <a:lnTo>
                      <a:pt x="216" y="97"/>
                    </a:lnTo>
                    <a:lnTo>
                      <a:pt x="216" y="96"/>
                    </a:lnTo>
                    <a:lnTo>
                      <a:pt x="219" y="90"/>
                    </a:lnTo>
                    <a:lnTo>
                      <a:pt x="219" y="90"/>
                    </a:lnTo>
                    <a:lnTo>
                      <a:pt x="224" y="89"/>
                    </a:lnTo>
                    <a:lnTo>
                      <a:pt x="224" y="89"/>
                    </a:lnTo>
                    <a:lnTo>
                      <a:pt x="236" y="80"/>
                    </a:lnTo>
                    <a:lnTo>
                      <a:pt x="234" y="77"/>
                    </a:lnTo>
                    <a:lnTo>
                      <a:pt x="234" y="77"/>
                    </a:lnTo>
                    <a:lnTo>
                      <a:pt x="234" y="74"/>
                    </a:lnTo>
                    <a:lnTo>
                      <a:pt x="235" y="72"/>
                    </a:lnTo>
                    <a:lnTo>
                      <a:pt x="235" y="72"/>
                    </a:lnTo>
                    <a:lnTo>
                      <a:pt x="234" y="70"/>
                    </a:lnTo>
                    <a:lnTo>
                      <a:pt x="234" y="70"/>
                    </a:lnTo>
                    <a:lnTo>
                      <a:pt x="232" y="68"/>
                    </a:lnTo>
                    <a:lnTo>
                      <a:pt x="232" y="65"/>
                    </a:lnTo>
                    <a:lnTo>
                      <a:pt x="232" y="61"/>
                    </a:lnTo>
                    <a:lnTo>
                      <a:pt x="237" y="57"/>
                    </a:lnTo>
                    <a:lnTo>
                      <a:pt x="239" y="57"/>
                    </a:lnTo>
                    <a:lnTo>
                      <a:pt x="239" y="57"/>
                    </a:lnTo>
                    <a:lnTo>
                      <a:pt x="241" y="56"/>
                    </a:lnTo>
                    <a:lnTo>
                      <a:pt x="241" y="56"/>
                    </a:lnTo>
                    <a:lnTo>
                      <a:pt x="240" y="52"/>
                    </a:lnTo>
                    <a:lnTo>
                      <a:pt x="239" y="49"/>
                    </a:lnTo>
                    <a:lnTo>
                      <a:pt x="239" y="49"/>
                    </a:lnTo>
                    <a:lnTo>
                      <a:pt x="236" y="44"/>
                    </a:lnTo>
                    <a:lnTo>
                      <a:pt x="235" y="39"/>
                    </a:lnTo>
                    <a:lnTo>
                      <a:pt x="240" y="31"/>
                    </a:lnTo>
                    <a:lnTo>
                      <a:pt x="240" y="31"/>
                    </a:lnTo>
                    <a:lnTo>
                      <a:pt x="240" y="31"/>
                    </a:lnTo>
                    <a:lnTo>
                      <a:pt x="241" y="29"/>
                    </a:lnTo>
                    <a:lnTo>
                      <a:pt x="241" y="29"/>
                    </a:lnTo>
                    <a:lnTo>
                      <a:pt x="244" y="28"/>
                    </a:lnTo>
                    <a:lnTo>
                      <a:pt x="248" y="27"/>
                    </a:lnTo>
                    <a:lnTo>
                      <a:pt x="248" y="27"/>
                    </a:lnTo>
                    <a:lnTo>
                      <a:pt x="253" y="25"/>
                    </a:lnTo>
                    <a:lnTo>
                      <a:pt x="253" y="25"/>
                    </a:lnTo>
                    <a:lnTo>
                      <a:pt x="253" y="23"/>
                    </a:lnTo>
                    <a:lnTo>
                      <a:pt x="253" y="23"/>
                    </a:lnTo>
                    <a:lnTo>
                      <a:pt x="253" y="22"/>
                    </a:lnTo>
                    <a:lnTo>
                      <a:pt x="253" y="22"/>
                    </a:lnTo>
                    <a:lnTo>
                      <a:pt x="255" y="23"/>
                    </a:lnTo>
                    <a:lnTo>
                      <a:pt x="256" y="24"/>
                    </a:lnTo>
                    <a:lnTo>
                      <a:pt x="256" y="24"/>
                    </a:lnTo>
                    <a:lnTo>
                      <a:pt x="256" y="23"/>
                    </a:lnTo>
                    <a:lnTo>
                      <a:pt x="252" y="18"/>
                    </a:lnTo>
                    <a:lnTo>
                      <a:pt x="252" y="10"/>
                    </a:lnTo>
                    <a:lnTo>
                      <a:pt x="257" y="3"/>
                    </a:lnTo>
                    <a:lnTo>
                      <a:pt x="259" y="3"/>
                    </a:lnTo>
                    <a:lnTo>
                      <a:pt x="259" y="3"/>
                    </a:lnTo>
                    <a:lnTo>
                      <a:pt x="261" y="3"/>
                    </a:lnTo>
                    <a:lnTo>
                      <a:pt x="261" y="3"/>
                    </a:lnTo>
                    <a:lnTo>
                      <a:pt x="259" y="4"/>
                    </a:lnTo>
                    <a:lnTo>
                      <a:pt x="257" y="7"/>
                    </a:lnTo>
                    <a:lnTo>
                      <a:pt x="263" y="3"/>
                    </a:lnTo>
                    <a:lnTo>
                      <a:pt x="263" y="3"/>
                    </a:lnTo>
                    <a:lnTo>
                      <a:pt x="263" y="3"/>
                    </a:lnTo>
                    <a:lnTo>
                      <a:pt x="263" y="2"/>
                    </a:lnTo>
                    <a:lnTo>
                      <a:pt x="263" y="2"/>
                    </a:lnTo>
                    <a:lnTo>
                      <a:pt x="264" y="2"/>
                    </a:lnTo>
                    <a:lnTo>
                      <a:pt x="264" y="2"/>
                    </a:lnTo>
                    <a:lnTo>
                      <a:pt x="265" y="2"/>
                    </a:lnTo>
                    <a:lnTo>
                      <a:pt x="265" y="2"/>
                    </a:lnTo>
                    <a:lnTo>
                      <a:pt x="268" y="2"/>
                    </a:lnTo>
                    <a:lnTo>
                      <a:pt x="268" y="2"/>
                    </a:lnTo>
                    <a:lnTo>
                      <a:pt x="269" y="2"/>
                    </a:lnTo>
                    <a:lnTo>
                      <a:pt x="269" y="2"/>
                    </a:lnTo>
                    <a:lnTo>
                      <a:pt x="268" y="3"/>
                    </a:lnTo>
                    <a:lnTo>
                      <a:pt x="267" y="4"/>
                    </a:lnTo>
                    <a:lnTo>
                      <a:pt x="267" y="4"/>
                    </a:lnTo>
                    <a:lnTo>
                      <a:pt x="265" y="7"/>
                    </a:lnTo>
                    <a:lnTo>
                      <a:pt x="271" y="0"/>
                    </a:lnTo>
                    <a:lnTo>
                      <a:pt x="272" y="0"/>
                    </a:lnTo>
                    <a:lnTo>
                      <a:pt x="273" y="0"/>
                    </a:lnTo>
                    <a:lnTo>
                      <a:pt x="273" y="0"/>
                    </a:lnTo>
                    <a:lnTo>
                      <a:pt x="276" y="2"/>
                    </a:lnTo>
                    <a:lnTo>
                      <a:pt x="278" y="4"/>
                    </a:lnTo>
                    <a:lnTo>
                      <a:pt x="281" y="8"/>
                    </a:lnTo>
                    <a:lnTo>
                      <a:pt x="281" y="8"/>
                    </a:lnTo>
                    <a:lnTo>
                      <a:pt x="281" y="8"/>
                    </a:lnTo>
                    <a:lnTo>
                      <a:pt x="281" y="8"/>
                    </a:lnTo>
                    <a:lnTo>
                      <a:pt x="278" y="7"/>
                    </a:lnTo>
                    <a:lnTo>
                      <a:pt x="282" y="14"/>
                    </a:lnTo>
                    <a:lnTo>
                      <a:pt x="282" y="15"/>
                    </a:lnTo>
                    <a:lnTo>
                      <a:pt x="282" y="15"/>
                    </a:lnTo>
                    <a:lnTo>
                      <a:pt x="284" y="15"/>
                    </a:lnTo>
                    <a:lnTo>
                      <a:pt x="284" y="15"/>
                    </a:lnTo>
                    <a:lnTo>
                      <a:pt x="282" y="14"/>
                    </a:lnTo>
                    <a:lnTo>
                      <a:pt x="282" y="15"/>
                    </a:lnTo>
                    <a:lnTo>
                      <a:pt x="282" y="16"/>
                    </a:lnTo>
                    <a:lnTo>
                      <a:pt x="282" y="16"/>
                    </a:lnTo>
                    <a:lnTo>
                      <a:pt x="282" y="18"/>
                    </a:lnTo>
                    <a:lnTo>
                      <a:pt x="282" y="18"/>
                    </a:lnTo>
                    <a:lnTo>
                      <a:pt x="281" y="19"/>
                    </a:lnTo>
                    <a:lnTo>
                      <a:pt x="281" y="22"/>
                    </a:lnTo>
                    <a:lnTo>
                      <a:pt x="284" y="16"/>
                    </a:lnTo>
                    <a:lnTo>
                      <a:pt x="286" y="22"/>
                    </a:lnTo>
                    <a:lnTo>
                      <a:pt x="286" y="22"/>
                    </a:lnTo>
                    <a:lnTo>
                      <a:pt x="286" y="19"/>
                    </a:lnTo>
                    <a:lnTo>
                      <a:pt x="286" y="18"/>
                    </a:lnTo>
                    <a:lnTo>
                      <a:pt x="286" y="18"/>
                    </a:lnTo>
                    <a:lnTo>
                      <a:pt x="284" y="15"/>
                    </a:lnTo>
                    <a:lnTo>
                      <a:pt x="284" y="15"/>
                    </a:lnTo>
                    <a:lnTo>
                      <a:pt x="284" y="15"/>
                    </a:lnTo>
                    <a:lnTo>
                      <a:pt x="284" y="15"/>
                    </a:lnTo>
                    <a:lnTo>
                      <a:pt x="284" y="15"/>
                    </a:lnTo>
                    <a:lnTo>
                      <a:pt x="284" y="15"/>
                    </a:lnTo>
                    <a:lnTo>
                      <a:pt x="284" y="15"/>
                    </a:lnTo>
                    <a:lnTo>
                      <a:pt x="284" y="15"/>
                    </a:lnTo>
                    <a:lnTo>
                      <a:pt x="284" y="15"/>
                    </a:lnTo>
                    <a:lnTo>
                      <a:pt x="288" y="12"/>
                    </a:lnTo>
                    <a:lnTo>
                      <a:pt x="293" y="12"/>
                    </a:lnTo>
                    <a:lnTo>
                      <a:pt x="293" y="12"/>
                    </a:lnTo>
                    <a:lnTo>
                      <a:pt x="297" y="11"/>
                    </a:lnTo>
                    <a:lnTo>
                      <a:pt x="301" y="10"/>
                    </a:lnTo>
                    <a:lnTo>
                      <a:pt x="301" y="10"/>
                    </a:lnTo>
                    <a:lnTo>
                      <a:pt x="301" y="10"/>
                    </a:lnTo>
                    <a:lnTo>
                      <a:pt x="301" y="10"/>
                    </a:lnTo>
                    <a:lnTo>
                      <a:pt x="300" y="10"/>
                    </a:lnTo>
                    <a:lnTo>
                      <a:pt x="300" y="10"/>
                    </a:lnTo>
                    <a:lnTo>
                      <a:pt x="304" y="8"/>
                    </a:lnTo>
                    <a:lnTo>
                      <a:pt x="304" y="8"/>
                    </a:lnTo>
                    <a:lnTo>
                      <a:pt x="308" y="7"/>
                    </a:lnTo>
                    <a:lnTo>
                      <a:pt x="312" y="6"/>
                    </a:lnTo>
                    <a:lnTo>
                      <a:pt x="312" y="6"/>
                    </a:lnTo>
                    <a:lnTo>
                      <a:pt x="316" y="7"/>
                    </a:lnTo>
                    <a:lnTo>
                      <a:pt x="316" y="7"/>
                    </a:lnTo>
                    <a:lnTo>
                      <a:pt x="319" y="6"/>
                    </a:lnTo>
                    <a:lnTo>
                      <a:pt x="321" y="6"/>
                    </a:lnTo>
                    <a:lnTo>
                      <a:pt x="322" y="6"/>
                    </a:lnTo>
                    <a:lnTo>
                      <a:pt x="325" y="8"/>
                    </a:lnTo>
                    <a:lnTo>
                      <a:pt x="325" y="8"/>
                    </a:lnTo>
                    <a:lnTo>
                      <a:pt x="323" y="11"/>
                    </a:lnTo>
                    <a:lnTo>
                      <a:pt x="323" y="12"/>
                    </a:lnTo>
                    <a:lnTo>
                      <a:pt x="325" y="10"/>
                    </a:lnTo>
                    <a:lnTo>
                      <a:pt x="327" y="12"/>
                    </a:lnTo>
                    <a:lnTo>
                      <a:pt x="327" y="12"/>
                    </a:lnTo>
                    <a:lnTo>
                      <a:pt x="327" y="10"/>
                    </a:lnTo>
                    <a:lnTo>
                      <a:pt x="326" y="8"/>
                    </a:lnTo>
                    <a:lnTo>
                      <a:pt x="327" y="6"/>
                    </a:lnTo>
                    <a:lnTo>
                      <a:pt x="327" y="6"/>
                    </a:lnTo>
                    <a:lnTo>
                      <a:pt x="327" y="6"/>
                    </a:lnTo>
                    <a:lnTo>
                      <a:pt x="326" y="7"/>
                    </a:lnTo>
                    <a:lnTo>
                      <a:pt x="326" y="7"/>
                    </a:lnTo>
                    <a:lnTo>
                      <a:pt x="326" y="7"/>
                    </a:lnTo>
                    <a:lnTo>
                      <a:pt x="326" y="7"/>
                    </a:lnTo>
                    <a:lnTo>
                      <a:pt x="325" y="8"/>
                    </a:lnTo>
                    <a:lnTo>
                      <a:pt x="325" y="8"/>
                    </a:lnTo>
                    <a:lnTo>
                      <a:pt x="325" y="8"/>
                    </a:lnTo>
                    <a:lnTo>
                      <a:pt x="325" y="8"/>
                    </a:lnTo>
                    <a:lnTo>
                      <a:pt x="325" y="7"/>
                    </a:lnTo>
                    <a:lnTo>
                      <a:pt x="325" y="7"/>
                    </a:lnTo>
                    <a:lnTo>
                      <a:pt x="325" y="7"/>
                    </a:lnTo>
                    <a:lnTo>
                      <a:pt x="325" y="7"/>
                    </a:lnTo>
                    <a:lnTo>
                      <a:pt x="325" y="7"/>
                    </a:lnTo>
                    <a:lnTo>
                      <a:pt x="325" y="7"/>
                    </a:lnTo>
                    <a:lnTo>
                      <a:pt x="326" y="4"/>
                    </a:lnTo>
                    <a:lnTo>
                      <a:pt x="326" y="4"/>
                    </a:lnTo>
                    <a:lnTo>
                      <a:pt x="329" y="2"/>
                    </a:lnTo>
                    <a:lnTo>
                      <a:pt x="331" y="0"/>
                    </a:lnTo>
                    <a:lnTo>
                      <a:pt x="334" y="0"/>
                    </a:lnTo>
                    <a:lnTo>
                      <a:pt x="334" y="0"/>
                    </a:lnTo>
                    <a:lnTo>
                      <a:pt x="338" y="0"/>
                    </a:lnTo>
                    <a:lnTo>
                      <a:pt x="341" y="2"/>
                    </a:lnTo>
                    <a:lnTo>
                      <a:pt x="342" y="3"/>
                    </a:lnTo>
                    <a:lnTo>
                      <a:pt x="345" y="6"/>
                    </a:lnTo>
                    <a:lnTo>
                      <a:pt x="345" y="6"/>
                    </a:lnTo>
                    <a:lnTo>
                      <a:pt x="346" y="7"/>
                    </a:lnTo>
                    <a:lnTo>
                      <a:pt x="350" y="8"/>
                    </a:lnTo>
                    <a:lnTo>
                      <a:pt x="351" y="11"/>
                    </a:lnTo>
                    <a:lnTo>
                      <a:pt x="351" y="11"/>
                    </a:lnTo>
                    <a:lnTo>
                      <a:pt x="354" y="12"/>
                    </a:lnTo>
                    <a:lnTo>
                      <a:pt x="354" y="12"/>
                    </a:lnTo>
                    <a:lnTo>
                      <a:pt x="359" y="15"/>
                    </a:lnTo>
                    <a:lnTo>
                      <a:pt x="362" y="19"/>
                    </a:lnTo>
                    <a:lnTo>
                      <a:pt x="363" y="22"/>
                    </a:lnTo>
                    <a:lnTo>
                      <a:pt x="363" y="23"/>
                    </a:lnTo>
                    <a:lnTo>
                      <a:pt x="362" y="25"/>
                    </a:lnTo>
                    <a:lnTo>
                      <a:pt x="362" y="25"/>
                    </a:lnTo>
                    <a:lnTo>
                      <a:pt x="366" y="27"/>
                    </a:lnTo>
                    <a:lnTo>
                      <a:pt x="367" y="27"/>
                    </a:lnTo>
                    <a:lnTo>
                      <a:pt x="367" y="27"/>
                    </a:lnTo>
                    <a:lnTo>
                      <a:pt x="367" y="23"/>
                    </a:lnTo>
                    <a:lnTo>
                      <a:pt x="374" y="16"/>
                    </a:lnTo>
                    <a:lnTo>
                      <a:pt x="380" y="16"/>
                    </a:lnTo>
                    <a:lnTo>
                      <a:pt x="382" y="19"/>
                    </a:lnTo>
                    <a:lnTo>
                      <a:pt x="382" y="19"/>
                    </a:lnTo>
                    <a:lnTo>
                      <a:pt x="382" y="19"/>
                    </a:lnTo>
                    <a:lnTo>
                      <a:pt x="382" y="19"/>
                    </a:lnTo>
                    <a:lnTo>
                      <a:pt x="380" y="22"/>
                    </a:lnTo>
                    <a:lnTo>
                      <a:pt x="380" y="24"/>
                    </a:lnTo>
                    <a:lnTo>
                      <a:pt x="383" y="20"/>
                    </a:lnTo>
                    <a:lnTo>
                      <a:pt x="386" y="24"/>
                    </a:lnTo>
                    <a:lnTo>
                      <a:pt x="386" y="24"/>
                    </a:lnTo>
                    <a:lnTo>
                      <a:pt x="386" y="22"/>
                    </a:lnTo>
                    <a:lnTo>
                      <a:pt x="386" y="19"/>
                    </a:lnTo>
                    <a:lnTo>
                      <a:pt x="386" y="19"/>
                    </a:lnTo>
                    <a:lnTo>
                      <a:pt x="384" y="19"/>
                    </a:lnTo>
                    <a:lnTo>
                      <a:pt x="387" y="16"/>
                    </a:lnTo>
                    <a:lnTo>
                      <a:pt x="387" y="16"/>
                    </a:lnTo>
                    <a:lnTo>
                      <a:pt x="388" y="16"/>
                    </a:lnTo>
                    <a:lnTo>
                      <a:pt x="388" y="16"/>
                    </a:lnTo>
                    <a:lnTo>
                      <a:pt x="390" y="15"/>
                    </a:lnTo>
                    <a:lnTo>
                      <a:pt x="390" y="15"/>
                    </a:lnTo>
                    <a:lnTo>
                      <a:pt x="392" y="14"/>
                    </a:lnTo>
                    <a:lnTo>
                      <a:pt x="395" y="12"/>
                    </a:lnTo>
                    <a:lnTo>
                      <a:pt x="397" y="12"/>
                    </a:lnTo>
                    <a:lnTo>
                      <a:pt x="397" y="12"/>
                    </a:lnTo>
                    <a:lnTo>
                      <a:pt x="401" y="12"/>
                    </a:lnTo>
                    <a:lnTo>
                      <a:pt x="401" y="12"/>
                    </a:lnTo>
                    <a:lnTo>
                      <a:pt x="407" y="15"/>
                    </a:lnTo>
                    <a:lnTo>
                      <a:pt x="407" y="15"/>
                    </a:lnTo>
                    <a:lnTo>
                      <a:pt x="407" y="15"/>
                    </a:lnTo>
                    <a:lnTo>
                      <a:pt x="407" y="15"/>
                    </a:lnTo>
                    <a:lnTo>
                      <a:pt x="407" y="15"/>
                    </a:lnTo>
                    <a:lnTo>
                      <a:pt x="409" y="15"/>
                    </a:lnTo>
                    <a:lnTo>
                      <a:pt x="415" y="20"/>
                    </a:lnTo>
                    <a:lnTo>
                      <a:pt x="415" y="20"/>
                    </a:lnTo>
                    <a:lnTo>
                      <a:pt x="413" y="18"/>
                    </a:lnTo>
                    <a:lnTo>
                      <a:pt x="412" y="16"/>
                    </a:lnTo>
                    <a:lnTo>
                      <a:pt x="412" y="16"/>
                    </a:lnTo>
                    <a:lnTo>
                      <a:pt x="412" y="16"/>
                    </a:lnTo>
                    <a:lnTo>
                      <a:pt x="412" y="16"/>
                    </a:lnTo>
                    <a:lnTo>
                      <a:pt x="413" y="16"/>
                    </a:lnTo>
                    <a:lnTo>
                      <a:pt x="413" y="16"/>
                    </a:lnTo>
                    <a:lnTo>
                      <a:pt x="416" y="16"/>
                    </a:lnTo>
                    <a:lnTo>
                      <a:pt x="416" y="16"/>
                    </a:lnTo>
                    <a:lnTo>
                      <a:pt x="419" y="16"/>
                    </a:lnTo>
                    <a:lnTo>
                      <a:pt x="425" y="16"/>
                    </a:lnTo>
                    <a:lnTo>
                      <a:pt x="431" y="19"/>
                    </a:lnTo>
                    <a:lnTo>
                      <a:pt x="431" y="19"/>
                    </a:lnTo>
                    <a:lnTo>
                      <a:pt x="429" y="18"/>
                    </a:lnTo>
                    <a:lnTo>
                      <a:pt x="429" y="18"/>
                    </a:lnTo>
                    <a:lnTo>
                      <a:pt x="432" y="19"/>
                    </a:lnTo>
                    <a:lnTo>
                      <a:pt x="432" y="19"/>
                    </a:lnTo>
                    <a:lnTo>
                      <a:pt x="435" y="19"/>
                    </a:lnTo>
                    <a:lnTo>
                      <a:pt x="437" y="22"/>
                    </a:lnTo>
                    <a:lnTo>
                      <a:pt x="440" y="25"/>
                    </a:lnTo>
                    <a:lnTo>
                      <a:pt x="440" y="25"/>
                    </a:lnTo>
                    <a:lnTo>
                      <a:pt x="440" y="27"/>
                    </a:lnTo>
                    <a:lnTo>
                      <a:pt x="440" y="27"/>
                    </a:lnTo>
                    <a:lnTo>
                      <a:pt x="438" y="32"/>
                    </a:lnTo>
                    <a:lnTo>
                      <a:pt x="437" y="35"/>
                    </a:lnTo>
                    <a:lnTo>
                      <a:pt x="435" y="36"/>
                    </a:lnTo>
                    <a:lnTo>
                      <a:pt x="433" y="37"/>
                    </a:lnTo>
                    <a:lnTo>
                      <a:pt x="432" y="37"/>
                    </a:lnTo>
                    <a:lnTo>
                      <a:pt x="431" y="37"/>
                    </a:lnTo>
                    <a:lnTo>
                      <a:pt x="425" y="33"/>
                    </a:lnTo>
                    <a:lnTo>
                      <a:pt x="425" y="33"/>
                    </a:lnTo>
                    <a:lnTo>
                      <a:pt x="425" y="33"/>
                    </a:lnTo>
                    <a:lnTo>
                      <a:pt x="428" y="36"/>
                    </a:lnTo>
                    <a:lnTo>
                      <a:pt x="427" y="36"/>
                    </a:lnTo>
                    <a:lnTo>
                      <a:pt x="427" y="36"/>
                    </a:lnTo>
                    <a:lnTo>
                      <a:pt x="425" y="36"/>
                    </a:lnTo>
                    <a:lnTo>
                      <a:pt x="423" y="36"/>
                    </a:lnTo>
                    <a:lnTo>
                      <a:pt x="423" y="36"/>
                    </a:lnTo>
                    <a:lnTo>
                      <a:pt x="423" y="36"/>
                    </a:lnTo>
                    <a:lnTo>
                      <a:pt x="423" y="36"/>
                    </a:lnTo>
                    <a:lnTo>
                      <a:pt x="423" y="36"/>
                    </a:lnTo>
                    <a:lnTo>
                      <a:pt x="421" y="36"/>
                    </a:lnTo>
                    <a:lnTo>
                      <a:pt x="424" y="39"/>
                    </a:lnTo>
                    <a:lnTo>
                      <a:pt x="424" y="41"/>
                    </a:lnTo>
                    <a:lnTo>
                      <a:pt x="424" y="41"/>
                    </a:lnTo>
                    <a:lnTo>
                      <a:pt x="424" y="43"/>
                    </a:lnTo>
                    <a:lnTo>
                      <a:pt x="424" y="43"/>
                    </a:lnTo>
                    <a:lnTo>
                      <a:pt x="424" y="44"/>
                    </a:lnTo>
                    <a:lnTo>
                      <a:pt x="424" y="44"/>
                    </a:lnTo>
                    <a:lnTo>
                      <a:pt x="423" y="41"/>
                    </a:lnTo>
                    <a:lnTo>
                      <a:pt x="420" y="40"/>
                    </a:lnTo>
                    <a:lnTo>
                      <a:pt x="425" y="47"/>
                    </a:lnTo>
                    <a:lnTo>
                      <a:pt x="425" y="49"/>
                    </a:lnTo>
                    <a:lnTo>
                      <a:pt x="425" y="49"/>
                    </a:lnTo>
                    <a:lnTo>
                      <a:pt x="425" y="51"/>
                    </a:lnTo>
                    <a:lnTo>
                      <a:pt x="425" y="51"/>
                    </a:lnTo>
                    <a:lnTo>
                      <a:pt x="425" y="52"/>
                    </a:lnTo>
                    <a:lnTo>
                      <a:pt x="425" y="52"/>
                    </a:lnTo>
                    <a:lnTo>
                      <a:pt x="424" y="49"/>
                    </a:lnTo>
                    <a:lnTo>
                      <a:pt x="421" y="48"/>
                    </a:lnTo>
                    <a:lnTo>
                      <a:pt x="427" y="53"/>
                    </a:lnTo>
                    <a:lnTo>
                      <a:pt x="427" y="55"/>
                    </a:lnTo>
                    <a:lnTo>
                      <a:pt x="427" y="55"/>
                    </a:lnTo>
                    <a:lnTo>
                      <a:pt x="428" y="60"/>
                    </a:lnTo>
                    <a:lnTo>
                      <a:pt x="429" y="63"/>
                    </a:lnTo>
                    <a:lnTo>
                      <a:pt x="431" y="66"/>
                    </a:lnTo>
                    <a:lnTo>
                      <a:pt x="431" y="69"/>
                    </a:lnTo>
                    <a:lnTo>
                      <a:pt x="427" y="74"/>
                    </a:lnTo>
                    <a:lnTo>
                      <a:pt x="427" y="74"/>
                    </a:lnTo>
                    <a:lnTo>
                      <a:pt x="427" y="74"/>
                    </a:lnTo>
                    <a:lnTo>
                      <a:pt x="424" y="78"/>
                    </a:lnTo>
                    <a:lnTo>
                      <a:pt x="424" y="78"/>
                    </a:lnTo>
                    <a:lnTo>
                      <a:pt x="421" y="78"/>
                    </a:lnTo>
                    <a:lnTo>
                      <a:pt x="419" y="80"/>
                    </a:lnTo>
                    <a:lnTo>
                      <a:pt x="419" y="80"/>
                    </a:lnTo>
                    <a:lnTo>
                      <a:pt x="413" y="82"/>
                    </a:lnTo>
                    <a:lnTo>
                      <a:pt x="413" y="82"/>
                    </a:lnTo>
                    <a:lnTo>
                      <a:pt x="405" y="88"/>
                    </a:lnTo>
                    <a:lnTo>
                      <a:pt x="400" y="92"/>
                    </a:lnTo>
                    <a:lnTo>
                      <a:pt x="397" y="96"/>
                    </a:lnTo>
                    <a:lnTo>
                      <a:pt x="397" y="100"/>
                    </a:lnTo>
                    <a:lnTo>
                      <a:pt x="399" y="100"/>
                    </a:lnTo>
                    <a:lnTo>
                      <a:pt x="399" y="100"/>
                    </a:lnTo>
                    <a:lnTo>
                      <a:pt x="399" y="102"/>
                    </a:lnTo>
                    <a:lnTo>
                      <a:pt x="399" y="102"/>
                    </a:lnTo>
                    <a:lnTo>
                      <a:pt x="401" y="105"/>
                    </a:lnTo>
                    <a:lnTo>
                      <a:pt x="403" y="109"/>
                    </a:lnTo>
                    <a:lnTo>
                      <a:pt x="403" y="109"/>
                    </a:lnTo>
                    <a:lnTo>
                      <a:pt x="403" y="113"/>
                    </a:lnTo>
                    <a:lnTo>
                      <a:pt x="404" y="117"/>
                    </a:lnTo>
                    <a:lnTo>
                      <a:pt x="404" y="117"/>
                    </a:lnTo>
                    <a:lnTo>
                      <a:pt x="404" y="121"/>
                    </a:lnTo>
                    <a:lnTo>
                      <a:pt x="404" y="121"/>
                    </a:lnTo>
                    <a:lnTo>
                      <a:pt x="403" y="119"/>
                    </a:lnTo>
                    <a:lnTo>
                      <a:pt x="405" y="123"/>
                    </a:lnTo>
                    <a:lnTo>
                      <a:pt x="405" y="129"/>
                    </a:lnTo>
                    <a:lnTo>
                      <a:pt x="404" y="131"/>
                    </a:lnTo>
                    <a:lnTo>
                      <a:pt x="404" y="131"/>
                    </a:lnTo>
                    <a:lnTo>
                      <a:pt x="403" y="134"/>
                    </a:lnTo>
                    <a:lnTo>
                      <a:pt x="400" y="135"/>
                    </a:lnTo>
                    <a:lnTo>
                      <a:pt x="396" y="135"/>
                    </a:lnTo>
                    <a:lnTo>
                      <a:pt x="396" y="135"/>
                    </a:lnTo>
                    <a:lnTo>
                      <a:pt x="395" y="135"/>
                    </a:lnTo>
                    <a:lnTo>
                      <a:pt x="395" y="135"/>
                    </a:lnTo>
                    <a:lnTo>
                      <a:pt x="397" y="135"/>
                    </a:lnTo>
                    <a:lnTo>
                      <a:pt x="399" y="131"/>
                    </a:lnTo>
                    <a:lnTo>
                      <a:pt x="394" y="137"/>
                    </a:lnTo>
                    <a:lnTo>
                      <a:pt x="394" y="137"/>
                    </a:lnTo>
                    <a:lnTo>
                      <a:pt x="394" y="137"/>
                    </a:lnTo>
                    <a:lnTo>
                      <a:pt x="392" y="137"/>
                    </a:lnTo>
                    <a:lnTo>
                      <a:pt x="392" y="137"/>
                    </a:lnTo>
                    <a:lnTo>
                      <a:pt x="392" y="137"/>
                    </a:lnTo>
                    <a:lnTo>
                      <a:pt x="392" y="137"/>
                    </a:lnTo>
                    <a:lnTo>
                      <a:pt x="391" y="138"/>
                    </a:lnTo>
                    <a:lnTo>
                      <a:pt x="391" y="138"/>
                    </a:lnTo>
                    <a:lnTo>
                      <a:pt x="388" y="137"/>
                    </a:lnTo>
                    <a:lnTo>
                      <a:pt x="388" y="141"/>
                    </a:lnTo>
                    <a:lnTo>
                      <a:pt x="388" y="141"/>
                    </a:lnTo>
                    <a:lnTo>
                      <a:pt x="388" y="141"/>
                    </a:lnTo>
                    <a:lnTo>
                      <a:pt x="390" y="142"/>
                    </a:lnTo>
                    <a:lnTo>
                      <a:pt x="390" y="142"/>
                    </a:lnTo>
                    <a:lnTo>
                      <a:pt x="392" y="146"/>
                    </a:lnTo>
                    <a:lnTo>
                      <a:pt x="394" y="147"/>
                    </a:lnTo>
                    <a:lnTo>
                      <a:pt x="394" y="147"/>
                    </a:lnTo>
                    <a:lnTo>
                      <a:pt x="395" y="147"/>
                    </a:lnTo>
                    <a:lnTo>
                      <a:pt x="395" y="147"/>
                    </a:lnTo>
                    <a:lnTo>
                      <a:pt x="397" y="147"/>
                    </a:lnTo>
                    <a:lnTo>
                      <a:pt x="400" y="147"/>
                    </a:lnTo>
                    <a:lnTo>
                      <a:pt x="400" y="147"/>
                    </a:lnTo>
                    <a:lnTo>
                      <a:pt x="403" y="150"/>
                    </a:lnTo>
                    <a:lnTo>
                      <a:pt x="404" y="152"/>
                    </a:lnTo>
                    <a:lnTo>
                      <a:pt x="405" y="158"/>
                    </a:lnTo>
                    <a:lnTo>
                      <a:pt x="405" y="158"/>
                    </a:lnTo>
                    <a:lnTo>
                      <a:pt x="405" y="160"/>
                    </a:lnTo>
                    <a:lnTo>
                      <a:pt x="405" y="160"/>
                    </a:lnTo>
                    <a:lnTo>
                      <a:pt x="404" y="160"/>
                    </a:lnTo>
                    <a:lnTo>
                      <a:pt x="404" y="160"/>
                    </a:lnTo>
                    <a:lnTo>
                      <a:pt x="404" y="159"/>
                    </a:lnTo>
                    <a:lnTo>
                      <a:pt x="403" y="158"/>
                    </a:lnTo>
                    <a:lnTo>
                      <a:pt x="403" y="159"/>
                    </a:lnTo>
                    <a:lnTo>
                      <a:pt x="403" y="159"/>
                    </a:lnTo>
                    <a:lnTo>
                      <a:pt x="401" y="158"/>
                    </a:lnTo>
                    <a:lnTo>
                      <a:pt x="404" y="160"/>
                    </a:lnTo>
                    <a:lnTo>
                      <a:pt x="405" y="164"/>
                    </a:lnTo>
                    <a:lnTo>
                      <a:pt x="405" y="164"/>
                    </a:lnTo>
                    <a:lnTo>
                      <a:pt x="407" y="163"/>
                    </a:lnTo>
                    <a:lnTo>
                      <a:pt x="407" y="164"/>
                    </a:lnTo>
                    <a:lnTo>
                      <a:pt x="408" y="163"/>
                    </a:lnTo>
                    <a:lnTo>
                      <a:pt x="408" y="163"/>
                    </a:lnTo>
                    <a:lnTo>
                      <a:pt x="409" y="163"/>
                    </a:lnTo>
                    <a:lnTo>
                      <a:pt x="409" y="163"/>
                    </a:lnTo>
                    <a:lnTo>
                      <a:pt x="408" y="164"/>
                    </a:lnTo>
                    <a:lnTo>
                      <a:pt x="408" y="164"/>
                    </a:lnTo>
                    <a:lnTo>
                      <a:pt x="408" y="166"/>
                    </a:lnTo>
                    <a:lnTo>
                      <a:pt x="412" y="162"/>
                    </a:lnTo>
                    <a:lnTo>
                      <a:pt x="413" y="162"/>
                    </a:lnTo>
                    <a:lnTo>
                      <a:pt x="413" y="162"/>
                    </a:lnTo>
                    <a:lnTo>
                      <a:pt x="419" y="160"/>
                    </a:lnTo>
                    <a:lnTo>
                      <a:pt x="419" y="160"/>
                    </a:lnTo>
                    <a:lnTo>
                      <a:pt x="421" y="160"/>
                    </a:lnTo>
                    <a:lnTo>
                      <a:pt x="421" y="160"/>
                    </a:lnTo>
                    <a:lnTo>
                      <a:pt x="421" y="160"/>
                    </a:lnTo>
                    <a:lnTo>
                      <a:pt x="423" y="159"/>
                    </a:lnTo>
                    <a:lnTo>
                      <a:pt x="427" y="158"/>
                    </a:lnTo>
                    <a:lnTo>
                      <a:pt x="427" y="154"/>
                    </a:lnTo>
                    <a:lnTo>
                      <a:pt x="433" y="148"/>
                    </a:lnTo>
                    <a:lnTo>
                      <a:pt x="433" y="148"/>
                    </a:lnTo>
                    <a:lnTo>
                      <a:pt x="437" y="150"/>
                    </a:lnTo>
                    <a:lnTo>
                      <a:pt x="440" y="152"/>
                    </a:lnTo>
                    <a:lnTo>
                      <a:pt x="441" y="156"/>
                    </a:lnTo>
                    <a:lnTo>
                      <a:pt x="441" y="159"/>
                    </a:lnTo>
                    <a:lnTo>
                      <a:pt x="441" y="159"/>
                    </a:lnTo>
                    <a:lnTo>
                      <a:pt x="441" y="160"/>
                    </a:lnTo>
                    <a:lnTo>
                      <a:pt x="445" y="162"/>
                    </a:lnTo>
                    <a:lnTo>
                      <a:pt x="445" y="162"/>
                    </a:lnTo>
                    <a:lnTo>
                      <a:pt x="449" y="168"/>
                    </a:lnTo>
                    <a:lnTo>
                      <a:pt x="449" y="168"/>
                    </a:lnTo>
                    <a:lnTo>
                      <a:pt x="453" y="166"/>
                    </a:lnTo>
                    <a:lnTo>
                      <a:pt x="457" y="164"/>
                    </a:lnTo>
                    <a:lnTo>
                      <a:pt x="457" y="164"/>
                    </a:lnTo>
                    <a:lnTo>
                      <a:pt x="460" y="164"/>
                    </a:lnTo>
                    <a:lnTo>
                      <a:pt x="460" y="164"/>
                    </a:lnTo>
                    <a:lnTo>
                      <a:pt x="465" y="168"/>
                    </a:lnTo>
                    <a:lnTo>
                      <a:pt x="465" y="168"/>
                    </a:lnTo>
                    <a:lnTo>
                      <a:pt x="465" y="167"/>
                    </a:lnTo>
                    <a:lnTo>
                      <a:pt x="465" y="167"/>
                    </a:lnTo>
                    <a:lnTo>
                      <a:pt x="465" y="167"/>
                    </a:lnTo>
                    <a:lnTo>
                      <a:pt x="469" y="167"/>
                    </a:lnTo>
                    <a:lnTo>
                      <a:pt x="474" y="172"/>
                    </a:lnTo>
                    <a:lnTo>
                      <a:pt x="474" y="172"/>
                    </a:lnTo>
                    <a:lnTo>
                      <a:pt x="473" y="170"/>
                    </a:lnTo>
                    <a:lnTo>
                      <a:pt x="472" y="168"/>
                    </a:lnTo>
                    <a:lnTo>
                      <a:pt x="472" y="168"/>
                    </a:lnTo>
                    <a:lnTo>
                      <a:pt x="473" y="168"/>
                    </a:lnTo>
                    <a:lnTo>
                      <a:pt x="474" y="170"/>
                    </a:lnTo>
                    <a:lnTo>
                      <a:pt x="474" y="170"/>
                    </a:lnTo>
                    <a:lnTo>
                      <a:pt x="474" y="170"/>
                    </a:lnTo>
                    <a:lnTo>
                      <a:pt x="474" y="170"/>
                    </a:lnTo>
                    <a:lnTo>
                      <a:pt x="477" y="170"/>
                    </a:lnTo>
                    <a:lnTo>
                      <a:pt x="477" y="170"/>
                    </a:lnTo>
                    <a:lnTo>
                      <a:pt x="479" y="170"/>
                    </a:lnTo>
                    <a:lnTo>
                      <a:pt x="479" y="170"/>
                    </a:lnTo>
                    <a:lnTo>
                      <a:pt x="483" y="170"/>
                    </a:lnTo>
                    <a:lnTo>
                      <a:pt x="487" y="175"/>
                    </a:lnTo>
                    <a:lnTo>
                      <a:pt x="487" y="175"/>
                    </a:lnTo>
                    <a:lnTo>
                      <a:pt x="489" y="185"/>
                    </a:lnTo>
                    <a:lnTo>
                      <a:pt x="489" y="185"/>
                    </a:lnTo>
                    <a:lnTo>
                      <a:pt x="489" y="191"/>
                    </a:lnTo>
                    <a:lnTo>
                      <a:pt x="490" y="196"/>
                    </a:lnTo>
                    <a:lnTo>
                      <a:pt x="489" y="201"/>
                    </a:lnTo>
                    <a:lnTo>
                      <a:pt x="485" y="207"/>
                    </a:lnTo>
                    <a:lnTo>
                      <a:pt x="483" y="208"/>
                    </a:lnTo>
                    <a:lnTo>
                      <a:pt x="483" y="208"/>
                    </a:lnTo>
                    <a:lnTo>
                      <a:pt x="481" y="209"/>
                    </a:lnTo>
                    <a:lnTo>
                      <a:pt x="475" y="211"/>
                    </a:lnTo>
                    <a:lnTo>
                      <a:pt x="475" y="211"/>
                    </a:lnTo>
                    <a:lnTo>
                      <a:pt x="473" y="211"/>
                    </a:lnTo>
                    <a:lnTo>
                      <a:pt x="473" y="211"/>
                    </a:lnTo>
                    <a:lnTo>
                      <a:pt x="474" y="209"/>
                    </a:lnTo>
                    <a:lnTo>
                      <a:pt x="475" y="208"/>
                    </a:lnTo>
                    <a:lnTo>
                      <a:pt x="472" y="212"/>
                    </a:lnTo>
                    <a:lnTo>
                      <a:pt x="472" y="212"/>
                    </a:lnTo>
                    <a:lnTo>
                      <a:pt x="472" y="212"/>
                    </a:lnTo>
                    <a:lnTo>
                      <a:pt x="472" y="212"/>
                    </a:lnTo>
                    <a:lnTo>
                      <a:pt x="473" y="215"/>
                    </a:lnTo>
                    <a:lnTo>
                      <a:pt x="473" y="216"/>
                    </a:lnTo>
                    <a:lnTo>
                      <a:pt x="473" y="216"/>
                    </a:lnTo>
                    <a:lnTo>
                      <a:pt x="473" y="220"/>
                    </a:lnTo>
                    <a:lnTo>
                      <a:pt x="470" y="224"/>
                    </a:lnTo>
                    <a:lnTo>
                      <a:pt x="466" y="228"/>
                    </a:lnTo>
                    <a:lnTo>
                      <a:pt x="466" y="228"/>
                    </a:lnTo>
                    <a:lnTo>
                      <a:pt x="465" y="229"/>
                    </a:lnTo>
                    <a:lnTo>
                      <a:pt x="465" y="230"/>
                    </a:lnTo>
                    <a:lnTo>
                      <a:pt x="465" y="232"/>
                    </a:lnTo>
                    <a:lnTo>
                      <a:pt x="462" y="237"/>
                    </a:lnTo>
                    <a:lnTo>
                      <a:pt x="462" y="237"/>
                    </a:lnTo>
                    <a:lnTo>
                      <a:pt x="448" y="248"/>
                    </a:lnTo>
                    <a:lnTo>
                      <a:pt x="438" y="246"/>
                    </a:lnTo>
                    <a:lnTo>
                      <a:pt x="438" y="246"/>
                    </a:lnTo>
                    <a:lnTo>
                      <a:pt x="437" y="244"/>
                    </a:lnTo>
                    <a:lnTo>
                      <a:pt x="437" y="244"/>
                    </a:lnTo>
                    <a:lnTo>
                      <a:pt x="436" y="242"/>
                    </a:lnTo>
                    <a:lnTo>
                      <a:pt x="436" y="242"/>
                    </a:lnTo>
                    <a:lnTo>
                      <a:pt x="432" y="238"/>
                    </a:lnTo>
                    <a:lnTo>
                      <a:pt x="432" y="238"/>
                    </a:lnTo>
                    <a:lnTo>
                      <a:pt x="429" y="237"/>
                    </a:lnTo>
                    <a:lnTo>
                      <a:pt x="427" y="236"/>
                    </a:lnTo>
                    <a:lnTo>
                      <a:pt x="427" y="236"/>
                    </a:lnTo>
                    <a:lnTo>
                      <a:pt x="425" y="233"/>
                    </a:lnTo>
                    <a:lnTo>
                      <a:pt x="424" y="229"/>
                    </a:lnTo>
                    <a:lnTo>
                      <a:pt x="424" y="229"/>
                    </a:lnTo>
                    <a:lnTo>
                      <a:pt x="423" y="229"/>
                    </a:lnTo>
                    <a:lnTo>
                      <a:pt x="423" y="229"/>
                    </a:lnTo>
                    <a:lnTo>
                      <a:pt x="424" y="228"/>
                    </a:lnTo>
                    <a:lnTo>
                      <a:pt x="423" y="228"/>
                    </a:lnTo>
                    <a:lnTo>
                      <a:pt x="423" y="228"/>
                    </a:lnTo>
                    <a:lnTo>
                      <a:pt x="424" y="225"/>
                    </a:lnTo>
                    <a:lnTo>
                      <a:pt x="420" y="229"/>
                    </a:lnTo>
                    <a:lnTo>
                      <a:pt x="420" y="229"/>
                    </a:lnTo>
                    <a:lnTo>
                      <a:pt x="420" y="229"/>
                    </a:lnTo>
                    <a:lnTo>
                      <a:pt x="420" y="229"/>
                    </a:lnTo>
                    <a:lnTo>
                      <a:pt x="420" y="229"/>
                    </a:lnTo>
                    <a:lnTo>
                      <a:pt x="420" y="229"/>
                    </a:lnTo>
                    <a:lnTo>
                      <a:pt x="420" y="230"/>
                    </a:lnTo>
                    <a:lnTo>
                      <a:pt x="420" y="230"/>
                    </a:lnTo>
                    <a:lnTo>
                      <a:pt x="419" y="232"/>
                    </a:lnTo>
                    <a:lnTo>
                      <a:pt x="419" y="232"/>
                    </a:lnTo>
                    <a:lnTo>
                      <a:pt x="417" y="234"/>
                    </a:lnTo>
                    <a:lnTo>
                      <a:pt x="416" y="236"/>
                    </a:lnTo>
                    <a:lnTo>
                      <a:pt x="416" y="236"/>
                    </a:lnTo>
                    <a:lnTo>
                      <a:pt x="412" y="238"/>
                    </a:lnTo>
                    <a:lnTo>
                      <a:pt x="408" y="244"/>
                    </a:lnTo>
                    <a:lnTo>
                      <a:pt x="408" y="244"/>
                    </a:lnTo>
                    <a:lnTo>
                      <a:pt x="401" y="250"/>
                    </a:lnTo>
                    <a:lnTo>
                      <a:pt x="395" y="256"/>
                    </a:lnTo>
                    <a:lnTo>
                      <a:pt x="386" y="249"/>
                    </a:lnTo>
                    <a:lnTo>
                      <a:pt x="386" y="249"/>
                    </a:lnTo>
                    <a:lnTo>
                      <a:pt x="386" y="248"/>
                    </a:lnTo>
                    <a:lnTo>
                      <a:pt x="386" y="248"/>
                    </a:lnTo>
                    <a:lnTo>
                      <a:pt x="386" y="248"/>
                    </a:lnTo>
                    <a:lnTo>
                      <a:pt x="386" y="248"/>
                    </a:lnTo>
                    <a:lnTo>
                      <a:pt x="384" y="249"/>
                    </a:lnTo>
                    <a:lnTo>
                      <a:pt x="384" y="249"/>
                    </a:lnTo>
                    <a:lnTo>
                      <a:pt x="386" y="248"/>
                    </a:lnTo>
                    <a:lnTo>
                      <a:pt x="386" y="248"/>
                    </a:lnTo>
                    <a:lnTo>
                      <a:pt x="386" y="248"/>
                    </a:lnTo>
                    <a:lnTo>
                      <a:pt x="386" y="248"/>
                    </a:lnTo>
                    <a:lnTo>
                      <a:pt x="386" y="248"/>
                    </a:lnTo>
                    <a:lnTo>
                      <a:pt x="386" y="248"/>
                    </a:lnTo>
                    <a:lnTo>
                      <a:pt x="386" y="248"/>
                    </a:lnTo>
                    <a:lnTo>
                      <a:pt x="386" y="248"/>
                    </a:lnTo>
                    <a:lnTo>
                      <a:pt x="388" y="245"/>
                    </a:lnTo>
                    <a:lnTo>
                      <a:pt x="388" y="245"/>
                    </a:lnTo>
                    <a:lnTo>
                      <a:pt x="388" y="242"/>
                    </a:lnTo>
                    <a:lnTo>
                      <a:pt x="388" y="241"/>
                    </a:lnTo>
                    <a:lnTo>
                      <a:pt x="386" y="246"/>
                    </a:lnTo>
                    <a:lnTo>
                      <a:pt x="386" y="248"/>
                    </a:lnTo>
                    <a:lnTo>
                      <a:pt x="382" y="241"/>
                    </a:lnTo>
                    <a:lnTo>
                      <a:pt x="382" y="241"/>
                    </a:lnTo>
                    <a:lnTo>
                      <a:pt x="382" y="242"/>
                    </a:lnTo>
                    <a:lnTo>
                      <a:pt x="383" y="245"/>
                    </a:lnTo>
                    <a:lnTo>
                      <a:pt x="383" y="245"/>
                    </a:lnTo>
                    <a:lnTo>
                      <a:pt x="384" y="246"/>
                    </a:lnTo>
                    <a:lnTo>
                      <a:pt x="386" y="248"/>
                    </a:lnTo>
                    <a:lnTo>
                      <a:pt x="380" y="252"/>
                    </a:lnTo>
                    <a:lnTo>
                      <a:pt x="380" y="252"/>
                    </a:lnTo>
                    <a:lnTo>
                      <a:pt x="379" y="252"/>
                    </a:lnTo>
                    <a:lnTo>
                      <a:pt x="379" y="252"/>
                    </a:lnTo>
                    <a:lnTo>
                      <a:pt x="375" y="250"/>
                    </a:lnTo>
                    <a:lnTo>
                      <a:pt x="372" y="249"/>
                    </a:lnTo>
                    <a:lnTo>
                      <a:pt x="372" y="249"/>
                    </a:lnTo>
                    <a:lnTo>
                      <a:pt x="368" y="250"/>
                    </a:lnTo>
                    <a:lnTo>
                      <a:pt x="366" y="250"/>
                    </a:lnTo>
                    <a:lnTo>
                      <a:pt x="363" y="250"/>
                    </a:lnTo>
                    <a:lnTo>
                      <a:pt x="363" y="250"/>
                    </a:lnTo>
                    <a:lnTo>
                      <a:pt x="356" y="250"/>
                    </a:lnTo>
                    <a:lnTo>
                      <a:pt x="356" y="250"/>
                    </a:lnTo>
                    <a:lnTo>
                      <a:pt x="349" y="249"/>
                    </a:lnTo>
                    <a:lnTo>
                      <a:pt x="346" y="249"/>
                    </a:lnTo>
                    <a:lnTo>
                      <a:pt x="342" y="246"/>
                    </a:lnTo>
                    <a:lnTo>
                      <a:pt x="339" y="245"/>
                    </a:lnTo>
                    <a:lnTo>
                      <a:pt x="339" y="245"/>
                    </a:lnTo>
                    <a:lnTo>
                      <a:pt x="337" y="244"/>
                    </a:lnTo>
                    <a:lnTo>
                      <a:pt x="337" y="244"/>
                    </a:lnTo>
                    <a:lnTo>
                      <a:pt x="333" y="240"/>
                    </a:lnTo>
                    <a:lnTo>
                      <a:pt x="330" y="237"/>
                    </a:lnTo>
                    <a:lnTo>
                      <a:pt x="329" y="233"/>
                    </a:lnTo>
                    <a:lnTo>
                      <a:pt x="329" y="233"/>
                    </a:lnTo>
                    <a:lnTo>
                      <a:pt x="327" y="234"/>
                    </a:lnTo>
                    <a:lnTo>
                      <a:pt x="327" y="237"/>
                    </a:lnTo>
                    <a:lnTo>
                      <a:pt x="322" y="242"/>
                    </a:lnTo>
                    <a:lnTo>
                      <a:pt x="322" y="242"/>
                    </a:lnTo>
                    <a:lnTo>
                      <a:pt x="325" y="241"/>
                    </a:lnTo>
                    <a:lnTo>
                      <a:pt x="326" y="238"/>
                    </a:lnTo>
                    <a:lnTo>
                      <a:pt x="326" y="238"/>
                    </a:lnTo>
                    <a:lnTo>
                      <a:pt x="326" y="240"/>
                    </a:lnTo>
                    <a:lnTo>
                      <a:pt x="326" y="240"/>
                    </a:lnTo>
                    <a:lnTo>
                      <a:pt x="326" y="242"/>
                    </a:lnTo>
                    <a:lnTo>
                      <a:pt x="326" y="246"/>
                    </a:lnTo>
                    <a:lnTo>
                      <a:pt x="317" y="249"/>
                    </a:lnTo>
                    <a:lnTo>
                      <a:pt x="317" y="249"/>
                    </a:lnTo>
                    <a:lnTo>
                      <a:pt x="317" y="249"/>
                    </a:lnTo>
                    <a:lnTo>
                      <a:pt x="317" y="249"/>
                    </a:lnTo>
                    <a:lnTo>
                      <a:pt x="316" y="249"/>
                    </a:lnTo>
                    <a:lnTo>
                      <a:pt x="310" y="245"/>
                    </a:lnTo>
                    <a:lnTo>
                      <a:pt x="310" y="245"/>
                    </a:lnTo>
                    <a:lnTo>
                      <a:pt x="310" y="245"/>
                    </a:lnTo>
                    <a:lnTo>
                      <a:pt x="310" y="245"/>
                    </a:lnTo>
                    <a:lnTo>
                      <a:pt x="310" y="246"/>
                    </a:lnTo>
                    <a:lnTo>
                      <a:pt x="305" y="252"/>
                    </a:lnTo>
                    <a:lnTo>
                      <a:pt x="305" y="252"/>
                    </a:lnTo>
                    <a:lnTo>
                      <a:pt x="302" y="252"/>
                    </a:lnTo>
                    <a:lnTo>
                      <a:pt x="302" y="252"/>
                    </a:lnTo>
                    <a:lnTo>
                      <a:pt x="298" y="250"/>
                    </a:lnTo>
                    <a:lnTo>
                      <a:pt x="296" y="249"/>
                    </a:lnTo>
                    <a:lnTo>
                      <a:pt x="296" y="249"/>
                    </a:lnTo>
                    <a:lnTo>
                      <a:pt x="296" y="250"/>
                    </a:lnTo>
                    <a:lnTo>
                      <a:pt x="296" y="250"/>
                    </a:lnTo>
                    <a:lnTo>
                      <a:pt x="293" y="252"/>
                    </a:lnTo>
                    <a:lnTo>
                      <a:pt x="290" y="253"/>
                    </a:lnTo>
                    <a:lnTo>
                      <a:pt x="286" y="253"/>
                    </a:lnTo>
                    <a:lnTo>
                      <a:pt x="286" y="253"/>
                    </a:lnTo>
                    <a:lnTo>
                      <a:pt x="284" y="256"/>
                    </a:lnTo>
                    <a:lnTo>
                      <a:pt x="282" y="257"/>
                    </a:lnTo>
                    <a:lnTo>
                      <a:pt x="282" y="257"/>
                    </a:lnTo>
                    <a:lnTo>
                      <a:pt x="278" y="258"/>
                    </a:lnTo>
                    <a:lnTo>
                      <a:pt x="275" y="259"/>
                    </a:lnTo>
                    <a:lnTo>
                      <a:pt x="273" y="259"/>
                    </a:lnTo>
                    <a:lnTo>
                      <a:pt x="273" y="259"/>
                    </a:lnTo>
                    <a:lnTo>
                      <a:pt x="273" y="262"/>
                    </a:lnTo>
                    <a:lnTo>
                      <a:pt x="268" y="266"/>
                    </a:lnTo>
                    <a:lnTo>
                      <a:pt x="268" y="266"/>
                    </a:lnTo>
                    <a:lnTo>
                      <a:pt x="267" y="266"/>
                    </a:lnTo>
                    <a:lnTo>
                      <a:pt x="267" y="266"/>
                    </a:lnTo>
                    <a:lnTo>
                      <a:pt x="264" y="266"/>
                    </a:lnTo>
                    <a:lnTo>
                      <a:pt x="261" y="265"/>
                    </a:lnTo>
                    <a:lnTo>
                      <a:pt x="257" y="265"/>
                    </a:lnTo>
                    <a:lnTo>
                      <a:pt x="257" y="265"/>
                    </a:lnTo>
                    <a:lnTo>
                      <a:pt x="253" y="266"/>
                    </a:lnTo>
                    <a:lnTo>
                      <a:pt x="253" y="266"/>
                    </a:lnTo>
                    <a:lnTo>
                      <a:pt x="251" y="266"/>
                    </a:lnTo>
                    <a:lnTo>
                      <a:pt x="251" y="270"/>
                    </a:lnTo>
                    <a:lnTo>
                      <a:pt x="245" y="275"/>
                    </a:lnTo>
                    <a:lnTo>
                      <a:pt x="244" y="275"/>
                    </a:lnTo>
                    <a:lnTo>
                      <a:pt x="244" y="275"/>
                    </a:lnTo>
                    <a:lnTo>
                      <a:pt x="244" y="277"/>
                    </a:lnTo>
                    <a:lnTo>
                      <a:pt x="244" y="277"/>
                    </a:lnTo>
                    <a:lnTo>
                      <a:pt x="244" y="278"/>
                    </a:lnTo>
                    <a:lnTo>
                      <a:pt x="244" y="278"/>
                    </a:lnTo>
                    <a:lnTo>
                      <a:pt x="243" y="281"/>
                    </a:lnTo>
                    <a:lnTo>
                      <a:pt x="245" y="285"/>
                    </a:lnTo>
                    <a:lnTo>
                      <a:pt x="245" y="286"/>
                    </a:lnTo>
                    <a:lnTo>
                      <a:pt x="243" y="290"/>
                    </a:lnTo>
                    <a:lnTo>
                      <a:pt x="243" y="290"/>
                    </a:lnTo>
                    <a:lnTo>
                      <a:pt x="239" y="293"/>
                    </a:lnTo>
                    <a:lnTo>
                      <a:pt x="236" y="294"/>
                    </a:lnTo>
                    <a:lnTo>
                      <a:pt x="236" y="294"/>
                    </a:lnTo>
                    <a:lnTo>
                      <a:pt x="232" y="293"/>
                    </a:lnTo>
                    <a:lnTo>
                      <a:pt x="230" y="291"/>
                    </a:lnTo>
                    <a:lnTo>
                      <a:pt x="230" y="291"/>
                    </a:lnTo>
                    <a:lnTo>
                      <a:pt x="228" y="291"/>
                    </a:lnTo>
                    <a:lnTo>
                      <a:pt x="228" y="291"/>
                    </a:lnTo>
                    <a:lnTo>
                      <a:pt x="228" y="291"/>
                    </a:lnTo>
                    <a:lnTo>
                      <a:pt x="227" y="293"/>
                    </a:lnTo>
                    <a:lnTo>
                      <a:pt x="227" y="293"/>
                    </a:lnTo>
                    <a:lnTo>
                      <a:pt x="226" y="294"/>
                    </a:lnTo>
                    <a:lnTo>
                      <a:pt x="226" y="294"/>
                    </a:lnTo>
                    <a:lnTo>
                      <a:pt x="223" y="298"/>
                    </a:lnTo>
                    <a:lnTo>
                      <a:pt x="220" y="300"/>
                    </a:lnTo>
                    <a:lnTo>
                      <a:pt x="216" y="302"/>
                    </a:lnTo>
                    <a:lnTo>
                      <a:pt x="216" y="302"/>
                    </a:lnTo>
                    <a:lnTo>
                      <a:pt x="216" y="302"/>
                    </a:lnTo>
                    <a:lnTo>
                      <a:pt x="215" y="304"/>
                    </a:lnTo>
                    <a:lnTo>
                      <a:pt x="215" y="304"/>
                    </a:lnTo>
                    <a:lnTo>
                      <a:pt x="212" y="306"/>
                    </a:lnTo>
                    <a:lnTo>
                      <a:pt x="207" y="307"/>
                    </a:lnTo>
                    <a:lnTo>
                      <a:pt x="206" y="307"/>
                    </a:lnTo>
                    <a:lnTo>
                      <a:pt x="204" y="306"/>
                    </a:lnTo>
                    <a:lnTo>
                      <a:pt x="204" y="306"/>
                    </a:lnTo>
                    <a:lnTo>
                      <a:pt x="206" y="303"/>
                    </a:lnTo>
                    <a:lnTo>
                      <a:pt x="206" y="303"/>
                    </a:lnTo>
                    <a:lnTo>
                      <a:pt x="207" y="302"/>
                    </a:lnTo>
                    <a:lnTo>
                      <a:pt x="206" y="299"/>
                    </a:lnTo>
                    <a:lnTo>
                      <a:pt x="203" y="303"/>
                    </a:lnTo>
                    <a:lnTo>
                      <a:pt x="200" y="299"/>
                    </a:lnTo>
                    <a:lnTo>
                      <a:pt x="200" y="299"/>
                    </a:lnTo>
                    <a:lnTo>
                      <a:pt x="200" y="302"/>
                    </a:lnTo>
                    <a:lnTo>
                      <a:pt x="200" y="303"/>
                    </a:lnTo>
                    <a:lnTo>
                      <a:pt x="200" y="303"/>
                    </a:lnTo>
                    <a:lnTo>
                      <a:pt x="202" y="306"/>
                    </a:lnTo>
                    <a:lnTo>
                      <a:pt x="202" y="307"/>
                    </a:lnTo>
                    <a:lnTo>
                      <a:pt x="202" y="307"/>
                    </a:lnTo>
                    <a:lnTo>
                      <a:pt x="202" y="307"/>
                    </a:lnTo>
                    <a:lnTo>
                      <a:pt x="203" y="306"/>
                    </a:lnTo>
                    <a:lnTo>
                      <a:pt x="203" y="306"/>
                    </a:lnTo>
                    <a:lnTo>
                      <a:pt x="202" y="308"/>
                    </a:lnTo>
                    <a:lnTo>
                      <a:pt x="203" y="310"/>
                    </a:lnTo>
                    <a:lnTo>
                      <a:pt x="203" y="310"/>
                    </a:lnTo>
                    <a:lnTo>
                      <a:pt x="204" y="311"/>
                    </a:lnTo>
                    <a:lnTo>
                      <a:pt x="204" y="311"/>
                    </a:lnTo>
                    <a:lnTo>
                      <a:pt x="206" y="315"/>
                    </a:lnTo>
                    <a:lnTo>
                      <a:pt x="207" y="320"/>
                    </a:lnTo>
                    <a:lnTo>
                      <a:pt x="207" y="320"/>
                    </a:lnTo>
                    <a:lnTo>
                      <a:pt x="207" y="320"/>
                    </a:lnTo>
                    <a:lnTo>
                      <a:pt x="210" y="323"/>
                    </a:lnTo>
                    <a:lnTo>
                      <a:pt x="210" y="323"/>
                    </a:lnTo>
                    <a:lnTo>
                      <a:pt x="215" y="328"/>
                    </a:lnTo>
                    <a:lnTo>
                      <a:pt x="216" y="330"/>
                    </a:lnTo>
                    <a:lnTo>
                      <a:pt x="216" y="330"/>
                    </a:lnTo>
                    <a:lnTo>
                      <a:pt x="219" y="334"/>
                    </a:lnTo>
                    <a:lnTo>
                      <a:pt x="219" y="339"/>
                    </a:lnTo>
                    <a:lnTo>
                      <a:pt x="219" y="341"/>
                    </a:lnTo>
                    <a:lnTo>
                      <a:pt x="214" y="347"/>
                    </a:lnTo>
                    <a:lnTo>
                      <a:pt x="214" y="348"/>
                    </a:lnTo>
                    <a:lnTo>
                      <a:pt x="214" y="348"/>
                    </a:lnTo>
                    <a:lnTo>
                      <a:pt x="215" y="347"/>
                    </a:lnTo>
                    <a:lnTo>
                      <a:pt x="218" y="345"/>
                    </a:lnTo>
                    <a:lnTo>
                      <a:pt x="216" y="348"/>
                    </a:lnTo>
                    <a:lnTo>
                      <a:pt x="216" y="348"/>
                    </a:lnTo>
                    <a:lnTo>
                      <a:pt x="214" y="349"/>
                    </a:lnTo>
                    <a:lnTo>
                      <a:pt x="214" y="349"/>
                    </a:lnTo>
                    <a:lnTo>
                      <a:pt x="211" y="352"/>
                    </a:lnTo>
                    <a:lnTo>
                      <a:pt x="211" y="353"/>
                    </a:lnTo>
                    <a:lnTo>
                      <a:pt x="207" y="357"/>
                    </a:lnTo>
                    <a:lnTo>
                      <a:pt x="207" y="357"/>
                    </a:lnTo>
                    <a:lnTo>
                      <a:pt x="207" y="355"/>
                    </a:lnTo>
                    <a:lnTo>
                      <a:pt x="207" y="355"/>
                    </a:lnTo>
                    <a:lnTo>
                      <a:pt x="204" y="353"/>
                    </a:lnTo>
                    <a:lnTo>
                      <a:pt x="203" y="352"/>
                    </a:lnTo>
                    <a:lnTo>
                      <a:pt x="207" y="357"/>
                    </a:lnTo>
                    <a:lnTo>
                      <a:pt x="206" y="359"/>
                    </a:lnTo>
                    <a:lnTo>
                      <a:pt x="206" y="359"/>
                    </a:lnTo>
                    <a:lnTo>
                      <a:pt x="207" y="359"/>
                    </a:lnTo>
                    <a:lnTo>
                      <a:pt x="207" y="359"/>
                    </a:lnTo>
                    <a:lnTo>
                      <a:pt x="207" y="359"/>
                    </a:lnTo>
                    <a:lnTo>
                      <a:pt x="207" y="359"/>
                    </a:lnTo>
                    <a:lnTo>
                      <a:pt x="207" y="357"/>
                    </a:lnTo>
                    <a:lnTo>
                      <a:pt x="207" y="357"/>
                    </a:lnTo>
                    <a:lnTo>
                      <a:pt x="207" y="359"/>
                    </a:lnTo>
                    <a:lnTo>
                      <a:pt x="207" y="359"/>
                    </a:lnTo>
                    <a:lnTo>
                      <a:pt x="207" y="357"/>
                    </a:lnTo>
                    <a:lnTo>
                      <a:pt x="208" y="359"/>
                    </a:lnTo>
                    <a:lnTo>
                      <a:pt x="208" y="359"/>
                    </a:lnTo>
                    <a:lnTo>
                      <a:pt x="208" y="359"/>
                    </a:lnTo>
                    <a:lnTo>
                      <a:pt x="211" y="363"/>
                    </a:lnTo>
                    <a:lnTo>
                      <a:pt x="211" y="368"/>
                    </a:lnTo>
                    <a:lnTo>
                      <a:pt x="204" y="372"/>
                    </a:lnTo>
                    <a:lnTo>
                      <a:pt x="204" y="372"/>
                    </a:lnTo>
                    <a:lnTo>
                      <a:pt x="206" y="371"/>
                    </a:lnTo>
                    <a:lnTo>
                      <a:pt x="206" y="371"/>
                    </a:lnTo>
                    <a:lnTo>
                      <a:pt x="203" y="373"/>
                    </a:lnTo>
                    <a:lnTo>
                      <a:pt x="199" y="376"/>
                    </a:lnTo>
                    <a:lnTo>
                      <a:pt x="198" y="376"/>
                    </a:lnTo>
                    <a:lnTo>
                      <a:pt x="198" y="376"/>
                    </a:lnTo>
                    <a:lnTo>
                      <a:pt x="194" y="375"/>
                    </a:lnTo>
                    <a:lnTo>
                      <a:pt x="191" y="373"/>
                    </a:lnTo>
                    <a:lnTo>
                      <a:pt x="191" y="373"/>
                    </a:lnTo>
                    <a:lnTo>
                      <a:pt x="190" y="373"/>
                    </a:lnTo>
                    <a:lnTo>
                      <a:pt x="190" y="373"/>
                    </a:lnTo>
                    <a:lnTo>
                      <a:pt x="187" y="372"/>
                    </a:lnTo>
                    <a:lnTo>
                      <a:pt x="186" y="371"/>
                    </a:lnTo>
                    <a:lnTo>
                      <a:pt x="186" y="371"/>
                    </a:lnTo>
                    <a:lnTo>
                      <a:pt x="183" y="371"/>
                    </a:lnTo>
                    <a:lnTo>
                      <a:pt x="183" y="371"/>
                    </a:lnTo>
                    <a:lnTo>
                      <a:pt x="182" y="371"/>
                    </a:lnTo>
                    <a:lnTo>
                      <a:pt x="179" y="372"/>
                    </a:lnTo>
                    <a:lnTo>
                      <a:pt x="178" y="376"/>
                    </a:lnTo>
                    <a:lnTo>
                      <a:pt x="174" y="380"/>
                    </a:lnTo>
                    <a:lnTo>
                      <a:pt x="174" y="380"/>
                    </a:lnTo>
                    <a:lnTo>
                      <a:pt x="170" y="380"/>
                    </a:lnTo>
                    <a:lnTo>
                      <a:pt x="170" y="380"/>
                    </a:lnTo>
                    <a:lnTo>
                      <a:pt x="169" y="380"/>
                    </a:lnTo>
                    <a:lnTo>
                      <a:pt x="169" y="380"/>
                    </a:lnTo>
                    <a:lnTo>
                      <a:pt x="167" y="380"/>
                    </a:lnTo>
                    <a:lnTo>
                      <a:pt x="167" y="380"/>
                    </a:lnTo>
                    <a:lnTo>
                      <a:pt x="169" y="378"/>
                    </a:lnTo>
                    <a:lnTo>
                      <a:pt x="170" y="378"/>
                    </a:lnTo>
                    <a:lnTo>
                      <a:pt x="170" y="378"/>
                    </a:lnTo>
                    <a:lnTo>
                      <a:pt x="171" y="375"/>
                    </a:lnTo>
                    <a:lnTo>
                      <a:pt x="165" y="381"/>
                    </a:lnTo>
                    <a:lnTo>
                      <a:pt x="163" y="381"/>
                    </a:lnTo>
                    <a:lnTo>
                      <a:pt x="157" y="373"/>
                    </a:lnTo>
                    <a:lnTo>
                      <a:pt x="157" y="373"/>
                    </a:lnTo>
                    <a:lnTo>
                      <a:pt x="157" y="376"/>
                    </a:lnTo>
                    <a:lnTo>
                      <a:pt x="158" y="377"/>
                    </a:lnTo>
                    <a:lnTo>
                      <a:pt x="158" y="377"/>
                    </a:lnTo>
                    <a:lnTo>
                      <a:pt x="159" y="378"/>
                    </a:lnTo>
                    <a:lnTo>
                      <a:pt x="161" y="380"/>
                    </a:lnTo>
                    <a:lnTo>
                      <a:pt x="161" y="380"/>
                    </a:lnTo>
                    <a:lnTo>
                      <a:pt x="161" y="380"/>
                    </a:lnTo>
                    <a:lnTo>
                      <a:pt x="157" y="382"/>
                    </a:lnTo>
                    <a:lnTo>
                      <a:pt x="156" y="385"/>
                    </a:lnTo>
                    <a:lnTo>
                      <a:pt x="153" y="392"/>
                    </a:lnTo>
                    <a:lnTo>
                      <a:pt x="153" y="392"/>
                    </a:lnTo>
                    <a:lnTo>
                      <a:pt x="153" y="392"/>
                    </a:lnTo>
                    <a:lnTo>
                      <a:pt x="153" y="392"/>
                    </a:lnTo>
                    <a:lnTo>
                      <a:pt x="152" y="392"/>
                    </a:lnTo>
                    <a:lnTo>
                      <a:pt x="152" y="392"/>
                    </a:lnTo>
                    <a:lnTo>
                      <a:pt x="152" y="393"/>
                    </a:lnTo>
                    <a:lnTo>
                      <a:pt x="152" y="393"/>
                    </a:lnTo>
                    <a:lnTo>
                      <a:pt x="152" y="393"/>
                    </a:lnTo>
                    <a:lnTo>
                      <a:pt x="152" y="393"/>
                    </a:lnTo>
                    <a:lnTo>
                      <a:pt x="149" y="392"/>
                    </a:lnTo>
                    <a:lnTo>
                      <a:pt x="150" y="394"/>
                    </a:lnTo>
                    <a:lnTo>
                      <a:pt x="148" y="397"/>
                    </a:lnTo>
                    <a:lnTo>
                      <a:pt x="148" y="397"/>
                    </a:lnTo>
                    <a:lnTo>
                      <a:pt x="150" y="396"/>
                    </a:lnTo>
                    <a:lnTo>
                      <a:pt x="150" y="396"/>
                    </a:lnTo>
                    <a:lnTo>
                      <a:pt x="150" y="394"/>
                    </a:lnTo>
                    <a:lnTo>
                      <a:pt x="153" y="400"/>
                    </a:lnTo>
                    <a:lnTo>
                      <a:pt x="153" y="400"/>
                    </a:lnTo>
                    <a:lnTo>
                      <a:pt x="152" y="402"/>
                    </a:lnTo>
                    <a:lnTo>
                      <a:pt x="149" y="405"/>
                    </a:lnTo>
                    <a:lnTo>
                      <a:pt x="149" y="405"/>
                    </a:lnTo>
                    <a:lnTo>
                      <a:pt x="150" y="402"/>
                    </a:lnTo>
                    <a:lnTo>
                      <a:pt x="152" y="400"/>
                    </a:lnTo>
                    <a:lnTo>
                      <a:pt x="146" y="405"/>
                    </a:lnTo>
                    <a:lnTo>
                      <a:pt x="148" y="405"/>
                    </a:lnTo>
                    <a:lnTo>
                      <a:pt x="148" y="405"/>
                    </a:lnTo>
                    <a:lnTo>
                      <a:pt x="142" y="409"/>
                    </a:lnTo>
                    <a:lnTo>
                      <a:pt x="141" y="410"/>
                    </a:lnTo>
                    <a:lnTo>
                      <a:pt x="138" y="412"/>
                    </a:lnTo>
                    <a:lnTo>
                      <a:pt x="138" y="412"/>
                    </a:lnTo>
                    <a:lnTo>
                      <a:pt x="137" y="413"/>
                    </a:lnTo>
                    <a:lnTo>
                      <a:pt x="137" y="414"/>
                    </a:lnTo>
                    <a:lnTo>
                      <a:pt x="132" y="418"/>
                    </a:lnTo>
                    <a:lnTo>
                      <a:pt x="128" y="418"/>
                    </a:lnTo>
                    <a:lnTo>
                      <a:pt x="128" y="418"/>
                    </a:lnTo>
                    <a:lnTo>
                      <a:pt x="128" y="418"/>
                    </a:lnTo>
                    <a:lnTo>
                      <a:pt x="126" y="418"/>
                    </a:lnTo>
                    <a:lnTo>
                      <a:pt x="122" y="422"/>
                    </a:lnTo>
                    <a:lnTo>
                      <a:pt x="122" y="422"/>
                    </a:lnTo>
                    <a:lnTo>
                      <a:pt x="126" y="421"/>
                    </a:lnTo>
                    <a:lnTo>
                      <a:pt x="126" y="419"/>
                    </a:lnTo>
                    <a:lnTo>
                      <a:pt x="126" y="419"/>
                    </a:lnTo>
                    <a:lnTo>
                      <a:pt x="126" y="419"/>
                    </a:lnTo>
                    <a:lnTo>
                      <a:pt x="126" y="421"/>
                    </a:lnTo>
                    <a:lnTo>
                      <a:pt x="120" y="426"/>
                    </a:lnTo>
                    <a:lnTo>
                      <a:pt x="120" y="426"/>
                    </a:lnTo>
                    <a:lnTo>
                      <a:pt x="119" y="426"/>
                    </a:lnTo>
                    <a:lnTo>
                      <a:pt x="119" y="426"/>
                    </a:lnTo>
                    <a:lnTo>
                      <a:pt x="117" y="426"/>
                    </a:lnTo>
                    <a:lnTo>
                      <a:pt x="115" y="431"/>
                    </a:lnTo>
                    <a:lnTo>
                      <a:pt x="115" y="431"/>
                    </a:lnTo>
                    <a:lnTo>
                      <a:pt x="116" y="430"/>
                    </a:lnTo>
                    <a:lnTo>
                      <a:pt x="116" y="430"/>
                    </a:lnTo>
                    <a:lnTo>
                      <a:pt x="116" y="433"/>
                    </a:lnTo>
                    <a:lnTo>
                      <a:pt x="116" y="433"/>
                    </a:lnTo>
                    <a:lnTo>
                      <a:pt x="116" y="438"/>
                    </a:lnTo>
                    <a:lnTo>
                      <a:pt x="116" y="441"/>
                    </a:lnTo>
                    <a:lnTo>
                      <a:pt x="115" y="443"/>
                    </a:lnTo>
                    <a:lnTo>
                      <a:pt x="112" y="445"/>
                    </a:lnTo>
                    <a:lnTo>
                      <a:pt x="112" y="445"/>
                    </a:lnTo>
                    <a:lnTo>
                      <a:pt x="112" y="446"/>
                    </a:lnTo>
                    <a:lnTo>
                      <a:pt x="117" y="451"/>
                    </a:lnTo>
                    <a:lnTo>
                      <a:pt x="117" y="454"/>
                    </a:lnTo>
                    <a:lnTo>
                      <a:pt x="115" y="458"/>
                    </a:lnTo>
                    <a:lnTo>
                      <a:pt x="115" y="458"/>
                    </a:lnTo>
                    <a:lnTo>
                      <a:pt x="112" y="460"/>
                    </a:lnTo>
                    <a:lnTo>
                      <a:pt x="112" y="460"/>
                    </a:lnTo>
                    <a:lnTo>
                      <a:pt x="111" y="460"/>
                    </a:lnTo>
                    <a:lnTo>
                      <a:pt x="108" y="462"/>
                    </a:lnTo>
                    <a:lnTo>
                      <a:pt x="108" y="462"/>
                    </a:lnTo>
                    <a:lnTo>
                      <a:pt x="107" y="463"/>
                    </a:lnTo>
                    <a:lnTo>
                      <a:pt x="103" y="464"/>
                    </a:lnTo>
                    <a:lnTo>
                      <a:pt x="103" y="464"/>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1" name="Group 20">
              <a:extLst>
                <a:ext uri="{FF2B5EF4-FFF2-40B4-BE49-F238E27FC236}">
                  <a16:creationId xmlns:a16="http://schemas.microsoft.com/office/drawing/2014/main" xmlns="" id="{0572FAB3-EDFC-4150-BD60-BEB3E3210C93}"/>
                </a:ext>
              </a:extLst>
            </p:cNvPr>
            <p:cNvGrpSpPr/>
            <p:nvPr/>
          </p:nvGrpSpPr>
          <p:grpSpPr>
            <a:xfrm>
              <a:off x="7138157" y="2963674"/>
              <a:ext cx="636239" cy="642217"/>
              <a:chOff x="5620127" y="1993942"/>
              <a:chExt cx="832234" cy="858349"/>
            </a:xfrm>
            <a:solidFill>
              <a:schemeClr val="bg1">
                <a:lumMod val="95000"/>
                <a:alpha val="74118"/>
              </a:schemeClr>
            </a:solidFill>
          </p:grpSpPr>
          <p:sp>
            <p:nvSpPr>
              <p:cNvPr id="75" name="Freeform 16">
                <a:extLst>
                  <a:ext uri="{FF2B5EF4-FFF2-40B4-BE49-F238E27FC236}">
                    <a16:creationId xmlns:a16="http://schemas.microsoft.com/office/drawing/2014/main" xmlns="" id="{4B5D38A7-626C-483F-9CB5-36E1DEB1E9B5}"/>
                  </a:ext>
                </a:extLst>
              </p:cNvPr>
              <p:cNvSpPr>
                <a:spLocks/>
              </p:cNvSpPr>
              <p:nvPr/>
            </p:nvSpPr>
            <p:spPr bwMode="auto">
              <a:xfrm>
                <a:off x="5938744" y="1993942"/>
                <a:ext cx="513617" cy="463125"/>
              </a:xfrm>
              <a:custGeom>
                <a:avLst/>
                <a:gdLst>
                  <a:gd name="T0" fmla="*/ 141 w 295"/>
                  <a:gd name="T1" fmla="*/ 249 h 266"/>
                  <a:gd name="T2" fmla="*/ 137 w 295"/>
                  <a:gd name="T3" fmla="*/ 234 h 266"/>
                  <a:gd name="T4" fmla="*/ 123 w 295"/>
                  <a:gd name="T5" fmla="*/ 227 h 266"/>
                  <a:gd name="T6" fmla="*/ 107 w 295"/>
                  <a:gd name="T7" fmla="*/ 224 h 266"/>
                  <a:gd name="T8" fmla="*/ 100 w 295"/>
                  <a:gd name="T9" fmla="*/ 222 h 266"/>
                  <a:gd name="T10" fmla="*/ 78 w 295"/>
                  <a:gd name="T11" fmla="*/ 220 h 266"/>
                  <a:gd name="T12" fmla="*/ 57 w 295"/>
                  <a:gd name="T13" fmla="*/ 226 h 266"/>
                  <a:gd name="T14" fmla="*/ 47 w 295"/>
                  <a:gd name="T15" fmla="*/ 222 h 266"/>
                  <a:gd name="T16" fmla="*/ 31 w 295"/>
                  <a:gd name="T17" fmla="*/ 214 h 266"/>
                  <a:gd name="T18" fmla="*/ 0 w 295"/>
                  <a:gd name="T19" fmla="*/ 212 h 266"/>
                  <a:gd name="T20" fmla="*/ 16 w 295"/>
                  <a:gd name="T21" fmla="*/ 188 h 266"/>
                  <a:gd name="T22" fmla="*/ 16 w 295"/>
                  <a:gd name="T23" fmla="*/ 181 h 266"/>
                  <a:gd name="T24" fmla="*/ 18 w 295"/>
                  <a:gd name="T25" fmla="*/ 161 h 266"/>
                  <a:gd name="T26" fmla="*/ 22 w 295"/>
                  <a:gd name="T27" fmla="*/ 139 h 266"/>
                  <a:gd name="T28" fmla="*/ 31 w 295"/>
                  <a:gd name="T29" fmla="*/ 112 h 266"/>
                  <a:gd name="T30" fmla="*/ 39 w 295"/>
                  <a:gd name="T31" fmla="*/ 116 h 266"/>
                  <a:gd name="T32" fmla="*/ 32 w 295"/>
                  <a:gd name="T33" fmla="*/ 111 h 266"/>
                  <a:gd name="T34" fmla="*/ 33 w 295"/>
                  <a:gd name="T35" fmla="*/ 90 h 266"/>
                  <a:gd name="T36" fmla="*/ 37 w 295"/>
                  <a:gd name="T37" fmla="*/ 66 h 266"/>
                  <a:gd name="T38" fmla="*/ 65 w 295"/>
                  <a:gd name="T39" fmla="*/ 68 h 266"/>
                  <a:gd name="T40" fmla="*/ 74 w 295"/>
                  <a:gd name="T41" fmla="*/ 64 h 266"/>
                  <a:gd name="T42" fmla="*/ 92 w 295"/>
                  <a:gd name="T43" fmla="*/ 62 h 266"/>
                  <a:gd name="T44" fmla="*/ 105 w 295"/>
                  <a:gd name="T45" fmla="*/ 58 h 266"/>
                  <a:gd name="T46" fmla="*/ 113 w 295"/>
                  <a:gd name="T47" fmla="*/ 50 h 266"/>
                  <a:gd name="T48" fmla="*/ 134 w 295"/>
                  <a:gd name="T49" fmla="*/ 54 h 266"/>
                  <a:gd name="T50" fmla="*/ 164 w 295"/>
                  <a:gd name="T51" fmla="*/ 38 h 266"/>
                  <a:gd name="T52" fmla="*/ 189 w 295"/>
                  <a:gd name="T53" fmla="*/ 42 h 266"/>
                  <a:gd name="T54" fmla="*/ 201 w 295"/>
                  <a:gd name="T55" fmla="*/ 34 h 266"/>
                  <a:gd name="T56" fmla="*/ 189 w 295"/>
                  <a:gd name="T57" fmla="*/ 17 h 266"/>
                  <a:gd name="T58" fmla="*/ 207 w 295"/>
                  <a:gd name="T59" fmla="*/ 4 h 266"/>
                  <a:gd name="T60" fmla="*/ 225 w 295"/>
                  <a:gd name="T61" fmla="*/ 8 h 266"/>
                  <a:gd name="T62" fmla="*/ 230 w 295"/>
                  <a:gd name="T63" fmla="*/ 24 h 266"/>
                  <a:gd name="T64" fmla="*/ 220 w 295"/>
                  <a:gd name="T65" fmla="*/ 45 h 266"/>
                  <a:gd name="T66" fmla="*/ 197 w 295"/>
                  <a:gd name="T67" fmla="*/ 61 h 266"/>
                  <a:gd name="T68" fmla="*/ 192 w 295"/>
                  <a:gd name="T69" fmla="*/ 70 h 266"/>
                  <a:gd name="T70" fmla="*/ 189 w 295"/>
                  <a:gd name="T71" fmla="*/ 86 h 266"/>
                  <a:gd name="T72" fmla="*/ 193 w 295"/>
                  <a:gd name="T73" fmla="*/ 134 h 266"/>
                  <a:gd name="T74" fmla="*/ 199 w 295"/>
                  <a:gd name="T75" fmla="*/ 144 h 266"/>
                  <a:gd name="T76" fmla="*/ 207 w 295"/>
                  <a:gd name="T77" fmla="*/ 151 h 266"/>
                  <a:gd name="T78" fmla="*/ 224 w 295"/>
                  <a:gd name="T79" fmla="*/ 155 h 266"/>
                  <a:gd name="T80" fmla="*/ 222 w 295"/>
                  <a:gd name="T81" fmla="*/ 163 h 266"/>
                  <a:gd name="T82" fmla="*/ 238 w 295"/>
                  <a:gd name="T83" fmla="*/ 159 h 266"/>
                  <a:gd name="T84" fmla="*/ 245 w 295"/>
                  <a:gd name="T85" fmla="*/ 144 h 266"/>
                  <a:gd name="T86" fmla="*/ 263 w 295"/>
                  <a:gd name="T87" fmla="*/ 128 h 266"/>
                  <a:gd name="T88" fmla="*/ 267 w 295"/>
                  <a:gd name="T89" fmla="*/ 135 h 266"/>
                  <a:gd name="T90" fmla="*/ 279 w 295"/>
                  <a:gd name="T91" fmla="*/ 130 h 266"/>
                  <a:gd name="T92" fmla="*/ 287 w 295"/>
                  <a:gd name="T93" fmla="*/ 142 h 266"/>
                  <a:gd name="T94" fmla="*/ 289 w 295"/>
                  <a:gd name="T95" fmla="*/ 156 h 266"/>
                  <a:gd name="T96" fmla="*/ 271 w 295"/>
                  <a:gd name="T97" fmla="*/ 167 h 266"/>
                  <a:gd name="T98" fmla="*/ 266 w 295"/>
                  <a:gd name="T99" fmla="*/ 193 h 266"/>
                  <a:gd name="T100" fmla="*/ 267 w 295"/>
                  <a:gd name="T101" fmla="*/ 206 h 266"/>
                  <a:gd name="T102" fmla="*/ 252 w 295"/>
                  <a:gd name="T103" fmla="*/ 214 h 266"/>
                  <a:gd name="T104" fmla="*/ 248 w 295"/>
                  <a:gd name="T105" fmla="*/ 226 h 266"/>
                  <a:gd name="T106" fmla="*/ 242 w 295"/>
                  <a:gd name="T107" fmla="*/ 250 h 266"/>
                  <a:gd name="T108" fmla="*/ 230 w 295"/>
                  <a:gd name="T109" fmla="*/ 247 h 266"/>
                  <a:gd name="T110" fmla="*/ 224 w 295"/>
                  <a:gd name="T111" fmla="*/ 250 h 266"/>
                  <a:gd name="T112" fmla="*/ 204 w 295"/>
                  <a:gd name="T113" fmla="*/ 246 h 266"/>
                  <a:gd name="T114" fmla="*/ 183 w 295"/>
                  <a:gd name="T115" fmla="*/ 242 h 266"/>
                  <a:gd name="T116" fmla="*/ 174 w 295"/>
                  <a:gd name="T117" fmla="*/ 258 h 266"/>
                  <a:gd name="T118" fmla="*/ 160 w 295"/>
                  <a:gd name="T119" fmla="*/ 26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5" h="266">
                    <a:moveTo>
                      <a:pt x="144" y="266"/>
                    </a:moveTo>
                    <a:lnTo>
                      <a:pt x="144" y="266"/>
                    </a:lnTo>
                    <a:lnTo>
                      <a:pt x="142" y="266"/>
                    </a:lnTo>
                    <a:lnTo>
                      <a:pt x="139" y="265"/>
                    </a:lnTo>
                    <a:lnTo>
                      <a:pt x="139" y="265"/>
                    </a:lnTo>
                    <a:lnTo>
                      <a:pt x="137" y="261"/>
                    </a:lnTo>
                    <a:lnTo>
                      <a:pt x="137" y="258"/>
                    </a:lnTo>
                    <a:lnTo>
                      <a:pt x="138" y="254"/>
                    </a:lnTo>
                    <a:lnTo>
                      <a:pt x="139" y="250"/>
                    </a:lnTo>
                    <a:lnTo>
                      <a:pt x="139" y="250"/>
                    </a:lnTo>
                    <a:lnTo>
                      <a:pt x="141" y="249"/>
                    </a:lnTo>
                    <a:lnTo>
                      <a:pt x="141" y="249"/>
                    </a:lnTo>
                    <a:lnTo>
                      <a:pt x="141" y="249"/>
                    </a:lnTo>
                    <a:lnTo>
                      <a:pt x="141" y="249"/>
                    </a:lnTo>
                    <a:lnTo>
                      <a:pt x="138" y="245"/>
                    </a:lnTo>
                    <a:lnTo>
                      <a:pt x="138" y="242"/>
                    </a:lnTo>
                    <a:lnTo>
                      <a:pt x="138" y="239"/>
                    </a:lnTo>
                    <a:lnTo>
                      <a:pt x="138" y="239"/>
                    </a:lnTo>
                    <a:lnTo>
                      <a:pt x="141" y="235"/>
                    </a:lnTo>
                    <a:lnTo>
                      <a:pt x="138" y="235"/>
                    </a:lnTo>
                    <a:lnTo>
                      <a:pt x="133" y="230"/>
                    </a:lnTo>
                    <a:lnTo>
                      <a:pt x="133" y="230"/>
                    </a:lnTo>
                    <a:lnTo>
                      <a:pt x="134" y="233"/>
                    </a:lnTo>
                    <a:lnTo>
                      <a:pt x="137" y="234"/>
                    </a:lnTo>
                    <a:lnTo>
                      <a:pt x="137" y="234"/>
                    </a:lnTo>
                    <a:lnTo>
                      <a:pt x="134" y="234"/>
                    </a:lnTo>
                    <a:lnTo>
                      <a:pt x="130" y="227"/>
                    </a:lnTo>
                    <a:lnTo>
                      <a:pt x="130" y="227"/>
                    </a:lnTo>
                    <a:lnTo>
                      <a:pt x="130" y="226"/>
                    </a:lnTo>
                    <a:lnTo>
                      <a:pt x="129" y="226"/>
                    </a:lnTo>
                    <a:lnTo>
                      <a:pt x="129" y="226"/>
                    </a:lnTo>
                    <a:lnTo>
                      <a:pt x="125" y="227"/>
                    </a:lnTo>
                    <a:lnTo>
                      <a:pt x="125" y="227"/>
                    </a:lnTo>
                    <a:lnTo>
                      <a:pt x="123" y="229"/>
                    </a:lnTo>
                    <a:lnTo>
                      <a:pt x="123" y="229"/>
                    </a:lnTo>
                    <a:lnTo>
                      <a:pt x="123" y="227"/>
                    </a:lnTo>
                    <a:lnTo>
                      <a:pt x="118" y="231"/>
                    </a:lnTo>
                    <a:lnTo>
                      <a:pt x="117" y="231"/>
                    </a:lnTo>
                    <a:lnTo>
                      <a:pt x="117" y="231"/>
                    </a:lnTo>
                    <a:lnTo>
                      <a:pt x="117" y="231"/>
                    </a:lnTo>
                    <a:lnTo>
                      <a:pt x="117" y="231"/>
                    </a:lnTo>
                    <a:lnTo>
                      <a:pt x="113" y="231"/>
                    </a:lnTo>
                    <a:lnTo>
                      <a:pt x="110" y="229"/>
                    </a:lnTo>
                    <a:lnTo>
                      <a:pt x="109" y="227"/>
                    </a:lnTo>
                    <a:lnTo>
                      <a:pt x="109" y="227"/>
                    </a:lnTo>
                    <a:lnTo>
                      <a:pt x="110" y="229"/>
                    </a:lnTo>
                    <a:lnTo>
                      <a:pt x="113" y="229"/>
                    </a:lnTo>
                    <a:lnTo>
                      <a:pt x="107" y="224"/>
                    </a:lnTo>
                    <a:lnTo>
                      <a:pt x="107" y="222"/>
                    </a:lnTo>
                    <a:lnTo>
                      <a:pt x="106" y="222"/>
                    </a:lnTo>
                    <a:lnTo>
                      <a:pt x="101" y="218"/>
                    </a:lnTo>
                    <a:lnTo>
                      <a:pt x="101" y="218"/>
                    </a:lnTo>
                    <a:lnTo>
                      <a:pt x="102" y="221"/>
                    </a:lnTo>
                    <a:lnTo>
                      <a:pt x="103" y="221"/>
                    </a:lnTo>
                    <a:lnTo>
                      <a:pt x="103" y="221"/>
                    </a:lnTo>
                    <a:lnTo>
                      <a:pt x="103" y="221"/>
                    </a:lnTo>
                    <a:lnTo>
                      <a:pt x="103" y="221"/>
                    </a:lnTo>
                    <a:lnTo>
                      <a:pt x="102" y="221"/>
                    </a:lnTo>
                    <a:lnTo>
                      <a:pt x="102" y="221"/>
                    </a:lnTo>
                    <a:lnTo>
                      <a:pt x="100" y="222"/>
                    </a:lnTo>
                    <a:lnTo>
                      <a:pt x="100" y="222"/>
                    </a:lnTo>
                    <a:lnTo>
                      <a:pt x="97" y="221"/>
                    </a:lnTo>
                    <a:lnTo>
                      <a:pt x="97" y="221"/>
                    </a:lnTo>
                    <a:lnTo>
                      <a:pt x="96" y="222"/>
                    </a:lnTo>
                    <a:lnTo>
                      <a:pt x="96" y="222"/>
                    </a:lnTo>
                    <a:lnTo>
                      <a:pt x="90" y="224"/>
                    </a:lnTo>
                    <a:lnTo>
                      <a:pt x="90" y="224"/>
                    </a:lnTo>
                    <a:lnTo>
                      <a:pt x="88" y="222"/>
                    </a:lnTo>
                    <a:lnTo>
                      <a:pt x="86" y="222"/>
                    </a:lnTo>
                    <a:lnTo>
                      <a:pt x="82" y="221"/>
                    </a:lnTo>
                    <a:lnTo>
                      <a:pt x="82" y="221"/>
                    </a:lnTo>
                    <a:lnTo>
                      <a:pt x="78" y="220"/>
                    </a:lnTo>
                    <a:lnTo>
                      <a:pt x="77" y="220"/>
                    </a:lnTo>
                    <a:lnTo>
                      <a:pt x="76" y="218"/>
                    </a:lnTo>
                    <a:lnTo>
                      <a:pt x="76" y="218"/>
                    </a:lnTo>
                    <a:lnTo>
                      <a:pt x="74" y="221"/>
                    </a:lnTo>
                    <a:lnTo>
                      <a:pt x="70" y="224"/>
                    </a:lnTo>
                    <a:lnTo>
                      <a:pt x="70" y="224"/>
                    </a:lnTo>
                    <a:lnTo>
                      <a:pt x="69" y="225"/>
                    </a:lnTo>
                    <a:lnTo>
                      <a:pt x="69" y="225"/>
                    </a:lnTo>
                    <a:lnTo>
                      <a:pt x="65" y="226"/>
                    </a:lnTo>
                    <a:lnTo>
                      <a:pt x="60" y="226"/>
                    </a:lnTo>
                    <a:lnTo>
                      <a:pt x="60" y="226"/>
                    </a:lnTo>
                    <a:lnTo>
                      <a:pt x="57" y="226"/>
                    </a:lnTo>
                    <a:lnTo>
                      <a:pt x="57" y="226"/>
                    </a:lnTo>
                    <a:lnTo>
                      <a:pt x="55" y="225"/>
                    </a:lnTo>
                    <a:lnTo>
                      <a:pt x="53" y="224"/>
                    </a:lnTo>
                    <a:lnTo>
                      <a:pt x="53" y="224"/>
                    </a:lnTo>
                    <a:lnTo>
                      <a:pt x="52" y="222"/>
                    </a:lnTo>
                    <a:lnTo>
                      <a:pt x="52" y="222"/>
                    </a:lnTo>
                    <a:lnTo>
                      <a:pt x="52" y="222"/>
                    </a:lnTo>
                    <a:lnTo>
                      <a:pt x="51" y="222"/>
                    </a:lnTo>
                    <a:lnTo>
                      <a:pt x="51" y="222"/>
                    </a:lnTo>
                    <a:lnTo>
                      <a:pt x="49" y="222"/>
                    </a:lnTo>
                    <a:lnTo>
                      <a:pt x="49" y="222"/>
                    </a:lnTo>
                    <a:lnTo>
                      <a:pt x="47" y="222"/>
                    </a:lnTo>
                    <a:lnTo>
                      <a:pt x="47" y="222"/>
                    </a:lnTo>
                    <a:lnTo>
                      <a:pt x="49" y="222"/>
                    </a:lnTo>
                    <a:lnTo>
                      <a:pt x="51" y="218"/>
                    </a:lnTo>
                    <a:lnTo>
                      <a:pt x="44" y="224"/>
                    </a:lnTo>
                    <a:lnTo>
                      <a:pt x="41" y="224"/>
                    </a:lnTo>
                    <a:lnTo>
                      <a:pt x="36" y="221"/>
                    </a:lnTo>
                    <a:lnTo>
                      <a:pt x="36" y="221"/>
                    </a:lnTo>
                    <a:lnTo>
                      <a:pt x="35" y="220"/>
                    </a:lnTo>
                    <a:lnTo>
                      <a:pt x="33" y="221"/>
                    </a:lnTo>
                    <a:lnTo>
                      <a:pt x="32" y="221"/>
                    </a:lnTo>
                    <a:lnTo>
                      <a:pt x="28" y="220"/>
                    </a:lnTo>
                    <a:lnTo>
                      <a:pt x="31" y="214"/>
                    </a:lnTo>
                    <a:lnTo>
                      <a:pt x="25" y="220"/>
                    </a:lnTo>
                    <a:lnTo>
                      <a:pt x="25" y="220"/>
                    </a:lnTo>
                    <a:lnTo>
                      <a:pt x="24" y="217"/>
                    </a:lnTo>
                    <a:lnTo>
                      <a:pt x="20" y="217"/>
                    </a:lnTo>
                    <a:lnTo>
                      <a:pt x="20" y="217"/>
                    </a:lnTo>
                    <a:lnTo>
                      <a:pt x="15" y="217"/>
                    </a:lnTo>
                    <a:lnTo>
                      <a:pt x="15" y="217"/>
                    </a:lnTo>
                    <a:lnTo>
                      <a:pt x="8" y="218"/>
                    </a:lnTo>
                    <a:lnTo>
                      <a:pt x="8" y="218"/>
                    </a:lnTo>
                    <a:lnTo>
                      <a:pt x="6" y="218"/>
                    </a:lnTo>
                    <a:lnTo>
                      <a:pt x="0" y="212"/>
                    </a:lnTo>
                    <a:lnTo>
                      <a:pt x="0" y="212"/>
                    </a:lnTo>
                    <a:lnTo>
                      <a:pt x="2" y="206"/>
                    </a:lnTo>
                    <a:lnTo>
                      <a:pt x="2" y="206"/>
                    </a:lnTo>
                    <a:lnTo>
                      <a:pt x="2" y="204"/>
                    </a:lnTo>
                    <a:lnTo>
                      <a:pt x="2" y="200"/>
                    </a:lnTo>
                    <a:lnTo>
                      <a:pt x="6" y="193"/>
                    </a:lnTo>
                    <a:lnTo>
                      <a:pt x="6" y="193"/>
                    </a:lnTo>
                    <a:lnTo>
                      <a:pt x="8" y="193"/>
                    </a:lnTo>
                    <a:lnTo>
                      <a:pt x="8" y="193"/>
                    </a:lnTo>
                    <a:lnTo>
                      <a:pt x="11" y="193"/>
                    </a:lnTo>
                    <a:lnTo>
                      <a:pt x="11" y="193"/>
                    </a:lnTo>
                    <a:lnTo>
                      <a:pt x="14" y="190"/>
                    </a:lnTo>
                    <a:lnTo>
                      <a:pt x="16" y="188"/>
                    </a:lnTo>
                    <a:lnTo>
                      <a:pt x="16" y="188"/>
                    </a:lnTo>
                    <a:lnTo>
                      <a:pt x="16" y="188"/>
                    </a:lnTo>
                    <a:lnTo>
                      <a:pt x="18" y="185"/>
                    </a:lnTo>
                    <a:lnTo>
                      <a:pt x="18" y="185"/>
                    </a:lnTo>
                    <a:lnTo>
                      <a:pt x="19" y="184"/>
                    </a:lnTo>
                    <a:lnTo>
                      <a:pt x="19" y="184"/>
                    </a:lnTo>
                    <a:lnTo>
                      <a:pt x="19" y="185"/>
                    </a:lnTo>
                    <a:lnTo>
                      <a:pt x="20" y="187"/>
                    </a:lnTo>
                    <a:lnTo>
                      <a:pt x="19" y="184"/>
                    </a:lnTo>
                    <a:lnTo>
                      <a:pt x="19" y="184"/>
                    </a:lnTo>
                    <a:lnTo>
                      <a:pt x="19" y="184"/>
                    </a:lnTo>
                    <a:lnTo>
                      <a:pt x="16" y="181"/>
                    </a:lnTo>
                    <a:lnTo>
                      <a:pt x="16" y="179"/>
                    </a:lnTo>
                    <a:lnTo>
                      <a:pt x="18" y="175"/>
                    </a:lnTo>
                    <a:lnTo>
                      <a:pt x="19" y="172"/>
                    </a:lnTo>
                    <a:lnTo>
                      <a:pt x="19" y="172"/>
                    </a:lnTo>
                    <a:lnTo>
                      <a:pt x="22" y="171"/>
                    </a:lnTo>
                    <a:lnTo>
                      <a:pt x="22" y="171"/>
                    </a:lnTo>
                    <a:lnTo>
                      <a:pt x="20" y="169"/>
                    </a:lnTo>
                    <a:lnTo>
                      <a:pt x="20" y="169"/>
                    </a:lnTo>
                    <a:lnTo>
                      <a:pt x="20" y="169"/>
                    </a:lnTo>
                    <a:lnTo>
                      <a:pt x="20" y="169"/>
                    </a:lnTo>
                    <a:lnTo>
                      <a:pt x="19" y="167"/>
                    </a:lnTo>
                    <a:lnTo>
                      <a:pt x="18" y="161"/>
                    </a:lnTo>
                    <a:lnTo>
                      <a:pt x="18" y="161"/>
                    </a:lnTo>
                    <a:lnTo>
                      <a:pt x="18" y="161"/>
                    </a:lnTo>
                    <a:lnTo>
                      <a:pt x="18" y="161"/>
                    </a:lnTo>
                    <a:lnTo>
                      <a:pt x="18" y="161"/>
                    </a:lnTo>
                    <a:lnTo>
                      <a:pt x="18" y="161"/>
                    </a:lnTo>
                    <a:lnTo>
                      <a:pt x="16" y="159"/>
                    </a:lnTo>
                    <a:lnTo>
                      <a:pt x="16" y="153"/>
                    </a:lnTo>
                    <a:lnTo>
                      <a:pt x="16" y="153"/>
                    </a:lnTo>
                    <a:lnTo>
                      <a:pt x="16" y="148"/>
                    </a:lnTo>
                    <a:lnTo>
                      <a:pt x="18" y="144"/>
                    </a:lnTo>
                    <a:lnTo>
                      <a:pt x="22" y="139"/>
                    </a:lnTo>
                    <a:lnTo>
                      <a:pt x="22" y="139"/>
                    </a:lnTo>
                    <a:lnTo>
                      <a:pt x="23" y="138"/>
                    </a:lnTo>
                    <a:lnTo>
                      <a:pt x="23" y="138"/>
                    </a:lnTo>
                    <a:lnTo>
                      <a:pt x="23" y="136"/>
                    </a:lnTo>
                    <a:lnTo>
                      <a:pt x="22" y="134"/>
                    </a:lnTo>
                    <a:lnTo>
                      <a:pt x="22" y="132"/>
                    </a:lnTo>
                    <a:lnTo>
                      <a:pt x="22" y="132"/>
                    </a:lnTo>
                    <a:lnTo>
                      <a:pt x="22" y="128"/>
                    </a:lnTo>
                    <a:lnTo>
                      <a:pt x="22" y="124"/>
                    </a:lnTo>
                    <a:lnTo>
                      <a:pt x="22" y="119"/>
                    </a:lnTo>
                    <a:lnTo>
                      <a:pt x="24" y="115"/>
                    </a:lnTo>
                    <a:lnTo>
                      <a:pt x="29" y="112"/>
                    </a:lnTo>
                    <a:lnTo>
                      <a:pt x="31" y="112"/>
                    </a:lnTo>
                    <a:lnTo>
                      <a:pt x="36" y="116"/>
                    </a:lnTo>
                    <a:lnTo>
                      <a:pt x="36" y="116"/>
                    </a:lnTo>
                    <a:lnTo>
                      <a:pt x="35" y="115"/>
                    </a:lnTo>
                    <a:lnTo>
                      <a:pt x="35" y="115"/>
                    </a:lnTo>
                    <a:lnTo>
                      <a:pt x="36" y="115"/>
                    </a:lnTo>
                    <a:lnTo>
                      <a:pt x="37" y="115"/>
                    </a:lnTo>
                    <a:lnTo>
                      <a:pt x="43" y="122"/>
                    </a:lnTo>
                    <a:lnTo>
                      <a:pt x="43" y="122"/>
                    </a:lnTo>
                    <a:lnTo>
                      <a:pt x="41" y="118"/>
                    </a:lnTo>
                    <a:lnTo>
                      <a:pt x="39" y="116"/>
                    </a:lnTo>
                    <a:lnTo>
                      <a:pt x="39" y="116"/>
                    </a:lnTo>
                    <a:lnTo>
                      <a:pt x="39" y="116"/>
                    </a:lnTo>
                    <a:lnTo>
                      <a:pt x="39" y="116"/>
                    </a:lnTo>
                    <a:lnTo>
                      <a:pt x="40" y="116"/>
                    </a:lnTo>
                    <a:lnTo>
                      <a:pt x="40" y="116"/>
                    </a:lnTo>
                    <a:lnTo>
                      <a:pt x="43" y="116"/>
                    </a:lnTo>
                    <a:lnTo>
                      <a:pt x="43" y="116"/>
                    </a:lnTo>
                    <a:lnTo>
                      <a:pt x="43" y="115"/>
                    </a:lnTo>
                    <a:lnTo>
                      <a:pt x="43" y="115"/>
                    </a:lnTo>
                    <a:lnTo>
                      <a:pt x="41" y="115"/>
                    </a:lnTo>
                    <a:lnTo>
                      <a:pt x="41" y="115"/>
                    </a:lnTo>
                    <a:lnTo>
                      <a:pt x="37" y="115"/>
                    </a:lnTo>
                    <a:lnTo>
                      <a:pt x="36" y="114"/>
                    </a:lnTo>
                    <a:lnTo>
                      <a:pt x="32" y="111"/>
                    </a:lnTo>
                    <a:lnTo>
                      <a:pt x="32" y="111"/>
                    </a:lnTo>
                    <a:lnTo>
                      <a:pt x="31" y="109"/>
                    </a:lnTo>
                    <a:lnTo>
                      <a:pt x="29" y="103"/>
                    </a:lnTo>
                    <a:lnTo>
                      <a:pt x="29" y="102"/>
                    </a:lnTo>
                    <a:lnTo>
                      <a:pt x="31" y="99"/>
                    </a:lnTo>
                    <a:lnTo>
                      <a:pt x="31" y="99"/>
                    </a:lnTo>
                    <a:lnTo>
                      <a:pt x="33" y="97"/>
                    </a:lnTo>
                    <a:lnTo>
                      <a:pt x="37" y="95"/>
                    </a:lnTo>
                    <a:lnTo>
                      <a:pt x="37" y="95"/>
                    </a:lnTo>
                    <a:lnTo>
                      <a:pt x="37" y="94"/>
                    </a:lnTo>
                    <a:lnTo>
                      <a:pt x="37" y="94"/>
                    </a:lnTo>
                    <a:lnTo>
                      <a:pt x="33" y="90"/>
                    </a:lnTo>
                    <a:lnTo>
                      <a:pt x="29" y="86"/>
                    </a:lnTo>
                    <a:lnTo>
                      <a:pt x="24" y="86"/>
                    </a:lnTo>
                    <a:lnTo>
                      <a:pt x="18" y="79"/>
                    </a:lnTo>
                    <a:lnTo>
                      <a:pt x="18" y="79"/>
                    </a:lnTo>
                    <a:lnTo>
                      <a:pt x="19" y="74"/>
                    </a:lnTo>
                    <a:lnTo>
                      <a:pt x="20" y="69"/>
                    </a:lnTo>
                    <a:lnTo>
                      <a:pt x="23" y="66"/>
                    </a:lnTo>
                    <a:lnTo>
                      <a:pt x="25" y="64"/>
                    </a:lnTo>
                    <a:lnTo>
                      <a:pt x="31" y="62"/>
                    </a:lnTo>
                    <a:lnTo>
                      <a:pt x="31" y="62"/>
                    </a:lnTo>
                    <a:lnTo>
                      <a:pt x="35" y="64"/>
                    </a:lnTo>
                    <a:lnTo>
                      <a:pt x="37" y="66"/>
                    </a:lnTo>
                    <a:lnTo>
                      <a:pt x="41" y="70"/>
                    </a:lnTo>
                    <a:lnTo>
                      <a:pt x="41" y="70"/>
                    </a:lnTo>
                    <a:lnTo>
                      <a:pt x="45" y="74"/>
                    </a:lnTo>
                    <a:lnTo>
                      <a:pt x="45" y="74"/>
                    </a:lnTo>
                    <a:lnTo>
                      <a:pt x="48" y="73"/>
                    </a:lnTo>
                    <a:lnTo>
                      <a:pt x="49" y="71"/>
                    </a:lnTo>
                    <a:lnTo>
                      <a:pt x="52" y="70"/>
                    </a:lnTo>
                    <a:lnTo>
                      <a:pt x="52" y="70"/>
                    </a:lnTo>
                    <a:lnTo>
                      <a:pt x="56" y="68"/>
                    </a:lnTo>
                    <a:lnTo>
                      <a:pt x="60" y="68"/>
                    </a:lnTo>
                    <a:lnTo>
                      <a:pt x="60" y="68"/>
                    </a:lnTo>
                    <a:lnTo>
                      <a:pt x="65" y="68"/>
                    </a:lnTo>
                    <a:lnTo>
                      <a:pt x="66" y="68"/>
                    </a:lnTo>
                    <a:lnTo>
                      <a:pt x="66" y="68"/>
                    </a:lnTo>
                    <a:lnTo>
                      <a:pt x="64" y="69"/>
                    </a:lnTo>
                    <a:lnTo>
                      <a:pt x="63" y="71"/>
                    </a:lnTo>
                    <a:lnTo>
                      <a:pt x="66" y="69"/>
                    </a:lnTo>
                    <a:lnTo>
                      <a:pt x="72" y="65"/>
                    </a:lnTo>
                    <a:lnTo>
                      <a:pt x="72" y="65"/>
                    </a:lnTo>
                    <a:lnTo>
                      <a:pt x="73" y="65"/>
                    </a:lnTo>
                    <a:lnTo>
                      <a:pt x="73" y="65"/>
                    </a:lnTo>
                    <a:lnTo>
                      <a:pt x="74" y="65"/>
                    </a:lnTo>
                    <a:lnTo>
                      <a:pt x="74" y="64"/>
                    </a:lnTo>
                    <a:lnTo>
                      <a:pt x="74" y="64"/>
                    </a:lnTo>
                    <a:lnTo>
                      <a:pt x="76" y="64"/>
                    </a:lnTo>
                    <a:lnTo>
                      <a:pt x="76" y="64"/>
                    </a:lnTo>
                    <a:lnTo>
                      <a:pt x="76" y="61"/>
                    </a:lnTo>
                    <a:lnTo>
                      <a:pt x="76" y="58"/>
                    </a:lnTo>
                    <a:lnTo>
                      <a:pt x="84" y="56"/>
                    </a:lnTo>
                    <a:lnTo>
                      <a:pt x="84" y="56"/>
                    </a:lnTo>
                    <a:lnTo>
                      <a:pt x="88" y="58"/>
                    </a:lnTo>
                    <a:lnTo>
                      <a:pt x="90" y="61"/>
                    </a:lnTo>
                    <a:lnTo>
                      <a:pt x="90" y="61"/>
                    </a:lnTo>
                    <a:lnTo>
                      <a:pt x="92" y="62"/>
                    </a:lnTo>
                    <a:lnTo>
                      <a:pt x="92" y="62"/>
                    </a:lnTo>
                    <a:lnTo>
                      <a:pt x="92" y="62"/>
                    </a:lnTo>
                    <a:lnTo>
                      <a:pt x="92" y="62"/>
                    </a:lnTo>
                    <a:lnTo>
                      <a:pt x="92" y="62"/>
                    </a:lnTo>
                    <a:lnTo>
                      <a:pt x="92" y="62"/>
                    </a:lnTo>
                    <a:lnTo>
                      <a:pt x="94" y="61"/>
                    </a:lnTo>
                    <a:lnTo>
                      <a:pt x="94" y="61"/>
                    </a:lnTo>
                    <a:lnTo>
                      <a:pt x="97" y="61"/>
                    </a:lnTo>
                    <a:lnTo>
                      <a:pt x="97" y="61"/>
                    </a:lnTo>
                    <a:lnTo>
                      <a:pt x="100" y="60"/>
                    </a:lnTo>
                    <a:lnTo>
                      <a:pt x="103" y="58"/>
                    </a:lnTo>
                    <a:lnTo>
                      <a:pt x="103" y="58"/>
                    </a:lnTo>
                    <a:lnTo>
                      <a:pt x="105" y="58"/>
                    </a:lnTo>
                    <a:lnTo>
                      <a:pt x="105" y="58"/>
                    </a:lnTo>
                    <a:lnTo>
                      <a:pt x="105" y="58"/>
                    </a:lnTo>
                    <a:lnTo>
                      <a:pt x="106" y="58"/>
                    </a:lnTo>
                    <a:lnTo>
                      <a:pt x="106" y="58"/>
                    </a:lnTo>
                    <a:lnTo>
                      <a:pt x="106" y="57"/>
                    </a:lnTo>
                    <a:lnTo>
                      <a:pt x="106" y="57"/>
                    </a:lnTo>
                    <a:lnTo>
                      <a:pt x="106" y="54"/>
                    </a:lnTo>
                    <a:lnTo>
                      <a:pt x="111" y="49"/>
                    </a:lnTo>
                    <a:lnTo>
                      <a:pt x="113" y="49"/>
                    </a:lnTo>
                    <a:lnTo>
                      <a:pt x="113" y="49"/>
                    </a:lnTo>
                    <a:lnTo>
                      <a:pt x="114" y="49"/>
                    </a:lnTo>
                    <a:lnTo>
                      <a:pt x="114" y="49"/>
                    </a:lnTo>
                    <a:lnTo>
                      <a:pt x="113" y="50"/>
                    </a:lnTo>
                    <a:lnTo>
                      <a:pt x="111" y="53"/>
                    </a:lnTo>
                    <a:lnTo>
                      <a:pt x="117" y="48"/>
                    </a:lnTo>
                    <a:lnTo>
                      <a:pt x="119" y="48"/>
                    </a:lnTo>
                    <a:lnTo>
                      <a:pt x="119" y="48"/>
                    </a:lnTo>
                    <a:lnTo>
                      <a:pt x="121" y="48"/>
                    </a:lnTo>
                    <a:lnTo>
                      <a:pt x="121" y="48"/>
                    </a:lnTo>
                    <a:lnTo>
                      <a:pt x="126" y="49"/>
                    </a:lnTo>
                    <a:lnTo>
                      <a:pt x="129" y="50"/>
                    </a:lnTo>
                    <a:lnTo>
                      <a:pt x="131" y="54"/>
                    </a:lnTo>
                    <a:lnTo>
                      <a:pt x="131" y="54"/>
                    </a:lnTo>
                    <a:lnTo>
                      <a:pt x="134" y="54"/>
                    </a:lnTo>
                    <a:lnTo>
                      <a:pt x="134" y="54"/>
                    </a:lnTo>
                    <a:lnTo>
                      <a:pt x="137" y="54"/>
                    </a:lnTo>
                    <a:lnTo>
                      <a:pt x="139" y="54"/>
                    </a:lnTo>
                    <a:lnTo>
                      <a:pt x="139" y="54"/>
                    </a:lnTo>
                    <a:lnTo>
                      <a:pt x="144" y="53"/>
                    </a:lnTo>
                    <a:lnTo>
                      <a:pt x="150" y="52"/>
                    </a:lnTo>
                    <a:lnTo>
                      <a:pt x="152" y="52"/>
                    </a:lnTo>
                    <a:lnTo>
                      <a:pt x="152" y="52"/>
                    </a:lnTo>
                    <a:lnTo>
                      <a:pt x="156" y="52"/>
                    </a:lnTo>
                    <a:lnTo>
                      <a:pt x="156" y="44"/>
                    </a:lnTo>
                    <a:lnTo>
                      <a:pt x="163" y="38"/>
                    </a:lnTo>
                    <a:lnTo>
                      <a:pt x="163" y="38"/>
                    </a:lnTo>
                    <a:lnTo>
                      <a:pt x="164" y="38"/>
                    </a:lnTo>
                    <a:lnTo>
                      <a:pt x="164" y="38"/>
                    </a:lnTo>
                    <a:lnTo>
                      <a:pt x="162" y="40"/>
                    </a:lnTo>
                    <a:lnTo>
                      <a:pt x="160" y="42"/>
                    </a:lnTo>
                    <a:lnTo>
                      <a:pt x="166" y="37"/>
                    </a:lnTo>
                    <a:lnTo>
                      <a:pt x="171" y="37"/>
                    </a:lnTo>
                    <a:lnTo>
                      <a:pt x="171" y="37"/>
                    </a:lnTo>
                    <a:lnTo>
                      <a:pt x="176" y="36"/>
                    </a:lnTo>
                    <a:lnTo>
                      <a:pt x="176" y="36"/>
                    </a:lnTo>
                    <a:lnTo>
                      <a:pt x="180" y="37"/>
                    </a:lnTo>
                    <a:lnTo>
                      <a:pt x="184" y="38"/>
                    </a:lnTo>
                    <a:lnTo>
                      <a:pt x="189" y="42"/>
                    </a:lnTo>
                    <a:lnTo>
                      <a:pt x="189" y="42"/>
                    </a:lnTo>
                    <a:lnTo>
                      <a:pt x="191" y="42"/>
                    </a:lnTo>
                    <a:lnTo>
                      <a:pt x="191" y="42"/>
                    </a:lnTo>
                    <a:lnTo>
                      <a:pt x="195" y="40"/>
                    </a:lnTo>
                    <a:lnTo>
                      <a:pt x="197" y="38"/>
                    </a:lnTo>
                    <a:lnTo>
                      <a:pt x="197" y="38"/>
                    </a:lnTo>
                    <a:lnTo>
                      <a:pt x="200" y="37"/>
                    </a:lnTo>
                    <a:lnTo>
                      <a:pt x="200" y="37"/>
                    </a:lnTo>
                    <a:lnTo>
                      <a:pt x="199" y="37"/>
                    </a:lnTo>
                    <a:lnTo>
                      <a:pt x="199" y="37"/>
                    </a:lnTo>
                    <a:lnTo>
                      <a:pt x="201" y="34"/>
                    </a:lnTo>
                    <a:lnTo>
                      <a:pt x="201" y="34"/>
                    </a:lnTo>
                    <a:lnTo>
                      <a:pt x="201" y="34"/>
                    </a:lnTo>
                    <a:lnTo>
                      <a:pt x="201" y="34"/>
                    </a:lnTo>
                    <a:lnTo>
                      <a:pt x="201" y="33"/>
                    </a:lnTo>
                    <a:lnTo>
                      <a:pt x="201" y="31"/>
                    </a:lnTo>
                    <a:lnTo>
                      <a:pt x="201" y="31"/>
                    </a:lnTo>
                    <a:lnTo>
                      <a:pt x="200" y="31"/>
                    </a:lnTo>
                    <a:lnTo>
                      <a:pt x="200" y="31"/>
                    </a:lnTo>
                    <a:lnTo>
                      <a:pt x="195" y="28"/>
                    </a:lnTo>
                    <a:lnTo>
                      <a:pt x="192" y="25"/>
                    </a:lnTo>
                    <a:lnTo>
                      <a:pt x="191" y="21"/>
                    </a:lnTo>
                    <a:lnTo>
                      <a:pt x="191" y="21"/>
                    </a:lnTo>
                    <a:lnTo>
                      <a:pt x="191" y="21"/>
                    </a:lnTo>
                    <a:lnTo>
                      <a:pt x="189" y="17"/>
                    </a:lnTo>
                    <a:lnTo>
                      <a:pt x="189" y="13"/>
                    </a:lnTo>
                    <a:lnTo>
                      <a:pt x="196" y="8"/>
                    </a:lnTo>
                    <a:lnTo>
                      <a:pt x="196" y="8"/>
                    </a:lnTo>
                    <a:lnTo>
                      <a:pt x="199" y="7"/>
                    </a:lnTo>
                    <a:lnTo>
                      <a:pt x="199" y="7"/>
                    </a:lnTo>
                    <a:lnTo>
                      <a:pt x="199" y="7"/>
                    </a:lnTo>
                    <a:lnTo>
                      <a:pt x="199" y="7"/>
                    </a:lnTo>
                    <a:lnTo>
                      <a:pt x="199" y="7"/>
                    </a:lnTo>
                    <a:lnTo>
                      <a:pt x="199" y="7"/>
                    </a:lnTo>
                    <a:lnTo>
                      <a:pt x="204" y="5"/>
                    </a:lnTo>
                    <a:lnTo>
                      <a:pt x="204" y="5"/>
                    </a:lnTo>
                    <a:lnTo>
                      <a:pt x="207" y="4"/>
                    </a:lnTo>
                    <a:lnTo>
                      <a:pt x="207" y="4"/>
                    </a:lnTo>
                    <a:lnTo>
                      <a:pt x="209" y="3"/>
                    </a:lnTo>
                    <a:lnTo>
                      <a:pt x="215" y="0"/>
                    </a:lnTo>
                    <a:lnTo>
                      <a:pt x="215" y="0"/>
                    </a:lnTo>
                    <a:lnTo>
                      <a:pt x="215" y="0"/>
                    </a:lnTo>
                    <a:lnTo>
                      <a:pt x="217" y="0"/>
                    </a:lnTo>
                    <a:lnTo>
                      <a:pt x="217" y="0"/>
                    </a:lnTo>
                    <a:lnTo>
                      <a:pt x="219" y="0"/>
                    </a:lnTo>
                    <a:lnTo>
                      <a:pt x="221" y="1"/>
                    </a:lnTo>
                    <a:lnTo>
                      <a:pt x="224" y="4"/>
                    </a:lnTo>
                    <a:lnTo>
                      <a:pt x="225" y="7"/>
                    </a:lnTo>
                    <a:lnTo>
                      <a:pt x="225" y="8"/>
                    </a:lnTo>
                    <a:lnTo>
                      <a:pt x="225" y="8"/>
                    </a:lnTo>
                    <a:lnTo>
                      <a:pt x="224" y="7"/>
                    </a:lnTo>
                    <a:lnTo>
                      <a:pt x="222" y="5"/>
                    </a:lnTo>
                    <a:lnTo>
                      <a:pt x="226" y="11"/>
                    </a:lnTo>
                    <a:lnTo>
                      <a:pt x="226" y="12"/>
                    </a:lnTo>
                    <a:lnTo>
                      <a:pt x="226" y="12"/>
                    </a:lnTo>
                    <a:lnTo>
                      <a:pt x="228" y="15"/>
                    </a:lnTo>
                    <a:lnTo>
                      <a:pt x="229" y="17"/>
                    </a:lnTo>
                    <a:lnTo>
                      <a:pt x="230" y="21"/>
                    </a:lnTo>
                    <a:lnTo>
                      <a:pt x="230" y="23"/>
                    </a:lnTo>
                    <a:lnTo>
                      <a:pt x="230" y="23"/>
                    </a:lnTo>
                    <a:lnTo>
                      <a:pt x="230" y="24"/>
                    </a:lnTo>
                    <a:lnTo>
                      <a:pt x="230" y="24"/>
                    </a:lnTo>
                    <a:lnTo>
                      <a:pt x="230" y="25"/>
                    </a:lnTo>
                    <a:lnTo>
                      <a:pt x="232" y="27"/>
                    </a:lnTo>
                    <a:lnTo>
                      <a:pt x="232" y="27"/>
                    </a:lnTo>
                    <a:lnTo>
                      <a:pt x="232" y="31"/>
                    </a:lnTo>
                    <a:lnTo>
                      <a:pt x="230" y="33"/>
                    </a:lnTo>
                    <a:lnTo>
                      <a:pt x="230" y="33"/>
                    </a:lnTo>
                    <a:lnTo>
                      <a:pt x="228" y="34"/>
                    </a:lnTo>
                    <a:lnTo>
                      <a:pt x="226" y="36"/>
                    </a:lnTo>
                    <a:lnTo>
                      <a:pt x="226" y="36"/>
                    </a:lnTo>
                    <a:lnTo>
                      <a:pt x="222" y="40"/>
                    </a:lnTo>
                    <a:lnTo>
                      <a:pt x="220" y="45"/>
                    </a:lnTo>
                    <a:lnTo>
                      <a:pt x="220" y="45"/>
                    </a:lnTo>
                    <a:lnTo>
                      <a:pt x="217" y="50"/>
                    </a:lnTo>
                    <a:lnTo>
                      <a:pt x="213" y="53"/>
                    </a:lnTo>
                    <a:lnTo>
                      <a:pt x="212" y="53"/>
                    </a:lnTo>
                    <a:lnTo>
                      <a:pt x="212" y="53"/>
                    </a:lnTo>
                    <a:lnTo>
                      <a:pt x="207" y="54"/>
                    </a:lnTo>
                    <a:lnTo>
                      <a:pt x="204" y="57"/>
                    </a:lnTo>
                    <a:lnTo>
                      <a:pt x="200" y="60"/>
                    </a:lnTo>
                    <a:lnTo>
                      <a:pt x="200" y="60"/>
                    </a:lnTo>
                    <a:lnTo>
                      <a:pt x="200" y="60"/>
                    </a:lnTo>
                    <a:lnTo>
                      <a:pt x="197" y="61"/>
                    </a:lnTo>
                    <a:lnTo>
                      <a:pt x="197" y="61"/>
                    </a:lnTo>
                    <a:lnTo>
                      <a:pt x="196" y="61"/>
                    </a:lnTo>
                    <a:lnTo>
                      <a:pt x="196" y="61"/>
                    </a:lnTo>
                    <a:lnTo>
                      <a:pt x="197" y="61"/>
                    </a:lnTo>
                    <a:lnTo>
                      <a:pt x="197" y="61"/>
                    </a:lnTo>
                    <a:lnTo>
                      <a:pt x="197" y="60"/>
                    </a:lnTo>
                    <a:lnTo>
                      <a:pt x="192" y="64"/>
                    </a:lnTo>
                    <a:lnTo>
                      <a:pt x="191" y="64"/>
                    </a:lnTo>
                    <a:lnTo>
                      <a:pt x="192" y="68"/>
                    </a:lnTo>
                    <a:lnTo>
                      <a:pt x="192" y="69"/>
                    </a:lnTo>
                    <a:lnTo>
                      <a:pt x="192" y="69"/>
                    </a:lnTo>
                    <a:lnTo>
                      <a:pt x="192" y="70"/>
                    </a:lnTo>
                    <a:lnTo>
                      <a:pt x="192" y="70"/>
                    </a:lnTo>
                    <a:lnTo>
                      <a:pt x="192" y="71"/>
                    </a:lnTo>
                    <a:lnTo>
                      <a:pt x="192" y="71"/>
                    </a:lnTo>
                    <a:lnTo>
                      <a:pt x="192" y="69"/>
                    </a:lnTo>
                    <a:lnTo>
                      <a:pt x="188" y="68"/>
                    </a:lnTo>
                    <a:lnTo>
                      <a:pt x="193" y="73"/>
                    </a:lnTo>
                    <a:lnTo>
                      <a:pt x="193" y="74"/>
                    </a:lnTo>
                    <a:lnTo>
                      <a:pt x="193" y="74"/>
                    </a:lnTo>
                    <a:lnTo>
                      <a:pt x="193" y="78"/>
                    </a:lnTo>
                    <a:lnTo>
                      <a:pt x="193" y="81"/>
                    </a:lnTo>
                    <a:lnTo>
                      <a:pt x="189" y="83"/>
                    </a:lnTo>
                    <a:lnTo>
                      <a:pt x="189" y="86"/>
                    </a:lnTo>
                    <a:lnTo>
                      <a:pt x="189" y="86"/>
                    </a:lnTo>
                    <a:lnTo>
                      <a:pt x="189" y="86"/>
                    </a:lnTo>
                    <a:lnTo>
                      <a:pt x="189" y="98"/>
                    </a:lnTo>
                    <a:lnTo>
                      <a:pt x="191" y="107"/>
                    </a:lnTo>
                    <a:lnTo>
                      <a:pt x="191" y="107"/>
                    </a:lnTo>
                    <a:lnTo>
                      <a:pt x="191" y="118"/>
                    </a:lnTo>
                    <a:lnTo>
                      <a:pt x="191" y="118"/>
                    </a:lnTo>
                    <a:lnTo>
                      <a:pt x="193" y="123"/>
                    </a:lnTo>
                    <a:lnTo>
                      <a:pt x="193" y="131"/>
                    </a:lnTo>
                    <a:lnTo>
                      <a:pt x="193" y="131"/>
                    </a:lnTo>
                    <a:lnTo>
                      <a:pt x="193" y="132"/>
                    </a:lnTo>
                    <a:lnTo>
                      <a:pt x="193" y="132"/>
                    </a:lnTo>
                    <a:lnTo>
                      <a:pt x="193" y="134"/>
                    </a:lnTo>
                    <a:lnTo>
                      <a:pt x="195" y="134"/>
                    </a:lnTo>
                    <a:lnTo>
                      <a:pt x="195" y="134"/>
                    </a:lnTo>
                    <a:lnTo>
                      <a:pt x="195" y="132"/>
                    </a:lnTo>
                    <a:lnTo>
                      <a:pt x="195" y="132"/>
                    </a:lnTo>
                    <a:lnTo>
                      <a:pt x="196" y="135"/>
                    </a:lnTo>
                    <a:lnTo>
                      <a:pt x="196" y="138"/>
                    </a:lnTo>
                    <a:lnTo>
                      <a:pt x="196" y="140"/>
                    </a:lnTo>
                    <a:lnTo>
                      <a:pt x="196" y="140"/>
                    </a:lnTo>
                    <a:lnTo>
                      <a:pt x="196" y="142"/>
                    </a:lnTo>
                    <a:lnTo>
                      <a:pt x="197" y="142"/>
                    </a:lnTo>
                    <a:lnTo>
                      <a:pt x="197" y="142"/>
                    </a:lnTo>
                    <a:lnTo>
                      <a:pt x="199" y="144"/>
                    </a:lnTo>
                    <a:lnTo>
                      <a:pt x="200" y="147"/>
                    </a:lnTo>
                    <a:lnTo>
                      <a:pt x="200" y="147"/>
                    </a:lnTo>
                    <a:lnTo>
                      <a:pt x="200" y="148"/>
                    </a:lnTo>
                    <a:lnTo>
                      <a:pt x="201" y="152"/>
                    </a:lnTo>
                    <a:lnTo>
                      <a:pt x="201" y="152"/>
                    </a:lnTo>
                    <a:lnTo>
                      <a:pt x="203" y="153"/>
                    </a:lnTo>
                    <a:lnTo>
                      <a:pt x="203" y="153"/>
                    </a:lnTo>
                    <a:lnTo>
                      <a:pt x="204" y="155"/>
                    </a:lnTo>
                    <a:lnTo>
                      <a:pt x="205" y="156"/>
                    </a:lnTo>
                    <a:lnTo>
                      <a:pt x="205" y="155"/>
                    </a:lnTo>
                    <a:lnTo>
                      <a:pt x="205" y="155"/>
                    </a:lnTo>
                    <a:lnTo>
                      <a:pt x="207" y="151"/>
                    </a:lnTo>
                    <a:lnTo>
                      <a:pt x="207" y="151"/>
                    </a:lnTo>
                    <a:lnTo>
                      <a:pt x="207" y="153"/>
                    </a:lnTo>
                    <a:lnTo>
                      <a:pt x="208" y="148"/>
                    </a:lnTo>
                    <a:lnTo>
                      <a:pt x="208" y="148"/>
                    </a:lnTo>
                    <a:lnTo>
                      <a:pt x="209" y="147"/>
                    </a:lnTo>
                    <a:lnTo>
                      <a:pt x="215" y="143"/>
                    </a:lnTo>
                    <a:lnTo>
                      <a:pt x="217" y="143"/>
                    </a:lnTo>
                    <a:lnTo>
                      <a:pt x="221" y="146"/>
                    </a:lnTo>
                    <a:lnTo>
                      <a:pt x="221" y="146"/>
                    </a:lnTo>
                    <a:lnTo>
                      <a:pt x="224" y="149"/>
                    </a:lnTo>
                    <a:lnTo>
                      <a:pt x="224" y="152"/>
                    </a:lnTo>
                    <a:lnTo>
                      <a:pt x="224" y="155"/>
                    </a:lnTo>
                    <a:lnTo>
                      <a:pt x="221" y="159"/>
                    </a:lnTo>
                    <a:lnTo>
                      <a:pt x="221" y="159"/>
                    </a:lnTo>
                    <a:lnTo>
                      <a:pt x="221" y="159"/>
                    </a:lnTo>
                    <a:lnTo>
                      <a:pt x="221" y="159"/>
                    </a:lnTo>
                    <a:lnTo>
                      <a:pt x="221" y="159"/>
                    </a:lnTo>
                    <a:lnTo>
                      <a:pt x="220" y="161"/>
                    </a:lnTo>
                    <a:lnTo>
                      <a:pt x="220" y="161"/>
                    </a:lnTo>
                    <a:lnTo>
                      <a:pt x="219" y="160"/>
                    </a:lnTo>
                    <a:lnTo>
                      <a:pt x="221" y="163"/>
                    </a:lnTo>
                    <a:lnTo>
                      <a:pt x="221" y="163"/>
                    </a:lnTo>
                    <a:lnTo>
                      <a:pt x="222" y="163"/>
                    </a:lnTo>
                    <a:lnTo>
                      <a:pt x="222" y="163"/>
                    </a:lnTo>
                    <a:lnTo>
                      <a:pt x="225" y="163"/>
                    </a:lnTo>
                    <a:lnTo>
                      <a:pt x="225" y="163"/>
                    </a:lnTo>
                    <a:lnTo>
                      <a:pt x="228" y="160"/>
                    </a:lnTo>
                    <a:lnTo>
                      <a:pt x="228" y="160"/>
                    </a:lnTo>
                    <a:lnTo>
                      <a:pt x="228" y="161"/>
                    </a:lnTo>
                    <a:lnTo>
                      <a:pt x="226" y="164"/>
                    </a:lnTo>
                    <a:lnTo>
                      <a:pt x="233" y="159"/>
                    </a:lnTo>
                    <a:lnTo>
                      <a:pt x="233" y="159"/>
                    </a:lnTo>
                    <a:lnTo>
                      <a:pt x="236" y="160"/>
                    </a:lnTo>
                    <a:lnTo>
                      <a:pt x="236" y="160"/>
                    </a:lnTo>
                    <a:lnTo>
                      <a:pt x="238" y="159"/>
                    </a:lnTo>
                    <a:lnTo>
                      <a:pt x="238" y="159"/>
                    </a:lnTo>
                    <a:lnTo>
                      <a:pt x="244" y="152"/>
                    </a:lnTo>
                    <a:lnTo>
                      <a:pt x="244" y="152"/>
                    </a:lnTo>
                    <a:lnTo>
                      <a:pt x="245" y="149"/>
                    </a:lnTo>
                    <a:lnTo>
                      <a:pt x="241" y="144"/>
                    </a:lnTo>
                    <a:lnTo>
                      <a:pt x="241" y="143"/>
                    </a:lnTo>
                    <a:lnTo>
                      <a:pt x="241" y="143"/>
                    </a:lnTo>
                    <a:lnTo>
                      <a:pt x="241" y="142"/>
                    </a:lnTo>
                    <a:lnTo>
                      <a:pt x="241" y="142"/>
                    </a:lnTo>
                    <a:lnTo>
                      <a:pt x="241" y="140"/>
                    </a:lnTo>
                    <a:lnTo>
                      <a:pt x="241" y="140"/>
                    </a:lnTo>
                    <a:lnTo>
                      <a:pt x="242" y="143"/>
                    </a:lnTo>
                    <a:lnTo>
                      <a:pt x="245" y="144"/>
                    </a:lnTo>
                    <a:lnTo>
                      <a:pt x="240" y="138"/>
                    </a:lnTo>
                    <a:lnTo>
                      <a:pt x="240" y="135"/>
                    </a:lnTo>
                    <a:lnTo>
                      <a:pt x="241" y="135"/>
                    </a:lnTo>
                    <a:lnTo>
                      <a:pt x="241" y="135"/>
                    </a:lnTo>
                    <a:lnTo>
                      <a:pt x="242" y="130"/>
                    </a:lnTo>
                    <a:lnTo>
                      <a:pt x="245" y="126"/>
                    </a:lnTo>
                    <a:lnTo>
                      <a:pt x="250" y="122"/>
                    </a:lnTo>
                    <a:lnTo>
                      <a:pt x="256" y="120"/>
                    </a:lnTo>
                    <a:lnTo>
                      <a:pt x="261" y="124"/>
                    </a:lnTo>
                    <a:lnTo>
                      <a:pt x="261" y="124"/>
                    </a:lnTo>
                    <a:lnTo>
                      <a:pt x="261" y="124"/>
                    </a:lnTo>
                    <a:lnTo>
                      <a:pt x="263" y="128"/>
                    </a:lnTo>
                    <a:lnTo>
                      <a:pt x="263" y="128"/>
                    </a:lnTo>
                    <a:lnTo>
                      <a:pt x="263" y="128"/>
                    </a:lnTo>
                    <a:lnTo>
                      <a:pt x="263" y="128"/>
                    </a:lnTo>
                    <a:lnTo>
                      <a:pt x="262" y="127"/>
                    </a:lnTo>
                    <a:lnTo>
                      <a:pt x="262" y="128"/>
                    </a:lnTo>
                    <a:lnTo>
                      <a:pt x="262" y="128"/>
                    </a:lnTo>
                    <a:lnTo>
                      <a:pt x="265" y="132"/>
                    </a:lnTo>
                    <a:lnTo>
                      <a:pt x="266" y="131"/>
                    </a:lnTo>
                    <a:lnTo>
                      <a:pt x="266" y="132"/>
                    </a:lnTo>
                    <a:lnTo>
                      <a:pt x="266" y="132"/>
                    </a:lnTo>
                    <a:lnTo>
                      <a:pt x="267" y="135"/>
                    </a:lnTo>
                    <a:lnTo>
                      <a:pt x="267" y="135"/>
                    </a:lnTo>
                    <a:lnTo>
                      <a:pt x="267" y="136"/>
                    </a:lnTo>
                    <a:lnTo>
                      <a:pt x="271" y="134"/>
                    </a:lnTo>
                    <a:lnTo>
                      <a:pt x="273" y="134"/>
                    </a:lnTo>
                    <a:lnTo>
                      <a:pt x="273" y="134"/>
                    </a:lnTo>
                    <a:lnTo>
                      <a:pt x="274" y="134"/>
                    </a:lnTo>
                    <a:lnTo>
                      <a:pt x="274" y="134"/>
                    </a:lnTo>
                    <a:lnTo>
                      <a:pt x="273" y="134"/>
                    </a:lnTo>
                    <a:lnTo>
                      <a:pt x="278" y="131"/>
                    </a:lnTo>
                    <a:lnTo>
                      <a:pt x="279" y="131"/>
                    </a:lnTo>
                    <a:lnTo>
                      <a:pt x="279" y="131"/>
                    </a:lnTo>
                    <a:lnTo>
                      <a:pt x="279" y="130"/>
                    </a:lnTo>
                    <a:lnTo>
                      <a:pt x="279" y="130"/>
                    </a:lnTo>
                    <a:lnTo>
                      <a:pt x="282" y="128"/>
                    </a:lnTo>
                    <a:lnTo>
                      <a:pt x="283" y="127"/>
                    </a:lnTo>
                    <a:lnTo>
                      <a:pt x="286" y="126"/>
                    </a:lnTo>
                    <a:lnTo>
                      <a:pt x="286" y="126"/>
                    </a:lnTo>
                    <a:lnTo>
                      <a:pt x="290" y="127"/>
                    </a:lnTo>
                    <a:lnTo>
                      <a:pt x="294" y="131"/>
                    </a:lnTo>
                    <a:lnTo>
                      <a:pt x="294" y="134"/>
                    </a:lnTo>
                    <a:lnTo>
                      <a:pt x="294" y="135"/>
                    </a:lnTo>
                    <a:lnTo>
                      <a:pt x="287" y="142"/>
                    </a:lnTo>
                    <a:lnTo>
                      <a:pt x="287" y="142"/>
                    </a:lnTo>
                    <a:lnTo>
                      <a:pt x="287" y="142"/>
                    </a:lnTo>
                    <a:lnTo>
                      <a:pt x="287" y="142"/>
                    </a:lnTo>
                    <a:lnTo>
                      <a:pt x="290" y="142"/>
                    </a:lnTo>
                    <a:lnTo>
                      <a:pt x="291" y="140"/>
                    </a:lnTo>
                    <a:lnTo>
                      <a:pt x="291" y="140"/>
                    </a:lnTo>
                    <a:lnTo>
                      <a:pt x="293" y="138"/>
                    </a:lnTo>
                    <a:lnTo>
                      <a:pt x="293" y="138"/>
                    </a:lnTo>
                    <a:lnTo>
                      <a:pt x="293" y="139"/>
                    </a:lnTo>
                    <a:lnTo>
                      <a:pt x="293" y="139"/>
                    </a:lnTo>
                    <a:lnTo>
                      <a:pt x="293" y="143"/>
                    </a:lnTo>
                    <a:lnTo>
                      <a:pt x="293" y="143"/>
                    </a:lnTo>
                    <a:lnTo>
                      <a:pt x="295" y="147"/>
                    </a:lnTo>
                    <a:lnTo>
                      <a:pt x="295" y="151"/>
                    </a:lnTo>
                    <a:lnTo>
                      <a:pt x="289" y="156"/>
                    </a:lnTo>
                    <a:lnTo>
                      <a:pt x="289" y="156"/>
                    </a:lnTo>
                    <a:lnTo>
                      <a:pt x="289" y="156"/>
                    </a:lnTo>
                    <a:lnTo>
                      <a:pt x="287" y="156"/>
                    </a:lnTo>
                    <a:lnTo>
                      <a:pt x="287" y="156"/>
                    </a:lnTo>
                    <a:lnTo>
                      <a:pt x="285" y="157"/>
                    </a:lnTo>
                    <a:lnTo>
                      <a:pt x="285" y="157"/>
                    </a:lnTo>
                    <a:lnTo>
                      <a:pt x="279" y="159"/>
                    </a:lnTo>
                    <a:lnTo>
                      <a:pt x="274" y="160"/>
                    </a:lnTo>
                    <a:lnTo>
                      <a:pt x="274" y="160"/>
                    </a:lnTo>
                    <a:lnTo>
                      <a:pt x="273" y="161"/>
                    </a:lnTo>
                    <a:lnTo>
                      <a:pt x="271" y="167"/>
                    </a:lnTo>
                    <a:lnTo>
                      <a:pt x="271" y="167"/>
                    </a:lnTo>
                    <a:lnTo>
                      <a:pt x="270" y="171"/>
                    </a:lnTo>
                    <a:lnTo>
                      <a:pt x="270" y="171"/>
                    </a:lnTo>
                    <a:lnTo>
                      <a:pt x="270" y="172"/>
                    </a:lnTo>
                    <a:lnTo>
                      <a:pt x="274" y="177"/>
                    </a:lnTo>
                    <a:lnTo>
                      <a:pt x="274" y="180"/>
                    </a:lnTo>
                    <a:lnTo>
                      <a:pt x="273" y="184"/>
                    </a:lnTo>
                    <a:lnTo>
                      <a:pt x="273" y="184"/>
                    </a:lnTo>
                    <a:lnTo>
                      <a:pt x="271" y="185"/>
                    </a:lnTo>
                    <a:lnTo>
                      <a:pt x="271" y="185"/>
                    </a:lnTo>
                    <a:lnTo>
                      <a:pt x="270" y="187"/>
                    </a:lnTo>
                    <a:lnTo>
                      <a:pt x="270" y="188"/>
                    </a:lnTo>
                    <a:lnTo>
                      <a:pt x="266" y="193"/>
                    </a:lnTo>
                    <a:lnTo>
                      <a:pt x="266" y="193"/>
                    </a:lnTo>
                    <a:lnTo>
                      <a:pt x="267" y="192"/>
                    </a:lnTo>
                    <a:lnTo>
                      <a:pt x="267" y="192"/>
                    </a:lnTo>
                    <a:lnTo>
                      <a:pt x="267" y="193"/>
                    </a:lnTo>
                    <a:lnTo>
                      <a:pt x="267" y="194"/>
                    </a:lnTo>
                    <a:lnTo>
                      <a:pt x="265" y="198"/>
                    </a:lnTo>
                    <a:lnTo>
                      <a:pt x="265" y="198"/>
                    </a:lnTo>
                    <a:lnTo>
                      <a:pt x="266" y="200"/>
                    </a:lnTo>
                    <a:lnTo>
                      <a:pt x="266" y="200"/>
                    </a:lnTo>
                    <a:lnTo>
                      <a:pt x="267" y="204"/>
                    </a:lnTo>
                    <a:lnTo>
                      <a:pt x="267" y="205"/>
                    </a:lnTo>
                    <a:lnTo>
                      <a:pt x="267" y="206"/>
                    </a:lnTo>
                    <a:lnTo>
                      <a:pt x="262" y="213"/>
                    </a:lnTo>
                    <a:lnTo>
                      <a:pt x="262" y="213"/>
                    </a:lnTo>
                    <a:lnTo>
                      <a:pt x="265" y="212"/>
                    </a:lnTo>
                    <a:lnTo>
                      <a:pt x="266" y="209"/>
                    </a:lnTo>
                    <a:lnTo>
                      <a:pt x="266" y="210"/>
                    </a:lnTo>
                    <a:lnTo>
                      <a:pt x="266" y="210"/>
                    </a:lnTo>
                    <a:lnTo>
                      <a:pt x="265" y="213"/>
                    </a:lnTo>
                    <a:lnTo>
                      <a:pt x="263" y="216"/>
                    </a:lnTo>
                    <a:lnTo>
                      <a:pt x="261" y="217"/>
                    </a:lnTo>
                    <a:lnTo>
                      <a:pt x="260" y="218"/>
                    </a:lnTo>
                    <a:lnTo>
                      <a:pt x="257" y="218"/>
                    </a:lnTo>
                    <a:lnTo>
                      <a:pt x="252" y="214"/>
                    </a:lnTo>
                    <a:lnTo>
                      <a:pt x="252" y="214"/>
                    </a:lnTo>
                    <a:lnTo>
                      <a:pt x="252" y="214"/>
                    </a:lnTo>
                    <a:lnTo>
                      <a:pt x="252" y="214"/>
                    </a:lnTo>
                    <a:lnTo>
                      <a:pt x="252" y="216"/>
                    </a:lnTo>
                    <a:lnTo>
                      <a:pt x="252" y="216"/>
                    </a:lnTo>
                    <a:lnTo>
                      <a:pt x="252" y="216"/>
                    </a:lnTo>
                    <a:lnTo>
                      <a:pt x="252" y="216"/>
                    </a:lnTo>
                    <a:lnTo>
                      <a:pt x="252" y="218"/>
                    </a:lnTo>
                    <a:lnTo>
                      <a:pt x="252" y="221"/>
                    </a:lnTo>
                    <a:lnTo>
                      <a:pt x="246" y="226"/>
                    </a:lnTo>
                    <a:lnTo>
                      <a:pt x="248" y="226"/>
                    </a:lnTo>
                    <a:lnTo>
                      <a:pt x="248" y="226"/>
                    </a:lnTo>
                    <a:lnTo>
                      <a:pt x="250" y="224"/>
                    </a:lnTo>
                    <a:lnTo>
                      <a:pt x="250" y="224"/>
                    </a:lnTo>
                    <a:lnTo>
                      <a:pt x="250" y="224"/>
                    </a:lnTo>
                    <a:lnTo>
                      <a:pt x="250" y="224"/>
                    </a:lnTo>
                    <a:lnTo>
                      <a:pt x="250" y="226"/>
                    </a:lnTo>
                    <a:lnTo>
                      <a:pt x="250" y="238"/>
                    </a:lnTo>
                    <a:lnTo>
                      <a:pt x="250" y="238"/>
                    </a:lnTo>
                    <a:lnTo>
                      <a:pt x="249" y="242"/>
                    </a:lnTo>
                    <a:lnTo>
                      <a:pt x="249" y="243"/>
                    </a:lnTo>
                    <a:lnTo>
                      <a:pt x="249" y="243"/>
                    </a:lnTo>
                    <a:lnTo>
                      <a:pt x="249" y="243"/>
                    </a:lnTo>
                    <a:lnTo>
                      <a:pt x="242" y="250"/>
                    </a:lnTo>
                    <a:lnTo>
                      <a:pt x="242" y="250"/>
                    </a:lnTo>
                    <a:lnTo>
                      <a:pt x="242" y="250"/>
                    </a:lnTo>
                    <a:lnTo>
                      <a:pt x="240" y="250"/>
                    </a:lnTo>
                    <a:lnTo>
                      <a:pt x="240" y="250"/>
                    </a:lnTo>
                    <a:lnTo>
                      <a:pt x="242" y="249"/>
                    </a:lnTo>
                    <a:lnTo>
                      <a:pt x="244" y="246"/>
                    </a:lnTo>
                    <a:lnTo>
                      <a:pt x="237" y="251"/>
                    </a:lnTo>
                    <a:lnTo>
                      <a:pt x="230" y="251"/>
                    </a:lnTo>
                    <a:lnTo>
                      <a:pt x="229" y="249"/>
                    </a:lnTo>
                    <a:lnTo>
                      <a:pt x="229" y="249"/>
                    </a:lnTo>
                    <a:lnTo>
                      <a:pt x="230" y="247"/>
                    </a:lnTo>
                    <a:lnTo>
                      <a:pt x="230" y="247"/>
                    </a:lnTo>
                    <a:lnTo>
                      <a:pt x="230" y="245"/>
                    </a:lnTo>
                    <a:lnTo>
                      <a:pt x="230" y="243"/>
                    </a:lnTo>
                    <a:lnTo>
                      <a:pt x="228" y="246"/>
                    </a:lnTo>
                    <a:lnTo>
                      <a:pt x="225" y="243"/>
                    </a:lnTo>
                    <a:lnTo>
                      <a:pt x="225" y="243"/>
                    </a:lnTo>
                    <a:lnTo>
                      <a:pt x="225" y="245"/>
                    </a:lnTo>
                    <a:lnTo>
                      <a:pt x="226" y="247"/>
                    </a:lnTo>
                    <a:lnTo>
                      <a:pt x="226" y="247"/>
                    </a:lnTo>
                    <a:lnTo>
                      <a:pt x="226" y="247"/>
                    </a:lnTo>
                    <a:lnTo>
                      <a:pt x="224" y="250"/>
                    </a:lnTo>
                    <a:lnTo>
                      <a:pt x="224" y="250"/>
                    </a:lnTo>
                    <a:lnTo>
                      <a:pt x="224" y="250"/>
                    </a:lnTo>
                    <a:lnTo>
                      <a:pt x="224" y="250"/>
                    </a:lnTo>
                    <a:lnTo>
                      <a:pt x="224" y="250"/>
                    </a:lnTo>
                    <a:lnTo>
                      <a:pt x="221" y="251"/>
                    </a:lnTo>
                    <a:lnTo>
                      <a:pt x="221" y="251"/>
                    </a:lnTo>
                    <a:lnTo>
                      <a:pt x="217" y="249"/>
                    </a:lnTo>
                    <a:lnTo>
                      <a:pt x="215" y="245"/>
                    </a:lnTo>
                    <a:lnTo>
                      <a:pt x="215" y="245"/>
                    </a:lnTo>
                    <a:lnTo>
                      <a:pt x="215" y="245"/>
                    </a:lnTo>
                    <a:lnTo>
                      <a:pt x="215" y="245"/>
                    </a:lnTo>
                    <a:lnTo>
                      <a:pt x="208" y="246"/>
                    </a:lnTo>
                    <a:lnTo>
                      <a:pt x="208" y="246"/>
                    </a:lnTo>
                    <a:lnTo>
                      <a:pt x="204" y="246"/>
                    </a:lnTo>
                    <a:lnTo>
                      <a:pt x="204" y="246"/>
                    </a:lnTo>
                    <a:lnTo>
                      <a:pt x="203" y="246"/>
                    </a:lnTo>
                    <a:lnTo>
                      <a:pt x="203" y="246"/>
                    </a:lnTo>
                    <a:lnTo>
                      <a:pt x="200" y="245"/>
                    </a:lnTo>
                    <a:lnTo>
                      <a:pt x="197" y="245"/>
                    </a:lnTo>
                    <a:lnTo>
                      <a:pt x="195" y="242"/>
                    </a:lnTo>
                    <a:lnTo>
                      <a:pt x="195" y="242"/>
                    </a:lnTo>
                    <a:lnTo>
                      <a:pt x="193" y="242"/>
                    </a:lnTo>
                    <a:lnTo>
                      <a:pt x="189" y="241"/>
                    </a:lnTo>
                    <a:lnTo>
                      <a:pt x="185" y="241"/>
                    </a:lnTo>
                    <a:lnTo>
                      <a:pt x="185" y="241"/>
                    </a:lnTo>
                    <a:lnTo>
                      <a:pt x="183" y="242"/>
                    </a:lnTo>
                    <a:lnTo>
                      <a:pt x="183" y="242"/>
                    </a:lnTo>
                    <a:lnTo>
                      <a:pt x="178" y="246"/>
                    </a:lnTo>
                    <a:lnTo>
                      <a:pt x="176" y="249"/>
                    </a:lnTo>
                    <a:lnTo>
                      <a:pt x="176" y="250"/>
                    </a:lnTo>
                    <a:lnTo>
                      <a:pt x="171" y="255"/>
                    </a:lnTo>
                    <a:lnTo>
                      <a:pt x="171" y="255"/>
                    </a:lnTo>
                    <a:lnTo>
                      <a:pt x="174" y="254"/>
                    </a:lnTo>
                    <a:lnTo>
                      <a:pt x="175" y="253"/>
                    </a:lnTo>
                    <a:lnTo>
                      <a:pt x="175" y="253"/>
                    </a:lnTo>
                    <a:lnTo>
                      <a:pt x="175" y="253"/>
                    </a:lnTo>
                    <a:lnTo>
                      <a:pt x="175" y="253"/>
                    </a:lnTo>
                    <a:lnTo>
                      <a:pt x="174" y="258"/>
                    </a:lnTo>
                    <a:lnTo>
                      <a:pt x="172" y="261"/>
                    </a:lnTo>
                    <a:lnTo>
                      <a:pt x="170" y="262"/>
                    </a:lnTo>
                    <a:lnTo>
                      <a:pt x="167" y="262"/>
                    </a:lnTo>
                    <a:lnTo>
                      <a:pt x="164" y="262"/>
                    </a:lnTo>
                    <a:lnTo>
                      <a:pt x="162" y="261"/>
                    </a:lnTo>
                    <a:lnTo>
                      <a:pt x="162" y="261"/>
                    </a:lnTo>
                    <a:lnTo>
                      <a:pt x="162" y="261"/>
                    </a:lnTo>
                    <a:lnTo>
                      <a:pt x="160" y="261"/>
                    </a:lnTo>
                    <a:lnTo>
                      <a:pt x="160" y="261"/>
                    </a:lnTo>
                    <a:lnTo>
                      <a:pt x="162" y="261"/>
                    </a:lnTo>
                    <a:lnTo>
                      <a:pt x="162" y="261"/>
                    </a:lnTo>
                    <a:lnTo>
                      <a:pt x="160" y="261"/>
                    </a:lnTo>
                    <a:lnTo>
                      <a:pt x="160" y="261"/>
                    </a:lnTo>
                    <a:lnTo>
                      <a:pt x="159" y="262"/>
                    </a:lnTo>
                    <a:lnTo>
                      <a:pt x="159" y="262"/>
                    </a:lnTo>
                    <a:lnTo>
                      <a:pt x="156" y="262"/>
                    </a:lnTo>
                    <a:lnTo>
                      <a:pt x="151" y="265"/>
                    </a:lnTo>
                    <a:lnTo>
                      <a:pt x="150" y="265"/>
                    </a:lnTo>
                    <a:lnTo>
                      <a:pt x="150" y="265"/>
                    </a:lnTo>
                    <a:lnTo>
                      <a:pt x="148" y="266"/>
                    </a:lnTo>
                    <a:lnTo>
                      <a:pt x="144" y="266"/>
                    </a:lnTo>
                    <a:lnTo>
                      <a:pt x="144" y="266"/>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6" name="Freeform 19">
                <a:extLst>
                  <a:ext uri="{FF2B5EF4-FFF2-40B4-BE49-F238E27FC236}">
                    <a16:creationId xmlns:a16="http://schemas.microsoft.com/office/drawing/2014/main" xmlns="" id="{A8A0B0A9-EE51-44AD-9265-012512E4A252}"/>
                  </a:ext>
                </a:extLst>
              </p:cNvPr>
              <p:cNvSpPr>
                <a:spLocks/>
              </p:cNvSpPr>
              <p:nvPr/>
            </p:nvSpPr>
            <p:spPr bwMode="auto">
              <a:xfrm>
                <a:off x="5620127" y="2309077"/>
                <a:ext cx="337768" cy="410894"/>
              </a:xfrm>
              <a:custGeom>
                <a:avLst/>
                <a:gdLst>
                  <a:gd name="T0" fmla="*/ 78 w 194"/>
                  <a:gd name="T1" fmla="*/ 233 h 236"/>
                  <a:gd name="T2" fmla="*/ 70 w 194"/>
                  <a:gd name="T3" fmla="*/ 229 h 236"/>
                  <a:gd name="T4" fmla="*/ 50 w 194"/>
                  <a:gd name="T5" fmla="*/ 218 h 236"/>
                  <a:gd name="T6" fmla="*/ 46 w 194"/>
                  <a:gd name="T7" fmla="*/ 221 h 236"/>
                  <a:gd name="T8" fmla="*/ 33 w 194"/>
                  <a:gd name="T9" fmla="*/ 228 h 236"/>
                  <a:gd name="T10" fmla="*/ 14 w 194"/>
                  <a:gd name="T11" fmla="*/ 225 h 236"/>
                  <a:gd name="T12" fmla="*/ 14 w 194"/>
                  <a:gd name="T13" fmla="*/ 213 h 236"/>
                  <a:gd name="T14" fmla="*/ 11 w 194"/>
                  <a:gd name="T15" fmla="*/ 213 h 236"/>
                  <a:gd name="T16" fmla="*/ 0 w 194"/>
                  <a:gd name="T17" fmla="*/ 203 h 236"/>
                  <a:gd name="T18" fmla="*/ 4 w 194"/>
                  <a:gd name="T19" fmla="*/ 197 h 236"/>
                  <a:gd name="T20" fmla="*/ 11 w 194"/>
                  <a:gd name="T21" fmla="*/ 192 h 236"/>
                  <a:gd name="T22" fmla="*/ 15 w 194"/>
                  <a:gd name="T23" fmla="*/ 191 h 236"/>
                  <a:gd name="T24" fmla="*/ 9 w 194"/>
                  <a:gd name="T25" fmla="*/ 167 h 236"/>
                  <a:gd name="T26" fmla="*/ 11 w 194"/>
                  <a:gd name="T27" fmla="*/ 150 h 236"/>
                  <a:gd name="T28" fmla="*/ 38 w 194"/>
                  <a:gd name="T29" fmla="*/ 125 h 236"/>
                  <a:gd name="T30" fmla="*/ 35 w 194"/>
                  <a:gd name="T31" fmla="*/ 110 h 236"/>
                  <a:gd name="T32" fmla="*/ 34 w 194"/>
                  <a:gd name="T33" fmla="*/ 109 h 236"/>
                  <a:gd name="T34" fmla="*/ 33 w 194"/>
                  <a:gd name="T35" fmla="*/ 98 h 236"/>
                  <a:gd name="T36" fmla="*/ 49 w 194"/>
                  <a:gd name="T37" fmla="*/ 97 h 236"/>
                  <a:gd name="T38" fmla="*/ 49 w 194"/>
                  <a:gd name="T39" fmla="*/ 95 h 236"/>
                  <a:gd name="T40" fmla="*/ 49 w 194"/>
                  <a:gd name="T41" fmla="*/ 95 h 236"/>
                  <a:gd name="T42" fmla="*/ 50 w 194"/>
                  <a:gd name="T43" fmla="*/ 91 h 236"/>
                  <a:gd name="T44" fmla="*/ 56 w 194"/>
                  <a:gd name="T45" fmla="*/ 85 h 236"/>
                  <a:gd name="T46" fmla="*/ 70 w 194"/>
                  <a:gd name="T47" fmla="*/ 73 h 236"/>
                  <a:gd name="T48" fmla="*/ 67 w 194"/>
                  <a:gd name="T49" fmla="*/ 73 h 236"/>
                  <a:gd name="T50" fmla="*/ 72 w 194"/>
                  <a:gd name="T51" fmla="*/ 56 h 236"/>
                  <a:gd name="T52" fmla="*/ 75 w 194"/>
                  <a:gd name="T53" fmla="*/ 39 h 236"/>
                  <a:gd name="T54" fmla="*/ 86 w 194"/>
                  <a:gd name="T55" fmla="*/ 16 h 236"/>
                  <a:gd name="T56" fmla="*/ 86 w 194"/>
                  <a:gd name="T57" fmla="*/ 17 h 236"/>
                  <a:gd name="T58" fmla="*/ 100 w 194"/>
                  <a:gd name="T59" fmla="*/ 11 h 236"/>
                  <a:gd name="T60" fmla="*/ 111 w 194"/>
                  <a:gd name="T61" fmla="*/ 6 h 236"/>
                  <a:gd name="T62" fmla="*/ 121 w 194"/>
                  <a:gd name="T63" fmla="*/ 2 h 236"/>
                  <a:gd name="T64" fmla="*/ 132 w 194"/>
                  <a:gd name="T65" fmla="*/ 13 h 236"/>
                  <a:gd name="T66" fmla="*/ 137 w 194"/>
                  <a:gd name="T67" fmla="*/ 19 h 236"/>
                  <a:gd name="T68" fmla="*/ 150 w 194"/>
                  <a:gd name="T69" fmla="*/ 24 h 236"/>
                  <a:gd name="T70" fmla="*/ 150 w 194"/>
                  <a:gd name="T71" fmla="*/ 25 h 236"/>
                  <a:gd name="T72" fmla="*/ 157 w 194"/>
                  <a:gd name="T73" fmla="*/ 23 h 236"/>
                  <a:gd name="T74" fmla="*/ 170 w 194"/>
                  <a:gd name="T75" fmla="*/ 17 h 236"/>
                  <a:gd name="T76" fmla="*/ 182 w 194"/>
                  <a:gd name="T77" fmla="*/ 9 h 236"/>
                  <a:gd name="T78" fmla="*/ 183 w 194"/>
                  <a:gd name="T79" fmla="*/ 17 h 236"/>
                  <a:gd name="T80" fmla="*/ 183 w 194"/>
                  <a:gd name="T81" fmla="*/ 27 h 236"/>
                  <a:gd name="T82" fmla="*/ 189 w 194"/>
                  <a:gd name="T83" fmla="*/ 32 h 236"/>
                  <a:gd name="T84" fmla="*/ 194 w 194"/>
                  <a:gd name="T85" fmla="*/ 61 h 236"/>
                  <a:gd name="T86" fmla="*/ 189 w 194"/>
                  <a:gd name="T87" fmla="*/ 72 h 236"/>
                  <a:gd name="T88" fmla="*/ 171 w 194"/>
                  <a:gd name="T89" fmla="*/ 89 h 236"/>
                  <a:gd name="T90" fmla="*/ 167 w 194"/>
                  <a:gd name="T91" fmla="*/ 102 h 236"/>
                  <a:gd name="T92" fmla="*/ 165 w 194"/>
                  <a:gd name="T93" fmla="*/ 106 h 236"/>
                  <a:gd name="T94" fmla="*/ 153 w 194"/>
                  <a:gd name="T95" fmla="*/ 117 h 236"/>
                  <a:gd name="T96" fmla="*/ 140 w 194"/>
                  <a:gd name="T97" fmla="*/ 114 h 236"/>
                  <a:gd name="T98" fmla="*/ 137 w 194"/>
                  <a:gd name="T99" fmla="*/ 113 h 236"/>
                  <a:gd name="T100" fmla="*/ 144 w 194"/>
                  <a:gd name="T101" fmla="*/ 121 h 236"/>
                  <a:gd name="T102" fmla="*/ 149 w 194"/>
                  <a:gd name="T103" fmla="*/ 134 h 236"/>
                  <a:gd name="T104" fmla="*/ 156 w 194"/>
                  <a:gd name="T105" fmla="*/ 139 h 236"/>
                  <a:gd name="T106" fmla="*/ 164 w 194"/>
                  <a:gd name="T107" fmla="*/ 151 h 236"/>
                  <a:gd name="T108" fmla="*/ 150 w 194"/>
                  <a:gd name="T109" fmla="*/ 160 h 236"/>
                  <a:gd name="T110" fmla="*/ 149 w 194"/>
                  <a:gd name="T111" fmla="*/ 173 h 236"/>
                  <a:gd name="T112" fmla="*/ 140 w 194"/>
                  <a:gd name="T113" fmla="*/ 180 h 236"/>
                  <a:gd name="T114" fmla="*/ 137 w 194"/>
                  <a:gd name="T115" fmla="*/ 200 h 236"/>
                  <a:gd name="T116" fmla="*/ 128 w 194"/>
                  <a:gd name="T117" fmla="*/ 206 h 236"/>
                  <a:gd name="T118" fmla="*/ 129 w 194"/>
                  <a:gd name="T119" fmla="*/ 212 h 236"/>
                  <a:gd name="T120" fmla="*/ 120 w 194"/>
                  <a:gd name="T121" fmla="*/ 228 h 236"/>
                  <a:gd name="T122" fmla="*/ 104 w 194"/>
                  <a:gd name="T123" fmla="*/ 226 h 236"/>
                  <a:gd name="T124" fmla="*/ 96 w 194"/>
                  <a:gd name="T1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236">
                    <a:moveTo>
                      <a:pt x="86" y="236"/>
                    </a:moveTo>
                    <a:lnTo>
                      <a:pt x="80" y="233"/>
                    </a:lnTo>
                    <a:lnTo>
                      <a:pt x="80" y="233"/>
                    </a:lnTo>
                    <a:lnTo>
                      <a:pt x="82" y="234"/>
                    </a:lnTo>
                    <a:lnTo>
                      <a:pt x="82" y="234"/>
                    </a:lnTo>
                    <a:lnTo>
                      <a:pt x="80" y="234"/>
                    </a:lnTo>
                    <a:lnTo>
                      <a:pt x="80" y="234"/>
                    </a:lnTo>
                    <a:lnTo>
                      <a:pt x="78" y="233"/>
                    </a:lnTo>
                    <a:lnTo>
                      <a:pt x="76" y="233"/>
                    </a:lnTo>
                    <a:lnTo>
                      <a:pt x="75" y="233"/>
                    </a:lnTo>
                    <a:lnTo>
                      <a:pt x="75" y="233"/>
                    </a:lnTo>
                    <a:lnTo>
                      <a:pt x="71" y="232"/>
                    </a:lnTo>
                    <a:lnTo>
                      <a:pt x="71" y="232"/>
                    </a:lnTo>
                    <a:lnTo>
                      <a:pt x="74" y="232"/>
                    </a:lnTo>
                    <a:lnTo>
                      <a:pt x="70" y="229"/>
                    </a:lnTo>
                    <a:lnTo>
                      <a:pt x="70" y="229"/>
                    </a:lnTo>
                    <a:lnTo>
                      <a:pt x="70" y="226"/>
                    </a:lnTo>
                    <a:lnTo>
                      <a:pt x="64" y="233"/>
                    </a:lnTo>
                    <a:lnTo>
                      <a:pt x="63" y="233"/>
                    </a:lnTo>
                    <a:lnTo>
                      <a:pt x="58" y="232"/>
                    </a:lnTo>
                    <a:lnTo>
                      <a:pt x="58" y="232"/>
                    </a:lnTo>
                    <a:lnTo>
                      <a:pt x="54" y="224"/>
                    </a:lnTo>
                    <a:lnTo>
                      <a:pt x="54" y="224"/>
                    </a:lnTo>
                    <a:lnTo>
                      <a:pt x="50" y="218"/>
                    </a:lnTo>
                    <a:lnTo>
                      <a:pt x="47" y="214"/>
                    </a:lnTo>
                    <a:lnTo>
                      <a:pt x="47" y="214"/>
                    </a:lnTo>
                    <a:lnTo>
                      <a:pt x="46" y="214"/>
                    </a:lnTo>
                    <a:lnTo>
                      <a:pt x="46" y="214"/>
                    </a:lnTo>
                    <a:lnTo>
                      <a:pt x="45" y="217"/>
                    </a:lnTo>
                    <a:lnTo>
                      <a:pt x="46" y="217"/>
                    </a:lnTo>
                    <a:lnTo>
                      <a:pt x="46" y="217"/>
                    </a:lnTo>
                    <a:lnTo>
                      <a:pt x="46" y="221"/>
                    </a:lnTo>
                    <a:lnTo>
                      <a:pt x="45" y="224"/>
                    </a:lnTo>
                    <a:lnTo>
                      <a:pt x="45" y="224"/>
                    </a:lnTo>
                    <a:lnTo>
                      <a:pt x="41" y="226"/>
                    </a:lnTo>
                    <a:lnTo>
                      <a:pt x="38" y="228"/>
                    </a:lnTo>
                    <a:lnTo>
                      <a:pt x="38" y="228"/>
                    </a:lnTo>
                    <a:lnTo>
                      <a:pt x="35" y="228"/>
                    </a:lnTo>
                    <a:lnTo>
                      <a:pt x="35" y="228"/>
                    </a:lnTo>
                    <a:lnTo>
                      <a:pt x="33" y="228"/>
                    </a:lnTo>
                    <a:lnTo>
                      <a:pt x="33" y="228"/>
                    </a:lnTo>
                    <a:lnTo>
                      <a:pt x="33" y="228"/>
                    </a:lnTo>
                    <a:lnTo>
                      <a:pt x="33" y="228"/>
                    </a:lnTo>
                    <a:lnTo>
                      <a:pt x="33" y="228"/>
                    </a:lnTo>
                    <a:lnTo>
                      <a:pt x="30" y="229"/>
                    </a:lnTo>
                    <a:lnTo>
                      <a:pt x="26" y="230"/>
                    </a:lnTo>
                    <a:lnTo>
                      <a:pt x="21" y="230"/>
                    </a:lnTo>
                    <a:lnTo>
                      <a:pt x="14" y="225"/>
                    </a:lnTo>
                    <a:lnTo>
                      <a:pt x="14" y="225"/>
                    </a:lnTo>
                    <a:lnTo>
                      <a:pt x="14" y="218"/>
                    </a:lnTo>
                    <a:lnTo>
                      <a:pt x="14" y="218"/>
                    </a:lnTo>
                    <a:lnTo>
                      <a:pt x="14" y="216"/>
                    </a:lnTo>
                    <a:lnTo>
                      <a:pt x="14" y="216"/>
                    </a:lnTo>
                    <a:lnTo>
                      <a:pt x="15" y="217"/>
                    </a:lnTo>
                    <a:lnTo>
                      <a:pt x="17" y="217"/>
                    </a:lnTo>
                    <a:lnTo>
                      <a:pt x="14" y="213"/>
                    </a:lnTo>
                    <a:lnTo>
                      <a:pt x="14" y="213"/>
                    </a:lnTo>
                    <a:lnTo>
                      <a:pt x="14" y="213"/>
                    </a:lnTo>
                    <a:lnTo>
                      <a:pt x="14" y="213"/>
                    </a:lnTo>
                    <a:lnTo>
                      <a:pt x="14" y="213"/>
                    </a:lnTo>
                    <a:lnTo>
                      <a:pt x="14" y="213"/>
                    </a:lnTo>
                    <a:lnTo>
                      <a:pt x="14" y="213"/>
                    </a:lnTo>
                    <a:lnTo>
                      <a:pt x="14" y="213"/>
                    </a:lnTo>
                    <a:lnTo>
                      <a:pt x="11" y="213"/>
                    </a:lnTo>
                    <a:lnTo>
                      <a:pt x="11" y="213"/>
                    </a:lnTo>
                    <a:lnTo>
                      <a:pt x="8" y="213"/>
                    </a:lnTo>
                    <a:lnTo>
                      <a:pt x="5" y="212"/>
                    </a:lnTo>
                    <a:lnTo>
                      <a:pt x="2" y="210"/>
                    </a:lnTo>
                    <a:lnTo>
                      <a:pt x="1" y="208"/>
                    </a:lnTo>
                    <a:lnTo>
                      <a:pt x="1" y="208"/>
                    </a:lnTo>
                    <a:lnTo>
                      <a:pt x="0" y="205"/>
                    </a:lnTo>
                    <a:lnTo>
                      <a:pt x="0" y="203"/>
                    </a:lnTo>
                    <a:lnTo>
                      <a:pt x="0" y="203"/>
                    </a:lnTo>
                    <a:lnTo>
                      <a:pt x="1" y="199"/>
                    </a:lnTo>
                    <a:lnTo>
                      <a:pt x="4" y="196"/>
                    </a:lnTo>
                    <a:lnTo>
                      <a:pt x="4" y="196"/>
                    </a:lnTo>
                    <a:lnTo>
                      <a:pt x="4" y="196"/>
                    </a:lnTo>
                    <a:lnTo>
                      <a:pt x="5" y="195"/>
                    </a:lnTo>
                    <a:lnTo>
                      <a:pt x="5" y="195"/>
                    </a:lnTo>
                    <a:lnTo>
                      <a:pt x="4" y="197"/>
                    </a:lnTo>
                    <a:lnTo>
                      <a:pt x="6" y="195"/>
                    </a:lnTo>
                    <a:lnTo>
                      <a:pt x="9" y="195"/>
                    </a:lnTo>
                    <a:lnTo>
                      <a:pt x="9" y="193"/>
                    </a:lnTo>
                    <a:lnTo>
                      <a:pt x="9" y="193"/>
                    </a:lnTo>
                    <a:lnTo>
                      <a:pt x="8" y="193"/>
                    </a:lnTo>
                    <a:lnTo>
                      <a:pt x="9" y="192"/>
                    </a:lnTo>
                    <a:lnTo>
                      <a:pt x="10" y="192"/>
                    </a:lnTo>
                    <a:lnTo>
                      <a:pt x="11" y="192"/>
                    </a:lnTo>
                    <a:lnTo>
                      <a:pt x="11" y="192"/>
                    </a:lnTo>
                    <a:lnTo>
                      <a:pt x="14" y="191"/>
                    </a:lnTo>
                    <a:lnTo>
                      <a:pt x="14" y="191"/>
                    </a:lnTo>
                    <a:lnTo>
                      <a:pt x="14" y="191"/>
                    </a:lnTo>
                    <a:lnTo>
                      <a:pt x="14" y="191"/>
                    </a:lnTo>
                    <a:lnTo>
                      <a:pt x="14" y="188"/>
                    </a:lnTo>
                    <a:lnTo>
                      <a:pt x="14" y="188"/>
                    </a:lnTo>
                    <a:lnTo>
                      <a:pt x="15" y="191"/>
                    </a:lnTo>
                    <a:lnTo>
                      <a:pt x="15" y="191"/>
                    </a:lnTo>
                    <a:lnTo>
                      <a:pt x="17" y="189"/>
                    </a:lnTo>
                    <a:lnTo>
                      <a:pt x="13" y="185"/>
                    </a:lnTo>
                    <a:lnTo>
                      <a:pt x="13" y="181"/>
                    </a:lnTo>
                    <a:lnTo>
                      <a:pt x="13" y="181"/>
                    </a:lnTo>
                    <a:lnTo>
                      <a:pt x="13" y="177"/>
                    </a:lnTo>
                    <a:lnTo>
                      <a:pt x="13" y="173"/>
                    </a:lnTo>
                    <a:lnTo>
                      <a:pt x="9" y="167"/>
                    </a:lnTo>
                    <a:lnTo>
                      <a:pt x="9" y="167"/>
                    </a:lnTo>
                    <a:lnTo>
                      <a:pt x="6" y="163"/>
                    </a:lnTo>
                    <a:lnTo>
                      <a:pt x="6" y="160"/>
                    </a:lnTo>
                    <a:lnTo>
                      <a:pt x="6" y="158"/>
                    </a:lnTo>
                    <a:lnTo>
                      <a:pt x="8" y="152"/>
                    </a:lnTo>
                    <a:lnTo>
                      <a:pt x="8" y="152"/>
                    </a:lnTo>
                    <a:lnTo>
                      <a:pt x="11" y="150"/>
                    </a:lnTo>
                    <a:lnTo>
                      <a:pt x="11" y="150"/>
                    </a:lnTo>
                    <a:lnTo>
                      <a:pt x="21" y="142"/>
                    </a:lnTo>
                    <a:lnTo>
                      <a:pt x="25" y="140"/>
                    </a:lnTo>
                    <a:lnTo>
                      <a:pt x="27" y="139"/>
                    </a:lnTo>
                    <a:lnTo>
                      <a:pt x="27" y="139"/>
                    </a:lnTo>
                    <a:lnTo>
                      <a:pt x="34" y="135"/>
                    </a:lnTo>
                    <a:lnTo>
                      <a:pt x="39" y="131"/>
                    </a:lnTo>
                    <a:lnTo>
                      <a:pt x="39" y="131"/>
                    </a:lnTo>
                    <a:lnTo>
                      <a:pt x="38" y="125"/>
                    </a:lnTo>
                    <a:lnTo>
                      <a:pt x="35" y="118"/>
                    </a:lnTo>
                    <a:lnTo>
                      <a:pt x="35" y="115"/>
                    </a:lnTo>
                    <a:lnTo>
                      <a:pt x="35" y="115"/>
                    </a:lnTo>
                    <a:lnTo>
                      <a:pt x="35" y="115"/>
                    </a:lnTo>
                    <a:lnTo>
                      <a:pt x="35" y="111"/>
                    </a:lnTo>
                    <a:lnTo>
                      <a:pt x="35" y="111"/>
                    </a:lnTo>
                    <a:lnTo>
                      <a:pt x="35" y="110"/>
                    </a:lnTo>
                    <a:lnTo>
                      <a:pt x="35" y="110"/>
                    </a:lnTo>
                    <a:lnTo>
                      <a:pt x="37" y="113"/>
                    </a:lnTo>
                    <a:lnTo>
                      <a:pt x="37" y="113"/>
                    </a:lnTo>
                    <a:lnTo>
                      <a:pt x="39" y="114"/>
                    </a:lnTo>
                    <a:lnTo>
                      <a:pt x="34" y="109"/>
                    </a:lnTo>
                    <a:lnTo>
                      <a:pt x="34" y="109"/>
                    </a:lnTo>
                    <a:lnTo>
                      <a:pt x="34" y="109"/>
                    </a:lnTo>
                    <a:lnTo>
                      <a:pt x="34" y="109"/>
                    </a:lnTo>
                    <a:lnTo>
                      <a:pt x="34" y="109"/>
                    </a:lnTo>
                    <a:lnTo>
                      <a:pt x="34" y="107"/>
                    </a:lnTo>
                    <a:lnTo>
                      <a:pt x="34" y="107"/>
                    </a:lnTo>
                    <a:lnTo>
                      <a:pt x="34" y="103"/>
                    </a:lnTo>
                    <a:lnTo>
                      <a:pt x="34" y="103"/>
                    </a:lnTo>
                    <a:lnTo>
                      <a:pt x="34" y="102"/>
                    </a:lnTo>
                    <a:lnTo>
                      <a:pt x="33" y="101"/>
                    </a:lnTo>
                    <a:lnTo>
                      <a:pt x="33" y="101"/>
                    </a:lnTo>
                    <a:lnTo>
                      <a:pt x="33" y="98"/>
                    </a:lnTo>
                    <a:lnTo>
                      <a:pt x="34" y="95"/>
                    </a:lnTo>
                    <a:lnTo>
                      <a:pt x="35" y="93"/>
                    </a:lnTo>
                    <a:lnTo>
                      <a:pt x="38" y="93"/>
                    </a:lnTo>
                    <a:lnTo>
                      <a:pt x="39" y="91"/>
                    </a:lnTo>
                    <a:lnTo>
                      <a:pt x="42" y="91"/>
                    </a:lnTo>
                    <a:lnTo>
                      <a:pt x="47" y="97"/>
                    </a:lnTo>
                    <a:lnTo>
                      <a:pt x="47" y="97"/>
                    </a:lnTo>
                    <a:lnTo>
                      <a:pt x="49" y="97"/>
                    </a:lnTo>
                    <a:lnTo>
                      <a:pt x="49" y="97"/>
                    </a:lnTo>
                    <a:lnTo>
                      <a:pt x="46" y="94"/>
                    </a:lnTo>
                    <a:lnTo>
                      <a:pt x="45" y="93"/>
                    </a:lnTo>
                    <a:lnTo>
                      <a:pt x="45" y="93"/>
                    </a:lnTo>
                    <a:lnTo>
                      <a:pt x="46" y="94"/>
                    </a:lnTo>
                    <a:lnTo>
                      <a:pt x="49" y="95"/>
                    </a:lnTo>
                    <a:lnTo>
                      <a:pt x="49" y="95"/>
                    </a:lnTo>
                    <a:lnTo>
                      <a:pt x="49" y="95"/>
                    </a:lnTo>
                    <a:lnTo>
                      <a:pt x="49" y="95"/>
                    </a:lnTo>
                    <a:lnTo>
                      <a:pt x="50" y="97"/>
                    </a:lnTo>
                    <a:lnTo>
                      <a:pt x="50" y="97"/>
                    </a:lnTo>
                    <a:lnTo>
                      <a:pt x="49" y="95"/>
                    </a:lnTo>
                    <a:lnTo>
                      <a:pt x="50" y="95"/>
                    </a:lnTo>
                    <a:lnTo>
                      <a:pt x="50" y="95"/>
                    </a:lnTo>
                    <a:lnTo>
                      <a:pt x="49" y="95"/>
                    </a:lnTo>
                    <a:lnTo>
                      <a:pt x="49" y="95"/>
                    </a:lnTo>
                    <a:lnTo>
                      <a:pt x="49" y="94"/>
                    </a:lnTo>
                    <a:lnTo>
                      <a:pt x="49" y="94"/>
                    </a:lnTo>
                    <a:lnTo>
                      <a:pt x="49" y="94"/>
                    </a:lnTo>
                    <a:lnTo>
                      <a:pt x="49" y="94"/>
                    </a:lnTo>
                    <a:lnTo>
                      <a:pt x="50" y="94"/>
                    </a:lnTo>
                    <a:lnTo>
                      <a:pt x="52" y="90"/>
                    </a:lnTo>
                    <a:lnTo>
                      <a:pt x="52" y="90"/>
                    </a:lnTo>
                    <a:lnTo>
                      <a:pt x="50" y="91"/>
                    </a:lnTo>
                    <a:lnTo>
                      <a:pt x="49" y="94"/>
                    </a:lnTo>
                    <a:lnTo>
                      <a:pt x="49" y="94"/>
                    </a:lnTo>
                    <a:lnTo>
                      <a:pt x="49" y="93"/>
                    </a:lnTo>
                    <a:lnTo>
                      <a:pt x="49" y="93"/>
                    </a:lnTo>
                    <a:lnTo>
                      <a:pt x="50" y="89"/>
                    </a:lnTo>
                    <a:lnTo>
                      <a:pt x="51" y="86"/>
                    </a:lnTo>
                    <a:lnTo>
                      <a:pt x="54" y="85"/>
                    </a:lnTo>
                    <a:lnTo>
                      <a:pt x="56" y="85"/>
                    </a:lnTo>
                    <a:lnTo>
                      <a:pt x="62" y="85"/>
                    </a:lnTo>
                    <a:lnTo>
                      <a:pt x="64" y="85"/>
                    </a:lnTo>
                    <a:lnTo>
                      <a:pt x="64" y="85"/>
                    </a:lnTo>
                    <a:lnTo>
                      <a:pt x="64" y="84"/>
                    </a:lnTo>
                    <a:lnTo>
                      <a:pt x="64" y="82"/>
                    </a:lnTo>
                    <a:lnTo>
                      <a:pt x="64" y="80"/>
                    </a:lnTo>
                    <a:lnTo>
                      <a:pt x="70" y="73"/>
                    </a:lnTo>
                    <a:lnTo>
                      <a:pt x="70" y="73"/>
                    </a:lnTo>
                    <a:lnTo>
                      <a:pt x="67" y="74"/>
                    </a:lnTo>
                    <a:lnTo>
                      <a:pt x="66" y="77"/>
                    </a:lnTo>
                    <a:lnTo>
                      <a:pt x="66" y="77"/>
                    </a:lnTo>
                    <a:lnTo>
                      <a:pt x="66" y="74"/>
                    </a:lnTo>
                    <a:lnTo>
                      <a:pt x="67" y="74"/>
                    </a:lnTo>
                    <a:lnTo>
                      <a:pt x="67" y="74"/>
                    </a:lnTo>
                    <a:lnTo>
                      <a:pt x="67" y="73"/>
                    </a:lnTo>
                    <a:lnTo>
                      <a:pt x="67" y="73"/>
                    </a:lnTo>
                    <a:lnTo>
                      <a:pt x="67" y="72"/>
                    </a:lnTo>
                    <a:lnTo>
                      <a:pt x="67" y="69"/>
                    </a:lnTo>
                    <a:lnTo>
                      <a:pt x="67" y="66"/>
                    </a:lnTo>
                    <a:lnTo>
                      <a:pt x="67" y="66"/>
                    </a:lnTo>
                    <a:lnTo>
                      <a:pt x="68" y="64"/>
                    </a:lnTo>
                    <a:lnTo>
                      <a:pt x="68" y="64"/>
                    </a:lnTo>
                    <a:lnTo>
                      <a:pt x="70" y="60"/>
                    </a:lnTo>
                    <a:lnTo>
                      <a:pt x="72" y="56"/>
                    </a:lnTo>
                    <a:lnTo>
                      <a:pt x="72" y="56"/>
                    </a:lnTo>
                    <a:lnTo>
                      <a:pt x="72" y="56"/>
                    </a:lnTo>
                    <a:lnTo>
                      <a:pt x="72" y="56"/>
                    </a:lnTo>
                    <a:lnTo>
                      <a:pt x="72" y="53"/>
                    </a:lnTo>
                    <a:lnTo>
                      <a:pt x="72" y="52"/>
                    </a:lnTo>
                    <a:lnTo>
                      <a:pt x="74" y="50"/>
                    </a:lnTo>
                    <a:lnTo>
                      <a:pt x="74" y="50"/>
                    </a:lnTo>
                    <a:lnTo>
                      <a:pt x="75" y="39"/>
                    </a:lnTo>
                    <a:lnTo>
                      <a:pt x="75" y="39"/>
                    </a:lnTo>
                    <a:lnTo>
                      <a:pt x="76" y="28"/>
                    </a:lnTo>
                    <a:lnTo>
                      <a:pt x="76" y="23"/>
                    </a:lnTo>
                    <a:lnTo>
                      <a:pt x="79" y="19"/>
                    </a:lnTo>
                    <a:lnTo>
                      <a:pt x="82" y="16"/>
                    </a:lnTo>
                    <a:lnTo>
                      <a:pt x="82" y="16"/>
                    </a:lnTo>
                    <a:lnTo>
                      <a:pt x="86" y="16"/>
                    </a:lnTo>
                    <a:lnTo>
                      <a:pt x="86" y="16"/>
                    </a:lnTo>
                    <a:lnTo>
                      <a:pt x="88" y="16"/>
                    </a:lnTo>
                    <a:lnTo>
                      <a:pt x="88" y="16"/>
                    </a:lnTo>
                    <a:lnTo>
                      <a:pt x="88" y="16"/>
                    </a:lnTo>
                    <a:lnTo>
                      <a:pt x="88" y="16"/>
                    </a:lnTo>
                    <a:lnTo>
                      <a:pt x="88" y="16"/>
                    </a:lnTo>
                    <a:lnTo>
                      <a:pt x="87" y="16"/>
                    </a:lnTo>
                    <a:lnTo>
                      <a:pt x="86" y="17"/>
                    </a:lnTo>
                    <a:lnTo>
                      <a:pt x="86" y="17"/>
                    </a:lnTo>
                    <a:lnTo>
                      <a:pt x="84" y="21"/>
                    </a:lnTo>
                    <a:lnTo>
                      <a:pt x="91" y="15"/>
                    </a:lnTo>
                    <a:lnTo>
                      <a:pt x="92" y="15"/>
                    </a:lnTo>
                    <a:lnTo>
                      <a:pt x="92" y="15"/>
                    </a:lnTo>
                    <a:lnTo>
                      <a:pt x="92" y="15"/>
                    </a:lnTo>
                    <a:lnTo>
                      <a:pt x="96" y="13"/>
                    </a:lnTo>
                    <a:lnTo>
                      <a:pt x="99" y="12"/>
                    </a:lnTo>
                    <a:lnTo>
                      <a:pt x="100" y="11"/>
                    </a:lnTo>
                    <a:lnTo>
                      <a:pt x="100" y="11"/>
                    </a:lnTo>
                    <a:lnTo>
                      <a:pt x="104" y="9"/>
                    </a:lnTo>
                    <a:lnTo>
                      <a:pt x="104" y="9"/>
                    </a:lnTo>
                    <a:lnTo>
                      <a:pt x="105" y="8"/>
                    </a:lnTo>
                    <a:lnTo>
                      <a:pt x="105" y="8"/>
                    </a:lnTo>
                    <a:lnTo>
                      <a:pt x="104" y="11"/>
                    </a:lnTo>
                    <a:lnTo>
                      <a:pt x="109" y="6"/>
                    </a:lnTo>
                    <a:lnTo>
                      <a:pt x="111" y="6"/>
                    </a:lnTo>
                    <a:lnTo>
                      <a:pt x="111" y="6"/>
                    </a:lnTo>
                    <a:lnTo>
                      <a:pt x="111" y="6"/>
                    </a:lnTo>
                    <a:lnTo>
                      <a:pt x="111" y="6"/>
                    </a:lnTo>
                    <a:lnTo>
                      <a:pt x="113" y="3"/>
                    </a:lnTo>
                    <a:lnTo>
                      <a:pt x="116" y="2"/>
                    </a:lnTo>
                    <a:lnTo>
                      <a:pt x="119" y="0"/>
                    </a:lnTo>
                    <a:lnTo>
                      <a:pt x="120" y="0"/>
                    </a:lnTo>
                    <a:lnTo>
                      <a:pt x="121" y="2"/>
                    </a:lnTo>
                    <a:lnTo>
                      <a:pt x="121" y="2"/>
                    </a:lnTo>
                    <a:lnTo>
                      <a:pt x="125" y="3"/>
                    </a:lnTo>
                    <a:lnTo>
                      <a:pt x="127" y="6"/>
                    </a:lnTo>
                    <a:lnTo>
                      <a:pt x="127" y="11"/>
                    </a:lnTo>
                    <a:lnTo>
                      <a:pt x="127" y="11"/>
                    </a:lnTo>
                    <a:lnTo>
                      <a:pt x="127" y="11"/>
                    </a:lnTo>
                    <a:lnTo>
                      <a:pt x="127" y="11"/>
                    </a:lnTo>
                    <a:lnTo>
                      <a:pt x="132" y="13"/>
                    </a:lnTo>
                    <a:lnTo>
                      <a:pt x="132" y="13"/>
                    </a:lnTo>
                    <a:lnTo>
                      <a:pt x="134" y="17"/>
                    </a:lnTo>
                    <a:lnTo>
                      <a:pt x="134" y="17"/>
                    </a:lnTo>
                    <a:lnTo>
                      <a:pt x="134" y="19"/>
                    </a:lnTo>
                    <a:lnTo>
                      <a:pt x="134" y="19"/>
                    </a:lnTo>
                    <a:lnTo>
                      <a:pt x="136" y="20"/>
                    </a:lnTo>
                    <a:lnTo>
                      <a:pt x="136" y="20"/>
                    </a:lnTo>
                    <a:lnTo>
                      <a:pt x="137" y="19"/>
                    </a:lnTo>
                    <a:lnTo>
                      <a:pt x="137" y="19"/>
                    </a:lnTo>
                    <a:lnTo>
                      <a:pt x="140" y="17"/>
                    </a:lnTo>
                    <a:lnTo>
                      <a:pt x="144" y="17"/>
                    </a:lnTo>
                    <a:lnTo>
                      <a:pt x="144" y="17"/>
                    </a:lnTo>
                    <a:lnTo>
                      <a:pt x="146" y="17"/>
                    </a:lnTo>
                    <a:lnTo>
                      <a:pt x="150" y="24"/>
                    </a:lnTo>
                    <a:lnTo>
                      <a:pt x="150" y="24"/>
                    </a:lnTo>
                    <a:lnTo>
                      <a:pt x="150" y="24"/>
                    </a:lnTo>
                    <a:lnTo>
                      <a:pt x="150" y="24"/>
                    </a:lnTo>
                    <a:lnTo>
                      <a:pt x="150" y="23"/>
                    </a:lnTo>
                    <a:lnTo>
                      <a:pt x="148" y="21"/>
                    </a:lnTo>
                    <a:lnTo>
                      <a:pt x="150" y="25"/>
                    </a:lnTo>
                    <a:lnTo>
                      <a:pt x="150" y="25"/>
                    </a:lnTo>
                    <a:lnTo>
                      <a:pt x="150" y="25"/>
                    </a:lnTo>
                    <a:lnTo>
                      <a:pt x="150" y="25"/>
                    </a:lnTo>
                    <a:lnTo>
                      <a:pt x="150" y="25"/>
                    </a:lnTo>
                    <a:lnTo>
                      <a:pt x="150" y="25"/>
                    </a:lnTo>
                    <a:lnTo>
                      <a:pt x="152" y="25"/>
                    </a:lnTo>
                    <a:lnTo>
                      <a:pt x="152" y="25"/>
                    </a:lnTo>
                    <a:lnTo>
                      <a:pt x="152" y="25"/>
                    </a:lnTo>
                    <a:lnTo>
                      <a:pt x="150" y="25"/>
                    </a:lnTo>
                    <a:lnTo>
                      <a:pt x="150" y="25"/>
                    </a:lnTo>
                    <a:lnTo>
                      <a:pt x="152" y="24"/>
                    </a:lnTo>
                    <a:lnTo>
                      <a:pt x="157" y="23"/>
                    </a:lnTo>
                    <a:lnTo>
                      <a:pt x="157" y="23"/>
                    </a:lnTo>
                    <a:lnTo>
                      <a:pt x="157" y="23"/>
                    </a:lnTo>
                    <a:lnTo>
                      <a:pt x="160" y="21"/>
                    </a:lnTo>
                    <a:lnTo>
                      <a:pt x="160" y="21"/>
                    </a:lnTo>
                    <a:lnTo>
                      <a:pt x="165" y="19"/>
                    </a:lnTo>
                    <a:lnTo>
                      <a:pt x="169" y="17"/>
                    </a:lnTo>
                    <a:lnTo>
                      <a:pt x="170" y="17"/>
                    </a:lnTo>
                    <a:lnTo>
                      <a:pt x="170" y="17"/>
                    </a:lnTo>
                    <a:lnTo>
                      <a:pt x="171" y="16"/>
                    </a:lnTo>
                    <a:lnTo>
                      <a:pt x="171" y="15"/>
                    </a:lnTo>
                    <a:lnTo>
                      <a:pt x="171" y="15"/>
                    </a:lnTo>
                    <a:lnTo>
                      <a:pt x="171" y="15"/>
                    </a:lnTo>
                    <a:lnTo>
                      <a:pt x="171" y="15"/>
                    </a:lnTo>
                    <a:lnTo>
                      <a:pt x="171" y="13"/>
                    </a:lnTo>
                    <a:lnTo>
                      <a:pt x="173" y="13"/>
                    </a:lnTo>
                    <a:lnTo>
                      <a:pt x="182" y="9"/>
                    </a:lnTo>
                    <a:lnTo>
                      <a:pt x="182" y="9"/>
                    </a:lnTo>
                    <a:lnTo>
                      <a:pt x="185" y="13"/>
                    </a:lnTo>
                    <a:lnTo>
                      <a:pt x="186" y="17"/>
                    </a:lnTo>
                    <a:lnTo>
                      <a:pt x="186" y="17"/>
                    </a:lnTo>
                    <a:lnTo>
                      <a:pt x="186" y="19"/>
                    </a:lnTo>
                    <a:lnTo>
                      <a:pt x="186" y="19"/>
                    </a:lnTo>
                    <a:lnTo>
                      <a:pt x="185" y="17"/>
                    </a:lnTo>
                    <a:lnTo>
                      <a:pt x="183" y="17"/>
                    </a:lnTo>
                    <a:lnTo>
                      <a:pt x="189" y="23"/>
                    </a:lnTo>
                    <a:lnTo>
                      <a:pt x="189" y="27"/>
                    </a:lnTo>
                    <a:lnTo>
                      <a:pt x="187" y="28"/>
                    </a:lnTo>
                    <a:lnTo>
                      <a:pt x="187" y="28"/>
                    </a:lnTo>
                    <a:lnTo>
                      <a:pt x="185" y="27"/>
                    </a:lnTo>
                    <a:lnTo>
                      <a:pt x="182" y="27"/>
                    </a:lnTo>
                    <a:lnTo>
                      <a:pt x="182" y="28"/>
                    </a:lnTo>
                    <a:lnTo>
                      <a:pt x="183" y="27"/>
                    </a:lnTo>
                    <a:lnTo>
                      <a:pt x="183" y="28"/>
                    </a:lnTo>
                    <a:lnTo>
                      <a:pt x="185" y="29"/>
                    </a:lnTo>
                    <a:lnTo>
                      <a:pt x="183" y="31"/>
                    </a:lnTo>
                    <a:lnTo>
                      <a:pt x="182" y="33"/>
                    </a:lnTo>
                    <a:lnTo>
                      <a:pt x="182" y="33"/>
                    </a:lnTo>
                    <a:lnTo>
                      <a:pt x="185" y="32"/>
                    </a:lnTo>
                    <a:lnTo>
                      <a:pt x="186" y="31"/>
                    </a:lnTo>
                    <a:lnTo>
                      <a:pt x="189" y="32"/>
                    </a:lnTo>
                    <a:lnTo>
                      <a:pt x="190" y="35"/>
                    </a:lnTo>
                    <a:lnTo>
                      <a:pt x="190" y="35"/>
                    </a:lnTo>
                    <a:lnTo>
                      <a:pt x="190" y="46"/>
                    </a:lnTo>
                    <a:lnTo>
                      <a:pt x="191" y="52"/>
                    </a:lnTo>
                    <a:lnTo>
                      <a:pt x="194" y="56"/>
                    </a:lnTo>
                    <a:lnTo>
                      <a:pt x="194" y="58"/>
                    </a:lnTo>
                    <a:lnTo>
                      <a:pt x="194" y="58"/>
                    </a:lnTo>
                    <a:lnTo>
                      <a:pt x="194" y="61"/>
                    </a:lnTo>
                    <a:lnTo>
                      <a:pt x="193" y="65"/>
                    </a:lnTo>
                    <a:lnTo>
                      <a:pt x="191" y="68"/>
                    </a:lnTo>
                    <a:lnTo>
                      <a:pt x="191" y="68"/>
                    </a:lnTo>
                    <a:lnTo>
                      <a:pt x="190" y="69"/>
                    </a:lnTo>
                    <a:lnTo>
                      <a:pt x="185" y="74"/>
                    </a:lnTo>
                    <a:lnTo>
                      <a:pt x="185" y="74"/>
                    </a:lnTo>
                    <a:lnTo>
                      <a:pt x="187" y="73"/>
                    </a:lnTo>
                    <a:lnTo>
                      <a:pt x="189" y="72"/>
                    </a:lnTo>
                    <a:lnTo>
                      <a:pt x="189" y="72"/>
                    </a:lnTo>
                    <a:lnTo>
                      <a:pt x="189" y="73"/>
                    </a:lnTo>
                    <a:lnTo>
                      <a:pt x="183" y="77"/>
                    </a:lnTo>
                    <a:lnTo>
                      <a:pt x="175" y="77"/>
                    </a:lnTo>
                    <a:lnTo>
                      <a:pt x="175" y="77"/>
                    </a:lnTo>
                    <a:lnTo>
                      <a:pt x="173" y="82"/>
                    </a:lnTo>
                    <a:lnTo>
                      <a:pt x="171" y="89"/>
                    </a:lnTo>
                    <a:lnTo>
                      <a:pt x="171" y="89"/>
                    </a:lnTo>
                    <a:lnTo>
                      <a:pt x="171" y="89"/>
                    </a:lnTo>
                    <a:lnTo>
                      <a:pt x="170" y="94"/>
                    </a:lnTo>
                    <a:lnTo>
                      <a:pt x="169" y="98"/>
                    </a:lnTo>
                    <a:lnTo>
                      <a:pt x="169" y="98"/>
                    </a:lnTo>
                    <a:lnTo>
                      <a:pt x="169" y="98"/>
                    </a:lnTo>
                    <a:lnTo>
                      <a:pt x="169" y="98"/>
                    </a:lnTo>
                    <a:lnTo>
                      <a:pt x="167" y="101"/>
                    </a:lnTo>
                    <a:lnTo>
                      <a:pt x="167" y="102"/>
                    </a:lnTo>
                    <a:lnTo>
                      <a:pt x="167" y="102"/>
                    </a:lnTo>
                    <a:lnTo>
                      <a:pt x="167" y="102"/>
                    </a:lnTo>
                    <a:lnTo>
                      <a:pt x="167" y="101"/>
                    </a:lnTo>
                    <a:lnTo>
                      <a:pt x="166" y="102"/>
                    </a:lnTo>
                    <a:lnTo>
                      <a:pt x="166" y="102"/>
                    </a:lnTo>
                    <a:lnTo>
                      <a:pt x="165" y="105"/>
                    </a:lnTo>
                    <a:lnTo>
                      <a:pt x="165" y="106"/>
                    </a:lnTo>
                    <a:lnTo>
                      <a:pt x="165" y="106"/>
                    </a:lnTo>
                    <a:lnTo>
                      <a:pt x="165" y="106"/>
                    </a:lnTo>
                    <a:lnTo>
                      <a:pt x="165" y="106"/>
                    </a:lnTo>
                    <a:lnTo>
                      <a:pt x="165" y="105"/>
                    </a:lnTo>
                    <a:lnTo>
                      <a:pt x="158" y="110"/>
                    </a:lnTo>
                    <a:lnTo>
                      <a:pt x="158" y="110"/>
                    </a:lnTo>
                    <a:lnTo>
                      <a:pt x="158" y="110"/>
                    </a:lnTo>
                    <a:lnTo>
                      <a:pt x="156" y="114"/>
                    </a:lnTo>
                    <a:lnTo>
                      <a:pt x="153" y="117"/>
                    </a:lnTo>
                    <a:lnTo>
                      <a:pt x="150" y="117"/>
                    </a:lnTo>
                    <a:lnTo>
                      <a:pt x="144" y="117"/>
                    </a:lnTo>
                    <a:lnTo>
                      <a:pt x="142" y="114"/>
                    </a:lnTo>
                    <a:lnTo>
                      <a:pt x="142" y="115"/>
                    </a:lnTo>
                    <a:lnTo>
                      <a:pt x="140" y="114"/>
                    </a:lnTo>
                    <a:lnTo>
                      <a:pt x="140" y="114"/>
                    </a:lnTo>
                    <a:lnTo>
                      <a:pt x="140" y="114"/>
                    </a:lnTo>
                    <a:lnTo>
                      <a:pt x="140" y="114"/>
                    </a:lnTo>
                    <a:lnTo>
                      <a:pt x="141" y="114"/>
                    </a:lnTo>
                    <a:lnTo>
                      <a:pt x="138" y="110"/>
                    </a:lnTo>
                    <a:lnTo>
                      <a:pt x="138" y="110"/>
                    </a:lnTo>
                    <a:lnTo>
                      <a:pt x="138" y="111"/>
                    </a:lnTo>
                    <a:lnTo>
                      <a:pt x="138" y="114"/>
                    </a:lnTo>
                    <a:lnTo>
                      <a:pt x="138" y="114"/>
                    </a:lnTo>
                    <a:lnTo>
                      <a:pt x="140" y="114"/>
                    </a:lnTo>
                    <a:lnTo>
                      <a:pt x="137" y="113"/>
                    </a:lnTo>
                    <a:lnTo>
                      <a:pt x="137" y="113"/>
                    </a:lnTo>
                    <a:lnTo>
                      <a:pt x="140" y="114"/>
                    </a:lnTo>
                    <a:lnTo>
                      <a:pt x="140" y="114"/>
                    </a:lnTo>
                    <a:lnTo>
                      <a:pt x="142" y="115"/>
                    </a:lnTo>
                    <a:lnTo>
                      <a:pt x="142" y="117"/>
                    </a:lnTo>
                    <a:lnTo>
                      <a:pt x="142" y="117"/>
                    </a:lnTo>
                    <a:lnTo>
                      <a:pt x="144" y="119"/>
                    </a:lnTo>
                    <a:lnTo>
                      <a:pt x="144" y="121"/>
                    </a:lnTo>
                    <a:lnTo>
                      <a:pt x="144" y="122"/>
                    </a:lnTo>
                    <a:lnTo>
                      <a:pt x="144" y="122"/>
                    </a:lnTo>
                    <a:lnTo>
                      <a:pt x="144" y="122"/>
                    </a:lnTo>
                    <a:lnTo>
                      <a:pt x="144" y="122"/>
                    </a:lnTo>
                    <a:lnTo>
                      <a:pt x="146" y="126"/>
                    </a:lnTo>
                    <a:lnTo>
                      <a:pt x="148" y="128"/>
                    </a:lnTo>
                    <a:lnTo>
                      <a:pt x="149" y="132"/>
                    </a:lnTo>
                    <a:lnTo>
                      <a:pt x="149" y="134"/>
                    </a:lnTo>
                    <a:lnTo>
                      <a:pt x="149" y="134"/>
                    </a:lnTo>
                    <a:lnTo>
                      <a:pt x="152" y="135"/>
                    </a:lnTo>
                    <a:lnTo>
                      <a:pt x="154" y="138"/>
                    </a:lnTo>
                    <a:lnTo>
                      <a:pt x="154" y="138"/>
                    </a:lnTo>
                    <a:lnTo>
                      <a:pt x="157" y="139"/>
                    </a:lnTo>
                    <a:lnTo>
                      <a:pt x="157" y="139"/>
                    </a:lnTo>
                    <a:lnTo>
                      <a:pt x="156" y="139"/>
                    </a:lnTo>
                    <a:lnTo>
                      <a:pt x="156" y="139"/>
                    </a:lnTo>
                    <a:lnTo>
                      <a:pt x="153" y="139"/>
                    </a:lnTo>
                    <a:lnTo>
                      <a:pt x="162" y="138"/>
                    </a:lnTo>
                    <a:lnTo>
                      <a:pt x="162" y="138"/>
                    </a:lnTo>
                    <a:lnTo>
                      <a:pt x="165" y="140"/>
                    </a:lnTo>
                    <a:lnTo>
                      <a:pt x="166" y="143"/>
                    </a:lnTo>
                    <a:lnTo>
                      <a:pt x="166" y="147"/>
                    </a:lnTo>
                    <a:lnTo>
                      <a:pt x="164" y="151"/>
                    </a:lnTo>
                    <a:lnTo>
                      <a:pt x="164" y="151"/>
                    </a:lnTo>
                    <a:lnTo>
                      <a:pt x="164" y="152"/>
                    </a:lnTo>
                    <a:lnTo>
                      <a:pt x="164" y="152"/>
                    </a:lnTo>
                    <a:lnTo>
                      <a:pt x="164" y="152"/>
                    </a:lnTo>
                    <a:lnTo>
                      <a:pt x="158" y="160"/>
                    </a:lnTo>
                    <a:lnTo>
                      <a:pt x="154" y="160"/>
                    </a:lnTo>
                    <a:lnTo>
                      <a:pt x="153" y="160"/>
                    </a:lnTo>
                    <a:lnTo>
                      <a:pt x="153" y="160"/>
                    </a:lnTo>
                    <a:lnTo>
                      <a:pt x="150" y="160"/>
                    </a:lnTo>
                    <a:lnTo>
                      <a:pt x="150" y="160"/>
                    </a:lnTo>
                    <a:lnTo>
                      <a:pt x="149" y="160"/>
                    </a:lnTo>
                    <a:lnTo>
                      <a:pt x="149" y="160"/>
                    </a:lnTo>
                    <a:lnTo>
                      <a:pt x="149" y="162"/>
                    </a:lnTo>
                    <a:lnTo>
                      <a:pt x="150" y="163"/>
                    </a:lnTo>
                    <a:lnTo>
                      <a:pt x="150" y="171"/>
                    </a:lnTo>
                    <a:lnTo>
                      <a:pt x="149" y="173"/>
                    </a:lnTo>
                    <a:lnTo>
                      <a:pt x="149" y="173"/>
                    </a:lnTo>
                    <a:lnTo>
                      <a:pt x="145" y="176"/>
                    </a:lnTo>
                    <a:lnTo>
                      <a:pt x="142" y="177"/>
                    </a:lnTo>
                    <a:lnTo>
                      <a:pt x="142" y="177"/>
                    </a:lnTo>
                    <a:lnTo>
                      <a:pt x="141" y="179"/>
                    </a:lnTo>
                    <a:lnTo>
                      <a:pt x="140" y="179"/>
                    </a:lnTo>
                    <a:lnTo>
                      <a:pt x="140" y="179"/>
                    </a:lnTo>
                    <a:lnTo>
                      <a:pt x="140" y="180"/>
                    </a:lnTo>
                    <a:lnTo>
                      <a:pt x="140" y="180"/>
                    </a:lnTo>
                    <a:lnTo>
                      <a:pt x="138" y="183"/>
                    </a:lnTo>
                    <a:lnTo>
                      <a:pt x="138" y="184"/>
                    </a:lnTo>
                    <a:lnTo>
                      <a:pt x="138" y="185"/>
                    </a:lnTo>
                    <a:lnTo>
                      <a:pt x="138" y="185"/>
                    </a:lnTo>
                    <a:lnTo>
                      <a:pt x="138" y="189"/>
                    </a:lnTo>
                    <a:lnTo>
                      <a:pt x="138" y="189"/>
                    </a:lnTo>
                    <a:lnTo>
                      <a:pt x="138" y="196"/>
                    </a:lnTo>
                    <a:lnTo>
                      <a:pt x="137" y="200"/>
                    </a:lnTo>
                    <a:lnTo>
                      <a:pt x="136" y="203"/>
                    </a:lnTo>
                    <a:lnTo>
                      <a:pt x="130" y="204"/>
                    </a:lnTo>
                    <a:lnTo>
                      <a:pt x="130" y="204"/>
                    </a:lnTo>
                    <a:lnTo>
                      <a:pt x="129" y="204"/>
                    </a:lnTo>
                    <a:lnTo>
                      <a:pt x="129" y="204"/>
                    </a:lnTo>
                    <a:lnTo>
                      <a:pt x="129" y="204"/>
                    </a:lnTo>
                    <a:lnTo>
                      <a:pt x="127" y="206"/>
                    </a:lnTo>
                    <a:lnTo>
                      <a:pt x="128" y="206"/>
                    </a:lnTo>
                    <a:lnTo>
                      <a:pt x="128" y="206"/>
                    </a:lnTo>
                    <a:lnTo>
                      <a:pt x="129" y="204"/>
                    </a:lnTo>
                    <a:lnTo>
                      <a:pt x="129" y="204"/>
                    </a:lnTo>
                    <a:lnTo>
                      <a:pt x="129" y="205"/>
                    </a:lnTo>
                    <a:lnTo>
                      <a:pt x="129" y="205"/>
                    </a:lnTo>
                    <a:lnTo>
                      <a:pt x="129" y="208"/>
                    </a:lnTo>
                    <a:lnTo>
                      <a:pt x="129" y="212"/>
                    </a:lnTo>
                    <a:lnTo>
                      <a:pt x="129" y="212"/>
                    </a:lnTo>
                    <a:lnTo>
                      <a:pt x="129" y="217"/>
                    </a:lnTo>
                    <a:lnTo>
                      <a:pt x="127" y="222"/>
                    </a:lnTo>
                    <a:lnTo>
                      <a:pt x="127" y="222"/>
                    </a:lnTo>
                    <a:lnTo>
                      <a:pt x="127" y="222"/>
                    </a:lnTo>
                    <a:lnTo>
                      <a:pt x="127" y="222"/>
                    </a:lnTo>
                    <a:lnTo>
                      <a:pt x="121" y="228"/>
                    </a:lnTo>
                    <a:lnTo>
                      <a:pt x="120" y="228"/>
                    </a:lnTo>
                    <a:lnTo>
                      <a:pt x="120" y="228"/>
                    </a:lnTo>
                    <a:lnTo>
                      <a:pt x="113" y="226"/>
                    </a:lnTo>
                    <a:lnTo>
                      <a:pt x="113" y="226"/>
                    </a:lnTo>
                    <a:lnTo>
                      <a:pt x="109" y="225"/>
                    </a:lnTo>
                    <a:lnTo>
                      <a:pt x="109" y="225"/>
                    </a:lnTo>
                    <a:lnTo>
                      <a:pt x="108" y="226"/>
                    </a:lnTo>
                    <a:lnTo>
                      <a:pt x="107" y="226"/>
                    </a:lnTo>
                    <a:lnTo>
                      <a:pt x="104" y="226"/>
                    </a:lnTo>
                    <a:lnTo>
                      <a:pt x="104" y="226"/>
                    </a:lnTo>
                    <a:lnTo>
                      <a:pt x="104" y="228"/>
                    </a:lnTo>
                    <a:lnTo>
                      <a:pt x="99" y="233"/>
                    </a:lnTo>
                    <a:lnTo>
                      <a:pt x="99" y="233"/>
                    </a:lnTo>
                    <a:lnTo>
                      <a:pt x="101" y="232"/>
                    </a:lnTo>
                    <a:lnTo>
                      <a:pt x="103" y="230"/>
                    </a:lnTo>
                    <a:lnTo>
                      <a:pt x="103" y="230"/>
                    </a:lnTo>
                    <a:lnTo>
                      <a:pt x="103" y="232"/>
                    </a:lnTo>
                    <a:lnTo>
                      <a:pt x="96" y="236"/>
                    </a:lnTo>
                    <a:lnTo>
                      <a:pt x="86" y="236"/>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7" name="Freeform 21">
                <a:extLst>
                  <a:ext uri="{FF2B5EF4-FFF2-40B4-BE49-F238E27FC236}">
                    <a16:creationId xmlns:a16="http://schemas.microsoft.com/office/drawing/2014/main" xmlns="" id="{8AD161DE-FEA9-48AE-A737-5EDF906C179A}"/>
                  </a:ext>
                </a:extLst>
              </p:cNvPr>
              <p:cNvSpPr>
                <a:spLocks/>
              </p:cNvSpPr>
              <p:nvPr/>
            </p:nvSpPr>
            <p:spPr bwMode="auto">
              <a:xfrm>
                <a:off x="5860395" y="2363050"/>
                <a:ext cx="214154" cy="289018"/>
              </a:xfrm>
              <a:custGeom>
                <a:avLst/>
                <a:gdLst>
                  <a:gd name="T0" fmla="*/ 23 w 123"/>
                  <a:gd name="T1" fmla="*/ 161 h 166"/>
                  <a:gd name="T2" fmla="*/ 12 w 123"/>
                  <a:gd name="T3" fmla="*/ 150 h 166"/>
                  <a:gd name="T4" fmla="*/ 18 w 123"/>
                  <a:gd name="T5" fmla="*/ 144 h 166"/>
                  <a:gd name="T6" fmla="*/ 16 w 123"/>
                  <a:gd name="T7" fmla="*/ 144 h 166"/>
                  <a:gd name="T8" fmla="*/ 7 w 123"/>
                  <a:gd name="T9" fmla="*/ 134 h 166"/>
                  <a:gd name="T10" fmla="*/ 19 w 123"/>
                  <a:gd name="T11" fmla="*/ 124 h 166"/>
                  <a:gd name="T12" fmla="*/ 24 w 123"/>
                  <a:gd name="T13" fmla="*/ 119 h 166"/>
                  <a:gd name="T14" fmla="*/ 23 w 123"/>
                  <a:gd name="T15" fmla="*/ 111 h 166"/>
                  <a:gd name="T16" fmla="*/ 23 w 123"/>
                  <a:gd name="T17" fmla="*/ 107 h 166"/>
                  <a:gd name="T18" fmla="*/ 19 w 123"/>
                  <a:gd name="T19" fmla="*/ 100 h 166"/>
                  <a:gd name="T20" fmla="*/ 20 w 123"/>
                  <a:gd name="T21" fmla="*/ 108 h 166"/>
                  <a:gd name="T22" fmla="*/ 14 w 123"/>
                  <a:gd name="T23" fmla="*/ 107 h 166"/>
                  <a:gd name="T24" fmla="*/ 7 w 123"/>
                  <a:gd name="T25" fmla="*/ 99 h 166"/>
                  <a:gd name="T26" fmla="*/ 7 w 123"/>
                  <a:gd name="T27" fmla="*/ 96 h 166"/>
                  <a:gd name="T28" fmla="*/ 6 w 123"/>
                  <a:gd name="T29" fmla="*/ 97 h 166"/>
                  <a:gd name="T30" fmla="*/ 11 w 123"/>
                  <a:gd name="T31" fmla="*/ 80 h 166"/>
                  <a:gd name="T32" fmla="*/ 16 w 123"/>
                  <a:gd name="T33" fmla="*/ 87 h 166"/>
                  <a:gd name="T34" fmla="*/ 18 w 123"/>
                  <a:gd name="T35" fmla="*/ 84 h 166"/>
                  <a:gd name="T36" fmla="*/ 14 w 123"/>
                  <a:gd name="T37" fmla="*/ 82 h 166"/>
                  <a:gd name="T38" fmla="*/ 23 w 123"/>
                  <a:gd name="T39" fmla="*/ 74 h 166"/>
                  <a:gd name="T40" fmla="*/ 26 w 123"/>
                  <a:gd name="T41" fmla="*/ 66 h 166"/>
                  <a:gd name="T42" fmla="*/ 28 w 123"/>
                  <a:gd name="T43" fmla="*/ 60 h 166"/>
                  <a:gd name="T44" fmla="*/ 29 w 123"/>
                  <a:gd name="T45" fmla="*/ 54 h 166"/>
                  <a:gd name="T46" fmla="*/ 37 w 123"/>
                  <a:gd name="T47" fmla="*/ 45 h 166"/>
                  <a:gd name="T48" fmla="*/ 40 w 123"/>
                  <a:gd name="T49" fmla="*/ 43 h 166"/>
                  <a:gd name="T50" fmla="*/ 44 w 123"/>
                  <a:gd name="T51" fmla="*/ 41 h 166"/>
                  <a:gd name="T52" fmla="*/ 48 w 123"/>
                  <a:gd name="T53" fmla="*/ 34 h 166"/>
                  <a:gd name="T54" fmla="*/ 51 w 123"/>
                  <a:gd name="T55" fmla="*/ 26 h 166"/>
                  <a:gd name="T56" fmla="*/ 52 w 123"/>
                  <a:gd name="T57" fmla="*/ 26 h 166"/>
                  <a:gd name="T58" fmla="*/ 52 w 123"/>
                  <a:gd name="T59" fmla="*/ 22 h 166"/>
                  <a:gd name="T60" fmla="*/ 55 w 123"/>
                  <a:gd name="T61" fmla="*/ 5 h 166"/>
                  <a:gd name="T62" fmla="*/ 63 w 123"/>
                  <a:gd name="T63" fmla="*/ 0 h 166"/>
                  <a:gd name="T64" fmla="*/ 73 w 123"/>
                  <a:gd name="T65" fmla="*/ 5 h 166"/>
                  <a:gd name="T66" fmla="*/ 86 w 123"/>
                  <a:gd name="T67" fmla="*/ 8 h 166"/>
                  <a:gd name="T68" fmla="*/ 85 w 123"/>
                  <a:gd name="T69" fmla="*/ 12 h 166"/>
                  <a:gd name="T70" fmla="*/ 89 w 123"/>
                  <a:gd name="T71" fmla="*/ 10 h 166"/>
                  <a:gd name="T72" fmla="*/ 101 w 123"/>
                  <a:gd name="T73" fmla="*/ 10 h 166"/>
                  <a:gd name="T74" fmla="*/ 104 w 123"/>
                  <a:gd name="T75" fmla="*/ 13 h 166"/>
                  <a:gd name="T76" fmla="*/ 111 w 123"/>
                  <a:gd name="T77" fmla="*/ 8 h 166"/>
                  <a:gd name="T78" fmla="*/ 118 w 123"/>
                  <a:gd name="T79" fmla="*/ 17 h 166"/>
                  <a:gd name="T80" fmla="*/ 117 w 123"/>
                  <a:gd name="T81" fmla="*/ 21 h 166"/>
                  <a:gd name="T82" fmla="*/ 123 w 123"/>
                  <a:gd name="T83" fmla="*/ 31 h 166"/>
                  <a:gd name="T84" fmla="*/ 115 w 123"/>
                  <a:gd name="T85" fmla="*/ 42 h 166"/>
                  <a:gd name="T86" fmla="*/ 115 w 123"/>
                  <a:gd name="T87" fmla="*/ 45 h 166"/>
                  <a:gd name="T88" fmla="*/ 119 w 123"/>
                  <a:gd name="T89" fmla="*/ 56 h 166"/>
                  <a:gd name="T90" fmla="*/ 106 w 123"/>
                  <a:gd name="T91" fmla="*/ 68 h 166"/>
                  <a:gd name="T92" fmla="*/ 104 w 123"/>
                  <a:gd name="T93" fmla="*/ 80 h 166"/>
                  <a:gd name="T94" fmla="*/ 100 w 123"/>
                  <a:gd name="T95" fmla="*/ 80 h 166"/>
                  <a:gd name="T96" fmla="*/ 97 w 123"/>
                  <a:gd name="T97" fmla="*/ 100 h 166"/>
                  <a:gd name="T98" fmla="*/ 92 w 123"/>
                  <a:gd name="T99" fmla="*/ 108 h 166"/>
                  <a:gd name="T100" fmla="*/ 86 w 123"/>
                  <a:gd name="T101" fmla="*/ 127 h 166"/>
                  <a:gd name="T102" fmla="*/ 77 w 123"/>
                  <a:gd name="T103" fmla="*/ 123 h 166"/>
                  <a:gd name="T104" fmla="*/ 76 w 123"/>
                  <a:gd name="T105" fmla="*/ 121 h 166"/>
                  <a:gd name="T106" fmla="*/ 74 w 123"/>
                  <a:gd name="T107" fmla="*/ 123 h 166"/>
                  <a:gd name="T108" fmla="*/ 65 w 123"/>
                  <a:gd name="T109" fmla="*/ 125 h 166"/>
                  <a:gd name="T110" fmla="*/ 55 w 123"/>
                  <a:gd name="T111" fmla="*/ 128 h 166"/>
                  <a:gd name="T112" fmla="*/ 45 w 123"/>
                  <a:gd name="T113" fmla="*/ 134 h 166"/>
                  <a:gd name="T114" fmla="*/ 47 w 123"/>
                  <a:gd name="T115" fmla="*/ 148 h 166"/>
                  <a:gd name="T116" fmla="*/ 47 w 123"/>
                  <a:gd name="T117" fmla="*/ 152 h 166"/>
                  <a:gd name="T118" fmla="*/ 40 w 123"/>
                  <a:gd name="T119" fmla="*/ 16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166">
                    <a:moveTo>
                      <a:pt x="33" y="166"/>
                    </a:moveTo>
                    <a:lnTo>
                      <a:pt x="33" y="166"/>
                    </a:lnTo>
                    <a:lnTo>
                      <a:pt x="28" y="165"/>
                    </a:lnTo>
                    <a:lnTo>
                      <a:pt x="26" y="162"/>
                    </a:lnTo>
                    <a:lnTo>
                      <a:pt x="26" y="162"/>
                    </a:lnTo>
                    <a:lnTo>
                      <a:pt x="23" y="161"/>
                    </a:lnTo>
                    <a:lnTo>
                      <a:pt x="23" y="161"/>
                    </a:lnTo>
                    <a:lnTo>
                      <a:pt x="22" y="162"/>
                    </a:lnTo>
                    <a:lnTo>
                      <a:pt x="20" y="162"/>
                    </a:lnTo>
                    <a:lnTo>
                      <a:pt x="20" y="162"/>
                    </a:lnTo>
                    <a:lnTo>
                      <a:pt x="14" y="157"/>
                    </a:lnTo>
                    <a:lnTo>
                      <a:pt x="12" y="150"/>
                    </a:lnTo>
                    <a:lnTo>
                      <a:pt x="12" y="150"/>
                    </a:lnTo>
                    <a:lnTo>
                      <a:pt x="14" y="149"/>
                    </a:lnTo>
                    <a:lnTo>
                      <a:pt x="14" y="149"/>
                    </a:lnTo>
                    <a:lnTo>
                      <a:pt x="15" y="148"/>
                    </a:lnTo>
                    <a:lnTo>
                      <a:pt x="15" y="146"/>
                    </a:lnTo>
                    <a:lnTo>
                      <a:pt x="18" y="144"/>
                    </a:lnTo>
                    <a:lnTo>
                      <a:pt x="18" y="144"/>
                    </a:lnTo>
                    <a:lnTo>
                      <a:pt x="16" y="144"/>
                    </a:lnTo>
                    <a:lnTo>
                      <a:pt x="16" y="144"/>
                    </a:lnTo>
                    <a:lnTo>
                      <a:pt x="16" y="145"/>
                    </a:lnTo>
                    <a:lnTo>
                      <a:pt x="16" y="145"/>
                    </a:lnTo>
                    <a:lnTo>
                      <a:pt x="16" y="144"/>
                    </a:lnTo>
                    <a:lnTo>
                      <a:pt x="16" y="144"/>
                    </a:lnTo>
                    <a:lnTo>
                      <a:pt x="16" y="144"/>
                    </a:lnTo>
                    <a:lnTo>
                      <a:pt x="16" y="144"/>
                    </a:lnTo>
                    <a:lnTo>
                      <a:pt x="11" y="141"/>
                    </a:lnTo>
                    <a:lnTo>
                      <a:pt x="8" y="138"/>
                    </a:lnTo>
                    <a:lnTo>
                      <a:pt x="7" y="134"/>
                    </a:lnTo>
                    <a:lnTo>
                      <a:pt x="7" y="129"/>
                    </a:lnTo>
                    <a:lnTo>
                      <a:pt x="12" y="124"/>
                    </a:lnTo>
                    <a:lnTo>
                      <a:pt x="12" y="124"/>
                    </a:lnTo>
                    <a:lnTo>
                      <a:pt x="15" y="124"/>
                    </a:lnTo>
                    <a:lnTo>
                      <a:pt x="15" y="124"/>
                    </a:lnTo>
                    <a:lnTo>
                      <a:pt x="19" y="124"/>
                    </a:lnTo>
                    <a:lnTo>
                      <a:pt x="19" y="124"/>
                    </a:lnTo>
                    <a:lnTo>
                      <a:pt x="20" y="124"/>
                    </a:lnTo>
                    <a:lnTo>
                      <a:pt x="20" y="124"/>
                    </a:lnTo>
                    <a:lnTo>
                      <a:pt x="22" y="121"/>
                    </a:lnTo>
                    <a:lnTo>
                      <a:pt x="24" y="119"/>
                    </a:lnTo>
                    <a:lnTo>
                      <a:pt x="24" y="119"/>
                    </a:lnTo>
                    <a:lnTo>
                      <a:pt x="24" y="117"/>
                    </a:lnTo>
                    <a:lnTo>
                      <a:pt x="24" y="116"/>
                    </a:lnTo>
                    <a:lnTo>
                      <a:pt x="24" y="113"/>
                    </a:lnTo>
                    <a:lnTo>
                      <a:pt x="24" y="113"/>
                    </a:lnTo>
                    <a:lnTo>
                      <a:pt x="23" y="111"/>
                    </a:lnTo>
                    <a:lnTo>
                      <a:pt x="23" y="111"/>
                    </a:lnTo>
                    <a:lnTo>
                      <a:pt x="23" y="107"/>
                    </a:lnTo>
                    <a:lnTo>
                      <a:pt x="23" y="107"/>
                    </a:lnTo>
                    <a:lnTo>
                      <a:pt x="24" y="108"/>
                    </a:lnTo>
                    <a:lnTo>
                      <a:pt x="24" y="108"/>
                    </a:lnTo>
                    <a:lnTo>
                      <a:pt x="23" y="107"/>
                    </a:lnTo>
                    <a:lnTo>
                      <a:pt x="23" y="107"/>
                    </a:lnTo>
                    <a:lnTo>
                      <a:pt x="24" y="105"/>
                    </a:lnTo>
                    <a:lnTo>
                      <a:pt x="24" y="105"/>
                    </a:lnTo>
                    <a:lnTo>
                      <a:pt x="26" y="103"/>
                    </a:lnTo>
                    <a:lnTo>
                      <a:pt x="26" y="100"/>
                    </a:lnTo>
                    <a:lnTo>
                      <a:pt x="22" y="104"/>
                    </a:lnTo>
                    <a:lnTo>
                      <a:pt x="19" y="100"/>
                    </a:lnTo>
                    <a:lnTo>
                      <a:pt x="19" y="100"/>
                    </a:lnTo>
                    <a:lnTo>
                      <a:pt x="19" y="103"/>
                    </a:lnTo>
                    <a:lnTo>
                      <a:pt x="19" y="105"/>
                    </a:lnTo>
                    <a:lnTo>
                      <a:pt x="19" y="105"/>
                    </a:lnTo>
                    <a:lnTo>
                      <a:pt x="22" y="107"/>
                    </a:lnTo>
                    <a:lnTo>
                      <a:pt x="20" y="108"/>
                    </a:lnTo>
                    <a:lnTo>
                      <a:pt x="20" y="108"/>
                    </a:lnTo>
                    <a:lnTo>
                      <a:pt x="19" y="108"/>
                    </a:lnTo>
                    <a:lnTo>
                      <a:pt x="19" y="108"/>
                    </a:lnTo>
                    <a:lnTo>
                      <a:pt x="15" y="108"/>
                    </a:lnTo>
                    <a:lnTo>
                      <a:pt x="14" y="107"/>
                    </a:lnTo>
                    <a:lnTo>
                      <a:pt x="14" y="107"/>
                    </a:lnTo>
                    <a:lnTo>
                      <a:pt x="14" y="107"/>
                    </a:lnTo>
                    <a:lnTo>
                      <a:pt x="14" y="107"/>
                    </a:lnTo>
                    <a:lnTo>
                      <a:pt x="14" y="107"/>
                    </a:lnTo>
                    <a:lnTo>
                      <a:pt x="7" y="101"/>
                    </a:lnTo>
                    <a:lnTo>
                      <a:pt x="7" y="101"/>
                    </a:lnTo>
                    <a:lnTo>
                      <a:pt x="7" y="99"/>
                    </a:lnTo>
                    <a:lnTo>
                      <a:pt x="7" y="99"/>
                    </a:lnTo>
                    <a:lnTo>
                      <a:pt x="7" y="99"/>
                    </a:lnTo>
                    <a:lnTo>
                      <a:pt x="7" y="99"/>
                    </a:lnTo>
                    <a:lnTo>
                      <a:pt x="8" y="100"/>
                    </a:lnTo>
                    <a:lnTo>
                      <a:pt x="11" y="103"/>
                    </a:lnTo>
                    <a:lnTo>
                      <a:pt x="7" y="96"/>
                    </a:lnTo>
                    <a:lnTo>
                      <a:pt x="6" y="96"/>
                    </a:lnTo>
                    <a:lnTo>
                      <a:pt x="6" y="96"/>
                    </a:lnTo>
                    <a:lnTo>
                      <a:pt x="7" y="97"/>
                    </a:lnTo>
                    <a:lnTo>
                      <a:pt x="7" y="97"/>
                    </a:lnTo>
                    <a:lnTo>
                      <a:pt x="6" y="97"/>
                    </a:lnTo>
                    <a:lnTo>
                      <a:pt x="6" y="97"/>
                    </a:lnTo>
                    <a:lnTo>
                      <a:pt x="4" y="96"/>
                    </a:lnTo>
                    <a:lnTo>
                      <a:pt x="2" y="94"/>
                    </a:lnTo>
                    <a:lnTo>
                      <a:pt x="0" y="90"/>
                    </a:lnTo>
                    <a:lnTo>
                      <a:pt x="0" y="84"/>
                    </a:lnTo>
                    <a:lnTo>
                      <a:pt x="6" y="80"/>
                    </a:lnTo>
                    <a:lnTo>
                      <a:pt x="11" y="80"/>
                    </a:lnTo>
                    <a:lnTo>
                      <a:pt x="12" y="83"/>
                    </a:lnTo>
                    <a:lnTo>
                      <a:pt x="12" y="83"/>
                    </a:lnTo>
                    <a:lnTo>
                      <a:pt x="14" y="82"/>
                    </a:lnTo>
                    <a:lnTo>
                      <a:pt x="14" y="83"/>
                    </a:lnTo>
                    <a:lnTo>
                      <a:pt x="14" y="84"/>
                    </a:lnTo>
                    <a:lnTo>
                      <a:pt x="16" y="87"/>
                    </a:lnTo>
                    <a:lnTo>
                      <a:pt x="16" y="87"/>
                    </a:lnTo>
                    <a:lnTo>
                      <a:pt x="16" y="87"/>
                    </a:lnTo>
                    <a:lnTo>
                      <a:pt x="18" y="88"/>
                    </a:lnTo>
                    <a:lnTo>
                      <a:pt x="18" y="88"/>
                    </a:lnTo>
                    <a:lnTo>
                      <a:pt x="18" y="87"/>
                    </a:lnTo>
                    <a:lnTo>
                      <a:pt x="18" y="84"/>
                    </a:lnTo>
                    <a:lnTo>
                      <a:pt x="18" y="84"/>
                    </a:lnTo>
                    <a:lnTo>
                      <a:pt x="16" y="83"/>
                    </a:lnTo>
                    <a:lnTo>
                      <a:pt x="16" y="83"/>
                    </a:lnTo>
                    <a:lnTo>
                      <a:pt x="16" y="83"/>
                    </a:lnTo>
                    <a:lnTo>
                      <a:pt x="16" y="83"/>
                    </a:lnTo>
                    <a:lnTo>
                      <a:pt x="14" y="82"/>
                    </a:lnTo>
                    <a:lnTo>
                      <a:pt x="14" y="82"/>
                    </a:lnTo>
                    <a:lnTo>
                      <a:pt x="15" y="80"/>
                    </a:lnTo>
                    <a:lnTo>
                      <a:pt x="15" y="80"/>
                    </a:lnTo>
                    <a:lnTo>
                      <a:pt x="16" y="78"/>
                    </a:lnTo>
                    <a:lnTo>
                      <a:pt x="22" y="74"/>
                    </a:lnTo>
                    <a:lnTo>
                      <a:pt x="23" y="74"/>
                    </a:lnTo>
                    <a:lnTo>
                      <a:pt x="23" y="74"/>
                    </a:lnTo>
                    <a:lnTo>
                      <a:pt x="24" y="74"/>
                    </a:lnTo>
                    <a:lnTo>
                      <a:pt x="24" y="74"/>
                    </a:lnTo>
                    <a:lnTo>
                      <a:pt x="24" y="74"/>
                    </a:lnTo>
                    <a:lnTo>
                      <a:pt x="24" y="68"/>
                    </a:lnTo>
                    <a:lnTo>
                      <a:pt x="26" y="66"/>
                    </a:lnTo>
                    <a:lnTo>
                      <a:pt x="26" y="66"/>
                    </a:lnTo>
                    <a:lnTo>
                      <a:pt x="27" y="66"/>
                    </a:lnTo>
                    <a:lnTo>
                      <a:pt x="27" y="66"/>
                    </a:lnTo>
                    <a:lnTo>
                      <a:pt x="27" y="62"/>
                    </a:lnTo>
                    <a:lnTo>
                      <a:pt x="28" y="60"/>
                    </a:lnTo>
                    <a:lnTo>
                      <a:pt x="28" y="60"/>
                    </a:lnTo>
                    <a:lnTo>
                      <a:pt x="29" y="58"/>
                    </a:lnTo>
                    <a:lnTo>
                      <a:pt x="33" y="51"/>
                    </a:lnTo>
                    <a:lnTo>
                      <a:pt x="33" y="51"/>
                    </a:lnTo>
                    <a:lnTo>
                      <a:pt x="31" y="53"/>
                    </a:lnTo>
                    <a:lnTo>
                      <a:pt x="29" y="54"/>
                    </a:lnTo>
                    <a:lnTo>
                      <a:pt x="29" y="54"/>
                    </a:lnTo>
                    <a:lnTo>
                      <a:pt x="29" y="54"/>
                    </a:lnTo>
                    <a:lnTo>
                      <a:pt x="29" y="54"/>
                    </a:lnTo>
                    <a:lnTo>
                      <a:pt x="31" y="51"/>
                    </a:lnTo>
                    <a:lnTo>
                      <a:pt x="36" y="46"/>
                    </a:lnTo>
                    <a:lnTo>
                      <a:pt x="36" y="46"/>
                    </a:lnTo>
                    <a:lnTo>
                      <a:pt x="37" y="45"/>
                    </a:lnTo>
                    <a:lnTo>
                      <a:pt x="37" y="45"/>
                    </a:lnTo>
                    <a:lnTo>
                      <a:pt x="41" y="42"/>
                    </a:lnTo>
                    <a:lnTo>
                      <a:pt x="43" y="41"/>
                    </a:lnTo>
                    <a:lnTo>
                      <a:pt x="43" y="41"/>
                    </a:lnTo>
                    <a:lnTo>
                      <a:pt x="41" y="42"/>
                    </a:lnTo>
                    <a:lnTo>
                      <a:pt x="40" y="43"/>
                    </a:lnTo>
                    <a:lnTo>
                      <a:pt x="44" y="42"/>
                    </a:lnTo>
                    <a:lnTo>
                      <a:pt x="44" y="42"/>
                    </a:lnTo>
                    <a:lnTo>
                      <a:pt x="44" y="41"/>
                    </a:lnTo>
                    <a:lnTo>
                      <a:pt x="44" y="41"/>
                    </a:lnTo>
                    <a:lnTo>
                      <a:pt x="44" y="41"/>
                    </a:lnTo>
                    <a:lnTo>
                      <a:pt x="44" y="41"/>
                    </a:lnTo>
                    <a:lnTo>
                      <a:pt x="44" y="41"/>
                    </a:lnTo>
                    <a:lnTo>
                      <a:pt x="51" y="35"/>
                    </a:lnTo>
                    <a:lnTo>
                      <a:pt x="51" y="34"/>
                    </a:lnTo>
                    <a:lnTo>
                      <a:pt x="51" y="34"/>
                    </a:lnTo>
                    <a:lnTo>
                      <a:pt x="47" y="35"/>
                    </a:lnTo>
                    <a:lnTo>
                      <a:pt x="48" y="34"/>
                    </a:lnTo>
                    <a:lnTo>
                      <a:pt x="48" y="34"/>
                    </a:lnTo>
                    <a:lnTo>
                      <a:pt x="49" y="34"/>
                    </a:lnTo>
                    <a:lnTo>
                      <a:pt x="49" y="31"/>
                    </a:lnTo>
                    <a:lnTo>
                      <a:pt x="49" y="30"/>
                    </a:lnTo>
                    <a:lnTo>
                      <a:pt x="49" y="30"/>
                    </a:lnTo>
                    <a:lnTo>
                      <a:pt x="51" y="26"/>
                    </a:lnTo>
                    <a:lnTo>
                      <a:pt x="51" y="26"/>
                    </a:lnTo>
                    <a:lnTo>
                      <a:pt x="51" y="29"/>
                    </a:lnTo>
                    <a:lnTo>
                      <a:pt x="55" y="23"/>
                    </a:lnTo>
                    <a:lnTo>
                      <a:pt x="53" y="23"/>
                    </a:lnTo>
                    <a:lnTo>
                      <a:pt x="53" y="23"/>
                    </a:lnTo>
                    <a:lnTo>
                      <a:pt x="52" y="26"/>
                    </a:lnTo>
                    <a:lnTo>
                      <a:pt x="52" y="26"/>
                    </a:lnTo>
                    <a:lnTo>
                      <a:pt x="52" y="26"/>
                    </a:lnTo>
                    <a:lnTo>
                      <a:pt x="52" y="26"/>
                    </a:lnTo>
                    <a:lnTo>
                      <a:pt x="52" y="23"/>
                    </a:lnTo>
                    <a:lnTo>
                      <a:pt x="52" y="22"/>
                    </a:lnTo>
                    <a:lnTo>
                      <a:pt x="52" y="22"/>
                    </a:lnTo>
                    <a:lnTo>
                      <a:pt x="52" y="22"/>
                    </a:lnTo>
                    <a:lnTo>
                      <a:pt x="52" y="22"/>
                    </a:lnTo>
                    <a:lnTo>
                      <a:pt x="48" y="18"/>
                    </a:lnTo>
                    <a:lnTo>
                      <a:pt x="48" y="14"/>
                    </a:lnTo>
                    <a:lnTo>
                      <a:pt x="48" y="10"/>
                    </a:lnTo>
                    <a:lnTo>
                      <a:pt x="55" y="5"/>
                    </a:lnTo>
                    <a:lnTo>
                      <a:pt x="55" y="5"/>
                    </a:lnTo>
                    <a:lnTo>
                      <a:pt x="56" y="5"/>
                    </a:lnTo>
                    <a:lnTo>
                      <a:pt x="56" y="5"/>
                    </a:lnTo>
                    <a:lnTo>
                      <a:pt x="57" y="4"/>
                    </a:lnTo>
                    <a:lnTo>
                      <a:pt x="57" y="2"/>
                    </a:lnTo>
                    <a:lnTo>
                      <a:pt x="63" y="0"/>
                    </a:lnTo>
                    <a:lnTo>
                      <a:pt x="65" y="0"/>
                    </a:lnTo>
                    <a:lnTo>
                      <a:pt x="69" y="2"/>
                    </a:lnTo>
                    <a:lnTo>
                      <a:pt x="69" y="2"/>
                    </a:lnTo>
                    <a:lnTo>
                      <a:pt x="72" y="5"/>
                    </a:lnTo>
                    <a:lnTo>
                      <a:pt x="72" y="5"/>
                    </a:lnTo>
                    <a:lnTo>
                      <a:pt x="73" y="5"/>
                    </a:lnTo>
                    <a:lnTo>
                      <a:pt x="73" y="5"/>
                    </a:lnTo>
                    <a:lnTo>
                      <a:pt x="76" y="4"/>
                    </a:lnTo>
                    <a:lnTo>
                      <a:pt x="78" y="4"/>
                    </a:lnTo>
                    <a:lnTo>
                      <a:pt x="78" y="4"/>
                    </a:lnTo>
                    <a:lnTo>
                      <a:pt x="84" y="5"/>
                    </a:lnTo>
                    <a:lnTo>
                      <a:pt x="86" y="8"/>
                    </a:lnTo>
                    <a:lnTo>
                      <a:pt x="86" y="9"/>
                    </a:lnTo>
                    <a:lnTo>
                      <a:pt x="86" y="9"/>
                    </a:lnTo>
                    <a:lnTo>
                      <a:pt x="86" y="9"/>
                    </a:lnTo>
                    <a:lnTo>
                      <a:pt x="85" y="10"/>
                    </a:lnTo>
                    <a:lnTo>
                      <a:pt x="85" y="10"/>
                    </a:lnTo>
                    <a:lnTo>
                      <a:pt x="85" y="12"/>
                    </a:lnTo>
                    <a:lnTo>
                      <a:pt x="85" y="14"/>
                    </a:lnTo>
                    <a:lnTo>
                      <a:pt x="88" y="10"/>
                    </a:lnTo>
                    <a:lnTo>
                      <a:pt x="90" y="14"/>
                    </a:lnTo>
                    <a:lnTo>
                      <a:pt x="90" y="14"/>
                    </a:lnTo>
                    <a:lnTo>
                      <a:pt x="90" y="12"/>
                    </a:lnTo>
                    <a:lnTo>
                      <a:pt x="89" y="10"/>
                    </a:lnTo>
                    <a:lnTo>
                      <a:pt x="89" y="10"/>
                    </a:lnTo>
                    <a:lnTo>
                      <a:pt x="89" y="9"/>
                    </a:lnTo>
                    <a:lnTo>
                      <a:pt x="90" y="6"/>
                    </a:lnTo>
                    <a:lnTo>
                      <a:pt x="97" y="6"/>
                    </a:lnTo>
                    <a:lnTo>
                      <a:pt x="101" y="10"/>
                    </a:lnTo>
                    <a:lnTo>
                      <a:pt x="101" y="10"/>
                    </a:lnTo>
                    <a:lnTo>
                      <a:pt x="101" y="10"/>
                    </a:lnTo>
                    <a:lnTo>
                      <a:pt x="101" y="10"/>
                    </a:lnTo>
                    <a:lnTo>
                      <a:pt x="102" y="12"/>
                    </a:lnTo>
                    <a:lnTo>
                      <a:pt x="102" y="12"/>
                    </a:lnTo>
                    <a:lnTo>
                      <a:pt x="102" y="12"/>
                    </a:lnTo>
                    <a:lnTo>
                      <a:pt x="104" y="13"/>
                    </a:lnTo>
                    <a:lnTo>
                      <a:pt x="104" y="13"/>
                    </a:lnTo>
                    <a:lnTo>
                      <a:pt x="102" y="12"/>
                    </a:lnTo>
                    <a:lnTo>
                      <a:pt x="102" y="12"/>
                    </a:lnTo>
                    <a:lnTo>
                      <a:pt x="105" y="10"/>
                    </a:lnTo>
                    <a:lnTo>
                      <a:pt x="110" y="8"/>
                    </a:lnTo>
                    <a:lnTo>
                      <a:pt x="111" y="8"/>
                    </a:lnTo>
                    <a:lnTo>
                      <a:pt x="113" y="8"/>
                    </a:lnTo>
                    <a:lnTo>
                      <a:pt x="113" y="8"/>
                    </a:lnTo>
                    <a:lnTo>
                      <a:pt x="115" y="9"/>
                    </a:lnTo>
                    <a:lnTo>
                      <a:pt x="117" y="10"/>
                    </a:lnTo>
                    <a:lnTo>
                      <a:pt x="118" y="14"/>
                    </a:lnTo>
                    <a:lnTo>
                      <a:pt x="118" y="17"/>
                    </a:lnTo>
                    <a:lnTo>
                      <a:pt x="118" y="17"/>
                    </a:lnTo>
                    <a:lnTo>
                      <a:pt x="118" y="18"/>
                    </a:lnTo>
                    <a:lnTo>
                      <a:pt x="118" y="18"/>
                    </a:lnTo>
                    <a:lnTo>
                      <a:pt x="118" y="19"/>
                    </a:lnTo>
                    <a:lnTo>
                      <a:pt x="117" y="21"/>
                    </a:lnTo>
                    <a:lnTo>
                      <a:pt x="117" y="21"/>
                    </a:lnTo>
                    <a:lnTo>
                      <a:pt x="117" y="22"/>
                    </a:lnTo>
                    <a:lnTo>
                      <a:pt x="117" y="22"/>
                    </a:lnTo>
                    <a:lnTo>
                      <a:pt x="122" y="25"/>
                    </a:lnTo>
                    <a:lnTo>
                      <a:pt x="122" y="25"/>
                    </a:lnTo>
                    <a:lnTo>
                      <a:pt x="123" y="29"/>
                    </a:lnTo>
                    <a:lnTo>
                      <a:pt x="123" y="31"/>
                    </a:lnTo>
                    <a:lnTo>
                      <a:pt x="121" y="35"/>
                    </a:lnTo>
                    <a:lnTo>
                      <a:pt x="117" y="39"/>
                    </a:lnTo>
                    <a:lnTo>
                      <a:pt x="117" y="39"/>
                    </a:lnTo>
                    <a:lnTo>
                      <a:pt x="115" y="41"/>
                    </a:lnTo>
                    <a:lnTo>
                      <a:pt x="115" y="42"/>
                    </a:lnTo>
                    <a:lnTo>
                      <a:pt x="115" y="42"/>
                    </a:lnTo>
                    <a:lnTo>
                      <a:pt x="117" y="45"/>
                    </a:lnTo>
                    <a:lnTo>
                      <a:pt x="117" y="45"/>
                    </a:lnTo>
                    <a:lnTo>
                      <a:pt x="117" y="45"/>
                    </a:lnTo>
                    <a:lnTo>
                      <a:pt x="117" y="45"/>
                    </a:lnTo>
                    <a:lnTo>
                      <a:pt x="115" y="43"/>
                    </a:lnTo>
                    <a:lnTo>
                      <a:pt x="115" y="45"/>
                    </a:lnTo>
                    <a:lnTo>
                      <a:pt x="115" y="45"/>
                    </a:lnTo>
                    <a:lnTo>
                      <a:pt x="119" y="49"/>
                    </a:lnTo>
                    <a:lnTo>
                      <a:pt x="119" y="50"/>
                    </a:lnTo>
                    <a:lnTo>
                      <a:pt x="119" y="50"/>
                    </a:lnTo>
                    <a:lnTo>
                      <a:pt x="119" y="54"/>
                    </a:lnTo>
                    <a:lnTo>
                      <a:pt x="119" y="56"/>
                    </a:lnTo>
                    <a:lnTo>
                      <a:pt x="117" y="60"/>
                    </a:lnTo>
                    <a:lnTo>
                      <a:pt x="113" y="63"/>
                    </a:lnTo>
                    <a:lnTo>
                      <a:pt x="110" y="64"/>
                    </a:lnTo>
                    <a:lnTo>
                      <a:pt x="110" y="64"/>
                    </a:lnTo>
                    <a:lnTo>
                      <a:pt x="108" y="64"/>
                    </a:lnTo>
                    <a:lnTo>
                      <a:pt x="106" y="68"/>
                    </a:lnTo>
                    <a:lnTo>
                      <a:pt x="106" y="70"/>
                    </a:lnTo>
                    <a:lnTo>
                      <a:pt x="106" y="70"/>
                    </a:lnTo>
                    <a:lnTo>
                      <a:pt x="104" y="72"/>
                    </a:lnTo>
                    <a:lnTo>
                      <a:pt x="104" y="74"/>
                    </a:lnTo>
                    <a:lnTo>
                      <a:pt x="104" y="80"/>
                    </a:lnTo>
                    <a:lnTo>
                      <a:pt x="104" y="80"/>
                    </a:lnTo>
                    <a:lnTo>
                      <a:pt x="104" y="83"/>
                    </a:lnTo>
                    <a:lnTo>
                      <a:pt x="104" y="83"/>
                    </a:lnTo>
                    <a:lnTo>
                      <a:pt x="104" y="84"/>
                    </a:lnTo>
                    <a:lnTo>
                      <a:pt x="104" y="84"/>
                    </a:lnTo>
                    <a:lnTo>
                      <a:pt x="102" y="82"/>
                    </a:lnTo>
                    <a:lnTo>
                      <a:pt x="100" y="80"/>
                    </a:lnTo>
                    <a:lnTo>
                      <a:pt x="105" y="86"/>
                    </a:lnTo>
                    <a:lnTo>
                      <a:pt x="105" y="94"/>
                    </a:lnTo>
                    <a:lnTo>
                      <a:pt x="101" y="99"/>
                    </a:lnTo>
                    <a:lnTo>
                      <a:pt x="101" y="99"/>
                    </a:lnTo>
                    <a:lnTo>
                      <a:pt x="97" y="100"/>
                    </a:lnTo>
                    <a:lnTo>
                      <a:pt x="97" y="100"/>
                    </a:lnTo>
                    <a:lnTo>
                      <a:pt x="90" y="103"/>
                    </a:lnTo>
                    <a:lnTo>
                      <a:pt x="90" y="103"/>
                    </a:lnTo>
                    <a:lnTo>
                      <a:pt x="90" y="103"/>
                    </a:lnTo>
                    <a:lnTo>
                      <a:pt x="92" y="107"/>
                    </a:lnTo>
                    <a:lnTo>
                      <a:pt x="92" y="108"/>
                    </a:lnTo>
                    <a:lnTo>
                      <a:pt x="92" y="108"/>
                    </a:lnTo>
                    <a:lnTo>
                      <a:pt x="93" y="116"/>
                    </a:lnTo>
                    <a:lnTo>
                      <a:pt x="92" y="120"/>
                    </a:lnTo>
                    <a:lnTo>
                      <a:pt x="89" y="124"/>
                    </a:lnTo>
                    <a:lnTo>
                      <a:pt x="88" y="125"/>
                    </a:lnTo>
                    <a:lnTo>
                      <a:pt x="88" y="125"/>
                    </a:lnTo>
                    <a:lnTo>
                      <a:pt x="86" y="127"/>
                    </a:lnTo>
                    <a:lnTo>
                      <a:pt x="82" y="127"/>
                    </a:lnTo>
                    <a:lnTo>
                      <a:pt x="82" y="127"/>
                    </a:lnTo>
                    <a:lnTo>
                      <a:pt x="78" y="127"/>
                    </a:lnTo>
                    <a:lnTo>
                      <a:pt x="78" y="127"/>
                    </a:lnTo>
                    <a:lnTo>
                      <a:pt x="80" y="127"/>
                    </a:lnTo>
                    <a:lnTo>
                      <a:pt x="77" y="123"/>
                    </a:lnTo>
                    <a:lnTo>
                      <a:pt x="77" y="123"/>
                    </a:lnTo>
                    <a:lnTo>
                      <a:pt x="78" y="121"/>
                    </a:lnTo>
                    <a:lnTo>
                      <a:pt x="78" y="121"/>
                    </a:lnTo>
                    <a:lnTo>
                      <a:pt x="78" y="119"/>
                    </a:lnTo>
                    <a:lnTo>
                      <a:pt x="78" y="116"/>
                    </a:lnTo>
                    <a:lnTo>
                      <a:pt x="76" y="121"/>
                    </a:lnTo>
                    <a:lnTo>
                      <a:pt x="73" y="116"/>
                    </a:lnTo>
                    <a:lnTo>
                      <a:pt x="73" y="116"/>
                    </a:lnTo>
                    <a:lnTo>
                      <a:pt x="72" y="119"/>
                    </a:lnTo>
                    <a:lnTo>
                      <a:pt x="73" y="121"/>
                    </a:lnTo>
                    <a:lnTo>
                      <a:pt x="73" y="121"/>
                    </a:lnTo>
                    <a:lnTo>
                      <a:pt x="74" y="123"/>
                    </a:lnTo>
                    <a:lnTo>
                      <a:pt x="73" y="125"/>
                    </a:lnTo>
                    <a:lnTo>
                      <a:pt x="72" y="125"/>
                    </a:lnTo>
                    <a:lnTo>
                      <a:pt x="72" y="125"/>
                    </a:lnTo>
                    <a:lnTo>
                      <a:pt x="69" y="125"/>
                    </a:lnTo>
                    <a:lnTo>
                      <a:pt x="69" y="125"/>
                    </a:lnTo>
                    <a:lnTo>
                      <a:pt x="65" y="125"/>
                    </a:lnTo>
                    <a:lnTo>
                      <a:pt x="61" y="124"/>
                    </a:lnTo>
                    <a:lnTo>
                      <a:pt x="61" y="124"/>
                    </a:lnTo>
                    <a:lnTo>
                      <a:pt x="60" y="125"/>
                    </a:lnTo>
                    <a:lnTo>
                      <a:pt x="57" y="127"/>
                    </a:lnTo>
                    <a:lnTo>
                      <a:pt x="55" y="128"/>
                    </a:lnTo>
                    <a:lnTo>
                      <a:pt x="55" y="128"/>
                    </a:lnTo>
                    <a:lnTo>
                      <a:pt x="51" y="129"/>
                    </a:lnTo>
                    <a:lnTo>
                      <a:pt x="48" y="131"/>
                    </a:lnTo>
                    <a:lnTo>
                      <a:pt x="48" y="131"/>
                    </a:lnTo>
                    <a:lnTo>
                      <a:pt x="47" y="132"/>
                    </a:lnTo>
                    <a:lnTo>
                      <a:pt x="45" y="134"/>
                    </a:lnTo>
                    <a:lnTo>
                      <a:pt x="45" y="134"/>
                    </a:lnTo>
                    <a:lnTo>
                      <a:pt x="45" y="134"/>
                    </a:lnTo>
                    <a:lnTo>
                      <a:pt x="45" y="134"/>
                    </a:lnTo>
                    <a:lnTo>
                      <a:pt x="49" y="138"/>
                    </a:lnTo>
                    <a:lnTo>
                      <a:pt x="49" y="138"/>
                    </a:lnTo>
                    <a:lnTo>
                      <a:pt x="52" y="140"/>
                    </a:lnTo>
                    <a:lnTo>
                      <a:pt x="47" y="148"/>
                    </a:lnTo>
                    <a:lnTo>
                      <a:pt x="47" y="150"/>
                    </a:lnTo>
                    <a:lnTo>
                      <a:pt x="45" y="152"/>
                    </a:lnTo>
                    <a:lnTo>
                      <a:pt x="45" y="152"/>
                    </a:lnTo>
                    <a:lnTo>
                      <a:pt x="45" y="152"/>
                    </a:lnTo>
                    <a:lnTo>
                      <a:pt x="45" y="152"/>
                    </a:lnTo>
                    <a:lnTo>
                      <a:pt x="47" y="152"/>
                    </a:lnTo>
                    <a:lnTo>
                      <a:pt x="45" y="153"/>
                    </a:lnTo>
                    <a:lnTo>
                      <a:pt x="45" y="153"/>
                    </a:lnTo>
                    <a:lnTo>
                      <a:pt x="43" y="153"/>
                    </a:lnTo>
                    <a:lnTo>
                      <a:pt x="43" y="153"/>
                    </a:lnTo>
                    <a:lnTo>
                      <a:pt x="40" y="152"/>
                    </a:lnTo>
                    <a:lnTo>
                      <a:pt x="40" y="160"/>
                    </a:lnTo>
                    <a:lnTo>
                      <a:pt x="33" y="166"/>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8" name="Freeform 22">
                <a:extLst>
                  <a:ext uri="{FF2B5EF4-FFF2-40B4-BE49-F238E27FC236}">
                    <a16:creationId xmlns:a16="http://schemas.microsoft.com/office/drawing/2014/main" xmlns="" id="{3EA8A5CA-5C11-4029-A71D-B15549EFC1BF}"/>
                  </a:ext>
                </a:extLst>
              </p:cNvPr>
              <p:cNvSpPr>
                <a:spLocks/>
              </p:cNvSpPr>
              <p:nvPr/>
            </p:nvSpPr>
            <p:spPr bwMode="auto">
              <a:xfrm>
                <a:off x="6010128" y="2364791"/>
                <a:ext cx="205448" cy="269867"/>
              </a:xfrm>
              <a:custGeom>
                <a:avLst/>
                <a:gdLst>
                  <a:gd name="T0" fmla="*/ 102 w 118"/>
                  <a:gd name="T1" fmla="*/ 153 h 155"/>
                  <a:gd name="T2" fmla="*/ 101 w 118"/>
                  <a:gd name="T3" fmla="*/ 153 h 155"/>
                  <a:gd name="T4" fmla="*/ 93 w 118"/>
                  <a:gd name="T5" fmla="*/ 153 h 155"/>
                  <a:gd name="T6" fmla="*/ 82 w 118"/>
                  <a:gd name="T7" fmla="*/ 144 h 155"/>
                  <a:gd name="T8" fmla="*/ 78 w 118"/>
                  <a:gd name="T9" fmla="*/ 139 h 155"/>
                  <a:gd name="T10" fmla="*/ 78 w 118"/>
                  <a:gd name="T11" fmla="*/ 139 h 155"/>
                  <a:gd name="T12" fmla="*/ 78 w 118"/>
                  <a:gd name="T13" fmla="*/ 140 h 155"/>
                  <a:gd name="T14" fmla="*/ 66 w 118"/>
                  <a:gd name="T15" fmla="*/ 139 h 155"/>
                  <a:gd name="T16" fmla="*/ 53 w 118"/>
                  <a:gd name="T17" fmla="*/ 131 h 155"/>
                  <a:gd name="T18" fmla="*/ 48 w 118"/>
                  <a:gd name="T19" fmla="*/ 132 h 155"/>
                  <a:gd name="T20" fmla="*/ 52 w 118"/>
                  <a:gd name="T21" fmla="*/ 145 h 155"/>
                  <a:gd name="T22" fmla="*/ 39 w 118"/>
                  <a:gd name="T23" fmla="*/ 147 h 155"/>
                  <a:gd name="T24" fmla="*/ 41 w 118"/>
                  <a:gd name="T25" fmla="*/ 151 h 155"/>
                  <a:gd name="T26" fmla="*/ 35 w 118"/>
                  <a:gd name="T27" fmla="*/ 151 h 155"/>
                  <a:gd name="T28" fmla="*/ 28 w 118"/>
                  <a:gd name="T29" fmla="*/ 147 h 155"/>
                  <a:gd name="T30" fmla="*/ 23 w 118"/>
                  <a:gd name="T31" fmla="*/ 148 h 155"/>
                  <a:gd name="T32" fmla="*/ 18 w 118"/>
                  <a:gd name="T33" fmla="*/ 147 h 155"/>
                  <a:gd name="T34" fmla="*/ 6 w 118"/>
                  <a:gd name="T35" fmla="*/ 145 h 155"/>
                  <a:gd name="T36" fmla="*/ 0 w 118"/>
                  <a:gd name="T37" fmla="*/ 139 h 155"/>
                  <a:gd name="T38" fmla="*/ 4 w 118"/>
                  <a:gd name="T39" fmla="*/ 133 h 155"/>
                  <a:gd name="T40" fmla="*/ 4 w 118"/>
                  <a:gd name="T41" fmla="*/ 132 h 155"/>
                  <a:gd name="T42" fmla="*/ 3 w 118"/>
                  <a:gd name="T43" fmla="*/ 120 h 155"/>
                  <a:gd name="T44" fmla="*/ 4 w 118"/>
                  <a:gd name="T45" fmla="*/ 111 h 155"/>
                  <a:gd name="T46" fmla="*/ 2 w 118"/>
                  <a:gd name="T47" fmla="*/ 108 h 155"/>
                  <a:gd name="T48" fmla="*/ 2 w 118"/>
                  <a:gd name="T49" fmla="*/ 99 h 155"/>
                  <a:gd name="T50" fmla="*/ 8 w 118"/>
                  <a:gd name="T51" fmla="*/ 95 h 155"/>
                  <a:gd name="T52" fmla="*/ 16 w 118"/>
                  <a:gd name="T53" fmla="*/ 90 h 155"/>
                  <a:gd name="T54" fmla="*/ 18 w 118"/>
                  <a:gd name="T55" fmla="*/ 90 h 155"/>
                  <a:gd name="T56" fmla="*/ 12 w 118"/>
                  <a:gd name="T57" fmla="*/ 85 h 155"/>
                  <a:gd name="T58" fmla="*/ 12 w 118"/>
                  <a:gd name="T59" fmla="*/ 74 h 155"/>
                  <a:gd name="T60" fmla="*/ 28 w 118"/>
                  <a:gd name="T61" fmla="*/ 58 h 155"/>
                  <a:gd name="T62" fmla="*/ 28 w 118"/>
                  <a:gd name="T63" fmla="*/ 49 h 155"/>
                  <a:gd name="T64" fmla="*/ 31 w 118"/>
                  <a:gd name="T65" fmla="*/ 37 h 155"/>
                  <a:gd name="T66" fmla="*/ 37 w 118"/>
                  <a:gd name="T67" fmla="*/ 28 h 155"/>
                  <a:gd name="T68" fmla="*/ 32 w 118"/>
                  <a:gd name="T69" fmla="*/ 24 h 155"/>
                  <a:gd name="T70" fmla="*/ 29 w 118"/>
                  <a:gd name="T71" fmla="*/ 12 h 155"/>
                  <a:gd name="T72" fmla="*/ 29 w 118"/>
                  <a:gd name="T73" fmla="*/ 9 h 155"/>
                  <a:gd name="T74" fmla="*/ 36 w 118"/>
                  <a:gd name="T75" fmla="*/ 0 h 155"/>
                  <a:gd name="T76" fmla="*/ 39 w 118"/>
                  <a:gd name="T77" fmla="*/ 1 h 155"/>
                  <a:gd name="T78" fmla="*/ 48 w 118"/>
                  <a:gd name="T79" fmla="*/ 5 h 155"/>
                  <a:gd name="T80" fmla="*/ 61 w 118"/>
                  <a:gd name="T81" fmla="*/ 4 h 155"/>
                  <a:gd name="T82" fmla="*/ 72 w 118"/>
                  <a:gd name="T83" fmla="*/ 12 h 155"/>
                  <a:gd name="T84" fmla="*/ 77 w 118"/>
                  <a:gd name="T85" fmla="*/ 14 h 155"/>
                  <a:gd name="T86" fmla="*/ 81 w 118"/>
                  <a:gd name="T87" fmla="*/ 11 h 155"/>
                  <a:gd name="T88" fmla="*/ 94 w 118"/>
                  <a:gd name="T89" fmla="*/ 16 h 155"/>
                  <a:gd name="T90" fmla="*/ 101 w 118"/>
                  <a:gd name="T91" fmla="*/ 21 h 155"/>
                  <a:gd name="T92" fmla="*/ 100 w 118"/>
                  <a:gd name="T93" fmla="*/ 33 h 155"/>
                  <a:gd name="T94" fmla="*/ 100 w 118"/>
                  <a:gd name="T95" fmla="*/ 46 h 155"/>
                  <a:gd name="T96" fmla="*/ 113 w 118"/>
                  <a:gd name="T97" fmla="*/ 55 h 155"/>
                  <a:gd name="T98" fmla="*/ 111 w 118"/>
                  <a:gd name="T99" fmla="*/ 65 h 155"/>
                  <a:gd name="T100" fmla="*/ 118 w 118"/>
                  <a:gd name="T101" fmla="*/ 73 h 155"/>
                  <a:gd name="T102" fmla="*/ 117 w 118"/>
                  <a:gd name="T103" fmla="*/ 86 h 155"/>
                  <a:gd name="T104" fmla="*/ 114 w 118"/>
                  <a:gd name="T105" fmla="*/ 12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155">
                    <a:moveTo>
                      <a:pt x="105" y="155"/>
                    </a:moveTo>
                    <a:lnTo>
                      <a:pt x="100" y="151"/>
                    </a:lnTo>
                    <a:lnTo>
                      <a:pt x="100" y="151"/>
                    </a:lnTo>
                    <a:lnTo>
                      <a:pt x="101" y="152"/>
                    </a:lnTo>
                    <a:lnTo>
                      <a:pt x="102" y="153"/>
                    </a:lnTo>
                    <a:lnTo>
                      <a:pt x="102" y="153"/>
                    </a:lnTo>
                    <a:lnTo>
                      <a:pt x="101" y="153"/>
                    </a:lnTo>
                    <a:lnTo>
                      <a:pt x="101" y="153"/>
                    </a:lnTo>
                    <a:lnTo>
                      <a:pt x="101" y="153"/>
                    </a:lnTo>
                    <a:lnTo>
                      <a:pt x="101" y="153"/>
                    </a:lnTo>
                    <a:lnTo>
                      <a:pt x="100" y="153"/>
                    </a:lnTo>
                    <a:lnTo>
                      <a:pt x="100" y="153"/>
                    </a:lnTo>
                    <a:lnTo>
                      <a:pt x="96" y="153"/>
                    </a:lnTo>
                    <a:lnTo>
                      <a:pt x="96" y="153"/>
                    </a:lnTo>
                    <a:lnTo>
                      <a:pt x="93" y="153"/>
                    </a:lnTo>
                    <a:lnTo>
                      <a:pt x="89" y="152"/>
                    </a:lnTo>
                    <a:lnTo>
                      <a:pt x="88" y="151"/>
                    </a:lnTo>
                    <a:lnTo>
                      <a:pt x="88" y="151"/>
                    </a:lnTo>
                    <a:lnTo>
                      <a:pt x="84" y="148"/>
                    </a:lnTo>
                    <a:lnTo>
                      <a:pt x="82" y="144"/>
                    </a:lnTo>
                    <a:lnTo>
                      <a:pt x="82" y="144"/>
                    </a:lnTo>
                    <a:lnTo>
                      <a:pt x="80" y="141"/>
                    </a:lnTo>
                    <a:lnTo>
                      <a:pt x="81" y="140"/>
                    </a:lnTo>
                    <a:lnTo>
                      <a:pt x="78" y="139"/>
                    </a:lnTo>
                    <a:lnTo>
                      <a:pt x="78" y="139"/>
                    </a:lnTo>
                    <a:lnTo>
                      <a:pt x="81" y="137"/>
                    </a:lnTo>
                    <a:lnTo>
                      <a:pt x="78" y="139"/>
                    </a:lnTo>
                    <a:lnTo>
                      <a:pt x="77" y="137"/>
                    </a:lnTo>
                    <a:lnTo>
                      <a:pt x="77" y="137"/>
                    </a:lnTo>
                    <a:lnTo>
                      <a:pt x="78" y="139"/>
                    </a:lnTo>
                    <a:lnTo>
                      <a:pt x="78" y="139"/>
                    </a:lnTo>
                    <a:lnTo>
                      <a:pt x="78" y="139"/>
                    </a:lnTo>
                    <a:lnTo>
                      <a:pt x="78" y="139"/>
                    </a:lnTo>
                    <a:lnTo>
                      <a:pt x="78" y="140"/>
                    </a:lnTo>
                    <a:lnTo>
                      <a:pt x="78" y="140"/>
                    </a:lnTo>
                    <a:lnTo>
                      <a:pt x="74" y="141"/>
                    </a:lnTo>
                    <a:lnTo>
                      <a:pt x="72" y="141"/>
                    </a:lnTo>
                    <a:lnTo>
                      <a:pt x="72" y="141"/>
                    </a:lnTo>
                    <a:lnTo>
                      <a:pt x="69" y="141"/>
                    </a:lnTo>
                    <a:lnTo>
                      <a:pt x="66" y="139"/>
                    </a:lnTo>
                    <a:lnTo>
                      <a:pt x="62" y="136"/>
                    </a:lnTo>
                    <a:lnTo>
                      <a:pt x="62" y="136"/>
                    </a:lnTo>
                    <a:lnTo>
                      <a:pt x="61" y="133"/>
                    </a:lnTo>
                    <a:lnTo>
                      <a:pt x="59" y="135"/>
                    </a:lnTo>
                    <a:lnTo>
                      <a:pt x="53" y="131"/>
                    </a:lnTo>
                    <a:lnTo>
                      <a:pt x="53" y="131"/>
                    </a:lnTo>
                    <a:lnTo>
                      <a:pt x="52" y="131"/>
                    </a:lnTo>
                    <a:lnTo>
                      <a:pt x="52" y="131"/>
                    </a:lnTo>
                    <a:lnTo>
                      <a:pt x="49" y="131"/>
                    </a:lnTo>
                    <a:lnTo>
                      <a:pt x="48" y="132"/>
                    </a:lnTo>
                    <a:lnTo>
                      <a:pt x="48" y="132"/>
                    </a:lnTo>
                    <a:lnTo>
                      <a:pt x="49" y="135"/>
                    </a:lnTo>
                    <a:lnTo>
                      <a:pt x="49" y="135"/>
                    </a:lnTo>
                    <a:lnTo>
                      <a:pt x="52" y="141"/>
                    </a:lnTo>
                    <a:lnTo>
                      <a:pt x="52" y="145"/>
                    </a:lnTo>
                    <a:lnTo>
                      <a:pt x="51" y="149"/>
                    </a:lnTo>
                    <a:lnTo>
                      <a:pt x="45" y="152"/>
                    </a:lnTo>
                    <a:lnTo>
                      <a:pt x="44" y="152"/>
                    </a:lnTo>
                    <a:lnTo>
                      <a:pt x="39" y="147"/>
                    </a:lnTo>
                    <a:lnTo>
                      <a:pt x="39" y="147"/>
                    </a:lnTo>
                    <a:lnTo>
                      <a:pt x="40" y="149"/>
                    </a:lnTo>
                    <a:lnTo>
                      <a:pt x="41" y="151"/>
                    </a:lnTo>
                    <a:lnTo>
                      <a:pt x="41" y="151"/>
                    </a:lnTo>
                    <a:lnTo>
                      <a:pt x="41" y="151"/>
                    </a:lnTo>
                    <a:lnTo>
                      <a:pt x="41" y="151"/>
                    </a:lnTo>
                    <a:lnTo>
                      <a:pt x="40" y="151"/>
                    </a:lnTo>
                    <a:lnTo>
                      <a:pt x="40" y="151"/>
                    </a:lnTo>
                    <a:lnTo>
                      <a:pt x="36" y="151"/>
                    </a:lnTo>
                    <a:lnTo>
                      <a:pt x="36" y="151"/>
                    </a:lnTo>
                    <a:lnTo>
                      <a:pt x="35" y="151"/>
                    </a:lnTo>
                    <a:lnTo>
                      <a:pt x="35" y="151"/>
                    </a:lnTo>
                    <a:lnTo>
                      <a:pt x="35" y="151"/>
                    </a:lnTo>
                    <a:lnTo>
                      <a:pt x="35" y="151"/>
                    </a:lnTo>
                    <a:lnTo>
                      <a:pt x="31" y="149"/>
                    </a:lnTo>
                    <a:lnTo>
                      <a:pt x="28" y="147"/>
                    </a:lnTo>
                    <a:lnTo>
                      <a:pt x="28" y="147"/>
                    </a:lnTo>
                    <a:lnTo>
                      <a:pt x="28" y="147"/>
                    </a:lnTo>
                    <a:lnTo>
                      <a:pt x="28" y="147"/>
                    </a:lnTo>
                    <a:lnTo>
                      <a:pt x="23" y="148"/>
                    </a:lnTo>
                    <a:lnTo>
                      <a:pt x="23" y="148"/>
                    </a:lnTo>
                    <a:lnTo>
                      <a:pt x="22" y="148"/>
                    </a:lnTo>
                    <a:lnTo>
                      <a:pt x="16" y="145"/>
                    </a:lnTo>
                    <a:lnTo>
                      <a:pt x="16" y="145"/>
                    </a:lnTo>
                    <a:lnTo>
                      <a:pt x="18" y="147"/>
                    </a:lnTo>
                    <a:lnTo>
                      <a:pt x="18" y="147"/>
                    </a:lnTo>
                    <a:lnTo>
                      <a:pt x="16" y="147"/>
                    </a:lnTo>
                    <a:lnTo>
                      <a:pt x="16" y="147"/>
                    </a:lnTo>
                    <a:lnTo>
                      <a:pt x="11" y="145"/>
                    </a:lnTo>
                    <a:lnTo>
                      <a:pt x="7" y="145"/>
                    </a:lnTo>
                    <a:lnTo>
                      <a:pt x="6" y="145"/>
                    </a:lnTo>
                    <a:lnTo>
                      <a:pt x="6" y="145"/>
                    </a:lnTo>
                    <a:lnTo>
                      <a:pt x="2" y="143"/>
                    </a:lnTo>
                    <a:lnTo>
                      <a:pt x="0" y="141"/>
                    </a:lnTo>
                    <a:lnTo>
                      <a:pt x="0" y="141"/>
                    </a:lnTo>
                    <a:lnTo>
                      <a:pt x="0" y="139"/>
                    </a:lnTo>
                    <a:lnTo>
                      <a:pt x="2" y="135"/>
                    </a:lnTo>
                    <a:lnTo>
                      <a:pt x="2" y="135"/>
                    </a:lnTo>
                    <a:lnTo>
                      <a:pt x="2" y="137"/>
                    </a:lnTo>
                    <a:lnTo>
                      <a:pt x="4" y="133"/>
                    </a:lnTo>
                    <a:lnTo>
                      <a:pt x="4" y="133"/>
                    </a:lnTo>
                    <a:lnTo>
                      <a:pt x="4" y="132"/>
                    </a:lnTo>
                    <a:lnTo>
                      <a:pt x="4" y="132"/>
                    </a:lnTo>
                    <a:lnTo>
                      <a:pt x="3" y="132"/>
                    </a:lnTo>
                    <a:lnTo>
                      <a:pt x="3" y="132"/>
                    </a:lnTo>
                    <a:lnTo>
                      <a:pt x="4" y="132"/>
                    </a:lnTo>
                    <a:lnTo>
                      <a:pt x="4" y="132"/>
                    </a:lnTo>
                    <a:lnTo>
                      <a:pt x="4" y="128"/>
                    </a:lnTo>
                    <a:lnTo>
                      <a:pt x="4" y="127"/>
                    </a:lnTo>
                    <a:lnTo>
                      <a:pt x="4" y="127"/>
                    </a:lnTo>
                    <a:lnTo>
                      <a:pt x="3" y="120"/>
                    </a:lnTo>
                    <a:lnTo>
                      <a:pt x="3" y="115"/>
                    </a:lnTo>
                    <a:lnTo>
                      <a:pt x="3" y="115"/>
                    </a:lnTo>
                    <a:lnTo>
                      <a:pt x="4" y="114"/>
                    </a:lnTo>
                    <a:lnTo>
                      <a:pt x="4" y="111"/>
                    </a:lnTo>
                    <a:lnTo>
                      <a:pt x="4" y="111"/>
                    </a:lnTo>
                    <a:lnTo>
                      <a:pt x="4" y="111"/>
                    </a:lnTo>
                    <a:lnTo>
                      <a:pt x="4" y="111"/>
                    </a:lnTo>
                    <a:lnTo>
                      <a:pt x="3" y="111"/>
                    </a:lnTo>
                    <a:lnTo>
                      <a:pt x="3" y="111"/>
                    </a:lnTo>
                    <a:lnTo>
                      <a:pt x="2" y="108"/>
                    </a:lnTo>
                    <a:lnTo>
                      <a:pt x="0" y="106"/>
                    </a:lnTo>
                    <a:lnTo>
                      <a:pt x="0" y="104"/>
                    </a:lnTo>
                    <a:lnTo>
                      <a:pt x="0" y="103"/>
                    </a:lnTo>
                    <a:lnTo>
                      <a:pt x="0" y="103"/>
                    </a:lnTo>
                    <a:lnTo>
                      <a:pt x="2" y="99"/>
                    </a:lnTo>
                    <a:lnTo>
                      <a:pt x="4" y="98"/>
                    </a:lnTo>
                    <a:lnTo>
                      <a:pt x="4" y="98"/>
                    </a:lnTo>
                    <a:lnTo>
                      <a:pt x="3" y="99"/>
                    </a:lnTo>
                    <a:lnTo>
                      <a:pt x="3" y="102"/>
                    </a:lnTo>
                    <a:lnTo>
                      <a:pt x="8" y="95"/>
                    </a:lnTo>
                    <a:lnTo>
                      <a:pt x="10" y="95"/>
                    </a:lnTo>
                    <a:lnTo>
                      <a:pt x="10" y="95"/>
                    </a:lnTo>
                    <a:lnTo>
                      <a:pt x="14" y="94"/>
                    </a:lnTo>
                    <a:lnTo>
                      <a:pt x="14" y="94"/>
                    </a:lnTo>
                    <a:lnTo>
                      <a:pt x="16" y="90"/>
                    </a:lnTo>
                    <a:lnTo>
                      <a:pt x="16" y="90"/>
                    </a:lnTo>
                    <a:lnTo>
                      <a:pt x="18" y="91"/>
                    </a:lnTo>
                    <a:lnTo>
                      <a:pt x="16" y="90"/>
                    </a:lnTo>
                    <a:lnTo>
                      <a:pt x="18" y="90"/>
                    </a:lnTo>
                    <a:lnTo>
                      <a:pt x="18" y="90"/>
                    </a:lnTo>
                    <a:lnTo>
                      <a:pt x="16" y="90"/>
                    </a:lnTo>
                    <a:lnTo>
                      <a:pt x="15" y="89"/>
                    </a:lnTo>
                    <a:lnTo>
                      <a:pt x="15" y="89"/>
                    </a:lnTo>
                    <a:lnTo>
                      <a:pt x="16" y="89"/>
                    </a:lnTo>
                    <a:lnTo>
                      <a:pt x="12" y="85"/>
                    </a:lnTo>
                    <a:lnTo>
                      <a:pt x="12" y="85"/>
                    </a:lnTo>
                    <a:lnTo>
                      <a:pt x="11" y="82"/>
                    </a:lnTo>
                    <a:lnTo>
                      <a:pt x="11" y="77"/>
                    </a:lnTo>
                    <a:lnTo>
                      <a:pt x="12" y="74"/>
                    </a:lnTo>
                    <a:lnTo>
                      <a:pt x="12" y="74"/>
                    </a:lnTo>
                    <a:lnTo>
                      <a:pt x="16" y="66"/>
                    </a:lnTo>
                    <a:lnTo>
                      <a:pt x="23" y="59"/>
                    </a:lnTo>
                    <a:lnTo>
                      <a:pt x="27" y="58"/>
                    </a:lnTo>
                    <a:lnTo>
                      <a:pt x="28" y="58"/>
                    </a:lnTo>
                    <a:lnTo>
                      <a:pt x="28" y="58"/>
                    </a:lnTo>
                    <a:lnTo>
                      <a:pt x="28" y="58"/>
                    </a:lnTo>
                    <a:lnTo>
                      <a:pt x="29" y="54"/>
                    </a:lnTo>
                    <a:lnTo>
                      <a:pt x="29" y="54"/>
                    </a:lnTo>
                    <a:lnTo>
                      <a:pt x="29" y="50"/>
                    </a:lnTo>
                    <a:lnTo>
                      <a:pt x="28" y="49"/>
                    </a:lnTo>
                    <a:lnTo>
                      <a:pt x="28" y="49"/>
                    </a:lnTo>
                    <a:lnTo>
                      <a:pt x="27" y="46"/>
                    </a:lnTo>
                    <a:lnTo>
                      <a:pt x="27" y="42"/>
                    </a:lnTo>
                    <a:lnTo>
                      <a:pt x="31" y="38"/>
                    </a:lnTo>
                    <a:lnTo>
                      <a:pt x="31" y="37"/>
                    </a:lnTo>
                    <a:lnTo>
                      <a:pt x="31" y="37"/>
                    </a:lnTo>
                    <a:lnTo>
                      <a:pt x="31" y="33"/>
                    </a:lnTo>
                    <a:lnTo>
                      <a:pt x="33" y="30"/>
                    </a:lnTo>
                    <a:lnTo>
                      <a:pt x="37" y="28"/>
                    </a:lnTo>
                    <a:lnTo>
                      <a:pt x="37" y="28"/>
                    </a:lnTo>
                    <a:lnTo>
                      <a:pt x="36" y="25"/>
                    </a:lnTo>
                    <a:lnTo>
                      <a:pt x="36" y="25"/>
                    </a:lnTo>
                    <a:lnTo>
                      <a:pt x="36" y="25"/>
                    </a:lnTo>
                    <a:lnTo>
                      <a:pt x="32" y="24"/>
                    </a:lnTo>
                    <a:lnTo>
                      <a:pt x="32" y="24"/>
                    </a:lnTo>
                    <a:lnTo>
                      <a:pt x="31" y="22"/>
                    </a:lnTo>
                    <a:lnTo>
                      <a:pt x="28" y="21"/>
                    </a:lnTo>
                    <a:lnTo>
                      <a:pt x="28" y="17"/>
                    </a:lnTo>
                    <a:lnTo>
                      <a:pt x="29" y="12"/>
                    </a:lnTo>
                    <a:lnTo>
                      <a:pt x="29" y="12"/>
                    </a:lnTo>
                    <a:lnTo>
                      <a:pt x="29" y="11"/>
                    </a:lnTo>
                    <a:lnTo>
                      <a:pt x="29" y="11"/>
                    </a:lnTo>
                    <a:lnTo>
                      <a:pt x="29" y="12"/>
                    </a:lnTo>
                    <a:lnTo>
                      <a:pt x="29" y="9"/>
                    </a:lnTo>
                    <a:lnTo>
                      <a:pt x="29" y="9"/>
                    </a:lnTo>
                    <a:lnTo>
                      <a:pt x="29" y="9"/>
                    </a:lnTo>
                    <a:lnTo>
                      <a:pt x="29" y="5"/>
                    </a:lnTo>
                    <a:lnTo>
                      <a:pt x="32" y="3"/>
                    </a:lnTo>
                    <a:lnTo>
                      <a:pt x="33" y="1"/>
                    </a:lnTo>
                    <a:lnTo>
                      <a:pt x="36" y="0"/>
                    </a:lnTo>
                    <a:lnTo>
                      <a:pt x="37" y="0"/>
                    </a:lnTo>
                    <a:lnTo>
                      <a:pt x="37" y="0"/>
                    </a:lnTo>
                    <a:lnTo>
                      <a:pt x="41" y="3"/>
                    </a:lnTo>
                    <a:lnTo>
                      <a:pt x="41" y="3"/>
                    </a:lnTo>
                    <a:lnTo>
                      <a:pt x="39" y="1"/>
                    </a:lnTo>
                    <a:lnTo>
                      <a:pt x="43" y="3"/>
                    </a:lnTo>
                    <a:lnTo>
                      <a:pt x="43" y="3"/>
                    </a:lnTo>
                    <a:lnTo>
                      <a:pt x="45" y="5"/>
                    </a:lnTo>
                    <a:lnTo>
                      <a:pt x="48" y="5"/>
                    </a:lnTo>
                    <a:lnTo>
                      <a:pt x="48" y="5"/>
                    </a:lnTo>
                    <a:lnTo>
                      <a:pt x="49" y="5"/>
                    </a:lnTo>
                    <a:lnTo>
                      <a:pt x="53" y="5"/>
                    </a:lnTo>
                    <a:lnTo>
                      <a:pt x="53" y="5"/>
                    </a:lnTo>
                    <a:lnTo>
                      <a:pt x="57" y="4"/>
                    </a:lnTo>
                    <a:lnTo>
                      <a:pt x="61" y="4"/>
                    </a:lnTo>
                    <a:lnTo>
                      <a:pt x="64" y="4"/>
                    </a:lnTo>
                    <a:lnTo>
                      <a:pt x="69" y="7"/>
                    </a:lnTo>
                    <a:lnTo>
                      <a:pt x="69" y="7"/>
                    </a:lnTo>
                    <a:lnTo>
                      <a:pt x="72" y="12"/>
                    </a:lnTo>
                    <a:lnTo>
                      <a:pt x="72" y="12"/>
                    </a:lnTo>
                    <a:lnTo>
                      <a:pt x="73" y="14"/>
                    </a:lnTo>
                    <a:lnTo>
                      <a:pt x="76" y="14"/>
                    </a:lnTo>
                    <a:lnTo>
                      <a:pt x="76" y="14"/>
                    </a:lnTo>
                    <a:lnTo>
                      <a:pt x="77" y="14"/>
                    </a:lnTo>
                    <a:lnTo>
                      <a:pt x="77" y="14"/>
                    </a:lnTo>
                    <a:lnTo>
                      <a:pt x="77" y="14"/>
                    </a:lnTo>
                    <a:lnTo>
                      <a:pt x="81" y="11"/>
                    </a:lnTo>
                    <a:lnTo>
                      <a:pt x="81" y="11"/>
                    </a:lnTo>
                    <a:lnTo>
                      <a:pt x="81" y="11"/>
                    </a:lnTo>
                    <a:lnTo>
                      <a:pt x="81" y="11"/>
                    </a:lnTo>
                    <a:lnTo>
                      <a:pt x="84" y="9"/>
                    </a:lnTo>
                    <a:lnTo>
                      <a:pt x="88" y="8"/>
                    </a:lnTo>
                    <a:lnTo>
                      <a:pt x="89" y="8"/>
                    </a:lnTo>
                    <a:lnTo>
                      <a:pt x="94" y="14"/>
                    </a:lnTo>
                    <a:lnTo>
                      <a:pt x="94" y="16"/>
                    </a:lnTo>
                    <a:lnTo>
                      <a:pt x="94" y="16"/>
                    </a:lnTo>
                    <a:lnTo>
                      <a:pt x="96" y="17"/>
                    </a:lnTo>
                    <a:lnTo>
                      <a:pt x="96" y="17"/>
                    </a:lnTo>
                    <a:lnTo>
                      <a:pt x="98" y="18"/>
                    </a:lnTo>
                    <a:lnTo>
                      <a:pt x="101" y="21"/>
                    </a:lnTo>
                    <a:lnTo>
                      <a:pt x="102" y="25"/>
                    </a:lnTo>
                    <a:lnTo>
                      <a:pt x="101" y="30"/>
                    </a:lnTo>
                    <a:lnTo>
                      <a:pt x="101" y="32"/>
                    </a:lnTo>
                    <a:lnTo>
                      <a:pt x="100" y="33"/>
                    </a:lnTo>
                    <a:lnTo>
                      <a:pt x="100" y="33"/>
                    </a:lnTo>
                    <a:lnTo>
                      <a:pt x="102" y="37"/>
                    </a:lnTo>
                    <a:lnTo>
                      <a:pt x="100" y="44"/>
                    </a:lnTo>
                    <a:lnTo>
                      <a:pt x="100" y="44"/>
                    </a:lnTo>
                    <a:lnTo>
                      <a:pt x="100" y="45"/>
                    </a:lnTo>
                    <a:lnTo>
                      <a:pt x="100" y="46"/>
                    </a:lnTo>
                    <a:lnTo>
                      <a:pt x="100" y="46"/>
                    </a:lnTo>
                    <a:lnTo>
                      <a:pt x="102" y="49"/>
                    </a:lnTo>
                    <a:lnTo>
                      <a:pt x="105" y="49"/>
                    </a:lnTo>
                    <a:lnTo>
                      <a:pt x="113" y="55"/>
                    </a:lnTo>
                    <a:lnTo>
                      <a:pt x="113" y="55"/>
                    </a:lnTo>
                    <a:lnTo>
                      <a:pt x="111" y="61"/>
                    </a:lnTo>
                    <a:lnTo>
                      <a:pt x="111" y="61"/>
                    </a:lnTo>
                    <a:lnTo>
                      <a:pt x="111" y="61"/>
                    </a:lnTo>
                    <a:lnTo>
                      <a:pt x="111" y="62"/>
                    </a:lnTo>
                    <a:lnTo>
                      <a:pt x="111" y="65"/>
                    </a:lnTo>
                    <a:lnTo>
                      <a:pt x="111" y="65"/>
                    </a:lnTo>
                    <a:lnTo>
                      <a:pt x="113" y="66"/>
                    </a:lnTo>
                    <a:lnTo>
                      <a:pt x="113" y="66"/>
                    </a:lnTo>
                    <a:lnTo>
                      <a:pt x="115" y="70"/>
                    </a:lnTo>
                    <a:lnTo>
                      <a:pt x="118" y="73"/>
                    </a:lnTo>
                    <a:lnTo>
                      <a:pt x="118" y="77"/>
                    </a:lnTo>
                    <a:lnTo>
                      <a:pt x="118" y="78"/>
                    </a:lnTo>
                    <a:lnTo>
                      <a:pt x="118" y="82"/>
                    </a:lnTo>
                    <a:lnTo>
                      <a:pt x="117" y="86"/>
                    </a:lnTo>
                    <a:lnTo>
                      <a:pt x="117" y="86"/>
                    </a:lnTo>
                    <a:lnTo>
                      <a:pt x="117" y="87"/>
                    </a:lnTo>
                    <a:lnTo>
                      <a:pt x="117" y="87"/>
                    </a:lnTo>
                    <a:lnTo>
                      <a:pt x="115" y="91"/>
                    </a:lnTo>
                    <a:lnTo>
                      <a:pt x="115" y="91"/>
                    </a:lnTo>
                    <a:lnTo>
                      <a:pt x="114" y="128"/>
                    </a:lnTo>
                    <a:lnTo>
                      <a:pt x="114" y="128"/>
                    </a:lnTo>
                    <a:lnTo>
                      <a:pt x="113" y="149"/>
                    </a:lnTo>
                    <a:lnTo>
                      <a:pt x="106" y="155"/>
                    </a:lnTo>
                    <a:lnTo>
                      <a:pt x="105" y="155"/>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9" name="Freeform 25">
                <a:extLst>
                  <a:ext uri="{FF2B5EF4-FFF2-40B4-BE49-F238E27FC236}">
                    <a16:creationId xmlns:a16="http://schemas.microsoft.com/office/drawing/2014/main" xmlns="" id="{A7B17AB1-A25E-4A3A-87F3-51FC0A6F42C2}"/>
                  </a:ext>
                </a:extLst>
              </p:cNvPr>
              <p:cNvSpPr>
                <a:spLocks/>
              </p:cNvSpPr>
              <p:nvPr/>
            </p:nvSpPr>
            <p:spPr bwMode="auto">
              <a:xfrm>
                <a:off x="5789011" y="2521487"/>
                <a:ext cx="564108" cy="330804"/>
              </a:xfrm>
              <a:custGeom>
                <a:avLst/>
                <a:gdLst>
                  <a:gd name="T0" fmla="*/ 150 w 324"/>
                  <a:gd name="T1" fmla="*/ 180 h 190"/>
                  <a:gd name="T2" fmla="*/ 134 w 324"/>
                  <a:gd name="T3" fmla="*/ 173 h 190"/>
                  <a:gd name="T4" fmla="*/ 126 w 324"/>
                  <a:gd name="T5" fmla="*/ 169 h 190"/>
                  <a:gd name="T6" fmla="*/ 106 w 324"/>
                  <a:gd name="T7" fmla="*/ 145 h 190"/>
                  <a:gd name="T8" fmla="*/ 101 w 324"/>
                  <a:gd name="T9" fmla="*/ 124 h 190"/>
                  <a:gd name="T10" fmla="*/ 96 w 324"/>
                  <a:gd name="T11" fmla="*/ 124 h 190"/>
                  <a:gd name="T12" fmla="*/ 81 w 324"/>
                  <a:gd name="T13" fmla="*/ 140 h 190"/>
                  <a:gd name="T14" fmla="*/ 67 w 324"/>
                  <a:gd name="T15" fmla="*/ 144 h 190"/>
                  <a:gd name="T16" fmla="*/ 53 w 324"/>
                  <a:gd name="T17" fmla="*/ 139 h 190"/>
                  <a:gd name="T18" fmla="*/ 53 w 324"/>
                  <a:gd name="T19" fmla="*/ 144 h 190"/>
                  <a:gd name="T20" fmla="*/ 43 w 324"/>
                  <a:gd name="T21" fmla="*/ 145 h 190"/>
                  <a:gd name="T22" fmla="*/ 37 w 324"/>
                  <a:gd name="T23" fmla="*/ 147 h 190"/>
                  <a:gd name="T24" fmla="*/ 26 w 324"/>
                  <a:gd name="T25" fmla="*/ 149 h 190"/>
                  <a:gd name="T26" fmla="*/ 15 w 324"/>
                  <a:gd name="T27" fmla="*/ 139 h 190"/>
                  <a:gd name="T28" fmla="*/ 7 w 324"/>
                  <a:gd name="T29" fmla="*/ 102 h 190"/>
                  <a:gd name="T30" fmla="*/ 26 w 324"/>
                  <a:gd name="T31" fmla="*/ 95 h 190"/>
                  <a:gd name="T32" fmla="*/ 28 w 324"/>
                  <a:gd name="T33" fmla="*/ 88 h 190"/>
                  <a:gd name="T34" fmla="*/ 37 w 324"/>
                  <a:gd name="T35" fmla="*/ 74 h 190"/>
                  <a:gd name="T36" fmla="*/ 53 w 324"/>
                  <a:gd name="T37" fmla="*/ 66 h 190"/>
                  <a:gd name="T38" fmla="*/ 56 w 324"/>
                  <a:gd name="T39" fmla="*/ 65 h 190"/>
                  <a:gd name="T40" fmla="*/ 65 w 324"/>
                  <a:gd name="T41" fmla="*/ 67 h 190"/>
                  <a:gd name="T42" fmla="*/ 67 w 324"/>
                  <a:gd name="T43" fmla="*/ 69 h 190"/>
                  <a:gd name="T44" fmla="*/ 81 w 324"/>
                  <a:gd name="T45" fmla="*/ 74 h 190"/>
                  <a:gd name="T46" fmla="*/ 92 w 324"/>
                  <a:gd name="T47" fmla="*/ 51 h 190"/>
                  <a:gd name="T48" fmla="*/ 90 w 324"/>
                  <a:gd name="T49" fmla="*/ 33 h 190"/>
                  <a:gd name="T50" fmla="*/ 96 w 324"/>
                  <a:gd name="T51" fmla="*/ 32 h 190"/>
                  <a:gd name="T52" fmla="*/ 110 w 324"/>
                  <a:gd name="T53" fmla="*/ 33 h 190"/>
                  <a:gd name="T54" fmla="*/ 117 w 324"/>
                  <a:gd name="T55" fmla="*/ 29 h 190"/>
                  <a:gd name="T56" fmla="*/ 133 w 324"/>
                  <a:gd name="T57" fmla="*/ 50 h 190"/>
                  <a:gd name="T58" fmla="*/ 151 w 324"/>
                  <a:gd name="T59" fmla="*/ 55 h 190"/>
                  <a:gd name="T60" fmla="*/ 174 w 324"/>
                  <a:gd name="T61" fmla="*/ 57 h 190"/>
                  <a:gd name="T62" fmla="*/ 172 w 324"/>
                  <a:gd name="T63" fmla="*/ 57 h 190"/>
                  <a:gd name="T64" fmla="*/ 179 w 324"/>
                  <a:gd name="T65" fmla="*/ 36 h 190"/>
                  <a:gd name="T66" fmla="*/ 188 w 324"/>
                  <a:gd name="T67" fmla="*/ 40 h 190"/>
                  <a:gd name="T68" fmla="*/ 213 w 324"/>
                  <a:gd name="T69" fmla="*/ 55 h 190"/>
                  <a:gd name="T70" fmla="*/ 224 w 324"/>
                  <a:gd name="T71" fmla="*/ 59 h 190"/>
                  <a:gd name="T72" fmla="*/ 229 w 324"/>
                  <a:gd name="T73" fmla="*/ 59 h 190"/>
                  <a:gd name="T74" fmla="*/ 236 w 324"/>
                  <a:gd name="T75" fmla="*/ 63 h 190"/>
                  <a:gd name="T76" fmla="*/ 238 w 324"/>
                  <a:gd name="T77" fmla="*/ 32 h 190"/>
                  <a:gd name="T78" fmla="*/ 253 w 324"/>
                  <a:gd name="T79" fmla="*/ 3 h 190"/>
                  <a:gd name="T80" fmla="*/ 279 w 324"/>
                  <a:gd name="T81" fmla="*/ 29 h 190"/>
                  <a:gd name="T82" fmla="*/ 286 w 324"/>
                  <a:gd name="T83" fmla="*/ 33 h 190"/>
                  <a:gd name="T84" fmla="*/ 301 w 324"/>
                  <a:gd name="T85" fmla="*/ 29 h 190"/>
                  <a:gd name="T86" fmla="*/ 315 w 324"/>
                  <a:gd name="T87" fmla="*/ 36 h 190"/>
                  <a:gd name="T88" fmla="*/ 319 w 324"/>
                  <a:gd name="T89" fmla="*/ 57 h 190"/>
                  <a:gd name="T90" fmla="*/ 306 w 324"/>
                  <a:gd name="T91" fmla="*/ 63 h 190"/>
                  <a:gd name="T92" fmla="*/ 287 w 324"/>
                  <a:gd name="T93" fmla="*/ 83 h 190"/>
                  <a:gd name="T94" fmla="*/ 283 w 324"/>
                  <a:gd name="T95" fmla="*/ 86 h 190"/>
                  <a:gd name="T96" fmla="*/ 270 w 324"/>
                  <a:gd name="T97" fmla="*/ 84 h 190"/>
                  <a:gd name="T98" fmla="*/ 261 w 324"/>
                  <a:gd name="T99" fmla="*/ 94 h 190"/>
                  <a:gd name="T100" fmla="*/ 249 w 324"/>
                  <a:gd name="T101" fmla="*/ 84 h 190"/>
                  <a:gd name="T102" fmla="*/ 242 w 324"/>
                  <a:gd name="T103" fmla="*/ 95 h 190"/>
                  <a:gd name="T104" fmla="*/ 227 w 324"/>
                  <a:gd name="T105" fmla="*/ 116 h 190"/>
                  <a:gd name="T106" fmla="*/ 208 w 324"/>
                  <a:gd name="T107" fmla="*/ 132 h 190"/>
                  <a:gd name="T108" fmla="*/ 205 w 324"/>
                  <a:gd name="T109" fmla="*/ 149 h 190"/>
                  <a:gd name="T110" fmla="*/ 196 w 324"/>
                  <a:gd name="T111" fmla="*/ 153 h 190"/>
                  <a:gd name="T112" fmla="*/ 189 w 324"/>
                  <a:gd name="T113" fmla="*/ 165 h 190"/>
                  <a:gd name="T114" fmla="*/ 180 w 324"/>
                  <a:gd name="T115" fmla="*/ 181 h 190"/>
                  <a:gd name="T116" fmla="*/ 170 w 324"/>
                  <a:gd name="T117" fmla="*/ 18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190">
                    <a:moveTo>
                      <a:pt x="158" y="190"/>
                    </a:moveTo>
                    <a:lnTo>
                      <a:pt x="158" y="190"/>
                    </a:lnTo>
                    <a:lnTo>
                      <a:pt x="155" y="189"/>
                    </a:lnTo>
                    <a:lnTo>
                      <a:pt x="154" y="188"/>
                    </a:lnTo>
                    <a:lnTo>
                      <a:pt x="154" y="188"/>
                    </a:lnTo>
                    <a:lnTo>
                      <a:pt x="154" y="188"/>
                    </a:lnTo>
                    <a:lnTo>
                      <a:pt x="154" y="188"/>
                    </a:lnTo>
                    <a:lnTo>
                      <a:pt x="155" y="188"/>
                    </a:lnTo>
                    <a:lnTo>
                      <a:pt x="150" y="181"/>
                    </a:lnTo>
                    <a:lnTo>
                      <a:pt x="150" y="181"/>
                    </a:lnTo>
                    <a:lnTo>
                      <a:pt x="150" y="180"/>
                    </a:lnTo>
                    <a:lnTo>
                      <a:pt x="150" y="180"/>
                    </a:lnTo>
                    <a:lnTo>
                      <a:pt x="151" y="182"/>
                    </a:lnTo>
                    <a:lnTo>
                      <a:pt x="154" y="184"/>
                    </a:lnTo>
                    <a:lnTo>
                      <a:pt x="149" y="178"/>
                    </a:lnTo>
                    <a:lnTo>
                      <a:pt x="149" y="177"/>
                    </a:lnTo>
                    <a:lnTo>
                      <a:pt x="142" y="184"/>
                    </a:lnTo>
                    <a:lnTo>
                      <a:pt x="142" y="184"/>
                    </a:lnTo>
                    <a:lnTo>
                      <a:pt x="138" y="182"/>
                    </a:lnTo>
                    <a:lnTo>
                      <a:pt x="135" y="178"/>
                    </a:lnTo>
                    <a:lnTo>
                      <a:pt x="134" y="176"/>
                    </a:lnTo>
                    <a:lnTo>
                      <a:pt x="134" y="173"/>
                    </a:lnTo>
                    <a:lnTo>
                      <a:pt x="134" y="173"/>
                    </a:lnTo>
                    <a:lnTo>
                      <a:pt x="134" y="172"/>
                    </a:lnTo>
                    <a:lnTo>
                      <a:pt x="131" y="172"/>
                    </a:lnTo>
                    <a:lnTo>
                      <a:pt x="126" y="165"/>
                    </a:lnTo>
                    <a:lnTo>
                      <a:pt x="126" y="165"/>
                    </a:lnTo>
                    <a:lnTo>
                      <a:pt x="126" y="166"/>
                    </a:lnTo>
                    <a:lnTo>
                      <a:pt x="127" y="169"/>
                    </a:lnTo>
                    <a:lnTo>
                      <a:pt x="127" y="169"/>
                    </a:lnTo>
                    <a:lnTo>
                      <a:pt x="127" y="169"/>
                    </a:lnTo>
                    <a:lnTo>
                      <a:pt x="126" y="169"/>
                    </a:lnTo>
                    <a:lnTo>
                      <a:pt x="126" y="169"/>
                    </a:lnTo>
                    <a:lnTo>
                      <a:pt x="118" y="160"/>
                    </a:lnTo>
                    <a:lnTo>
                      <a:pt x="118" y="160"/>
                    </a:lnTo>
                    <a:lnTo>
                      <a:pt x="114" y="159"/>
                    </a:lnTo>
                    <a:lnTo>
                      <a:pt x="111" y="153"/>
                    </a:lnTo>
                    <a:lnTo>
                      <a:pt x="111" y="153"/>
                    </a:lnTo>
                    <a:lnTo>
                      <a:pt x="111" y="153"/>
                    </a:lnTo>
                    <a:lnTo>
                      <a:pt x="109" y="151"/>
                    </a:lnTo>
                    <a:lnTo>
                      <a:pt x="108" y="148"/>
                    </a:lnTo>
                    <a:lnTo>
                      <a:pt x="108" y="148"/>
                    </a:lnTo>
                    <a:lnTo>
                      <a:pt x="108" y="147"/>
                    </a:lnTo>
                    <a:lnTo>
                      <a:pt x="106" y="145"/>
                    </a:lnTo>
                    <a:lnTo>
                      <a:pt x="106" y="145"/>
                    </a:lnTo>
                    <a:lnTo>
                      <a:pt x="105" y="143"/>
                    </a:lnTo>
                    <a:lnTo>
                      <a:pt x="104" y="139"/>
                    </a:lnTo>
                    <a:lnTo>
                      <a:pt x="104" y="139"/>
                    </a:lnTo>
                    <a:lnTo>
                      <a:pt x="104" y="135"/>
                    </a:lnTo>
                    <a:lnTo>
                      <a:pt x="105" y="132"/>
                    </a:lnTo>
                    <a:lnTo>
                      <a:pt x="105" y="128"/>
                    </a:lnTo>
                    <a:lnTo>
                      <a:pt x="105" y="128"/>
                    </a:lnTo>
                    <a:lnTo>
                      <a:pt x="104" y="125"/>
                    </a:lnTo>
                    <a:lnTo>
                      <a:pt x="101" y="124"/>
                    </a:lnTo>
                    <a:lnTo>
                      <a:pt x="101" y="124"/>
                    </a:lnTo>
                    <a:lnTo>
                      <a:pt x="101" y="123"/>
                    </a:lnTo>
                    <a:lnTo>
                      <a:pt x="101" y="123"/>
                    </a:lnTo>
                    <a:lnTo>
                      <a:pt x="100" y="123"/>
                    </a:lnTo>
                    <a:lnTo>
                      <a:pt x="100" y="123"/>
                    </a:lnTo>
                    <a:lnTo>
                      <a:pt x="98" y="123"/>
                    </a:lnTo>
                    <a:lnTo>
                      <a:pt x="98" y="123"/>
                    </a:lnTo>
                    <a:lnTo>
                      <a:pt x="100" y="123"/>
                    </a:lnTo>
                    <a:lnTo>
                      <a:pt x="100" y="123"/>
                    </a:lnTo>
                    <a:lnTo>
                      <a:pt x="98" y="121"/>
                    </a:lnTo>
                    <a:lnTo>
                      <a:pt x="96" y="124"/>
                    </a:lnTo>
                    <a:lnTo>
                      <a:pt x="96" y="124"/>
                    </a:lnTo>
                    <a:lnTo>
                      <a:pt x="96" y="124"/>
                    </a:lnTo>
                    <a:lnTo>
                      <a:pt x="94" y="125"/>
                    </a:lnTo>
                    <a:lnTo>
                      <a:pt x="94" y="125"/>
                    </a:lnTo>
                    <a:lnTo>
                      <a:pt x="93" y="129"/>
                    </a:lnTo>
                    <a:lnTo>
                      <a:pt x="89" y="132"/>
                    </a:lnTo>
                    <a:lnTo>
                      <a:pt x="86" y="133"/>
                    </a:lnTo>
                    <a:lnTo>
                      <a:pt x="85" y="133"/>
                    </a:lnTo>
                    <a:lnTo>
                      <a:pt x="85" y="133"/>
                    </a:lnTo>
                    <a:lnTo>
                      <a:pt x="82" y="139"/>
                    </a:lnTo>
                    <a:lnTo>
                      <a:pt x="82" y="139"/>
                    </a:lnTo>
                    <a:lnTo>
                      <a:pt x="81" y="140"/>
                    </a:lnTo>
                    <a:lnTo>
                      <a:pt x="77" y="143"/>
                    </a:lnTo>
                    <a:lnTo>
                      <a:pt x="77" y="143"/>
                    </a:lnTo>
                    <a:lnTo>
                      <a:pt x="74" y="144"/>
                    </a:lnTo>
                    <a:lnTo>
                      <a:pt x="74" y="144"/>
                    </a:lnTo>
                    <a:lnTo>
                      <a:pt x="72" y="143"/>
                    </a:lnTo>
                    <a:lnTo>
                      <a:pt x="72" y="143"/>
                    </a:lnTo>
                    <a:lnTo>
                      <a:pt x="69" y="143"/>
                    </a:lnTo>
                    <a:lnTo>
                      <a:pt x="69" y="143"/>
                    </a:lnTo>
                    <a:lnTo>
                      <a:pt x="72" y="143"/>
                    </a:lnTo>
                    <a:lnTo>
                      <a:pt x="73" y="140"/>
                    </a:lnTo>
                    <a:lnTo>
                      <a:pt x="67" y="144"/>
                    </a:lnTo>
                    <a:lnTo>
                      <a:pt x="60" y="144"/>
                    </a:lnTo>
                    <a:lnTo>
                      <a:pt x="59" y="143"/>
                    </a:lnTo>
                    <a:lnTo>
                      <a:pt x="59" y="143"/>
                    </a:lnTo>
                    <a:lnTo>
                      <a:pt x="60" y="141"/>
                    </a:lnTo>
                    <a:lnTo>
                      <a:pt x="60" y="141"/>
                    </a:lnTo>
                    <a:lnTo>
                      <a:pt x="60" y="139"/>
                    </a:lnTo>
                    <a:lnTo>
                      <a:pt x="60" y="136"/>
                    </a:lnTo>
                    <a:lnTo>
                      <a:pt x="57" y="140"/>
                    </a:lnTo>
                    <a:lnTo>
                      <a:pt x="53" y="136"/>
                    </a:lnTo>
                    <a:lnTo>
                      <a:pt x="53" y="136"/>
                    </a:lnTo>
                    <a:lnTo>
                      <a:pt x="53" y="139"/>
                    </a:lnTo>
                    <a:lnTo>
                      <a:pt x="56" y="143"/>
                    </a:lnTo>
                    <a:lnTo>
                      <a:pt x="56" y="143"/>
                    </a:lnTo>
                    <a:lnTo>
                      <a:pt x="56" y="143"/>
                    </a:lnTo>
                    <a:lnTo>
                      <a:pt x="56" y="143"/>
                    </a:lnTo>
                    <a:lnTo>
                      <a:pt x="57" y="143"/>
                    </a:lnTo>
                    <a:lnTo>
                      <a:pt x="57" y="143"/>
                    </a:lnTo>
                    <a:lnTo>
                      <a:pt x="53" y="145"/>
                    </a:lnTo>
                    <a:lnTo>
                      <a:pt x="53" y="145"/>
                    </a:lnTo>
                    <a:lnTo>
                      <a:pt x="52" y="145"/>
                    </a:lnTo>
                    <a:lnTo>
                      <a:pt x="52" y="145"/>
                    </a:lnTo>
                    <a:lnTo>
                      <a:pt x="53" y="144"/>
                    </a:lnTo>
                    <a:lnTo>
                      <a:pt x="53" y="144"/>
                    </a:lnTo>
                    <a:lnTo>
                      <a:pt x="53" y="144"/>
                    </a:lnTo>
                    <a:lnTo>
                      <a:pt x="48" y="149"/>
                    </a:lnTo>
                    <a:lnTo>
                      <a:pt x="48" y="149"/>
                    </a:lnTo>
                    <a:lnTo>
                      <a:pt x="48" y="149"/>
                    </a:lnTo>
                    <a:lnTo>
                      <a:pt x="43" y="148"/>
                    </a:lnTo>
                    <a:lnTo>
                      <a:pt x="40" y="147"/>
                    </a:lnTo>
                    <a:lnTo>
                      <a:pt x="40" y="147"/>
                    </a:lnTo>
                    <a:lnTo>
                      <a:pt x="41" y="145"/>
                    </a:lnTo>
                    <a:lnTo>
                      <a:pt x="41" y="145"/>
                    </a:lnTo>
                    <a:lnTo>
                      <a:pt x="43" y="145"/>
                    </a:lnTo>
                    <a:lnTo>
                      <a:pt x="41" y="145"/>
                    </a:lnTo>
                    <a:lnTo>
                      <a:pt x="41" y="145"/>
                    </a:lnTo>
                    <a:lnTo>
                      <a:pt x="43" y="143"/>
                    </a:lnTo>
                    <a:lnTo>
                      <a:pt x="40" y="145"/>
                    </a:lnTo>
                    <a:lnTo>
                      <a:pt x="40" y="145"/>
                    </a:lnTo>
                    <a:lnTo>
                      <a:pt x="40" y="145"/>
                    </a:lnTo>
                    <a:lnTo>
                      <a:pt x="40" y="145"/>
                    </a:lnTo>
                    <a:lnTo>
                      <a:pt x="40" y="145"/>
                    </a:lnTo>
                    <a:lnTo>
                      <a:pt x="40" y="145"/>
                    </a:lnTo>
                    <a:lnTo>
                      <a:pt x="39" y="145"/>
                    </a:lnTo>
                    <a:lnTo>
                      <a:pt x="37" y="147"/>
                    </a:lnTo>
                    <a:lnTo>
                      <a:pt x="37" y="147"/>
                    </a:lnTo>
                    <a:lnTo>
                      <a:pt x="37" y="147"/>
                    </a:lnTo>
                    <a:lnTo>
                      <a:pt x="39" y="147"/>
                    </a:lnTo>
                    <a:lnTo>
                      <a:pt x="37" y="148"/>
                    </a:lnTo>
                    <a:lnTo>
                      <a:pt x="37" y="148"/>
                    </a:lnTo>
                    <a:lnTo>
                      <a:pt x="36" y="148"/>
                    </a:lnTo>
                    <a:lnTo>
                      <a:pt x="36" y="148"/>
                    </a:lnTo>
                    <a:lnTo>
                      <a:pt x="32" y="148"/>
                    </a:lnTo>
                    <a:lnTo>
                      <a:pt x="32" y="148"/>
                    </a:lnTo>
                    <a:lnTo>
                      <a:pt x="30" y="149"/>
                    </a:lnTo>
                    <a:lnTo>
                      <a:pt x="26" y="149"/>
                    </a:lnTo>
                    <a:lnTo>
                      <a:pt x="19" y="144"/>
                    </a:lnTo>
                    <a:lnTo>
                      <a:pt x="19" y="144"/>
                    </a:lnTo>
                    <a:lnTo>
                      <a:pt x="20" y="147"/>
                    </a:lnTo>
                    <a:lnTo>
                      <a:pt x="23" y="148"/>
                    </a:lnTo>
                    <a:lnTo>
                      <a:pt x="23" y="148"/>
                    </a:lnTo>
                    <a:lnTo>
                      <a:pt x="23" y="148"/>
                    </a:lnTo>
                    <a:lnTo>
                      <a:pt x="20" y="148"/>
                    </a:lnTo>
                    <a:lnTo>
                      <a:pt x="15" y="141"/>
                    </a:lnTo>
                    <a:lnTo>
                      <a:pt x="15" y="141"/>
                    </a:lnTo>
                    <a:lnTo>
                      <a:pt x="15" y="139"/>
                    </a:lnTo>
                    <a:lnTo>
                      <a:pt x="15" y="139"/>
                    </a:lnTo>
                    <a:lnTo>
                      <a:pt x="12" y="137"/>
                    </a:lnTo>
                    <a:lnTo>
                      <a:pt x="12" y="137"/>
                    </a:lnTo>
                    <a:lnTo>
                      <a:pt x="10" y="136"/>
                    </a:lnTo>
                    <a:lnTo>
                      <a:pt x="8" y="133"/>
                    </a:lnTo>
                    <a:lnTo>
                      <a:pt x="8" y="128"/>
                    </a:lnTo>
                    <a:lnTo>
                      <a:pt x="7" y="128"/>
                    </a:lnTo>
                    <a:lnTo>
                      <a:pt x="7" y="128"/>
                    </a:lnTo>
                    <a:lnTo>
                      <a:pt x="6" y="128"/>
                    </a:lnTo>
                    <a:lnTo>
                      <a:pt x="0" y="121"/>
                    </a:lnTo>
                    <a:lnTo>
                      <a:pt x="0" y="107"/>
                    </a:lnTo>
                    <a:lnTo>
                      <a:pt x="7" y="102"/>
                    </a:lnTo>
                    <a:lnTo>
                      <a:pt x="7" y="100"/>
                    </a:lnTo>
                    <a:lnTo>
                      <a:pt x="7" y="100"/>
                    </a:lnTo>
                    <a:lnTo>
                      <a:pt x="6" y="100"/>
                    </a:lnTo>
                    <a:lnTo>
                      <a:pt x="7" y="99"/>
                    </a:lnTo>
                    <a:lnTo>
                      <a:pt x="22" y="99"/>
                    </a:lnTo>
                    <a:lnTo>
                      <a:pt x="23" y="100"/>
                    </a:lnTo>
                    <a:lnTo>
                      <a:pt x="23" y="100"/>
                    </a:lnTo>
                    <a:lnTo>
                      <a:pt x="24" y="100"/>
                    </a:lnTo>
                    <a:lnTo>
                      <a:pt x="24" y="100"/>
                    </a:lnTo>
                    <a:lnTo>
                      <a:pt x="26" y="95"/>
                    </a:lnTo>
                    <a:lnTo>
                      <a:pt x="26" y="95"/>
                    </a:lnTo>
                    <a:lnTo>
                      <a:pt x="26" y="94"/>
                    </a:lnTo>
                    <a:lnTo>
                      <a:pt x="32" y="88"/>
                    </a:lnTo>
                    <a:lnTo>
                      <a:pt x="32" y="87"/>
                    </a:lnTo>
                    <a:lnTo>
                      <a:pt x="32" y="87"/>
                    </a:lnTo>
                    <a:lnTo>
                      <a:pt x="31" y="87"/>
                    </a:lnTo>
                    <a:lnTo>
                      <a:pt x="32" y="86"/>
                    </a:lnTo>
                    <a:lnTo>
                      <a:pt x="32" y="86"/>
                    </a:lnTo>
                    <a:lnTo>
                      <a:pt x="30" y="86"/>
                    </a:lnTo>
                    <a:lnTo>
                      <a:pt x="28" y="88"/>
                    </a:lnTo>
                    <a:lnTo>
                      <a:pt x="28" y="88"/>
                    </a:lnTo>
                    <a:lnTo>
                      <a:pt x="28" y="88"/>
                    </a:lnTo>
                    <a:lnTo>
                      <a:pt x="28" y="88"/>
                    </a:lnTo>
                    <a:lnTo>
                      <a:pt x="28" y="88"/>
                    </a:lnTo>
                    <a:lnTo>
                      <a:pt x="28" y="88"/>
                    </a:lnTo>
                    <a:lnTo>
                      <a:pt x="28" y="84"/>
                    </a:lnTo>
                    <a:lnTo>
                      <a:pt x="28" y="82"/>
                    </a:lnTo>
                    <a:lnTo>
                      <a:pt x="35" y="78"/>
                    </a:lnTo>
                    <a:lnTo>
                      <a:pt x="35" y="78"/>
                    </a:lnTo>
                    <a:lnTo>
                      <a:pt x="36" y="78"/>
                    </a:lnTo>
                    <a:lnTo>
                      <a:pt x="36" y="78"/>
                    </a:lnTo>
                    <a:lnTo>
                      <a:pt x="37" y="74"/>
                    </a:lnTo>
                    <a:lnTo>
                      <a:pt x="37" y="74"/>
                    </a:lnTo>
                    <a:lnTo>
                      <a:pt x="37" y="66"/>
                    </a:lnTo>
                    <a:lnTo>
                      <a:pt x="37" y="66"/>
                    </a:lnTo>
                    <a:lnTo>
                      <a:pt x="37" y="58"/>
                    </a:lnTo>
                    <a:lnTo>
                      <a:pt x="43" y="53"/>
                    </a:lnTo>
                    <a:lnTo>
                      <a:pt x="44" y="53"/>
                    </a:lnTo>
                    <a:lnTo>
                      <a:pt x="48" y="54"/>
                    </a:lnTo>
                    <a:lnTo>
                      <a:pt x="48" y="54"/>
                    </a:lnTo>
                    <a:lnTo>
                      <a:pt x="51" y="58"/>
                    </a:lnTo>
                    <a:lnTo>
                      <a:pt x="52" y="63"/>
                    </a:lnTo>
                    <a:lnTo>
                      <a:pt x="52" y="63"/>
                    </a:lnTo>
                    <a:lnTo>
                      <a:pt x="53" y="66"/>
                    </a:lnTo>
                    <a:lnTo>
                      <a:pt x="53" y="66"/>
                    </a:lnTo>
                    <a:lnTo>
                      <a:pt x="53" y="66"/>
                    </a:lnTo>
                    <a:lnTo>
                      <a:pt x="53" y="66"/>
                    </a:lnTo>
                    <a:lnTo>
                      <a:pt x="53" y="66"/>
                    </a:lnTo>
                    <a:lnTo>
                      <a:pt x="53" y="66"/>
                    </a:lnTo>
                    <a:lnTo>
                      <a:pt x="55" y="66"/>
                    </a:lnTo>
                    <a:lnTo>
                      <a:pt x="56" y="66"/>
                    </a:lnTo>
                    <a:lnTo>
                      <a:pt x="56" y="65"/>
                    </a:lnTo>
                    <a:lnTo>
                      <a:pt x="56" y="65"/>
                    </a:lnTo>
                    <a:lnTo>
                      <a:pt x="55" y="66"/>
                    </a:lnTo>
                    <a:lnTo>
                      <a:pt x="56" y="65"/>
                    </a:lnTo>
                    <a:lnTo>
                      <a:pt x="56" y="65"/>
                    </a:lnTo>
                    <a:lnTo>
                      <a:pt x="57" y="63"/>
                    </a:lnTo>
                    <a:lnTo>
                      <a:pt x="57" y="63"/>
                    </a:lnTo>
                    <a:lnTo>
                      <a:pt x="61" y="65"/>
                    </a:lnTo>
                    <a:lnTo>
                      <a:pt x="63" y="66"/>
                    </a:lnTo>
                    <a:lnTo>
                      <a:pt x="63" y="66"/>
                    </a:lnTo>
                    <a:lnTo>
                      <a:pt x="63" y="66"/>
                    </a:lnTo>
                    <a:lnTo>
                      <a:pt x="61" y="65"/>
                    </a:lnTo>
                    <a:lnTo>
                      <a:pt x="63" y="66"/>
                    </a:lnTo>
                    <a:lnTo>
                      <a:pt x="63" y="66"/>
                    </a:lnTo>
                    <a:lnTo>
                      <a:pt x="65" y="67"/>
                    </a:lnTo>
                    <a:lnTo>
                      <a:pt x="67" y="69"/>
                    </a:lnTo>
                    <a:lnTo>
                      <a:pt x="67" y="69"/>
                    </a:lnTo>
                    <a:lnTo>
                      <a:pt x="67" y="69"/>
                    </a:lnTo>
                    <a:lnTo>
                      <a:pt x="65" y="67"/>
                    </a:lnTo>
                    <a:lnTo>
                      <a:pt x="70" y="75"/>
                    </a:lnTo>
                    <a:lnTo>
                      <a:pt x="70" y="75"/>
                    </a:lnTo>
                    <a:lnTo>
                      <a:pt x="70" y="73"/>
                    </a:lnTo>
                    <a:lnTo>
                      <a:pt x="69" y="71"/>
                    </a:lnTo>
                    <a:lnTo>
                      <a:pt x="69" y="71"/>
                    </a:lnTo>
                    <a:lnTo>
                      <a:pt x="68" y="70"/>
                    </a:lnTo>
                    <a:lnTo>
                      <a:pt x="67" y="69"/>
                    </a:lnTo>
                    <a:lnTo>
                      <a:pt x="67" y="69"/>
                    </a:lnTo>
                    <a:lnTo>
                      <a:pt x="67" y="69"/>
                    </a:lnTo>
                    <a:lnTo>
                      <a:pt x="73" y="71"/>
                    </a:lnTo>
                    <a:lnTo>
                      <a:pt x="78" y="75"/>
                    </a:lnTo>
                    <a:lnTo>
                      <a:pt x="78" y="73"/>
                    </a:lnTo>
                    <a:lnTo>
                      <a:pt x="78" y="71"/>
                    </a:lnTo>
                    <a:lnTo>
                      <a:pt x="78" y="71"/>
                    </a:lnTo>
                    <a:lnTo>
                      <a:pt x="78" y="71"/>
                    </a:lnTo>
                    <a:lnTo>
                      <a:pt x="78" y="71"/>
                    </a:lnTo>
                    <a:lnTo>
                      <a:pt x="80" y="73"/>
                    </a:lnTo>
                    <a:lnTo>
                      <a:pt x="81" y="74"/>
                    </a:lnTo>
                    <a:lnTo>
                      <a:pt x="76" y="67"/>
                    </a:lnTo>
                    <a:lnTo>
                      <a:pt x="76" y="62"/>
                    </a:lnTo>
                    <a:lnTo>
                      <a:pt x="82" y="57"/>
                    </a:lnTo>
                    <a:lnTo>
                      <a:pt x="86" y="57"/>
                    </a:lnTo>
                    <a:lnTo>
                      <a:pt x="88" y="58"/>
                    </a:lnTo>
                    <a:lnTo>
                      <a:pt x="89" y="55"/>
                    </a:lnTo>
                    <a:lnTo>
                      <a:pt x="89" y="55"/>
                    </a:lnTo>
                    <a:lnTo>
                      <a:pt x="90" y="53"/>
                    </a:lnTo>
                    <a:lnTo>
                      <a:pt x="90" y="53"/>
                    </a:lnTo>
                    <a:lnTo>
                      <a:pt x="92" y="51"/>
                    </a:lnTo>
                    <a:lnTo>
                      <a:pt x="92" y="51"/>
                    </a:lnTo>
                    <a:lnTo>
                      <a:pt x="93" y="49"/>
                    </a:lnTo>
                    <a:lnTo>
                      <a:pt x="89" y="49"/>
                    </a:lnTo>
                    <a:lnTo>
                      <a:pt x="82" y="45"/>
                    </a:lnTo>
                    <a:lnTo>
                      <a:pt x="82" y="45"/>
                    </a:lnTo>
                    <a:lnTo>
                      <a:pt x="82" y="40"/>
                    </a:lnTo>
                    <a:lnTo>
                      <a:pt x="84" y="37"/>
                    </a:lnTo>
                    <a:lnTo>
                      <a:pt x="86" y="36"/>
                    </a:lnTo>
                    <a:lnTo>
                      <a:pt x="86" y="36"/>
                    </a:lnTo>
                    <a:lnTo>
                      <a:pt x="85" y="36"/>
                    </a:lnTo>
                    <a:lnTo>
                      <a:pt x="85" y="38"/>
                    </a:lnTo>
                    <a:lnTo>
                      <a:pt x="90" y="33"/>
                    </a:lnTo>
                    <a:lnTo>
                      <a:pt x="90" y="33"/>
                    </a:lnTo>
                    <a:lnTo>
                      <a:pt x="90" y="33"/>
                    </a:lnTo>
                    <a:lnTo>
                      <a:pt x="90" y="33"/>
                    </a:lnTo>
                    <a:lnTo>
                      <a:pt x="92" y="32"/>
                    </a:lnTo>
                    <a:lnTo>
                      <a:pt x="92" y="32"/>
                    </a:lnTo>
                    <a:lnTo>
                      <a:pt x="92" y="32"/>
                    </a:lnTo>
                    <a:lnTo>
                      <a:pt x="93" y="32"/>
                    </a:lnTo>
                    <a:lnTo>
                      <a:pt x="93" y="32"/>
                    </a:lnTo>
                    <a:lnTo>
                      <a:pt x="96" y="32"/>
                    </a:lnTo>
                    <a:lnTo>
                      <a:pt x="96" y="32"/>
                    </a:lnTo>
                    <a:lnTo>
                      <a:pt x="96" y="32"/>
                    </a:lnTo>
                    <a:lnTo>
                      <a:pt x="97" y="32"/>
                    </a:lnTo>
                    <a:lnTo>
                      <a:pt x="97" y="32"/>
                    </a:lnTo>
                    <a:lnTo>
                      <a:pt x="97" y="30"/>
                    </a:lnTo>
                    <a:lnTo>
                      <a:pt x="106" y="28"/>
                    </a:lnTo>
                    <a:lnTo>
                      <a:pt x="106" y="28"/>
                    </a:lnTo>
                    <a:lnTo>
                      <a:pt x="108" y="29"/>
                    </a:lnTo>
                    <a:lnTo>
                      <a:pt x="108" y="29"/>
                    </a:lnTo>
                    <a:lnTo>
                      <a:pt x="108" y="29"/>
                    </a:lnTo>
                    <a:lnTo>
                      <a:pt x="111" y="32"/>
                    </a:lnTo>
                    <a:lnTo>
                      <a:pt x="111" y="32"/>
                    </a:lnTo>
                    <a:lnTo>
                      <a:pt x="110" y="33"/>
                    </a:lnTo>
                    <a:lnTo>
                      <a:pt x="111" y="32"/>
                    </a:lnTo>
                    <a:lnTo>
                      <a:pt x="114" y="36"/>
                    </a:lnTo>
                    <a:lnTo>
                      <a:pt x="114" y="36"/>
                    </a:lnTo>
                    <a:lnTo>
                      <a:pt x="114" y="33"/>
                    </a:lnTo>
                    <a:lnTo>
                      <a:pt x="115" y="34"/>
                    </a:lnTo>
                    <a:lnTo>
                      <a:pt x="115" y="34"/>
                    </a:lnTo>
                    <a:lnTo>
                      <a:pt x="115" y="33"/>
                    </a:lnTo>
                    <a:lnTo>
                      <a:pt x="114" y="32"/>
                    </a:lnTo>
                    <a:lnTo>
                      <a:pt x="114" y="32"/>
                    </a:lnTo>
                    <a:lnTo>
                      <a:pt x="113" y="30"/>
                    </a:lnTo>
                    <a:lnTo>
                      <a:pt x="117" y="29"/>
                    </a:lnTo>
                    <a:lnTo>
                      <a:pt x="118" y="29"/>
                    </a:lnTo>
                    <a:lnTo>
                      <a:pt x="123" y="32"/>
                    </a:lnTo>
                    <a:lnTo>
                      <a:pt x="123" y="32"/>
                    </a:lnTo>
                    <a:lnTo>
                      <a:pt x="125" y="30"/>
                    </a:lnTo>
                    <a:lnTo>
                      <a:pt x="130" y="30"/>
                    </a:lnTo>
                    <a:lnTo>
                      <a:pt x="137" y="36"/>
                    </a:lnTo>
                    <a:lnTo>
                      <a:pt x="137" y="36"/>
                    </a:lnTo>
                    <a:lnTo>
                      <a:pt x="135" y="41"/>
                    </a:lnTo>
                    <a:lnTo>
                      <a:pt x="134" y="46"/>
                    </a:lnTo>
                    <a:lnTo>
                      <a:pt x="134" y="46"/>
                    </a:lnTo>
                    <a:lnTo>
                      <a:pt x="133" y="50"/>
                    </a:lnTo>
                    <a:lnTo>
                      <a:pt x="133" y="50"/>
                    </a:lnTo>
                    <a:lnTo>
                      <a:pt x="133" y="50"/>
                    </a:lnTo>
                    <a:lnTo>
                      <a:pt x="133" y="50"/>
                    </a:lnTo>
                    <a:lnTo>
                      <a:pt x="133" y="50"/>
                    </a:lnTo>
                    <a:lnTo>
                      <a:pt x="134" y="50"/>
                    </a:lnTo>
                    <a:lnTo>
                      <a:pt x="135" y="50"/>
                    </a:lnTo>
                    <a:lnTo>
                      <a:pt x="139" y="51"/>
                    </a:lnTo>
                    <a:lnTo>
                      <a:pt x="139" y="51"/>
                    </a:lnTo>
                    <a:lnTo>
                      <a:pt x="149" y="54"/>
                    </a:lnTo>
                    <a:lnTo>
                      <a:pt x="150" y="54"/>
                    </a:lnTo>
                    <a:lnTo>
                      <a:pt x="151" y="55"/>
                    </a:lnTo>
                    <a:lnTo>
                      <a:pt x="151" y="55"/>
                    </a:lnTo>
                    <a:lnTo>
                      <a:pt x="155" y="57"/>
                    </a:lnTo>
                    <a:lnTo>
                      <a:pt x="158" y="59"/>
                    </a:lnTo>
                    <a:lnTo>
                      <a:pt x="158" y="59"/>
                    </a:lnTo>
                    <a:lnTo>
                      <a:pt x="160" y="57"/>
                    </a:lnTo>
                    <a:lnTo>
                      <a:pt x="160" y="57"/>
                    </a:lnTo>
                    <a:lnTo>
                      <a:pt x="162" y="57"/>
                    </a:lnTo>
                    <a:lnTo>
                      <a:pt x="166" y="55"/>
                    </a:lnTo>
                    <a:lnTo>
                      <a:pt x="170" y="55"/>
                    </a:lnTo>
                    <a:lnTo>
                      <a:pt x="174" y="57"/>
                    </a:lnTo>
                    <a:lnTo>
                      <a:pt x="174" y="57"/>
                    </a:lnTo>
                    <a:lnTo>
                      <a:pt x="172" y="58"/>
                    </a:lnTo>
                    <a:lnTo>
                      <a:pt x="174" y="57"/>
                    </a:lnTo>
                    <a:lnTo>
                      <a:pt x="175" y="58"/>
                    </a:lnTo>
                    <a:lnTo>
                      <a:pt x="175" y="58"/>
                    </a:lnTo>
                    <a:lnTo>
                      <a:pt x="174" y="57"/>
                    </a:lnTo>
                    <a:lnTo>
                      <a:pt x="174" y="57"/>
                    </a:lnTo>
                    <a:lnTo>
                      <a:pt x="174" y="57"/>
                    </a:lnTo>
                    <a:lnTo>
                      <a:pt x="174" y="57"/>
                    </a:lnTo>
                    <a:lnTo>
                      <a:pt x="174" y="57"/>
                    </a:lnTo>
                    <a:lnTo>
                      <a:pt x="172" y="57"/>
                    </a:lnTo>
                    <a:lnTo>
                      <a:pt x="172" y="57"/>
                    </a:lnTo>
                    <a:lnTo>
                      <a:pt x="172" y="57"/>
                    </a:lnTo>
                    <a:lnTo>
                      <a:pt x="174" y="57"/>
                    </a:lnTo>
                    <a:lnTo>
                      <a:pt x="175" y="54"/>
                    </a:lnTo>
                    <a:lnTo>
                      <a:pt x="175" y="54"/>
                    </a:lnTo>
                    <a:lnTo>
                      <a:pt x="174" y="51"/>
                    </a:lnTo>
                    <a:lnTo>
                      <a:pt x="174" y="51"/>
                    </a:lnTo>
                    <a:lnTo>
                      <a:pt x="171" y="46"/>
                    </a:lnTo>
                    <a:lnTo>
                      <a:pt x="171" y="42"/>
                    </a:lnTo>
                    <a:lnTo>
                      <a:pt x="172" y="38"/>
                    </a:lnTo>
                    <a:lnTo>
                      <a:pt x="178" y="36"/>
                    </a:lnTo>
                    <a:lnTo>
                      <a:pt x="179" y="36"/>
                    </a:lnTo>
                    <a:lnTo>
                      <a:pt x="183" y="41"/>
                    </a:lnTo>
                    <a:lnTo>
                      <a:pt x="183" y="41"/>
                    </a:lnTo>
                    <a:lnTo>
                      <a:pt x="182" y="42"/>
                    </a:lnTo>
                    <a:lnTo>
                      <a:pt x="183" y="41"/>
                    </a:lnTo>
                    <a:lnTo>
                      <a:pt x="184" y="43"/>
                    </a:lnTo>
                    <a:lnTo>
                      <a:pt x="184" y="43"/>
                    </a:lnTo>
                    <a:lnTo>
                      <a:pt x="184" y="41"/>
                    </a:lnTo>
                    <a:lnTo>
                      <a:pt x="184" y="41"/>
                    </a:lnTo>
                    <a:lnTo>
                      <a:pt x="184" y="41"/>
                    </a:lnTo>
                    <a:lnTo>
                      <a:pt x="187" y="40"/>
                    </a:lnTo>
                    <a:lnTo>
                      <a:pt x="188" y="40"/>
                    </a:lnTo>
                    <a:lnTo>
                      <a:pt x="192" y="42"/>
                    </a:lnTo>
                    <a:lnTo>
                      <a:pt x="192" y="42"/>
                    </a:lnTo>
                    <a:lnTo>
                      <a:pt x="197" y="47"/>
                    </a:lnTo>
                    <a:lnTo>
                      <a:pt x="203" y="47"/>
                    </a:lnTo>
                    <a:lnTo>
                      <a:pt x="208" y="55"/>
                    </a:lnTo>
                    <a:lnTo>
                      <a:pt x="208" y="55"/>
                    </a:lnTo>
                    <a:lnTo>
                      <a:pt x="208" y="57"/>
                    </a:lnTo>
                    <a:lnTo>
                      <a:pt x="208" y="57"/>
                    </a:lnTo>
                    <a:lnTo>
                      <a:pt x="209" y="57"/>
                    </a:lnTo>
                    <a:lnTo>
                      <a:pt x="209" y="57"/>
                    </a:lnTo>
                    <a:lnTo>
                      <a:pt x="213" y="55"/>
                    </a:lnTo>
                    <a:lnTo>
                      <a:pt x="213" y="55"/>
                    </a:lnTo>
                    <a:lnTo>
                      <a:pt x="217" y="57"/>
                    </a:lnTo>
                    <a:lnTo>
                      <a:pt x="219" y="57"/>
                    </a:lnTo>
                    <a:lnTo>
                      <a:pt x="219" y="57"/>
                    </a:lnTo>
                    <a:lnTo>
                      <a:pt x="220" y="58"/>
                    </a:lnTo>
                    <a:lnTo>
                      <a:pt x="220" y="58"/>
                    </a:lnTo>
                    <a:lnTo>
                      <a:pt x="220" y="58"/>
                    </a:lnTo>
                    <a:lnTo>
                      <a:pt x="220" y="58"/>
                    </a:lnTo>
                    <a:lnTo>
                      <a:pt x="225" y="62"/>
                    </a:lnTo>
                    <a:lnTo>
                      <a:pt x="225" y="62"/>
                    </a:lnTo>
                    <a:lnTo>
                      <a:pt x="224" y="59"/>
                    </a:lnTo>
                    <a:lnTo>
                      <a:pt x="221" y="59"/>
                    </a:lnTo>
                    <a:lnTo>
                      <a:pt x="221" y="59"/>
                    </a:lnTo>
                    <a:lnTo>
                      <a:pt x="223" y="59"/>
                    </a:lnTo>
                    <a:lnTo>
                      <a:pt x="223" y="59"/>
                    </a:lnTo>
                    <a:lnTo>
                      <a:pt x="224" y="59"/>
                    </a:lnTo>
                    <a:lnTo>
                      <a:pt x="224" y="59"/>
                    </a:lnTo>
                    <a:lnTo>
                      <a:pt x="227" y="58"/>
                    </a:lnTo>
                    <a:lnTo>
                      <a:pt x="227" y="58"/>
                    </a:lnTo>
                    <a:lnTo>
                      <a:pt x="229" y="59"/>
                    </a:lnTo>
                    <a:lnTo>
                      <a:pt x="229" y="59"/>
                    </a:lnTo>
                    <a:lnTo>
                      <a:pt x="229" y="59"/>
                    </a:lnTo>
                    <a:lnTo>
                      <a:pt x="229" y="59"/>
                    </a:lnTo>
                    <a:lnTo>
                      <a:pt x="230" y="59"/>
                    </a:lnTo>
                    <a:lnTo>
                      <a:pt x="229" y="59"/>
                    </a:lnTo>
                    <a:lnTo>
                      <a:pt x="236" y="66"/>
                    </a:lnTo>
                    <a:lnTo>
                      <a:pt x="236" y="66"/>
                    </a:lnTo>
                    <a:lnTo>
                      <a:pt x="236" y="66"/>
                    </a:lnTo>
                    <a:lnTo>
                      <a:pt x="236" y="66"/>
                    </a:lnTo>
                    <a:lnTo>
                      <a:pt x="236" y="66"/>
                    </a:lnTo>
                    <a:lnTo>
                      <a:pt x="236" y="65"/>
                    </a:lnTo>
                    <a:lnTo>
                      <a:pt x="236" y="65"/>
                    </a:lnTo>
                    <a:lnTo>
                      <a:pt x="236" y="63"/>
                    </a:lnTo>
                    <a:lnTo>
                      <a:pt x="237" y="62"/>
                    </a:lnTo>
                    <a:lnTo>
                      <a:pt x="234" y="58"/>
                    </a:lnTo>
                    <a:lnTo>
                      <a:pt x="234" y="41"/>
                    </a:lnTo>
                    <a:lnTo>
                      <a:pt x="240" y="36"/>
                    </a:lnTo>
                    <a:lnTo>
                      <a:pt x="240" y="36"/>
                    </a:lnTo>
                    <a:lnTo>
                      <a:pt x="242" y="37"/>
                    </a:lnTo>
                    <a:lnTo>
                      <a:pt x="240" y="33"/>
                    </a:lnTo>
                    <a:lnTo>
                      <a:pt x="241" y="32"/>
                    </a:lnTo>
                    <a:lnTo>
                      <a:pt x="241" y="32"/>
                    </a:lnTo>
                    <a:lnTo>
                      <a:pt x="238" y="32"/>
                    </a:lnTo>
                    <a:lnTo>
                      <a:pt x="238" y="32"/>
                    </a:lnTo>
                    <a:lnTo>
                      <a:pt x="238" y="32"/>
                    </a:lnTo>
                    <a:lnTo>
                      <a:pt x="238" y="32"/>
                    </a:lnTo>
                    <a:lnTo>
                      <a:pt x="238" y="32"/>
                    </a:lnTo>
                    <a:lnTo>
                      <a:pt x="237" y="30"/>
                    </a:lnTo>
                    <a:lnTo>
                      <a:pt x="237" y="6"/>
                    </a:lnTo>
                    <a:lnTo>
                      <a:pt x="244" y="0"/>
                    </a:lnTo>
                    <a:lnTo>
                      <a:pt x="244" y="0"/>
                    </a:lnTo>
                    <a:lnTo>
                      <a:pt x="244" y="0"/>
                    </a:lnTo>
                    <a:lnTo>
                      <a:pt x="249" y="1"/>
                    </a:lnTo>
                    <a:lnTo>
                      <a:pt x="253" y="3"/>
                    </a:lnTo>
                    <a:lnTo>
                      <a:pt x="253" y="3"/>
                    </a:lnTo>
                    <a:lnTo>
                      <a:pt x="254" y="4"/>
                    </a:lnTo>
                    <a:lnTo>
                      <a:pt x="254" y="4"/>
                    </a:lnTo>
                    <a:lnTo>
                      <a:pt x="258" y="5"/>
                    </a:lnTo>
                    <a:lnTo>
                      <a:pt x="262" y="8"/>
                    </a:lnTo>
                    <a:lnTo>
                      <a:pt x="267" y="12"/>
                    </a:lnTo>
                    <a:lnTo>
                      <a:pt x="269" y="16"/>
                    </a:lnTo>
                    <a:lnTo>
                      <a:pt x="270" y="20"/>
                    </a:lnTo>
                    <a:lnTo>
                      <a:pt x="270" y="20"/>
                    </a:lnTo>
                    <a:lnTo>
                      <a:pt x="274" y="24"/>
                    </a:lnTo>
                    <a:lnTo>
                      <a:pt x="277" y="24"/>
                    </a:lnTo>
                    <a:lnTo>
                      <a:pt x="279" y="29"/>
                    </a:lnTo>
                    <a:lnTo>
                      <a:pt x="279" y="29"/>
                    </a:lnTo>
                    <a:lnTo>
                      <a:pt x="279" y="29"/>
                    </a:lnTo>
                    <a:lnTo>
                      <a:pt x="279" y="29"/>
                    </a:lnTo>
                    <a:lnTo>
                      <a:pt x="281" y="30"/>
                    </a:lnTo>
                    <a:lnTo>
                      <a:pt x="281" y="30"/>
                    </a:lnTo>
                    <a:lnTo>
                      <a:pt x="282" y="30"/>
                    </a:lnTo>
                    <a:lnTo>
                      <a:pt x="282" y="32"/>
                    </a:lnTo>
                    <a:lnTo>
                      <a:pt x="286" y="34"/>
                    </a:lnTo>
                    <a:lnTo>
                      <a:pt x="286" y="34"/>
                    </a:lnTo>
                    <a:lnTo>
                      <a:pt x="286" y="33"/>
                    </a:lnTo>
                    <a:lnTo>
                      <a:pt x="286" y="33"/>
                    </a:lnTo>
                    <a:lnTo>
                      <a:pt x="287" y="33"/>
                    </a:lnTo>
                    <a:lnTo>
                      <a:pt x="287" y="33"/>
                    </a:lnTo>
                    <a:lnTo>
                      <a:pt x="287" y="33"/>
                    </a:lnTo>
                    <a:lnTo>
                      <a:pt x="289" y="33"/>
                    </a:lnTo>
                    <a:lnTo>
                      <a:pt x="290" y="32"/>
                    </a:lnTo>
                    <a:lnTo>
                      <a:pt x="290" y="32"/>
                    </a:lnTo>
                    <a:lnTo>
                      <a:pt x="294" y="29"/>
                    </a:lnTo>
                    <a:lnTo>
                      <a:pt x="299" y="29"/>
                    </a:lnTo>
                    <a:lnTo>
                      <a:pt x="299" y="29"/>
                    </a:lnTo>
                    <a:lnTo>
                      <a:pt x="301" y="29"/>
                    </a:lnTo>
                    <a:lnTo>
                      <a:pt x="301" y="29"/>
                    </a:lnTo>
                    <a:lnTo>
                      <a:pt x="302" y="29"/>
                    </a:lnTo>
                    <a:lnTo>
                      <a:pt x="302" y="29"/>
                    </a:lnTo>
                    <a:lnTo>
                      <a:pt x="303" y="28"/>
                    </a:lnTo>
                    <a:lnTo>
                      <a:pt x="303" y="28"/>
                    </a:lnTo>
                    <a:lnTo>
                      <a:pt x="307" y="28"/>
                    </a:lnTo>
                    <a:lnTo>
                      <a:pt x="314" y="34"/>
                    </a:lnTo>
                    <a:lnTo>
                      <a:pt x="314" y="34"/>
                    </a:lnTo>
                    <a:lnTo>
                      <a:pt x="314" y="34"/>
                    </a:lnTo>
                    <a:lnTo>
                      <a:pt x="315" y="36"/>
                    </a:lnTo>
                    <a:lnTo>
                      <a:pt x="315" y="36"/>
                    </a:lnTo>
                    <a:lnTo>
                      <a:pt x="315" y="36"/>
                    </a:lnTo>
                    <a:lnTo>
                      <a:pt x="316" y="36"/>
                    </a:lnTo>
                    <a:lnTo>
                      <a:pt x="322" y="38"/>
                    </a:lnTo>
                    <a:lnTo>
                      <a:pt x="322" y="38"/>
                    </a:lnTo>
                    <a:lnTo>
                      <a:pt x="323" y="42"/>
                    </a:lnTo>
                    <a:lnTo>
                      <a:pt x="324" y="46"/>
                    </a:lnTo>
                    <a:lnTo>
                      <a:pt x="324" y="46"/>
                    </a:lnTo>
                    <a:lnTo>
                      <a:pt x="324" y="50"/>
                    </a:lnTo>
                    <a:lnTo>
                      <a:pt x="324" y="53"/>
                    </a:lnTo>
                    <a:lnTo>
                      <a:pt x="322" y="55"/>
                    </a:lnTo>
                    <a:lnTo>
                      <a:pt x="319" y="57"/>
                    </a:lnTo>
                    <a:lnTo>
                      <a:pt x="319" y="57"/>
                    </a:lnTo>
                    <a:lnTo>
                      <a:pt x="319" y="57"/>
                    </a:lnTo>
                    <a:lnTo>
                      <a:pt x="319" y="57"/>
                    </a:lnTo>
                    <a:lnTo>
                      <a:pt x="320" y="57"/>
                    </a:lnTo>
                    <a:lnTo>
                      <a:pt x="316" y="59"/>
                    </a:lnTo>
                    <a:lnTo>
                      <a:pt x="316" y="59"/>
                    </a:lnTo>
                    <a:lnTo>
                      <a:pt x="315" y="59"/>
                    </a:lnTo>
                    <a:lnTo>
                      <a:pt x="315" y="59"/>
                    </a:lnTo>
                    <a:lnTo>
                      <a:pt x="314" y="61"/>
                    </a:lnTo>
                    <a:lnTo>
                      <a:pt x="310" y="62"/>
                    </a:lnTo>
                    <a:lnTo>
                      <a:pt x="310" y="62"/>
                    </a:lnTo>
                    <a:lnTo>
                      <a:pt x="306" y="63"/>
                    </a:lnTo>
                    <a:lnTo>
                      <a:pt x="305" y="67"/>
                    </a:lnTo>
                    <a:lnTo>
                      <a:pt x="303" y="73"/>
                    </a:lnTo>
                    <a:lnTo>
                      <a:pt x="302" y="79"/>
                    </a:lnTo>
                    <a:lnTo>
                      <a:pt x="302" y="79"/>
                    </a:lnTo>
                    <a:lnTo>
                      <a:pt x="302" y="83"/>
                    </a:lnTo>
                    <a:lnTo>
                      <a:pt x="299" y="86"/>
                    </a:lnTo>
                    <a:lnTo>
                      <a:pt x="299" y="86"/>
                    </a:lnTo>
                    <a:lnTo>
                      <a:pt x="297" y="88"/>
                    </a:lnTo>
                    <a:lnTo>
                      <a:pt x="293" y="88"/>
                    </a:lnTo>
                    <a:lnTo>
                      <a:pt x="293" y="88"/>
                    </a:lnTo>
                    <a:lnTo>
                      <a:pt x="287" y="83"/>
                    </a:lnTo>
                    <a:lnTo>
                      <a:pt x="287" y="83"/>
                    </a:lnTo>
                    <a:lnTo>
                      <a:pt x="289" y="86"/>
                    </a:lnTo>
                    <a:lnTo>
                      <a:pt x="291" y="87"/>
                    </a:lnTo>
                    <a:lnTo>
                      <a:pt x="291" y="87"/>
                    </a:lnTo>
                    <a:lnTo>
                      <a:pt x="289" y="87"/>
                    </a:lnTo>
                    <a:lnTo>
                      <a:pt x="287" y="86"/>
                    </a:lnTo>
                    <a:lnTo>
                      <a:pt x="287" y="86"/>
                    </a:lnTo>
                    <a:lnTo>
                      <a:pt x="286" y="86"/>
                    </a:lnTo>
                    <a:lnTo>
                      <a:pt x="286" y="86"/>
                    </a:lnTo>
                    <a:lnTo>
                      <a:pt x="283" y="86"/>
                    </a:lnTo>
                    <a:lnTo>
                      <a:pt x="283" y="86"/>
                    </a:lnTo>
                    <a:lnTo>
                      <a:pt x="281" y="86"/>
                    </a:lnTo>
                    <a:lnTo>
                      <a:pt x="281" y="86"/>
                    </a:lnTo>
                    <a:lnTo>
                      <a:pt x="275" y="83"/>
                    </a:lnTo>
                    <a:lnTo>
                      <a:pt x="275" y="83"/>
                    </a:lnTo>
                    <a:lnTo>
                      <a:pt x="275" y="84"/>
                    </a:lnTo>
                    <a:lnTo>
                      <a:pt x="275" y="84"/>
                    </a:lnTo>
                    <a:lnTo>
                      <a:pt x="273" y="83"/>
                    </a:lnTo>
                    <a:lnTo>
                      <a:pt x="273" y="83"/>
                    </a:lnTo>
                    <a:lnTo>
                      <a:pt x="269" y="86"/>
                    </a:lnTo>
                    <a:lnTo>
                      <a:pt x="269" y="86"/>
                    </a:lnTo>
                    <a:lnTo>
                      <a:pt x="270" y="84"/>
                    </a:lnTo>
                    <a:lnTo>
                      <a:pt x="271" y="82"/>
                    </a:lnTo>
                    <a:lnTo>
                      <a:pt x="265" y="87"/>
                    </a:lnTo>
                    <a:lnTo>
                      <a:pt x="265" y="87"/>
                    </a:lnTo>
                    <a:lnTo>
                      <a:pt x="267" y="87"/>
                    </a:lnTo>
                    <a:lnTo>
                      <a:pt x="269" y="84"/>
                    </a:lnTo>
                    <a:lnTo>
                      <a:pt x="269" y="84"/>
                    </a:lnTo>
                    <a:lnTo>
                      <a:pt x="269" y="86"/>
                    </a:lnTo>
                    <a:lnTo>
                      <a:pt x="269" y="86"/>
                    </a:lnTo>
                    <a:lnTo>
                      <a:pt x="267" y="88"/>
                    </a:lnTo>
                    <a:lnTo>
                      <a:pt x="265" y="92"/>
                    </a:lnTo>
                    <a:lnTo>
                      <a:pt x="261" y="94"/>
                    </a:lnTo>
                    <a:lnTo>
                      <a:pt x="260" y="94"/>
                    </a:lnTo>
                    <a:lnTo>
                      <a:pt x="256" y="91"/>
                    </a:lnTo>
                    <a:lnTo>
                      <a:pt x="256" y="91"/>
                    </a:lnTo>
                    <a:lnTo>
                      <a:pt x="253" y="87"/>
                    </a:lnTo>
                    <a:lnTo>
                      <a:pt x="253" y="87"/>
                    </a:lnTo>
                    <a:lnTo>
                      <a:pt x="253" y="86"/>
                    </a:lnTo>
                    <a:lnTo>
                      <a:pt x="253" y="86"/>
                    </a:lnTo>
                    <a:lnTo>
                      <a:pt x="253" y="87"/>
                    </a:lnTo>
                    <a:lnTo>
                      <a:pt x="253" y="86"/>
                    </a:lnTo>
                    <a:lnTo>
                      <a:pt x="249" y="84"/>
                    </a:lnTo>
                    <a:lnTo>
                      <a:pt x="249" y="84"/>
                    </a:lnTo>
                    <a:lnTo>
                      <a:pt x="250" y="84"/>
                    </a:lnTo>
                    <a:lnTo>
                      <a:pt x="250" y="84"/>
                    </a:lnTo>
                    <a:lnTo>
                      <a:pt x="249" y="84"/>
                    </a:lnTo>
                    <a:lnTo>
                      <a:pt x="246" y="84"/>
                    </a:lnTo>
                    <a:lnTo>
                      <a:pt x="242" y="82"/>
                    </a:lnTo>
                    <a:lnTo>
                      <a:pt x="242" y="82"/>
                    </a:lnTo>
                    <a:lnTo>
                      <a:pt x="242" y="86"/>
                    </a:lnTo>
                    <a:lnTo>
                      <a:pt x="242" y="86"/>
                    </a:lnTo>
                    <a:lnTo>
                      <a:pt x="242" y="91"/>
                    </a:lnTo>
                    <a:lnTo>
                      <a:pt x="242" y="91"/>
                    </a:lnTo>
                    <a:lnTo>
                      <a:pt x="242" y="95"/>
                    </a:lnTo>
                    <a:lnTo>
                      <a:pt x="241" y="99"/>
                    </a:lnTo>
                    <a:lnTo>
                      <a:pt x="238" y="104"/>
                    </a:lnTo>
                    <a:lnTo>
                      <a:pt x="238" y="104"/>
                    </a:lnTo>
                    <a:lnTo>
                      <a:pt x="237" y="107"/>
                    </a:lnTo>
                    <a:lnTo>
                      <a:pt x="237" y="107"/>
                    </a:lnTo>
                    <a:lnTo>
                      <a:pt x="234" y="110"/>
                    </a:lnTo>
                    <a:lnTo>
                      <a:pt x="232" y="110"/>
                    </a:lnTo>
                    <a:lnTo>
                      <a:pt x="232" y="110"/>
                    </a:lnTo>
                    <a:lnTo>
                      <a:pt x="230" y="112"/>
                    </a:lnTo>
                    <a:lnTo>
                      <a:pt x="230" y="112"/>
                    </a:lnTo>
                    <a:lnTo>
                      <a:pt x="227" y="116"/>
                    </a:lnTo>
                    <a:lnTo>
                      <a:pt x="224" y="118"/>
                    </a:lnTo>
                    <a:lnTo>
                      <a:pt x="221" y="119"/>
                    </a:lnTo>
                    <a:lnTo>
                      <a:pt x="221" y="119"/>
                    </a:lnTo>
                    <a:lnTo>
                      <a:pt x="217" y="121"/>
                    </a:lnTo>
                    <a:lnTo>
                      <a:pt x="213" y="123"/>
                    </a:lnTo>
                    <a:lnTo>
                      <a:pt x="209" y="123"/>
                    </a:lnTo>
                    <a:lnTo>
                      <a:pt x="209" y="123"/>
                    </a:lnTo>
                    <a:lnTo>
                      <a:pt x="209" y="123"/>
                    </a:lnTo>
                    <a:lnTo>
                      <a:pt x="209" y="124"/>
                    </a:lnTo>
                    <a:lnTo>
                      <a:pt x="209" y="124"/>
                    </a:lnTo>
                    <a:lnTo>
                      <a:pt x="208" y="132"/>
                    </a:lnTo>
                    <a:lnTo>
                      <a:pt x="205" y="135"/>
                    </a:lnTo>
                    <a:lnTo>
                      <a:pt x="205" y="135"/>
                    </a:lnTo>
                    <a:lnTo>
                      <a:pt x="205" y="136"/>
                    </a:lnTo>
                    <a:lnTo>
                      <a:pt x="205" y="136"/>
                    </a:lnTo>
                    <a:lnTo>
                      <a:pt x="205" y="136"/>
                    </a:lnTo>
                    <a:lnTo>
                      <a:pt x="205" y="136"/>
                    </a:lnTo>
                    <a:lnTo>
                      <a:pt x="205" y="136"/>
                    </a:lnTo>
                    <a:lnTo>
                      <a:pt x="208" y="140"/>
                    </a:lnTo>
                    <a:lnTo>
                      <a:pt x="209" y="144"/>
                    </a:lnTo>
                    <a:lnTo>
                      <a:pt x="208" y="148"/>
                    </a:lnTo>
                    <a:lnTo>
                      <a:pt x="205" y="149"/>
                    </a:lnTo>
                    <a:lnTo>
                      <a:pt x="205" y="149"/>
                    </a:lnTo>
                    <a:lnTo>
                      <a:pt x="207" y="149"/>
                    </a:lnTo>
                    <a:lnTo>
                      <a:pt x="203" y="152"/>
                    </a:lnTo>
                    <a:lnTo>
                      <a:pt x="201" y="152"/>
                    </a:lnTo>
                    <a:lnTo>
                      <a:pt x="201" y="152"/>
                    </a:lnTo>
                    <a:lnTo>
                      <a:pt x="201" y="152"/>
                    </a:lnTo>
                    <a:lnTo>
                      <a:pt x="200" y="153"/>
                    </a:lnTo>
                    <a:lnTo>
                      <a:pt x="200" y="153"/>
                    </a:lnTo>
                    <a:lnTo>
                      <a:pt x="199" y="153"/>
                    </a:lnTo>
                    <a:lnTo>
                      <a:pt x="199" y="153"/>
                    </a:lnTo>
                    <a:lnTo>
                      <a:pt x="196" y="153"/>
                    </a:lnTo>
                    <a:lnTo>
                      <a:pt x="196" y="153"/>
                    </a:lnTo>
                    <a:lnTo>
                      <a:pt x="199" y="152"/>
                    </a:lnTo>
                    <a:lnTo>
                      <a:pt x="200" y="149"/>
                    </a:lnTo>
                    <a:lnTo>
                      <a:pt x="195" y="153"/>
                    </a:lnTo>
                    <a:lnTo>
                      <a:pt x="195" y="155"/>
                    </a:lnTo>
                    <a:lnTo>
                      <a:pt x="195" y="155"/>
                    </a:lnTo>
                    <a:lnTo>
                      <a:pt x="191" y="157"/>
                    </a:lnTo>
                    <a:lnTo>
                      <a:pt x="188" y="160"/>
                    </a:lnTo>
                    <a:lnTo>
                      <a:pt x="188" y="160"/>
                    </a:lnTo>
                    <a:lnTo>
                      <a:pt x="188" y="162"/>
                    </a:lnTo>
                    <a:lnTo>
                      <a:pt x="189" y="165"/>
                    </a:lnTo>
                    <a:lnTo>
                      <a:pt x="189" y="168"/>
                    </a:lnTo>
                    <a:lnTo>
                      <a:pt x="189" y="172"/>
                    </a:lnTo>
                    <a:lnTo>
                      <a:pt x="189" y="173"/>
                    </a:lnTo>
                    <a:lnTo>
                      <a:pt x="189" y="173"/>
                    </a:lnTo>
                    <a:lnTo>
                      <a:pt x="188" y="176"/>
                    </a:lnTo>
                    <a:lnTo>
                      <a:pt x="188" y="176"/>
                    </a:lnTo>
                    <a:lnTo>
                      <a:pt x="188" y="174"/>
                    </a:lnTo>
                    <a:lnTo>
                      <a:pt x="187" y="178"/>
                    </a:lnTo>
                    <a:lnTo>
                      <a:pt x="187" y="178"/>
                    </a:lnTo>
                    <a:lnTo>
                      <a:pt x="184" y="180"/>
                    </a:lnTo>
                    <a:lnTo>
                      <a:pt x="180" y="181"/>
                    </a:lnTo>
                    <a:lnTo>
                      <a:pt x="180" y="181"/>
                    </a:lnTo>
                    <a:lnTo>
                      <a:pt x="178" y="180"/>
                    </a:lnTo>
                    <a:lnTo>
                      <a:pt x="175" y="180"/>
                    </a:lnTo>
                    <a:lnTo>
                      <a:pt x="175" y="180"/>
                    </a:lnTo>
                    <a:lnTo>
                      <a:pt x="174" y="178"/>
                    </a:lnTo>
                    <a:lnTo>
                      <a:pt x="171" y="181"/>
                    </a:lnTo>
                    <a:lnTo>
                      <a:pt x="171" y="181"/>
                    </a:lnTo>
                    <a:lnTo>
                      <a:pt x="170" y="181"/>
                    </a:lnTo>
                    <a:lnTo>
                      <a:pt x="170" y="181"/>
                    </a:lnTo>
                    <a:lnTo>
                      <a:pt x="170" y="181"/>
                    </a:lnTo>
                    <a:lnTo>
                      <a:pt x="170" y="181"/>
                    </a:lnTo>
                    <a:lnTo>
                      <a:pt x="166" y="184"/>
                    </a:lnTo>
                    <a:lnTo>
                      <a:pt x="166" y="184"/>
                    </a:lnTo>
                    <a:lnTo>
                      <a:pt x="158" y="190"/>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2" name="Group 21">
              <a:extLst>
                <a:ext uri="{FF2B5EF4-FFF2-40B4-BE49-F238E27FC236}">
                  <a16:creationId xmlns:a16="http://schemas.microsoft.com/office/drawing/2014/main" xmlns="" id="{B47FF435-478A-4E93-902B-31D90D8808D9}"/>
                </a:ext>
              </a:extLst>
            </p:cNvPr>
            <p:cNvGrpSpPr/>
            <p:nvPr/>
          </p:nvGrpSpPr>
          <p:grpSpPr>
            <a:xfrm>
              <a:off x="6210419" y="3513403"/>
              <a:ext cx="1775612" cy="1429029"/>
              <a:chOff x="4406599" y="2728675"/>
              <a:chExt cx="2322593" cy="1909953"/>
            </a:xfrm>
            <a:solidFill>
              <a:schemeClr val="tx1">
                <a:lumMod val="85000"/>
                <a:lumOff val="15000"/>
                <a:alpha val="50196"/>
              </a:schemeClr>
            </a:solidFill>
          </p:grpSpPr>
          <p:sp>
            <p:nvSpPr>
              <p:cNvPr id="70" name="Freeform 26">
                <a:extLst>
                  <a:ext uri="{FF2B5EF4-FFF2-40B4-BE49-F238E27FC236}">
                    <a16:creationId xmlns:a16="http://schemas.microsoft.com/office/drawing/2014/main" xmlns="" id="{DE7B224A-4F97-4CDD-A9C4-8A2F71FA689F}"/>
                  </a:ext>
                </a:extLst>
              </p:cNvPr>
              <p:cNvSpPr>
                <a:spLocks/>
              </p:cNvSpPr>
              <p:nvPr/>
            </p:nvSpPr>
            <p:spPr bwMode="auto">
              <a:xfrm>
                <a:off x="5341555" y="2728675"/>
                <a:ext cx="1067279" cy="771297"/>
              </a:xfrm>
              <a:custGeom>
                <a:avLst/>
                <a:gdLst>
                  <a:gd name="T0" fmla="*/ 228 w 613"/>
                  <a:gd name="T1" fmla="*/ 435 h 443"/>
                  <a:gd name="T2" fmla="*/ 202 w 613"/>
                  <a:gd name="T3" fmla="*/ 404 h 443"/>
                  <a:gd name="T4" fmla="*/ 222 w 613"/>
                  <a:gd name="T5" fmla="*/ 390 h 443"/>
                  <a:gd name="T6" fmla="*/ 198 w 613"/>
                  <a:gd name="T7" fmla="*/ 355 h 443"/>
                  <a:gd name="T8" fmla="*/ 198 w 613"/>
                  <a:gd name="T9" fmla="*/ 348 h 443"/>
                  <a:gd name="T10" fmla="*/ 174 w 613"/>
                  <a:gd name="T11" fmla="*/ 341 h 443"/>
                  <a:gd name="T12" fmla="*/ 149 w 613"/>
                  <a:gd name="T13" fmla="*/ 341 h 443"/>
                  <a:gd name="T14" fmla="*/ 123 w 613"/>
                  <a:gd name="T15" fmla="*/ 295 h 443"/>
                  <a:gd name="T16" fmla="*/ 112 w 613"/>
                  <a:gd name="T17" fmla="*/ 252 h 443"/>
                  <a:gd name="T18" fmla="*/ 95 w 613"/>
                  <a:gd name="T19" fmla="*/ 231 h 443"/>
                  <a:gd name="T20" fmla="*/ 64 w 613"/>
                  <a:gd name="T21" fmla="*/ 247 h 443"/>
                  <a:gd name="T22" fmla="*/ 60 w 613"/>
                  <a:gd name="T23" fmla="*/ 223 h 443"/>
                  <a:gd name="T24" fmla="*/ 39 w 613"/>
                  <a:gd name="T25" fmla="*/ 185 h 443"/>
                  <a:gd name="T26" fmla="*/ 47 w 613"/>
                  <a:gd name="T27" fmla="*/ 151 h 443"/>
                  <a:gd name="T28" fmla="*/ 19 w 613"/>
                  <a:gd name="T29" fmla="*/ 136 h 443"/>
                  <a:gd name="T30" fmla="*/ 11 w 613"/>
                  <a:gd name="T31" fmla="*/ 110 h 443"/>
                  <a:gd name="T32" fmla="*/ 11 w 613"/>
                  <a:gd name="T33" fmla="*/ 98 h 443"/>
                  <a:gd name="T34" fmla="*/ 51 w 613"/>
                  <a:gd name="T35" fmla="*/ 73 h 443"/>
                  <a:gd name="T36" fmla="*/ 90 w 613"/>
                  <a:gd name="T37" fmla="*/ 65 h 443"/>
                  <a:gd name="T38" fmla="*/ 119 w 613"/>
                  <a:gd name="T39" fmla="*/ 65 h 443"/>
                  <a:gd name="T40" fmla="*/ 136 w 613"/>
                  <a:gd name="T41" fmla="*/ 66 h 443"/>
                  <a:gd name="T42" fmla="*/ 164 w 613"/>
                  <a:gd name="T43" fmla="*/ 78 h 443"/>
                  <a:gd name="T44" fmla="*/ 193 w 613"/>
                  <a:gd name="T45" fmla="*/ 45 h 443"/>
                  <a:gd name="T46" fmla="*/ 212 w 613"/>
                  <a:gd name="T47" fmla="*/ 61 h 443"/>
                  <a:gd name="T48" fmla="*/ 235 w 613"/>
                  <a:gd name="T49" fmla="*/ 50 h 443"/>
                  <a:gd name="T50" fmla="*/ 251 w 613"/>
                  <a:gd name="T51" fmla="*/ 28 h 443"/>
                  <a:gd name="T52" fmla="*/ 269 w 613"/>
                  <a:gd name="T53" fmla="*/ 16 h 443"/>
                  <a:gd name="T54" fmla="*/ 305 w 613"/>
                  <a:gd name="T55" fmla="*/ 32 h 443"/>
                  <a:gd name="T56" fmla="*/ 346 w 613"/>
                  <a:gd name="T57" fmla="*/ 8 h 443"/>
                  <a:gd name="T58" fmla="*/ 370 w 613"/>
                  <a:gd name="T59" fmla="*/ 29 h 443"/>
                  <a:gd name="T60" fmla="*/ 395 w 613"/>
                  <a:gd name="T61" fmla="*/ 51 h 443"/>
                  <a:gd name="T62" fmla="*/ 428 w 613"/>
                  <a:gd name="T63" fmla="*/ 69 h 443"/>
                  <a:gd name="T64" fmla="*/ 452 w 613"/>
                  <a:gd name="T65" fmla="*/ 74 h 443"/>
                  <a:gd name="T66" fmla="*/ 477 w 613"/>
                  <a:gd name="T67" fmla="*/ 88 h 443"/>
                  <a:gd name="T68" fmla="*/ 502 w 613"/>
                  <a:gd name="T69" fmla="*/ 106 h 443"/>
                  <a:gd name="T70" fmla="*/ 521 w 613"/>
                  <a:gd name="T71" fmla="*/ 88 h 443"/>
                  <a:gd name="T72" fmla="*/ 559 w 613"/>
                  <a:gd name="T73" fmla="*/ 104 h 443"/>
                  <a:gd name="T74" fmla="*/ 581 w 613"/>
                  <a:gd name="T75" fmla="*/ 110 h 443"/>
                  <a:gd name="T76" fmla="*/ 610 w 613"/>
                  <a:gd name="T77" fmla="*/ 100 h 443"/>
                  <a:gd name="T78" fmla="*/ 604 w 613"/>
                  <a:gd name="T79" fmla="*/ 120 h 443"/>
                  <a:gd name="T80" fmla="*/ 604 w 613"/>
                  <a:gd name="T81" fmla="*/ 156 h 443"/>
                  <a:gd name="T82" fmla="*/ 606 w 613"/>
                  <a:gd name="T83" fmla="*/ 165 h 443"/>
                  <a:gd name="T84" fmla="*/ 588 w 613"/>
                  <a:gd name="T85" fmla="*/ 199 h 443"/>
                  <a:gd name="T86" fmla="*/ 575 w 613"/>
                  <a:gd name="T87" fmla="*/ 221 h 443"/>
                  <a:gd name="T88" fmla="*/ 544 w 613"/>
                  <a:gd name="T89" fmla="*/ 247 h 443"/>
                  <a:gd name="T90" fmla="*/ 536 w 613"/>
                  <a:gd name="T91" fmla="*/ 260 h 443"/>
                  <a:gd name="T92" fmla="*/ 530 w 613"/>
                  <a:gd name="T93" fmla="*/ 263 h 443"/>
                  <a:gd name="T94" fmla="*/ 506 w 613"/>
                  <a:gd name="T95" fmla="*/ 260 h 443"/>
                  <a:gd name="T96" fmla="*/ 487 w 613"/>
                  <a:gd name="T97" fmla="*/ 259 h 443"/>
                  <a:gd name="T98" fmla="*/ 462 w 613"/>
                  <a:gd name="T99" fmla="*/ 237 h 443"/>
                  <a:gd name="T100" fmla="*/ 431 w 613"/>
                  <a:gd name="T101" fmla="*/ 247 h 443"/>
                  <a:gd name="T102" fmla="*/ 412 w 613"/>
                  <a:gd name="T103" fmla="*/ 233 h 443"/>
                  <a:gd name="T104" fmla="*/ 384 w 613"/>
                  <a:gd name="T105" fmla="*/ 242 h 443"/>
                  <a:gd name="T106" fmla="*/ 347 w 613"/>
                  <a:gd name="T107" fmla="*/ 270 h 443"/>
                  <a:gd name="T108" fmla="*/ 330 w 613"/>
                  <a:gd name="T109" fmla="*/ 268 h 443"/>
                  <a:gd name="T110" fmla="*/ 320 w 613"/>
                  <a:gd name="T111" fmla="*/ 283 h 443"/>
                  <a:gd name="T112" fmla="*/ 326 w 613"/>
                  <a:gd name="T113" fmla="*/ 337 h 443"/>
                  <a:gd name="T114" fmla="*/ 313 w 613"/>
                  <a:gd name="T115" fmla="*/ 352 h 443"/>
                  <a:gd name="T116" fmla="*/ 284 w 613"/>
                  <a:gd name="T117" fmla="*/ 369 h 443"/>
                  <a:gd name="T118" fmla="*/ 273 w 613"/>
                  <a:gd name="T119" fmla="*/ 400 h 443"/>
                  <a:gd name="T120" fmla="*/ 260 w 613"/>
                  <a:gd name="T121" fmla="*/ 422 h 443"/>
                  <a:gd name="T122" fmla="*/ 246 w 613"/>
                  <a:gd name="T123" fmla="*/ 44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3" h="443">
                    <a:moveTo>
                      <a:pt x="246" y="443"/>
                    </a:moveTo>
                    <a:lnTo>
                      <a:pt x="246" y="443"/>
                    </a:lnTo>
                    <a:lnTo>
                      <a:pt x="243" y="443"/>
                    </a:lnTo>
                    <a:lnTo>
                      <a:pt x="239" y="440"/>
                    </a:lnTo>
                    <a:lnTo>
                      <a:pt x="238" y="439"/>
                    </a:lnTo>
                    <a:lnTo>
                      <a:pt x="238" y="439"/>
                    </a:lnTo>
                    <a:lnTo>
                      <a:pt x="236" y="439"/>
                    </a:lnTo>
                    <a:lnTo>
                      <a:pt x="236" y="439"/>
                    </a:lnTo>
                    <a:lnTo>
                      <a:pt x="235" y="439"/>
                    </a:lnTo>
                    <a:lnTo>
                      <a:pt x="230" y="432"/>
                    </a:lnTo>
                    <a:lnTo>
                      <a:pt x="230" y="432"/>
                    </a:lnTo>
                    <a:lnTo>
                      <a:pt x="230" y="432"/>
                    </a:lnTo>
                    <a:lnTo>
                      <a:pt x="228" y="431"/>
                    </a:lnTo>
                    <a:lnTo>
                      <a:pt x="228" y="431"/>
                    </a:lnTo>
                    <a:lnTo>
                      <a:pt x="228" y="432"/>
                    </a:lnTo>
                    <a:lnTo>
                      <a:pt x="230" y="435"/>
                    </a:lnTo>
                    <a:lnTo>
                      <a:pt x="230" y="435"/>
                    </a:lnTo>
                    <a:lnTo>
                      <a:pt x="230" y="435"/>
                    </a:lnTo>
                    <a:lnTo>
                      <a:pt x="230" y="435"/>
                    </a:lnTo>
                    <a:lnTo>
                      <a:pt x="230" y="435"/>
                    </a:lnTo>
                    <a:lnTo>
                      <a:pt x="228" y="435"/>
                    </a:lnTo>
                    <a:lnTo>
                      <a:pt x="228" y="435"/>
                    </a:lnTo>
                    <a:lnTo>
                      <a:pt x="227" y="435"/>
                    </a:lnTo>
                    <a:lnTo>
                      <a:pt x="227" y="435"/>
                    </a:lnTo>
                    <a:lnTo>
                      <a:pt x="224" y="435"/>
                    </a:lnTo>
                    <a:lnTo>
                      <a:pt x="224" y="435"/>
                    </a:lnTo>
                    <a:lnTo>
                      <a:pt x="219" y="433"/>
                    </a:lnTo>
                    <a:lnTo>
                      <a:pt x="215" y="431"/>
                    </a:lnTo>
                    <a:lnTo>
                      <a:pt x="214" y="431"/>
                    </a:lnTo>
                    <a:lnTo>
                      <a:pt x="214" y="431"/>
                    </a:lnTo>
                    <a:lnTo>
                      <a:pt x="212" y="431"/>
                    </a:lnTo>
                    <a:lnTo>
                      <a:pt x="212" y="431"/>
                    </a:lnTo>
                    <a:lnTo>
                      <a:pt x="209" y="430"/>
                    </a:lnTo>
                    <a:lnTo>
                      <a:pt x="206" y="428"/>
                    </a:lnTo>
                    <a:lnTo>
                      <a:pt x="202" y="424"/>
                    </a:lnTo>
                    <a:lnTo>
                      <a:pt x="202" y="422"/>
                    </a:lnTo>
                    <a:lnTo>
                      <a:pt x="201" y="419"/>
                    </a:lnTo>
                    <a:lnTo>
                      <a:pt x="201" y="418"/>
                    </a:lnTo>
                    <a:lnTo>
                      <a:pt x="201" y="418"/>
                    </a:lnTo>
                    <a:lnTo>
                      <a:pt x="201" y="411"/>
                    </a:lnTo>
                    <a:lnTo>
                      <a:pt x="201" y="407"/>
                    </a:lnTo>
                    <a:lnTo>
                      <a:pt x="202" y="404"/>
                    </a:lnTo>
                    <a:lnTo>
                      <a:pt x="202" y="403"/>
                    </a:lnTo>
                    <a:lnTo>
                      <a:pt x="203" y="402"/>
                    </a:lnTo>
                    <a:lnTo>
                      <a:pt x="203" y="402"/>
                    </a:lnTo>
                    <a:lnTo>
                      <a:pt x="205" y="398"/>
                    </a:lnTo>
                    <a:lnTo>
                      <a:pt x="205" y="398"/>
                    </a:lnTo>
                    <a:lnTo>
                      <a:pt x="203" y="400"/>
                    </a:lnTo>
                    <a:lnTo>
                      <a:pt x="206" y="395"/>
                    </a:lnTo>
                    <a:lnTo>
                      <a:pt x="206" y="395"/>
                    </a:lnTo>
                    <a:lnTo>
                      <a:pt x="207" y="394"/>
                    </a:lnTo>
                    <a:lnTo>
                      <a:pt x="211" y="391"/>
                    </a:lnTo>
                    <a:lnTo>
                      <a:pt x="211" y="391"/>
                    </a:lnTo>
                    <a:lnTo>
                      <a:pt x="214" y="390"/>
                    </a:lnTo>
                    <a:lnTo>
                      <a:pt x="214" y="390"/>
                    </a:lnTo>
                    <a:lnTo>
                      <a:pt x="218" y="390"/>
                    </a:lnTo>
                    <a:lnTo>
                      <a:pt x="218" y="390"/>
                    </a:lnTo>
                    <a:lnTo>
                      <a:pt x="220" y="391"/>
                    </a:lnTo>
                    <a:lnTo>
                      <a:pt x="220" y="391"/>
                    </a:lnTo>
                    <a:lnTo>
                      <a:pt x="218" y="393"/>
                    </a:lnTo>
                    <a:lnTo>
                      <a:pt x="220" y="390"/>
                    </a:lnTo>
                    <a:lnTo>
                      <a:pt x="220" y="390"/>
                    </a:lnTo>
                    <a:lnTo>
                      <a:pt x="222" y="390"/>
                    </a:lnTo>
                    <a:lnTo>
                      <a:pt x="222" y="390"/>
                    </a:lnTo>
                    <a:lnTo>
                      <a:pt x="220" y="387"/>
                    </a:lnTo>
                    <a:lnTo>
                      <a:pt x="220" y="387"/>
                    </a:lnTo>
                    <a:lnTo>
                      <a:pt x="220" y="386"/>
                    </a:lnTo>
                    <a:lnTo>
                      <a:pt x="218" y="386"/>
                    </a:lnTo>
                    <a:lnTo>
                      <a:pt x="218" y="386"/>
                    </a:lnTo>
                    <a:lnTo>
                      <a:pt x="216" y="382"/>
                    </a:lnTo>
                    <a:lnTo>
                      <a:pt x="215" y="379"/>
                    </a:lnTo>
                    <a:lnTo>
                      <a:pt x="215" y="379"/>
                    </a:lnTo>
                    <a:lnTo>
                      <a:pt x="214" y="377"/>
                    </a:lnTo>
                    <a:lnTo>
                      <a:pt x="214" y="377"/>
                    </a:lnTo>
                    <a:lnTo>
                      <a:pt x="215" y="378"/>
                    </a:lnTo>
                    <a:lnTo>
                      <a:pt x="211" y="373"/>
                    </a:lnTo>
                    <a:lnTo>
                      <a:pt x="211" y="371"/>
                    </a:lnTo>
                    <a:lnTo>
                      <a:pt x="211" y="371"/>
                    </a:lnTo>
                    <a:lnTo>
                      <a:pt x="209" y="370"/>
                    </a:lnTo>
                    <a:lnTo>
                      <a:pt x="209" y="370"/>
                    </a:lnTo>
                    <a:lnTo>
                      <a:pt x="203" y="367"/>
                    </a:lnTo>
                    <a:lnTo>
                      <a:pt x="199" y="365"/>
                    </a:lnTo>
                    <a:lnTo>
                      <a:pt x="198" y="361"/>
                    </a:lnTo>
                    <a:lnTo>
                      <a:pt x="198" y="355"/>
                    </a:lnTo>
                    <a:lnTo>
                      <a:pt x="201" y="352"/>
                    </a:lnTo>
                    <a:lnTo>
                      <a:pt x="201" y="352"/>
                    </a:lnTo>
                    <a:lnTo>
                      <a:pt x="203" y="353"/>
                    </a:lnTo>
                    <a:lnTo>
                      <a:pt x="202" y="352"/>
                    </a:lnTo>
                    <a:lnTo>
                      <a:pt x="203" y="350"/>
                    </a:lnTo>
                    <a:lnTo>
                      <a:pt x="203" y="350"/>
                    </a:lnTo>
                    <a:lnTo>
                      <a:pt x="201" y="350"/>
                    </a:lnTo>
                    <a:lnTo>
                      <a:pt x="198" y="346"/>
                    </a:lnTo>
                    <a:lnTo>
                      <a:pt x="198" y="346"/>
                    </a:lnTo>
                    <a:lnTo>
                      <a:pt x="198" y="346"/>
                    </a:lnTo>
                    <a:lnTo>
                      <a:pt x="198" y="348"/>
                    </a:lnTo>
                    <a:lnTo>
                      <a:pt x="198" y="348"/>
                    </a:lnTo>
                    <a:lnTo>
                      <a:pt x="198" y="348"/>
                    </a:lnTo>
                    <a:lnTo>
                      <a:pt x="198" y="348"/>
                    </a:lnTo>
                    <a:lnTo>
                      <a:pt x="198" y="348"/>
                    </a:lnTo>
                    <a:lnTo>
                      <a:pt x="198" y="348"/>
                    </a:lnTo>
                    <a:lnTo>
                      <a:pt x="198" y="348"/>
                    </a:lnTo>
                    <a:lnTo>
                      <a:pt x="198" y="348"/>
                    </a:lnTo>
                    <a:lnTo>
                      <a:pt x="198" y="348"/>
                    </a:lnTo>
                    <a:lnTo>
                      <a:pt x="198" y="348"/>
                    </a:lnTo>
                    <a:lnTo>
                      <a:pt x="198" y="348"/>
                    </a:lnTo>
                    <a:lnTo>
                      <a:pt x="198" y="348"/>
                    </a:lnTo>
                    <a:lnTo>
                      <a:pt x="197" y="348"/>
                    </a:lnTo>
                    <a:lnTo>
                      <a:pt x="197" y="348"/>
                    </a:lnTo>
                    <a:lnTo>
                      <a:pt x="195" y="349"/>
                    </a:lnTo>
                    <a:lnTo>
                      <a:pt x="195" y="349"/>
                    </a:lnTo>
                    <a:lnTo>
                      <a:pt x="193" y="350"/>
                    </a:lnTo>
                    <a:lnTo>
                      <a:pt x="187" y="352"/>
                    </a:lnTo>
                    <a:lnTo>
                      <a:pt x="181" y="345"/>
                    </a:lnTo>
                    <a:lnTo>
                      <a:pt x="181" y="345"/>
                    </a:lnTo>
                    <a:lnTo>
                      <a:pt x="181" y="344"/>
                    </a:lnTo>
                    <a:lnTo>
                      <a:pt x="181" y="344"/>
                    </a:lnTo>
                    <a:lnTo>
                      <a:pt x="181" y="344"/>
                    </a:lnTo>
                    <a:lnTo>
                      <a:pt x="181" y="342"/>
                    </a:lnTo>
                    <a:lnTo>
                      <a:pt x="181" y="342"/>
                    </a:lnTo>
                    <a:lnTo>
                      <a:pt x="179" y="342"/>
                    </a:lnTo>
                    <a:lnTo>
                      <a:pt x="179" y="342"/>
                    </a:lnTo>
                    <a:lnTo>
                      <a:pt x="175" y="342"/>
                    </a:lnTo>
                    <a:lnTo>
                      <a:pt x="174" y="341"/>
                    </a:lnTo>
                    <a:lnTo>
                      <a:pt x="174" y="341"/>
                    </a:lnTo>
                    <a:lnTo>
                      <a:pt x="174" y="341"/>
                    </a:lnTo>
                    <a:lnTo>
                      <a:pt x="174" y="341"/>
                    </a:lnTo>
                    <a:lnTo>
                      <a:pt x="174" y="341"/>
                    </a:lnTo>
                    <a:lnTo>
                      <a:pt x="168" y="334"/>
                    </a:lnTo>
                    <a:lnTo>
                      <a:pt x="168" y="334"/>
                    </a:lnTo>
                    <a:lnTo>
                      <a:pt x="169" y="338"/>
                    </a:lnTo>
                    <a:lnTo>
                      <a:pt x="169" y="338"/>
                    </a:lnTo>
                    <a:lnTo>
                      <a:pt x="170" y="340"/>
                    </a:lnTo>
                    <a:lnTo>
                      <a:pt x="171" y="340"/>
                    </a:lnTo>
                    <a:lnTo>
                      <a:pt x="171" y="340"/>
                    </a:lnTo>
                    <a:lnTo>
                      <a:pt x="170" y="340"/>
                    </a:lnTo>
                    <a:lnTo>
                      <a:pt x="170" y="340"/>
                    </a:lnTo>
                    <a:lnTo>
                      <a:pt x="168" y="341"/>
                    </a:lnTo>
                    <a:lnTo>
                      <a:pt x="168" y="341"/>
                    </a:lnTo>
                    <a:lnTo>
                      <a:pt x="165" y="340"/>
                    </a:lnTo>
                    <a:lnTo>
                      <a:pt x="164" y="338"/>
                    </a:lnTo>
                    <a:lnTo>
                      <a:pt x="164" y="338"/>
                    </a:lnTo>
                    <a:lnTo>
                      <a:pt x="160" y="338"/>
                    </a:lnTo>
                    <a:lnTo>
                      <a:pt x="160" y="338"/>
                    </a:lnTo>
                    <a:lnTo>
                      <a:pt x="157" y="338"/>
                    </a:lnTo>
                    <a:lnTo>
                      <a:pt x="154" y="340"/>
                    </a:lnTo>
                    <a:lnTo>
                      <a:pt x="150" y="341"/>
                    </a:lnTo>
                    <a:lnTo>
                      <a:pt x="149" y="341"/>
                    </a:lnTo>
                    <a:lnTo>
                      <a:pt x="146" y="341"/>
                    </a:lnTo>
                    <a:lnTo>
                      <a:pt x="146" y="341"/>
                    </a:lnTo>
                    <a:lnTo>
                      <a:pt x="138" y="337"/>
                    </a:lnTo>
                    <a:lnTo>
                      <a:pt x="132" y="332"/>
                    </a:lnTo>
                    <a:lnTo>
                      <a:pt x="132" y="332"/>
                    </a:lnTo>
                    <a:lnTo>
                      <a:pt x="127" y="328"/>
                    </a:lnTo>
                    <a:lnTo>
                      <a:pt x="124" y="324"/>
                    </a:lnTo>
                    <a:lnTo>
                      <a:pt x="124" y="324"/>
                    </a:lnTo>
                    <a:lnTo>
                      <a:pt x="124" y="325"/>
                    </a:lnTo>
                    <a:lnTo>
                      <a:pt x="124" y="325"/>
                    </a:lnTo>
                    <a:lnTo>
                      <a:pt x="123" y="322"/>
                    </a:lnTo>
                    <a:lnTo>
                      <a:pt x="121" y="320"/>
                    </a:lnTo>
                    <a:lnTo>
                      <a:pt x="121" y="316"/>
                    </a:lnTo>
                    <a:lnTo>
                      <a:pt x="121" y="316"/>
                    </a:lnTo>
                    <a:lnTo>
                      <a:pt x="121" y="312"/>
                    </a:lnTo>
                    <a:lnTo>
                      <a:pt x="123" y="308"/>
                    </a:lnTo>
                    <a:lnTo>
                      <a:pt x="125" y="304"/>
                    </a:lnTo>
                    <a:lnTo>
                      <a:pt x="128" y="303"/>
                    </a:lnTo>
                    <a:lnTo>
                      <a:pt x="128" y="303"/>
                    </a:lnTo>
                    <a:lnTo>
                      <a:pt x="123" y="295"/>
                    </a:lnTo>
                    <a:lnTo>
                      <a:pt x="123" y="295"/>
                    </a:lnTo>
                    <a:lnTo>
                      <a:pt x="120" y="289"/>
                    </a:lnTo>
                    <a:lnTo>
                      <a:pt x="116" y="283"/>
                    </a:lnTo>
                    <a:lnTo>
                      <a:pt x="115" y="284"/>
                    </a:lnTo>
                    <a:lnTo>
                      <a:pt x="113" y="284"/>
                    </a:lnTo>
                    <a:lnTo>
                      <a:pt x="109" y="283"/>
                    </a:lnTo>
                    <a:lnTo>
                      <a:pt x="109" y="283"/>
                    </a:lnTo>
                    <a:lnTo>
                      <a:pt x="107" y="279"/>
                    </a:lnTo>
                    <a:lnTo>
                      <a:pt x="107" y="276"/>
                    </a:lnTo>
                    <a:lnTo>
                      <a:pt x="107" y="276"/>
                    </a:lnTo>
                    <a:lnTo>
                      <a:pt x="108" y="272"/>
                    </a:lnTo>
                    <a:lnTo>
                      <a:pt x="111" y="270"/>
                    </a:lnTo>
                    <a:lnTo>
                      <a:pt x="111" y="270"/>
                    </a:lnTo>
                    <a:lnTo>
                      <a:pt x="111" y="270"/>
                    </a:lnTo>
                    <a:lnTo>
                      <a:pt x="111" y="268"/>
                    </a:lnTo>
                    <a:lnTo>
                      <a:pt x="111" y="268"/>
                    </a:lnTo>
                    <a:lnTo>
                      <a:pt x="108" y="266"/>
                    </a:lnTo>
                    <a:lnTo>
                      <a:pt x="107" y="263"/>
                    </a:lnTo>
                    <a:lnTo>
                      <a:pt x="107" y="260"/>
                    </a:lnTo>
                    <a:lnTo>
                      <a:pt x="111" y="255"/>
                    </a:lnTo>
                    <a:lnTo>
                      <a:pt x="111" y="255"/>
                    </a:lnTo>
                    <a:lnTo>
                      <a:pt x="112" y="252"/>
                    </a:lnTo>
                    <a:lnTo>
                      <a:pt x="112" y="252"/>
                    </a:lnTo>
                    <a:lnTo>
                      <a:pt x="115" y="251"/>
                    </a:lnTo>
                    <a:lnTo>
                      <a:pt x="115" y="250"/>
                    </a:lnTo>
                    <a:lnTo>
                      <a:pt x="115" y="250"/>
                    </a:lnTo>
                    <a:lnTo>
                      <a:pt x="111" y="248"/>
                    </a:lnTo>
                    <a:lnTo>
                      <a:pt x="111" y="248"/>
                    </a:lnTo>
                    <a:lnTo>
                      <a:pt x="107" y="244"/>
                    </a:lnTo>
                    <a:lnTo>
                      <a:pt x="107" y="243"/>
                    </a:lnTo>
                    <a:lnTo>
                      <a:pt x="104" y="240"/>
                    </a:lnTo>
                    <a:lnTo>
                      <a:pt x="104" y="240"/>
                    </a:lnTo>
                    <a:lnTo>
                      <a:pt x="104" y="240"/>
                    </a:lnTo>
                    <a:lnTo>
                      <a:pt x="101" y="239"/>
                    </a:lnTo>
                    <a:lnTo>
                      <a:pt x="101" y="239"/>
                    </a:lnTo>
                    <a:lnTo>
                      <a:pt x="99" y="235"/>
                    </a:lnTo>
                    <a:lnTo>
                      <a:pt x="99" y="233"/>
                    </a:lnTo>
                    <a:lnTo>
                      <a:pt x="93" y="227"/>
                    </a:lnTo>
                    <a:lnTo>
                      <a:pt x="93" y="227"/>
                    </a:lnTo>
                    <a:lnTo>
                      <a:pt x="95" y="230"/>
                    </a:lnTo>
                    <a:lnTo>
                      <a:pt x="97" y="231"/>
                    </a:lnTo>
                    <a:lnTo>
                      <a:pt x="95" y="231"/>
                    </a:lnTo>
                    <a:lnTo>
                      <a:pt x="95" y="231"/>
                    </a:lnTo>
                    <a:lnTo>
                      <a:pt x="93" y="231"/>
                    </a:lnTo>
                    <a:lnTo>
                      <a:pt x="93" y="231"/>
                    </a:lnTo>
                    <a:lnTo>
                      <a:pt x="91" y="231"/>
                    </a:lnTo>
                    <a:lnTo>
                      <a:pt x="91" y="231"/>
                    </a:lnTo>
                    <a:lnTo>
                      <a:pt x="87" y="231"/>
                    </a:lnTo>
                    <a:lnTo>
                      <a:pt x="86" y="233"/>
                    </a:lnTo>
                    <a:lnTo>
                      <a:pt x="86" y="233"/>
                    </a:lnTo>
                    <a:lnTo>
                      <a:pt x="86" y="233"/>
                    </a:lnTo>
                    <a:lnTo>
                      <a:pt x="86" y="234"/>
                    </a:lnTo>
                    <a:lnTo>
                      <a:pt x="86" y="234"/>
                    </a:lnTo>
                    <a:lnTo>
                      <a:pt x="87" y="237"/>
                    </a:lnTo>
                    <a:lnTo>
                      <a:pt x="88" y="242"/>
                    </a:lnTo>
                    <a:lnTo>
                      <a:pt x="87" y="242"/>
                    </a:lnTo>
                    <a:lnTo>
                      <a:pt x="87" y="242"/>
                    </a:lnTo>
                    <a:lnTo>
                      <a:pt x="87" y="244"/>
                    </a:lnTo>
                    <a:lnTo>
                      <a:pt x="86" y="246"/>
                    </a:lnTo>
                    <a:lnTo>
                      <a:pt x="83" y="248"/>
                    </a:lnTo>
                    <a:lnTo>
                      <a:pt x="79" y="248"/>
                    </a:lnTo>
                    <a:lnTo>
                      <a:pt x="78" y="248"/>
                    </a:lnTo>
                    <a:lnTo>
                      <a:pt x="68" y="248"/>
                    </a:lnTo>
                    <a:lnTo>
                      <a:pt x="64" y="247"/>
                    </a:lnTo>
                    <a:lnTo>
                      <a:pt x="64" y="247"/>
                    </a:lnTo>
                    <a:lnTo>
                      <a:pt x="62" y="246"/>
                    </a:lnTo>
                    <a:lnTo>
                      <a:pt x="62" y="246"/>
                    </a:lnTo>
                    <a:lnTo>
                      <a:pt x="58" y="244"/>
                    </a:lnTo>
                    <a:lnTo>
                      <a:pt x="54" y="242"/>
                    </a:lnTo>
                    <a:lnTo>
                      <a:pt x="52" y="238"/>
                    </a:lnTo>
                    <a:lnTo>
                      <a:pt x="52" y="237"/>
                    </a:lnTo>
                    <a:lnTo>
                      <a:pt x="52" y="237"/>
                    </a:lnTo>
                    <a:lnTo>
                      <a:pt x="52" y="231"/>
                    </a:lnTo>
                    <a:lnTo>
                      <a:pt x="54" y="227"/>
                    </a:lnTo>
                    <a:lnTo>
                      <a:pt x="56" y="225"/>
                    </a:lnTo>
                    <a:lnTo>
                      <a:pt x="58" y="223"/>
                    </a:lnTo>
                    <a:lnTo>
                      <a:pt x="60" y="223"/>
                    </a:lnTo>
                    <a:lnTo>
                      <a:pt x="60" y="223"/>
                    </a:lnTo>
                    <a:lnTo>
                      <a:pt x="60" y="223"/>
                    </a:lnTo>
                    <a:lnTo>
                      <a:pt x="60" y="223"/>
                    </a:lnTo>
                    <a:lnTo>
                      <a:pt x="60" y="223"/>
                    </a:lnTo>
                    <a:lnTo>
                      <a:pt x="60" y="223"/>
                    </a:lnTo>
                    <a:lnTo>
                      <a:pt x="60" y="223"/>
                    </a:lnTo>
                    <a:lnTo>
                      <a:pt x="60" y="222"/>
                    </a:lnTo>
                    <a:lnTo>
                      <a:pt x="60" y="223"/>
                    </a:lnTo>
                    <a:lnTo>
                      <a:pt x="60" y="223"/>
                    </a:lnTo>
                    <a:lnTo>
                      <a:pt x="59" y="219"/>
                    </a:lnTo>
                    <a:lnTo>
                      <a:pt x="58" y="217"/>
                    </a:lnTo>
                    <a:lnTo>
                      <a:pt x="59" y="211"/>
                    </a:lnTo>
                    <a:lnTo>
                      <a:pt x="59" y="211"/>
                    </a:lnTo>
                    <a:lnTo>
                      <a:pt x="59" y="210"/>
                    </a:lnTo>
                    <a:lnTo>
                      <a:pt x="59" y="210"/>
                    </a:lnTo>
                    <a:lnTo>
                      <a:pt x="59" y="210"/>
                    </a:lnTo>
                    <a:lnTo>
                      <a:pt x="58" y="210"/>
                    </a:lnTo>
                    <a:lnTo>
                      <a:pt x="58" y="210"/>
                    </a:lnTo>
                    <a:lnTo>
                      <a:pt x="56" y="209"/>
                    </a:lnTo>
                    <a:lnTo>
                      <a:pt x="54" y="207"/>
                    </a:lnTo>
                    <a:lnTo>
                      <a:pt x="52" y="205"/>
                    </a:lnTo>
                    <a:lnTo>
                      <a:pt x="51" y="201"/>
                    </a:lnTo>
                    <a:lnTo>
                      <a:pt x="51" y="199"/>
                    </a:lnTo>
                    <a:lnTo>
                      <a:pt x="51" y="199"/>
                    </a:lnTo>
                    <a:lnTo>
                      <a:pt x="51" y="196"/>
                    </a:lnTo>
                    <a:lnTo>
                      <a:pt x="49" y="197"/>
                    </a:lnTo>
                    <a:lnTo>
                      <a:pt x="45" y="197"/>
                    </a:lnTo>
                    <a:lnTo>
                      <a:pt x="39" y="190"/>
                    </a:lnTo>
                    <a:lnTo>
                      <a:pt x="39" y="185"/>
                    </a:lnTo>
                    <a:lnTo>
                      <a:pt x="46" y="178"/>
                    </a:lnTo>
                    <a:lnTo>
                      <a:pt x="46" y="178"/>
                    </a:lnTo>
                    <a:lnTo>
                      <a:pt x="46" y="178"/>
                    </a:lnTo>
                    <a:lnTo>
                      <a:pt x="47" y="177"/>
                    </a:lnTo>
                    <a:lnTo>
                      <a:pt x="51" y="177"/>
                    </a:lnTo>
                    <a:lnTo>
                      <a:pt x="51" y="177"/>
                    </a:lnTo>
                    <a:lnTo>
                      <a:pt x="51" y="176"/>
                    </a:lnTo>
                    <a:lnTo>
                      <a:pt x="52" y="173"/>
                    </a:lnTo>
                    <a:lnTo>
                      <a:pt x="52" y="173"/>
                    </a:lnTo>
                    <a:lnTo>
                      <a:pt x="54" y="168"/>
                    </a:lnTo>
                    <a:lnTo>
                      <a:pt x="52" y="165"/>
                    </a:lnTo>
                    <a:lnTo>
                      <a:pt x="52" y="165"/>
                    </a:lnTo>
                    <a:lnTo>
                      <a:pt x="51" y="164"/>
                    </a:lnTo>
                    <a:lnTo>
                      <a:pt x="50" y="164"/>
                    </a:lnTo>
                    <a:lnTo>
                      <a:pt x="45" y="157"/>
                    </a:lnTo>
                    <a:lnTo>
                      <a:pt x="45" y="155"/>
                    </a:lnTo>
                    <a:lnTo>
                      <a:pt x="50" y="149"/>
                    </a:lnTo>
                    <a:lnTo>
                      <a:pt x="49" y="149"/>
                    </a:lnTo>
                    <a:lnTo>
                      <a:pt x="49" y="149"/>
                    </a:lnTo>
                    <a:lnTo>
                      <a:pt x="47" y="152"/>
                    </a:lnTo>
                    <a:lnTo>
                      <a:pt x="47" y="151"/>
                    </a:lnTo>
                    <a:lnTo>
                      <a:pt x="47" y="151"/>
                    </a:lnTo>
                    <a:lnTo>
                      <a:pt x="49" y="147"/>
                    </a:lnTo>
                    <a:lnTo>
                      <a:pt x="46" y="148"/>
                    </a:lnTo>
                    <a:lnTo>
                      <a:pt x="45" y="148"/>
                    </a:lnTo>
                    <a:lnTo>
                      <a:pt x="39" y="144"/>
                    </a:lnTo>
                    <a:lnTo>
                      <a:pt x="39" y="144"/>
                    </a:lnTo>
                    <a:lnTo>
                      <a:pt x="38" y="143"/>
                    </a:lnTo>
                    <a:lnTo>
                      <a:pt x="38" y="143"/>
                    </a:lnTo>
                    <a:lnTo>
                      <a:pt x="37" y="140"/>
                    </a:lnTo>
                    <a:lnTo>
                      <a:pt x="34" y="140"/>
                    </a:lnTo>
                    <a:lnTo>
                      <a:pt x="31" y="139"/>
                    </a:lnTo>
                    <a:lnTo>
                      <a:pt x="30" y="139"/>
                    </a:lnTo>
                    <a:lnTo>
                      <a:pt x="30" y="139"/>
                    </a:lnTo>
                    <a:lnTo>
                      <a:pt x="25" y="135"/>
                    </a:lnTo>
                    <a:lnTo>
                      <a:pt x="22" y="135"/>
                    </a:lnTo>
                    <a:lnTo>
                      <a:pt x="22" y="135"/>
                    </a:lnTo>
                    <a:lnTo>
                      <a:pt x="23" y="133"/>
                    </a:lnTo>
                    <a:lnTo>
                      <a:pt x="23" y="133"/>
                    </a:lnTo>
                    <a:lnTo>
                      <a:pt x="23" y="133"/>
                    </a:lnTo>
                    <a:lnTo>
                      <a:pt x="25" y="131"/>
                    </a:lnTo>
                    <a:lnTo>
                      <a:pt x="19" y="136"/>
                    </a:lnTo>
                    <a:lnTo>
                      <a:pt x="13" y="136"/>
                    </a:lnTo>
                    <a:lnTo>
                      <a:pt x="8" y="132"/>
                    </a:lnTo>
                    <a:lnTo>
                      <a:pt x="8" y="132"/>
                    </a:lnTo>
                    <a:lnTo>
                      <a:pt x="6" y="129"/>
                    </a:lnTo>
                    <a:lnTo>
                      <a:pt x="6" y="129"/>
                    </a:lnTo>
                    <a:lnTo>
                      <a:pt x="5" y="127"/>
                    </a:lnTo>
                    <a:lnTo>
                      <a:pt x="4" y="125"/>
                    </a:lnTo>
                    <a:lnTo>
                      <a:pt x="1" y="121"/>
                    </a:lnTo>
                    <a:lnTo>
                      <a:pt x="1" y="121"/>
                    </a:lnTo>
                    <a:lnTo>
                      <a:pt x="1" y="121"/>
                    </a:lnTo>
                    <a:lnTo>
                      <a:pt x="0" y="118"/>
                    </a:lnTo>
                    <a:lnTo>
                      <a:pt x="1" y="114"/>
                    </a:lnTo>
                    <a:lnTo>
                      <a:pt x="1" y="114"/>
                    </a:lnTo>
                    <a:lnTo>
                      <a:pt x="4" y="111"/>
                    </a:lnTo>
                    <a:lnTo>
                      <a:pt x="5" y="111"/>
                    </a:lnTo>
                    <a:lnTo>
                      <a:pt x="8" y="110"/>
                    </a:lnTo>
                    <a:lnTo>
                      <a:pt x="8" y="110"/>
                    </a:lnTo>
                    <a:lnTo>
                      <a:pt x="11" y="111"/>
                    </a:lnTo>
                    <a:lnTo>
                      <a:pt x="11" y="111"/>
                    </a:lnTo>
                    <a:lnTo>
                      <a:pt x="11" y="111"/>
                    </a:lnTo>
                    <a:lnTo>
                      <a:pt x="11" y="110"/>
                    </a:lnTo>
                    <a:lnTo>
                      <a:pt x="15" y="107"/>
                    </a:lnTo>
                    <a:lnTo>
                      <a:pt x="15" y="107"/>
                    </a:lnTo>
                    <a:lnTo>
                      <a:pt x="18" y="108"/>
                    </a:lnTo>
                    <a:lnTo>
                      <a:pt x="18" y="107"/>
                    </a:lnTo>
                    <a:lnTo>
                      <a:pt x="17" y="106"/>
                    </a:lnTo>
                    <a:lnTo>
                      <a:pt x="18" y="104"/>
                    </a:lnTo>
                    <a:lnTo>
                      <a:pt x="18" y="104"/>
                    </a:lnTo>
                    <a:lnTo>
                      <a:pt x="19" y="104"/>
                    </a:lnTo>
                    <a:lnTo>
                      <a:pt x="19" y="104"/>
                    </a:lnTo>
                    <a:lnTo>
                      <a:pt x="19" y="104"/>
                    </a:lnTo>
                    <a:lnTo>
                      <a:pt x="19" y="103"/>
                    </a:lnTo>
                    <a:lnTo>
                      <a:pt x="19" y="103"/>
                    </a:lnTo>
                    <a:lnTo>
                      <a:pt x="18" y="103"/>
                    </a:lnTo>
                    <a:lnTo>
                      <a:pt x="15" y="104"/>
                    </a:lnTo>
                    <a:lnTo>
                      <a:pt x="15" y="104"/>
                    </a:lnTo>
                    <a:lnTo>
                      <a:pt x="15" y="104"/>
                    </a:lnTo>
                    <a:lnTo>
                      <a:pt x="15" y="104"/>
                    </a:lnTo>
                    <a:lnTo>
                      <a:pt x="14" y="106"/>
                    </a:lnTo>
                    <a:lnTo>
                      <a:pt x="14" y="106"/>
                    </a:lnTo>
                    <a:lnTo>
                      <a:pt x="13" y="103"/>
                    </a:lnTo>
                    <a:lnTo>
                      <a:pt x="11" y="98"/>
                    </a:lnTo>
                    <a:lnTo>
                      <a:pt x="17" y="92"/>
                    </a:lnTo>
                    <a:lnTo>
                      <a:pt x="17" y="92"/>
                    </a:lnTo>
                    <a:lnTo>
                      <a:pt x="19" y="90"/>
                    </a:lnTo>
                    <a:lnTo>
                      <a:pt x="19" y="90"/>
                    </a:lnTo>
                    <a:lnTo>
                      <a:pt x="22" y="86"/>
                    </a:lnTo>
                    <a:lnTo>
                      <a:pt x="27" y="83"/>
                    </a:lnTo>
                    <a:lnTo>
                      <a:pt x="30" y="82"/>
                    </a:lnTo>
                    <a:lnTo>
                      <a:pt x="31" y="82"/>
                    </a:lnTo>
                    <a:lnTo>
                      <a:pt x="34" y="83"/>
                    </a:lnTo>
                    <a:lnTo>
                      <a:pt x="35" y="83"/>
                    </a:lnTo>
                    <a:lnTo>
                      <a:pt x="35" y="83"/>
                    </a:lnTo>
                    <a:lnTo>
                      <a:pt x="41" y="87"/>
                    </a:lnTo>
                    <a:lnTo>
                      <a:pt x="41" y="86"/>
                    </a:lnTo>
                    <a:lnTo>
                      <a:pt x="41" y="86"/>
                    </a:lnTo>
                    <a:lnTo>
                      <a:pt x="42" y="82"/>
                    </a:lnTo>
                    <a:lnTo>
                      <a:pt x="42" y="82"/>
                    </a:lnTo>
                    <a:lnTo>
                      <a:pt x="42" y="84"/>
                    </a:lnTo>
                    <a:lnTo>
                      <a:pt x="43" y="80"/>
                    </a:lnTo>
                    <a:lnTo>
                      <a:pt x="43" y="80"/>
                    </a:lnTo>
                    <a:lnTo>
                      <a:pt x="49" y="74"/>
                    </a:lnTo>
                    <a:lnTo>
                      <a:pt x="51" y="73"/>
                    </a:lnTo>
                    <a:lnTo>
                      <a:pt x="51" y="73"/>
                    </a:lnTo>
                    <a:lnTo>
                      <a:pt x="54" y="73"/>
                    </a:lnTo>
                    <a:lnTo>
                      <a:pt x="56" y="71"/>
                    </a:lnTo>
                    <a:lnTo>
                      <a:pt x="56" y="71"/>
                    </a:lnTo>
                    <a:lnTo>
                      <a:pt x="59" y="69"/>
                    </a:lnTo>
                    <a:lnTo>
                      <a:pt x="60" y="69"/>
                    </a:lnTo>
                    <a:lnTo>
                      <a:pt x="60" y="69"/>
                    </a:lnTo>
                    <a:lnTo>
                      <a:pt x="64" y="67"/>
                    </a:lnTo>
                    <a:lnTo>
                      <a:pt x="64" y="67"/>
                    </a:lnTo>
                    <a:lnTo>
                      <a:pt x="70" y="69"/>
                    </a:lnTo>
                    <a:lnTo>
                      <a:pt x="72" y="70"/>
                    </a:lnTo>
                    <a:lnTo>
                      <a:pt x="74" y="70"/>
                    </a:lnTo>
                    <a:lnTo>
                      <a:pt x="75" y="70"/>
                    </a:lnTo>
                    <a:lnTo>
                      <a:pt x="75" y="70"/>
                    </a:lnTo>
                    <a:lnTo>
                      <a:pt x="78" y="67"/>
                    </a:lnTo>
                    <a:lnTo>
                      <a:pt x="78" y="67"/>
                    </a:lnTo>
                    <a:lnTo>
                      <a:pt x="80" y="66"/>
                    </a:lnTo>
                    <a:lnTo>
                      <a:pt x="86" y="65"/>
                    </a:lnTo>
                    <a:lnTo>
                      <a:pt x="86" y="65"/>
                    </a:lnTo>
                    <a:lnTo>
                      <a:pt x="90" y="65"/>
                    </a:lnTo>
                    <a:lnTo>
                      <a:pt x="90" y="65"/>
                    </a:lnTo>
                    <a:lnTo>
                      <a:pt x="91" y="65"/>
                    </a:lnTo>
                    <a:lnTo>
                      <a:pt x="91" y="65"/>
                    </a:lnTo>
                    <a:lnTo>
                      <a:pt x="93" y="66"/>
                    </a:lnTo>
                    <a:lnTo>
                      <a:pt x="96" y="67"/>
                    </a:lnTo>
                    <a:lnTo>
                      <a:pt x="96" y="67"/>
                    </a:lnTo>
                    <a:lnTo>
                      <a:pt x="96" y="65"/>
                    </a:lnTo>
                    <a:lnTo>
                      <a:pt x="96" y="61"/>
                    </a:lnTo>
                    <a:lnTo>
                      <a:pt x="105" y="55"/>
                    </a:lnTo>
                    <a:lnTo>
                      <a:pt x="105" y="55"/>
                    </a:lnTo>
                    <a:lnTo>
                      <a:pt x="109" y="58"/>
                    </a:lnTo>
                    <a:lnTo>
                      <a:pt x="109" y="58"/>
                    </a:lnTo>
                    <a:lnTo>
                      <a:pt x="111" y="59"/>
                    </a:lnTo>
                    <a:lnTo>
                      <a:pt x="111" y="59"/>
                    </a:lnTo>
                    <a:lnTo>
                      <a:pt x="113" y="59"/>
                    </a:lnTo>
                    <a:lnTo>
                      <a:pt x="116" y="61"/>
                    </a:lnTo>
                    <a:lnTo>
                      <a:pt x="116" y="61"/>
                    </a:lnTo>
                    <a:lnTo>
                      <a:pt x="116" y="61"/>
                    </a:lnTo>
                    <a:lnTo>
                      <a:pt x="113" y="61"/>
                    </a:lnTo>
                    <a:lnTo>
                      <a:pt x="117" y="65"/>
                    </a:lnTo>
                    <a:lnTo>
                      <a:pt x="117" y="65"/>
                    </a:lnTo>
                    <a:lnTo>
                      <a:pt x="119" y="65"/>
                    </a:lnTo>
                    <a:lnTo>
                      <a:pt x="119" y="65"/>
                    </a:lnTo>
                    <a:lnTo>
                      <a:pt x="117" y="63"/>
                    </a:lnTo>
                    <a:lnTo>
                      <a:pt x="117" y="63"/>
                    </a:lnTo>
                    <a:lnTo>
                      <a:pt x="119" y="63"/>
                    </a:lnTo>
                    <a:lnTo>
                      <a:pt x="119" y="63"/>
                    </a:lnTo>
                    <a:lnTo>
                      <a:pt x="120" y="65"/>
                    </a:lnTo>
                    <a:lnTo>
                      <a:pt x="120" y="65"/>
                    </a:lnTo>
                    <a:lnTo>
                      <a:pt x="124" y="66"/>
                    </a:lnTo>
                    <a:lnTo>
                      <a:pt x="125" y="66"/>
                    </a:lnTo>
                    <a:lnTo>
                      <a:pt x="127" y="66"/>
                    </a:lnTo>
                    <a:lnTo>
                      <a:pt x="129" y="69"/>
                    </a:lnTo>
                    <a:lnTo>
                      <a:pt x="129" y="69"/>
                    </a:lnTo>
                    <a:lnTo>
                      <a:pt x="128" y="70"/>
                    </a:lnTo>
                    <a:lnTo>
                      <a:pt x="128" y="73"/>
                    </a:lnTo>
                    <a:lnTo>
                      <a:pt x="129" y="70"/>
                    </a:lnTo>
                    <a:lnTo>
                      <a:pt x="132" y="73"/>
                    </a:lnTo>
                    <a:lnTo>
                      <a:pt x="132" y="73"/>
                    </a:lnTo>
                    <a:lnTo>
                      <a:pt x="132" y="70"/>
                    </a:lnTo>
                    <a:lnTo>
                      <a:pt x="130" y="69"/>
                    </a:lnTo>
                    <a:lnTo>
                      <a:pt x="133" y="66"/>
                    </a:lnTo>
                    <a:lnTo>
                      <a:pt x="136" y="66"/>
                    </a:lnTo>
                    <a:lnTo>
                      <a:pt x="138" y="67"/>
                    </a:lnTo>
                    <a:lnTo>
                      <a:pt x="138" y="67"/>
                    </a:lnTo>
                    <a:lnTo>
                      <a:pt x="144" y="66"/>
                    </a:lnTo>
                    <a:lnTo>
                      <a:pt x="144" y="66"/>
                    </a:lnTo>
                    <a:lnTo>
                      <a:pt x="146" y="66"/>
                    </a:lnTo>
                    <a:lnTo>
                      <a:pt x="150" y="67"/>
                    </a:lnTo>
                    <a:lnTo>
                      <a:pt x="150" y="67"/>
                    </a:lnTo>
                    <a:lnTo>
                      <a:pt x="152" y="69"/>
                    </a:lnTo>
                    <a:lnTo>
                      <a:pt x="153" y="69"/>
                    </a:lnTo>
                    <a:lnTo>
                      <a:pt x="156" y="71"/>
                    </a:lnTo>
                    <a:lnTo>
                      <a:pt x="157" y="71"/>
                    </a:lnTo>
                    <a:lnTo>
                      <a:pt x="156" y="73"/>
                    </a:lnTo>
                    <a:lnTo>
                      <a:pt x="158" y="75"/>
                    </a:lnTo>
                    <a:lnTo>
                      <a:pt x="158" y="75"/>
                    </a:lnTo>
                    <a:lnTo>
                      <a:pt x="158" y="74"/>
                    </a:lnTo>
                    <a:lnTo>
                      <a:pt x="158" y="71"/>
                    </a:lnTo>
                    <a:lnTo>
                      <a:pt x="162" y="71"/>
                    </a:lnTo>
                    <a:lnTo>
                      <a:pt x="162" y="71"/>
                    </a:lnTo>
                    <a:lnTo>
                      <a:pt x="162" y="75"/>
                    </a:lnTo>
                    <a:lnTo>
                      <a:pt x="162" y="75"/>
                    </a:lnTo>
                    <a:lnTo>
                      <a:pt x="164" y="78"/>
                    </a:lnTo>
                    <a:lnTo>
                      <a:pt x="164" y="78"/>
                    </a:lnTo>
                    <a:lnTo>
                      <a:pt x="168" y="79"/>
                    </a:lnTo>
                    <a:lnTo>
                      <a:pt x="168" y="79"/>
                    </a:lnTo>
                    <a:lnTo>
                      <a:pt x="168" y="78"/>
                    </a:lnTo>
                    <a:lnTo>
                      <a:pt x="168" y="78"/>
                    </a:lnTo>
                    <a:lnTo>
                      <a:pt x="168" y="78"/>
                    </a:lnTo>
                    <a:lnTo>
                      <a:pt x="168" y="74"/>
                    </a:lnTo>
                    <a:lnTo>
                      <a:pt x="169" y="71"/>
                    </a:lnTo>
                    <a:lnTo>
                      <a:pt x="169" y="71"/>
                    </a:lnTo>
                    <a:lnTo>
                      <a:pt x="170" y="70"/>
                    </a:lnTo>
                    <a:lnTo>
                      <a:pt x="171" y="69"/>
                    </a:lnTo>
                    <a:lnTo>
                      <a:pt x="171" y="69"/>
                    </a:lnTo>
                    <a:lnTo>
                      <a:pt x="179" y="61"/>
                    </a:lnTo>
                    <a:lnTo>
                      <a:pt x="179" y="61"/>
                    </a:lnTo>
                    <a:lnTo>
                      <a:pt x="186" y="54"/>
                    </a:lnTo>
                    <a:lnTo>
                      <a:pt x="186" y="54"/>
                    </a:lnTo>
                    <a:lnTo>
                      <a:pt x="187" y="51"/>
                    </a:lnTo>
                    <a:lnTo>
                      <a:pt x="187" y="50"/>
                    </a:lnTo>
                    <a:lnTo>
                      <a:pt x="187" y="50"/>
                    </a:lnTo>
                    <a:lnTo>
                      <a:pt x="187" y="51"/>
                    </a:lnTo>
                    <a:lnTo>
                      <a:pt x="193" y="45"/>
                    </a:lnTo>
                    <a:lnTo>
                      <a:pt x="198" y="45"/>
                    </a:lnTo>
                    <a:lnTo>
                      <a:pt x="205" y="51"/>
                    </a:lnTo>
                    <a:lnTo>
                      <a:pt x="205" y="51"/>
                    </a:lnTo>
                    <a:lnTo>
                      <a:pt x="205" y="51"/>
                    </a:lnTo>
                    <a:lnTo>
                      <a:pt x="207" y="54"/>
                    </a:lnTo>
                    <a:lnTo>
                      <a:pt x="207" y="54"/>
                    </a:lnTo>
                    <a:lnTo>
                      <a:pt x="210" y="58"/>
                    </a:lnTo>
                    <a:lnTo>
                      <a:pt x="210" y="58"/>
                    </a:lnTo>
                    <a:lnTo>
                      <a:pt x="210" y="58"/>
                    </a:lnTo>
                    <a:lnTo>
                      <a:pt x="210" y="58"/>
                    </a:lnTo>
                    <a:lnTo>
                      <a:pt x="210" y="58"/>
                    </a:lnTo>
                    <a:lnTo>
                      <a:pt x="211" y="59"/>
                    </a:lnTo>
                    <a:lnTo>
                      <a:pt x="211" y="59"/>
                    </a:lnTo>
                    <a:lnTo>
                      <a:pt x="211" y="59"/>
                    </a:lnTo>
                    <a:lnTo>
                      <a:pt x="211" y="59"/>
                    </a:lnTo>
                    <a:lnTo>
                      <a:pt x="214" y="65"/>
                    </a:lnTo>
                    <a:lnTo>
                      <a:pt x="214" y="65"/>
                    </a:lnTo>
                    <a:lnTo>
                      <a:pt x="214" y="63"/>
                    </a:lnTo>
                    <a:lnTo>
                      <a:pt x="214" y="61"/>
                    </a:lnTo>
                    <a:lnTo>
                      <a:pt x="214" y="61"/>
                    </a:lnTo>
                    <a:lnTo>
                      <a:pt x="212" y="61"/>
                    </a:lnTo>
                    <a:lnTo>
                      <a:pt x="214" y="61"/>
                    </a:lnTo>
                    <a:lnTo>
                      <a:pt x="214" y="61"/>
                    </a:lnTo>
                    <a:lnTo>
                      <a:pt x="216" y="63"/>
                    </a:lnTo>
                    <a:lnTo>
                      <a:pt x="216" y="63"/>
                    </a:lnTo>
                    <a:lnTo>
                      <a:pt x="218" y="66"/>
                    </a:lnTo>
                    <a:lnTo>
                      <a:pt x="219" y="66"/>
                    </a:lnTo>
                    <a:lnTo>
                      <a:pt x="219" y="66"/>
                    </a:lnTo>
                    <a:lnTo>
                      <a:pt x="223" y="62"/>
                    </a:lnTo>
                    <a:lnTo>
                      <a:pt x="223" y="62"/>
                    </a:lnTo>
                    <a:lnTo>
                      <a:pt x="226" y="59"/>
                    </a:lnTo>
                    <a:lnTo>
                      <a:pt x="230" y="57"/>
                    </a:lnTo>
                    <a:lnTo>
                      <a:pt x="230" y="57"/>
                    </a:lnTo>
                    <a:lnTo>
                      <a:pt x="232" y="55"/>
                    </a:lnTo>
                    <a:lnTo>
                      <a:pt x="232" y="55"/>
                    </a:lnTo>
                    <a:lnTo>
                      <a:pt x="232" y="54"/>
                    </a:lnTo>
                    <a:lnTo>
                      <a:pt x="232" y="54"/>
                    </a:lnTo>
                    <a:lnTo>
                      <a:pt x="232" y="57"/>
                    </a:lnTo>
                    <a:lnTo>
                      <a:pt x="238" y="50"/>
                    </a:lnTo>
                    <a:lnTo>
                      <a:pt x="238" y="49"/>
                    </a:lnTo>
                    <a:lnTo>
                      <a:pt x="238" y="49"/>
                    </a:lnTo>
                    <a:lnTo>
                      <a:pt x="235" y="50"/>
                    </a:lnTo>
                    <a:lnTo>
                      <a:pt x="234" y="53"/>
                    </a:lnTo>
                    <a:lnTo>
                      <a:pt x="234" y="51"/>
                    </a:lnTo>
                    <a:lnTo>
                      <a:pt x="234" y="51"/>
                    </a:lnTo>
                    <a:lnTo>
                      <a:pt x="236" y="47"/>
                    </a:lnTo>
                    <a:lnTo>
                      <a:pt x="240" y="45"/>
                    </a:lnTo>
                    <a:lnTo>
                      <a:pt x="240" y="45"/>
                    </a:lnTo>
                    <a:lnTo>
                      <a:pt x="242" y="43"/>
                    </a:lnTo>
                    <a:lnTo>
                      <a:pt x="242" y="42"/>
                    </a:lnTo>
                    <a:lnTo>
                      <a:pt x="242" y="41"/>
                    </a:lnTo>
                    <a:lnTo>
                      <a:pt x="242" y="40"/>
                    </a:lnTo>
                    <a:lnTo>
                      <a:pt x="247" y="34"/>
                    </a:lnTo>
                    <a:lnTo>
                      <a:pt x="247" y="34"/>
                    </a:lnTo>
                    <a:lnTo>
                      <a:pt x="244" y="36"/>
                    </a:lnTo>
                    <a:lnTo>
                      <a:pt x="243" y="37"/>
                    </a:lnTo>
                    <a:lnTo>
                      <a:pt x="243" y="37"/>
                    </a:lnTo>
                    <a:lnTo>
                      <a:pt x="243" y="37"/>
                    </a:lnTo>
                    <a:lnTo>
                      <a:pt x="243" y="37"/>
                    </a:lnTo>
                    <a:lnTo>
                      <a:pt x="244" y="32"/>
                    </a:lnTo>
                    <a:lnTo>
                      <a:pt x="246" y="29"/>
                    </a:lnTo>
                    <a:lnTo>
                      <a:pt x="248" y="28"/>
                    </a:lnTo>
                    <a:lnTo>
                      <a:pt x="251" y="28"/>
                    </a:lnTo>
                    <a:lnTo>
                      <a:pt x="251" y="28"/>
                    </a:lnTo>
                    <a:lnTo>
                      <a:pt x="251" y="28"/>
                    </a:lnTo>
                    <a:lnTo>
                      <a:pt x="253" y="26"/>
                    </a:lnTo>
                    <a:lnTo>
                      <a:pt x="256" y="26"/>
                    </a:lnTo>
                    <a:lnTo>
                      <a:pt x="257" y="26"/>
                    </a:lnTo>
                    <a:lnTo>
                      <a:pt x="257" y="26"/>
                    </a:lnTo>
                    <a:lnTo>
                      <a:pt x="257" y="26"/>
                    </a:lnTo>
                    <a:lnTo>
                      <a:pt x="257" y="26"/>
                    </a:lnTo>
                    <a:lnTo>
                      <a:pt x="259" y="26"/>
                    </a:lnTo>
                    <a:lnTo>
                      <a:pt x="259" y="26"/>
                    </a:lnTo>
                    <a:lnTo>
                      <a:pt x="257" y="21"/>
                    </a:lnTo>
                    <a:lnTo>
                      <a:pt x="259" y="18"/>
                    </a:lnTo>
                    <a:lnTo>
                      <a:pt x="260" y="16"/>
                    </a:lnTo>
                    <a:lnTo>
                      <a:pt x="263" y="14"/>
                    </a:lnTo>
                    <a:lnTo>
                      <a:pt x="263" y="14"/>
                    </a:lnTo>
                    <a:lnTo>
                      <a:pt x="265" y="14"/>
                    </a:lnTo>
                    <a:lnTo>
                      <a:pt x="265" y="14"/>
                    </a:lnTo>
                    <a:lnTo>
                      <a:pt x="269" y="16"/>
                    </a:lnTo>
                    <a:lnTo>
                      <a:pt x="269" y="16"/>
                    </a:lnTo>
                    <a:lnTo>
                      <a:pt x="269" y="16"/>
                    </a:lnTo>
                    <a:lnTo>
                      <a:pt x="269" y="16"/>
                    </a:lnTo>
                    <a:lnTo>
                      <a:pt x="273" y="17"/>
                    </a:lnTo>
                    <a:lnTo>
                      <a:pt x="276" y="18"/>
                    </a:lnTo>
                    <a:lnTo>
                      <a:pt x="276" y="18"/>
                    </a:lnTo>
                    <a:lnTo>
                      <a:pt x="276" y="22"/>
                    </a:lnTo>
                    <a:lnTo>
                      <a:pt x="276" y="25"/>
                    </a:lnTo>
                    <a:lnTo>
                      <a:pt x="284" y="25"/>
                    </a:lnTo>
                    <a:lnTo>
                      <a:pt x="284" y="25"/>
                    </a:lnTo>
                    <a:lnTo>
                      <a:pt x="289" y="24"/>
                    </a:lnTo>
                    <a:lnTo>
                      <a:pt x="289" y="24"/>
                    </a:lnTo>
                    <a:lnTo>
                      <a:pt x="292" y="24"/>
                    </a:lnTo>
                    <a:lnTo>
                      <a:pt x="292" y="24"/>
                    </a:lnTo>
                    <a:lnTo>
                      <a:pt x="290" y="25"/>
                    </a:lnTo>
                    <a:lnTo>
                      <a:pt x="289" y="26"/>
                    </a:lnTo>
                    <a:lnTo>
                      <a:pt x="294" y="22"/>
                    </a:lnTo>
                    <a:lnTo>
                      <a:pt x="296" y="22"/>
                    </a:lnTo>
                    <a:lnTo>
                      <a:pt x="300" y="24"/>
                    </a:lnTo>
                    <a:lnTo>
                      <a:pt x="300" y="24"/>
                    </a:lnTo>
                    <a:lnTo>
                      <a:pt x="302" y="26"/>
                    </a:lnTo>
                    <a:lnTo>
                      <a:pt x="304" y="30"/>
                    </a:lnTo>
                    <a:lnTo>
                      <a:pt x="304" y="30"/>
                    </a:lnTo>
                    <a:lnTo>
                      <a:pt x="305" y="32"/>
                    </a:lnTo>
                    <a:lnTo>
                      <a:pt x="305" y="32"/>
                    </a:lnTo>
                    <a:lnTo>
                      <a:pt x="305" y="26"/>
                    </a:lnTo>
                    <a:lnTo>
                      <a:pt x="308" y="22"/>
                    </a:lnTo>
                    <a:lnTo>
                      <a:pt x="313" y="20"/>
                    </a:lnTo>
                    <a:lnTo>
                      <a:pt x="318" y="20"/>
                    </a:lnTo>
                    <a:lnTo>
                      <a:pt x="321" y="21"/>
                    </a:lnTo>
                    <a:lnTo>
                      <a:pt x="321" y="21"/>
                    </a:lnTo>
                    <a:lnTo>
                      <a:pt x="321" y="21"/>
                    </a:lnTo>
                    <a:lnTo>
                      <a:pt x="321" y="21"/>
                    </a:lnTo>
                    <a:lnTo>
                      <a:pt x="322" y="21"/>
                    </a:lnTo>
                    <a:lnTo>
                      <a:pt x="322" y="21"/>
                    </a:lnTo>
                    <a:lnTo>
                      <a:pt x="329" y="20"/>
                    </a:lnTo>
                    <a:lnTo>
                      <a:pt x="334" y="20"/>
                    </a:lnTo>
                    <a:lnTo>
                      <a:pt x="335" y="18"/>
                    </a:lnTo>
                    <a:lnTo>
                      <a:pt x="335" y="18"/>
                    </a:lnTo>
                    <a:lnTo>
                      <a:pt x="335" y="18"/>
                    </a:lnTo>
                    <a:lnTo>
                      <a:pt x="335" y="18"/>
                    </a:lnTo>
                    <a:lnTo>
                      <a:pt x="335" y="17"/>
                    </a:lnTo>
                    <a:lnTo>
                      <a:pt x="335" y="14"/>
                    </a:lnTo>
                    <a:lnTo>
                      <a:pt x="342" y="8"/>
                    </a:lnTo>
                    <a:lnTo>
                      <a:pt x="346" y="8"/>
                    </a:lnTo>
                    <a:lnTo>
                      <a:pt x="346" y="8"/>
                    </a:lnTo>
                    <a:lnTo>
                      <a:pt x="347" y="6"/>
                    </a:lnTo>
                    <a:lnTo>
                      <a:pt x="347" y="6"/>
                    </a:lnTo>
                    <a:lnTo>
                      <a:pt x="350" y="2"/>
                    </a:lnTo>
                    <a:lnTo>
                      <a:pt x="354" y="0"/>
                    </a:lnTo>
                    <a:lnTo>
                      <a:pt x="357" y="0"/>
                    </a:lnTo>
                    <a:lnTo>
                      <a:pt x="361" y="0"/>
                    </a:lnTo>
                    <a:lnTo>
                      <a:pt x="361" y="0"/>
                    </a:lnTo>
                    <a:lnTo>
                      <a:pt x="365" y="4"/>
                    </a:lnTo>
                    <a:lnTo>
                      <a:pt x="366" y="8"/>
                    </a:lnTo>
                    <a:lnTo>
                      <a:pt x="366" y="13"/>
                    </a:lnTo>
                    <a:lnTo>
                      <a:pt x="366" y="17"/>
                    </a:lnTo>
                    <a:lnTo>
                      <a:pt x="366" y="17"/>
                    </a:lnTo>
                    <a:lnTo>
                      <a:pt x="366" y="21"/>
                    </a:lnTo>
                    <a:lnTo>
                      <a:pt x="367" y="24"/>
                    </a:lnTo>
                    <a:lnTo>
                      <a:pt x="368" y="26"/>
                    </a:lnTo>
                    <a:lnTo>
                      <a:pt x="368" y="26"/>
                    </a:lnTo>
                    <a:lnTo>
                      <a:pt x="368" y="26"/>
                    </a:lnTo>
                    <a:lnTo>
                      <a:pt x="370" y="28"/>
                    </a:lnTo>
                    <a:lnTo>
                      <a:pt x="370" y="29"/>
                    </a:lnTo>
                    <a:lnTo>
                      <a:pt x="370" y="29"/>
                    </a:lnTo>
                    <a:lnTo>
                      <a:pt x="370" y="29"/>
                    </a:lnTo>
                    <a:lnTo>
                      <a:pt x="370" y="32"/>
                    </a:lnTo>
                    <a:lnTo>
                      <a:pt x="370" y="32"/>
                    </a:lnTo>
                    <a:lnTo>
                      <a:pt x="370" y="33"/>
                    </a:lnTo>
                    <a:lnTo>
                      <a:pt x="371" y="34"/>
                    </a:lnTo>
                    <a:lnTo>
                      <a:pt x="372" y="34"/>
                    </a:lnTo>
                    <a:lnTo>
                      <a:pt x="372" y="34"/>
                    </a:lnTo>
                    <a:lnTo>
                      <a:pt x="374" y="34"/>
                    </a:lnTo>
                    <a:lnTo>
                      <a:pt x="379" y="40"/>
                    </a:lnTo>
                    <a:lnTo>
                      <a:pt x="379" y="40"/>
                    </a:lnTo>
                    <a:lnTo>
                      <a:pt x="379" y="40"/>
                    </a:lnTo>
                    <a:lnTo>
                      <a:pt x="380" y="41"/>
                    </a:lnTo>
                    <a:lnTo>
                      <a:pt x="380" y="41"/>
                    </a:lnTo>
                    <a:lnTo>
                      <a:pt x="383" y="45"/>
                    </a:lnTo>
                    <a:lnTo>
                      <a:pt x="387" y="46"/>
                    </a:lnTo>
                    <a:lnTo>
                      <a:pt x="387" y="46"/>
                    </a:lnTo>
                    <a:lnTo>
                      <a:pt x="392" y="49"/>
                    </a:lnTo>
                    <a:lnTo>
                      <a:pt x="392" y="49"/>
                    </a:lnTo>
                    <a:lnTo>
                      <a:pt x="392" y="49"/>
                    </a:lnTo>
                    <a:lnTo>
                      <a:pt x="392" y="49"/>
                    </a:lnTo>
                    <a:lnTo>
                      <a:pt x="395" y="51"/>
                    </a:lnTo>
                    <a:lnTo>
                      <a:pt x="396" y="57"/>
                    </a:lnTo>
                    <a:lnTo>
                      <a:pt x="396" y="58"/>
                    </a:lnTo>
                    <a:lnTo>
                      <a:pt x="395" y="61"/>
                    </a:lnTo>
                    <a:lnTo>
                      <a:pt x="399" y="61"/>
                    </a:lnTo>
                    <a:lnTo>
                      <a:pt x="399" y="61"/>
                    </a:lnTo>
                    <a:lnTo>
                      <a:pt x="399" y="61"/>
                    </a:lnTo>
                    <a:lnTo>
                      <a:pt x="399" y="61"/>
                    </a:lnTo>
                    <a:lnTo>
                      <a:pt x="406" y="62"/>
                    </a:lnTo>
                    <a:lnTo>
                      <a:pt x="406" y="62"/>
                    </a:lnTo>
                    <a:lnTo>
                      <a:pt x="407" y="62"/>
                    </a:lnTo>
                    <a:lnTo>
                      <a:pt x="407" y="62"/>
                    </a:lnTo>
                    <a:lnTo>
                      <a:pt x="408" y="62"/>
                    </a:lnTo>
                    <a:lnTo>
                      <a:pt x="415" y="65"/>
                    </a:lnTo>
                    <a:lnTo>
                      <a:pt x="415" y="65"/>
                    </a:lnTo>
                    <a:lnTo>
                      <a:pt x="417" y="67"/>
                    </a:lnTo>
                    <a:lnTo>
                      <a:pt x="419" y="70"/>
                    </a:lnTo>
                    <a:lnTo>
                      <a:pt x="419" y="70"/>
                    </a:lnTo>
                    <a:lnTo>
                      <a:pt x="423" y="70"/>
                    </a:lnTo>
                    <a:lnTo>
                      <a:pt x="423" y="70"/>
                    </a:lnTo>
                    <a:lnTo>
                      <a:pt x="427" y="69"/>
                    </a:lnTo>
                    <a:lnTo>
                      <a:pt x="428" y="69"/>
                    </a:lnTo>
                    <a:lnTo>
                      <a:pt x="429" y="69"/>
                    </a:lnTo>
                    <a:lnTo>
                      <a:pt x="433" y="70"/>
                    </a:lnTo>
                    <a:lnTo>
                      <a:pt x="433" y="70"/>
                    </a:lnTo>
                    <a:lnTo>
                      <a:pt x="437" y="74"/>
                    </a:lnTo>
                    <a:lnTo>
                      <a:pt x="437" y="74"/>
                    </a:lnTo>
                    <a:lnTo>
                      <a:pt x="437" y="75"/>
                    </a:lnTo>
                    <a:lnTo>
                      <a:pt x="439" y="75"/>
                    </a:lnTo>
                    <a:lnTo>
                      <a:pt x="443" y="79"/>
                    </a:lnTo>
                    <a:lnTo>
                      <a:pt x="443" y="79"/>
                    </a:lnTo>
                    <a:lnTo>
                      <a:pt x="440" y="80"/>
                    </a:lnTo>
                    <a:lnTo>
                      <a:pt x="443" y="79"/>
                    </a:lnTo>
                    <a:lnTo>
                      <a:pt x="444" y="80"/>
                    </a:lnTo>
                    <a:lnTo>
                      <a:pt x="444" y="80"/>
                    </a:lnTo>
                    <a:lnTo>
                      <a:pt x="444" y="79"/>
                    </a:lnTo>
                    <a:lnTo>
                      <a:pt x="445" y="77"/>
                    </a:lnTo>
                    <a:lnTo>
                      <a:pt x="445" y="77"/>
                    </a:lnTo>
                    <a:lnTo>
                      <a:pt x="445" y="78"/>
                    </a:lnTo>
                    <a:lnTo>
                      <a:pt x="445" y="78"/>
                    </a:lnTo>
                    <a:lnTo>
                      <a:pt x="448" y="75"/>
                    </a:lnTo>
                    <a:lnTo>
                      <a:pt x="452" y="74"/>
                    </a:lnTo>
                    <a:lnTo>
                      <a:pt x="452" y="74"/>
                    </a:lnTo>
                    <a:lnTo>
                      <a:pt x="454" y="74"/>
                    </a:lnTo>
                    <a:lnTo>
                      <a:pt x="457" y="74"/>
                    </a:lnTo>
                    <a:lnTo>
                      <a:pt x="461" y="77"/>
                    </a:lnTo>
                    <a:lnTo>
                      <a:pt x="461" y="77"/>
                    </a:lnTo>
                    <a:lnTo>
                      <a:pt x="464" y="78"/>
                    </a:lnTo>
                    <a:lnTo>
                      <a:pt x="464" y="80"/>
                    </a:lnTo>
                    <a:lnTo>
                      <a:pt x="464" y="80"/>
                    </a:lnTo>
                    <a:lnTo>
                      <a:pt x="462" y="79"/>
                    </a:lnTo>
                    <a:lnTo>
                      <a:pt x="461" y="78"/>
                    </a:lnTo>
                    <a:lnTo>
                      <a:pt x="465" y="80"/>
                    </a:lnTo>
                    <a:lnTo>
                      <a:pt x="465" y="80"/>
                    </a:lnTo>
                    <a:lnTo>
                      <a:pt x="466" y="84"/>
                    </a:lnTo>
                    <a:lnTo>
                      <a:pt x="466" y="84"/>
                    </a:lnTo>
                    <a:lnTo>
                      <a:pt x="468" y="87"/>
                    </a:lnTo>
                    <a:lnTo>
                      <a:pt x="469" y="90"/>
                    </a:lnTo>
                    <a:lnTo>
                      <a:pt x="469" y="94"/>
                    </a:lnTo>
                    <a:lnTo>
                      <a:pt x="469" y="94"/>
                    </a:lnTo>
                    <a:lnTo>
                      <a:pt x="472" y="91"/>
                    </a:lnTo>
                    <a:lnTo>
                      <a:pt x="473" y="90"/>
                    </a:lnTo>
                    <a:lnTo>
                      <a:pt x="477" y="88"/>
                    </a:lnTo>
                    <a:lnTo>
                      <a:pt x="477" y="88"/>
                    </a:lnTo>
                    <a:lnTo>
                      <a:pt x="478" y="88"/>
                    </a:lnTo>
                    <a:lnTo>
                      <a:pt x="478" y="88"/>
                    </a:lnTo>
                    <a:lnTo>
                      <a:pt x="481" y="87"/>
                    </a:lnTo>
                    <a:lnTo>
                      <a:pt x="484" y="87"/>
                    </a:lnTo>
                    <a:lnTo>
                      <a:pt x="485" y="87"/>
                    </a:lnTo>
                    <a:lnTo>
                      <a:pt x="489" y="96"/>
                    </a:lnTo>
                    <a:lnTo>
                      <a:pt x="489" y="96"/>
                    </a:lnTo>
                    <a:lnTo>
                      <a:pt x="489" y="96"/>
                    </a:lnTo>
                    <a:lnTo>
                      <a:pt x="489" y="96"/>
                    </a:lnTo>
                    <a:lnTo>
                      <a:pt x="489" y="98"/>
                    </a:lnTo>
                    <a:lnTo>
                      <a:pt x="489" y="98"/>
                    </a:lnTo>
                    <a:lnTo>
                      <a:pt x="493" y="99"/>
                    </a:lnTo>
                    <a:lnTo>
                      <a:pt x="494" y="100"/>
                    </a:lnTo>
                    <a:lnTo>
                      <a:pt x="495" y="103"/>
                    </a:lnTo>
                    <a:lnTo>
                      <a:pt x="495" y="103"/>
                    </a:lnTo>
                    <a:lnTo>
                      <a:pt x="497" y="107"/>
                    </a:lnTo>
                    <a:lnTo>
                      <a:pt x="498" y="110"/>
                    </a:lnTo>
                    <a:lnTo>
                      <a:pt x="498" y="110"/>
                    </a:lnTo>
                    <a:lnTo>
                      <a:pt x="498" y="108"/>
                    </a:lnTo>
                    <a:lnTo>
                      <a:pt x="498" y="108"/>
                    </a:lnTo>
                    <a:lnTo>
                      <a:pt x="502" y="106"/>
                    </a:lnTo>
                    <a:lnTo>
                      <a:pt x="505" y="104"/>
                    </a:lnTo>
                    <a:lnTo>
                      <a:pt x="505" y="104"/>
                    </a:lnTo>
                    <a:lnTo>
                      <a:pt x="507" y="103"/>
                    </a:lnTo>
                    <a:lnTo>
                      <a:pt x="507" y="103"/>
                    </a:lnTo>
                    <a:lnTo>
                      <a:pt x="510" y="100"/>
                    </a:lnTo>
                    <a:lnTo>
                      <a:pt x="513" y="99"/>
                    </a:lnTo>
                    <a:lnTo>
                      <a:pt x="515" y="99"/>
                    </a:lnTo>
                    <a:lnTo>
                      <a:pt x="515" y="99"/>
                    </a:lnTo>
                    <a:lnTo>
                      <a:pt x="519" y="100"/>
                    </a:lnTo>
                    <a:lnTo>
                      <a:pt x="519" y="100"/>
                    </a:lnTo>
                    <a:lnTo>
                      <a:pt x="519" y="99"/>
                    </a:lnTo>
                    <a:lnTo>
                      <a:pt x="519" y="98"/>
                    </a:lnTo>
                    <a:lnTo>
                      <a:pt x="522" y="96"/>
                    </a:lnTo>
                    <a:lnTo>
                      <a:pt x="522" y="95"/>
                    </a:lnTo>
                    <a:lnTo>
                      <a:pt x="522" y="95"/>
                    </a:lnTo>
                    <a:lnTo>
                      <a:pt x="521" y="96"/>
                    </a:lnTo>
                    <a:lnTo>
                      <a:pt x="521" y="96"/>
                    </a:lnTo>
                    <a:lnTo>
                      <a:pt x="521" y="95"/>
                    </a:lnTo>
                    <a:lnTo>
                      <a:pt x="519" y="91"/>
                    </a:lnTo>
                    <a:lnTo>
                      <a:pt x="519" y="91"/>
                    </a:lnTo>
                    <a:lnTo>
                      <a:pt x="521" y="88"/>
                    </a:lnTo>
                    <a:lnTo>
                      <a:pt x="523" y="87"/>
                    </a:lnTo>
                    <a:lnTo>
                      <a:pt x="526" y="86"/>
                    </a:lnTo>
                    <a:lnTo>
                      <a:pt x="526" y="86"/>
                    </a:lnTo>
                    <a:lnTo>
                      <a:pt x="530" y="87"/>
                    </a:lnTo>
                    <a:lnTo>
                      <a:pt x="531" y="88"/>
                    </a:lnTo>
                    <a:lnTo>
                      <a:pt x="531" y="88"/>
                    </a:lnTo>
                    <a:lnTo>
                      <a:pt x="534" y="88"/>
                    </a:lnTo>
                    <a:lnTo>
                      <a:pt x="534" y="88"/>
                    </a:lnTo>
                    <a:lnTo>
                      <a:pt x="538" y="88"/>
                    </a:lnTo>
                    <a:lnTo>
                      <a:pt x="540" y="90"/>
                    </a:lnTo>
                    <a:lnTo>
                      <a:pt x="543" y="91"/>
                    </a:lnTo>
                    <a:lnTo>
                      <a:pt x="544" y="96"/>
                    </a:lnTo>
                    <a:lnTo>
                      <a:pt x="544" y="96"/>
                    </a:lnTo>
                    <a:lnTo>
                      <a:pt x="546" y="96"/>
                    </a:lnTo>
                    <a:lnTo>
                      <a:pt x="547" y="96"/>
                    </a:lnTo>
                    <a:lnTo>
                      <a:pt x="548" y="96"/>
                    </a:lnTo>
                    <a:lnTo>
                      <a:pt x="555" y="100"/>
                    </a:lnTo>
                    <a:lnTo>
                      <a:pt x="555" y="100"/>
                    </a:lnTo>
                    <a:lnTo>
                      <a:pt x="556" y="103"/>
                    </a:lnTo>
                    <a:lnTo>
                      <a:pt x="559" y="104"/>
                    </a:lnTo>
                    <a:lnTo>
                      <a:pt x="559" y="104"/>
                    </a:lnTo>
                    <a:lnTo>
                      <a:pt x="564" y="107"/>
                    </a:lnTo>
                    <a:lnTo>
                      <a:pt x="567" y="107"/>
                    </a:lnTo>
                    <a:lnTo>
                      <a:pt x="568" y="108"/>
                    </a:lnTo>
                    <a:lnTo>
                      <a:pt x="568" y="108"/>
                    </a:lnTo>
                    <a:lnTo>
                      <a:pt x="568" y="108"/>
                    </a:lnTo>
                    <a:lnTo>
                      <a:pt x="568" y="108"/>
                    </a:lnTo>
                    <a:lnTo>
                      <a:pt x="568" y="108"/>
                    </a:lnTo>
                    <a:lnTo>
                      <a:pt x="568" y="108"/>
                    </a:lnTo>
                    <a:lnTo>
                      <a:pt x="567" y="111"/>
                    </a:lnTo>
                    <a:lnTo>
                      <a:pt x="569" y="110"/>
                    </a:lnTo>
                    <a:lnTo>
                      <a:pt x="572" y="112"/>
                    </a:lnTo>
                    <a:lnTo>
                      <a:pt x="572" y="112"/>
                    </a:lnTo>
                    <a:lnTo>
                      <a:pt x="571" y="110"/>
                    </a:lnTo>
                    <a:lnTo>
                      <a:pt x="577" y="108"/>
                    </a:lnTo>
                    <a:lnTo>
                      <a:pt x="577" y="108"/>
                    </a:lnTo>
                    <a:lnTo>
                      <a:pt x="580" y="111"/>
                    </a:lnTo>
                    <a:lnTo>
                      <a:pt x="580" y="111"/>
                    </a:lnTo>
                    <a:lnTo>
                      <a:pt x="580" y="112"/>
                    </a:lnTo>
                    <a:lnTo>
                      <a:pt x="580" y="112"/>
                    </a:lnTo>
                    <a:lnTo>
                      <a:pt x="581" y="112"/>
                    </a:lnTo>
                    <a:lnTo>
                      <a:pt x="581" y="110"/>
                    </a:lnTo>
                    <a:lnTo>
                      <a:pt x="581" y="107"/>
                    </a:lnTo>
                    <a:lnTo>
                      <a:pt x="581" y="107"/>
                    </a:lnTo>
                    <a:lnTo>
                      <a:pt x="584" y="104"/>
                    </a:lnTo>
                    <a:lnTo>
                      <a:pt x="587" y="103"/>
                    </a:lnTo>
                    <a:lnTo>
                      <a:pt x="589" y="103"/>
                    </a:lnTo>
                    <a:lnTo>
                      <a:pt x="589" y="103"/>
                    </a:lnTo>
                    <a:lnTo>
                      <a:pt x="592" y="103"/>
                    </a:lnTo>
                    <a:lnTo>
                      <a:pt x="592" y="103"/>
                    </a:lnTo>
                    <a:lnTo>
                      <a:pt x="591" y="103"/>
                    </a:lnTo>
                    <a:lnTo>
                      <a:pt x="589" y="106"/>
                    </a:lnTo>
                    <a:lnTo>
                      <a:pt x="596" y="102"/>
                    </a:lnTo>
                    <a:lnTo>
                      <a:pt x="596" y="102"/>
                    </a:lnTo>
                    <a:lnTo>
                      <a:pt x="596" y="102"/>
                    </a:lnTo>
                    <a:lnTo>
                      <a:pt x="597" y="100"/>
                    </a:lnTo>
                    <a:lnTo>
                      <a:pt x="597" y="100"/>
                    </a:lnTo>
                    <a:lnTo>
                      <a:pt x="599" y="99"/>
                    </a:lnTo>
                    <a:lnTo>
                      <a:pt x="604" y="98"/>
                    </a:lnTo>
                    <a:lnTo>
                      <a:pt x="604" y="98"/>
                    </a:lnTo>
                    <a:lnTo>
                      <a:pt x="606" y="98"/>
                    </a:lnTo>
                    <a:lnTo>
                      <a:pt x="609" y="99"/>
                    </a:lnTo>
                    <a:lnTo>
                      <a:pt x="610" y="100"/>
                    </a:lnTo>
                    <a:lnTo>
                      <a:pt x="610" y="100"/>
                    </a:lnTo>
                    <a:lnTo>
                      <a:pt x="612" y="103"/>
                    </a:lnTo>
                    <a:lnTo>
                      <a:pt x="613" y="107"/>
                    </a:lnTo>
                    <a:lnTo>
                      <a:pt x="612" y="111"/>
                    </a:lnTo>
                    <a:lnTo>
                      <a:pt x="612" y="111"/>
                    </a:lnTo>
                    <a:lnTo>
                      <a:pt x="612" y="112"/>
                    </a:lnTo>
                    <a:lnTo>
                      <a:pt x="612" y="114"/>
                    </a:lnTo>
                    <a:lnTo>
                      <a:pt x="608" y="119"/>
                    </a:lnTo>
                    <a:lnTo>
                      <a:pt x="609" y="119"/>
                    </a:lnTo>
                    <a:lnTo>
                      <a:pt x="609" y="119"/>
                    </a:lnTo>
                    <a:lnTo>
                      <a:pt x="610" y="116"/>
                    </a:lnTo>
                    <a:lnTo>
                      <a:pt x="610" y="116"/>
                    </a:lnTo>
                    <a:lnTo>
                      <a:pt x="610" y="116"/>
                    </a:lnTo>
                    <a:lnTo>
                      <a:pt x="610" y="116"/>
                    </a:lnTo>
                    <a:lnTo>
                      <a:pt x="610" y="119"/>
                    </a:lnTo>
                    <a:lnTo>
                      <a:pt x="610" y="120"/>
                    </a:lnTo>
                    <a:lnTo>
                      <a:pt x="608" y="121"/>
                    </a:lnTo>
                    <a:lnTo>
                      <a:pt x="608" y="121"/>
                    </a:lnTo>
                    <a:lnTo>
                      <a:pt x="606" y="120"/>
                    </a:lnTo>
                    <a:lnTo>
                      <a:pt x="604" y="119"/>
                    </a:lnTo>
                    <a:lnTo>
                      <a:pt x="604" y="120"/>
                    </a:lnTo>
                    <a:lnTo>
                      <a:pt x="604" y="120"/>
                    </a:lnTo>
                    <a:lnTo>
                      <a:pt x="604" y="121"/>
                    </a:lnTo>
                    <a:lnTo>
                      <a:pt x="606" y="123"/>
                    </a:lnTo>
                    <a:lnTo>
                      <a:pt x="604" y="124"/>
                    </a:lnTo>
                    <a:lnTo>
                      <a:pt x="604" y="125"/>
                    </a:lnTo>
                    <a:lnTo>
                      <a:pt x="604" y="125"/>
                    </a:lnTo>
                    <a:lnTo>
                      <a:pt x="606" y="125"/>
                    </a:lnTo>
                    <a:lnTo>
                      <a:pt x="608" y="123"/>
                    </a:lnTo>
                    <a:lnTo>
                      <a:pt x="610" y="124"/>
                    </a:lnTo>
                    <a:lnTo>
                      <a:pt x="610" y="136"/>
                    </a:lnTo>
                    <a:lnTo>
                      <a:pt x="608" y="141"/>
                    </a:lnTo>
                    <a:lnTo>
                      <a:pt x="608" y="141"/>
                    </a:lnTo>
                    <a:lnTo>
                      <a:pt x="609" y="140"/>
                    </a:lnTo>
                    <a:lnTo>
                      <a:pt x="609" y="140"/>
                    </a:lnTo>
                    <a:lnTo>
                      <a:pt x="609" y="143"/>
                    </a:lnTo>
                    <a:lnTo>
                      <a:pt x="609" y="143"/>
                    </a:lnTo>
                    <a:lnTo>
                      <a:pt x="609" y="149"/>
                    </a:lnTo>
                    <a:lnTo>
                      <a:pt x="608" y="152"/>
                    </a:lnTo>
                    <a:lnTo>
                      <a:pt x="605" y="155"/>
                    </a:lnTo>
                    <a:lnTo>
                      <a:pt x="605" y="155"/>
                    </a:lnTo>
                    <a:lnTo>
                      <a:pt x="604" y="156"/>
                    </a:lnTo>
                    <a:lnTo>
                      <a:pt x="604" y="156"/>
                    </a:lnTo>
                    <a:lnTo>
                      <a:pt x="603" y="156"/>
                    </a:lnTo>
                    <a:lnTo>
                      <a:pt x="604" y="156"/>
                    </a:lnTo>
                    <a:lnTo>
                      <a:pt x="603" y="157"/>
                    </a:lnTo>
                    <a:lnTo>
                      <a:pt x="603" y="157"/>
                    </a:lnTo>
                    <a:lnTo>
                      <a:pt x="604" y="157"/>
                    </a:lnTo>
                    <a:lnTo>
                      <a:pt x="604" y="157"/>
                    </a:lnTo>
                    <a:lnTo>
                      <a:pt x="604" y="157"/>
                    </a:lnTo>
                    <a:lnTo>
                      <a:pt x="604" y="157"/>
                    </a:lnTo>
                    <a:lnTo>
                      <a:pt x="604" y="157"/>
                    </a:lnTo>
                    <a:lnTo>
                      <a:pt x="604" y="157"/>
                    </a:lnTo>
                    <a:lnTo>
                      <a:pt x="604" y="157"/>
                    </a:lnTo>
                    <a:lnTo>
                      <a:pt x="604" y="157"/>
                    </a:lnTo>
                    <a:lnTo>
                      <a:pt x="605" y="158"/>
                    </a:lnTo>
                    <a:lnTo>
                      <a:pt x="605" y="158"/>
                    </a:lnTo>
                    <a:lnTo>
                      <a:pt x="605" y="157"/>
                    </a:lnTo>
                    <a:lnTo>
                      <a:pt x="605" y="157"/>
                    </a:lnTo>
                    <a:lnTo>
                      <a:pt x="606" y="160"/>
                    </a:lnTo>
                    <a:lnTo>
                      <a:pt x="606" y="162"/>
                    </a:lnTo>
                    <a:lnTo>
                      <a:pt x="606" y="165"/>
                    </a:lnTo>
                    <a:lnTo>
                      <a:pt x="606" y="165"/>
                    </a:lnTo>
                    <a:lnTo>
                      <a:pt x="604" y="170"/>
                    </a:lnTo>
                    <a:lnTo>
                      <a:pt x="600" y="176"/>
                    </a:lnTo>
                    <a:lnTo>
                      <a:pt x="599" y="174"/>
                    </a:lnTo>
                    <a:lnTo>
                      <a:pt x="597" y="177"/>
                    </a:lnTo>
                    <a:lnTo>
                      <a:pt x="597" y="177"/>
                    </a:lnTo>
                    <a:lnTo>
                      <a:pt x="599" y="177"/>
                    </a:lnTo>
                    <a:lnTo>
                      <a:pt x="600" y="174"/>
                    </a:lnTo>
                    <a:lnTo>
                      <a:pt x="600" y="174"/>
                    </a:lnTo>
                    <a:lnTo>
                      <a:pt x="599" y="178"/>
                    </a:lnTo>
                    <a:lnTo>
                      <a:pt x="596" y="181"/>
                    </a:lnTo>
                    <a:lnTo>
                      <a:pt x="592" y="182"/>
                    </a:lnTo>
                    <a:lnTo>
                      <a:pt x="592" y="182"/>
                    </a:lnTo>
                    <a:lnTo>
                      <a:pt x="592" y="182"/>
                    </a:lnTo>
                    <a:lnTo>
                      <a:pt x="591" y="186"/>
                    </a:lnTo>
                    <a:lnTo>
                      <a:pt x="591" y="186"/>
                    </a:lnTo>
                    <a:lnTo>
                      <a:pt x="589" y="190"/>
                    </a:lnTo>
                    <a:lnTo>
                      <a:pt x="589" y="190"/>
                    </a:lnTo>
                    <a:lnTo>
                      <a:pt x="589" y="194"/>
                    </a:lnTo>
                    <a:lnTo>
                      <a:pt x="588" y="197"/>
                    </a:lnTo>
                    <a:lnTo>
                      <a:pt x="588" y="197"/>
                    </a:lnTo>
                    <a:lnTo>
                      <a:pt x="588" y="199"/>
                    </a:lnTo>
                    <a:lnTo>
                      <a:pt x="588" y="199"/>
                    </a:lnTo>
                    <a:lnTo>
                      <a:pt x="588" y="201"/>
                    </a:lnTo>
                    <a:lnTo>
                      <a:pt x="588" y="201"/>
                    </a:lnTo>
                    <a:lnTo>
                      <a:pt x="587" y="199"/>
                    </a:lnTo>
                    <a:lnTo>
                      <a:pt x="587" y="199"/>
                    </a:lnTo>
                    <a:lnTo>
                      <a:pt x="587" y="199"/>
                    </a:lnTo>
                    <a:lnTo>
                      <a:pt x="584" y="198"/>
                    </a:lnTo>
                    <a:lnTo>
                      <a:pt x="584" y="198"/>
                    </a:lnTo>
                    <a:lnTo>
                      <a:pt x="583" y="197"/>
                    </a:lnTo>
                    <a:lnTo>
                      <a:pt x="589" y="203"/>
                    </a:lnTo>
                    <a:lnTo>
                      <a:pt x="589" y="206"/>
                    </a:lnTo>
                    <a:lnTo>
                      <a:pt x="589" y="206"/>
                    </a:lnTo>
                    <a:lnTo>
                      <a:pt x="589" y="209"/>
                    </a:lnTo>
                    <a:lnTo>
                      <a:pt x="588" y="211"/>
                    </a:lnTo>
                    <a:lnTo>
                      <a:pt x="585" y="213"/>
                    </a:lnTo>
                    <a:lnTo>
                      <a:pt x="583" y="214"/>
                    </a:lnTo>
                    <a:lnTo>
                      <a:pt x="581" y="214"/>
                    </a:lnTo>
                    <a:lnTo>
                      <a:pt x="580" y="214"/>
                    </a:lnTo>
                    <a:lnTo>
                      <a:pt x="580" y="214"/>
                    </a:lnTo>
                    <a:lnTo>
                      <a:pt x="577" y="219"/>
                    </a:lnTo>
                    <a:lnTo>
                      <a:pt x="575" y="221"/>
                    </a:lnTo>
                    <a:lnTo>
                      <a:pt x="575" y="221"/>
                    </a:lnTo>
                    <a:lnTo>
                      <a:pt x="565" y="226"/>
                    </a:lnTo>
                    <a:lnTo>
                      <a:pt x="560" y="227"/>
                    </a:lnTo>
                    <a:lnTo>
                      <a:pt x="554" y="229"/>
                    </a:lnTo>
                    <a:lnTo>
                      <a:pt x="552" y="229"/>
                    </a:lnTo>
                    <a:lnTo>
                      <a:pt x="552" y="229"/>
                    </a:lnTo>
                    <a:lnTo>
                      <a:pt x="551" y="231"/>
                    </a:lnTo>
                    <a:lnTo>
                      <a:pt x="551" y="231"/>
                    </a:lnTo>
                    <a:lnTo>
                      <a:pt x="551" y="231"/>
                    </a:lnTo>
                    <a:lnTo>
                      <a:pt x="551" y="231"/>
                    </a:lnTo>
                    <a:lnTo>
                      <a:pt x="551" y="233"/>
                    </a:lnTo>
                    <a:lnTo>
                      <a:pt x="550" y="233"/>
                    </a:lnTo>
                    <a:lnTo>
                      <a:pt x="547" y="237"/>
                    </a:lnTo>
                    <a:lnTo>
                      <a:pt x="547" y="237"/>
                    </a:lnTo>
                    <a:lnTo>
                      <a:pt x="548" y="235"/>
                    </a:lnTo>
                    <a:lnTo>
                      <a:pt x="550" y="234"/>
                    </a:lnTo>
                    <a:lnTo>
                      <a:pt x="550" y="234"/>
                    </a:lnTo>
                    <a:lnTo>
                      <a:pt x="550" y="237"/>
                    </a:lnTo>
                    <a:lnTo>
                      <a:pt x="550" y="237"/>
                    </a:lnTo>
                    <a:lnTo>
                      <a:pt x="550" y="243"/>
                    </a:lnTo>
                    <a:lnTo>
                      <a:pt x="544" y="247"/>
                    </a:lnTo>
                    <a:lnTo>
                      <a:pt x="544" y="247"/>
                    </a:lnTo>
                    <a:lnTo>
                      <a:pt x="543" y="247"/>
                    </a:lnTo>
                    <a:lnTo>
                      <a:pt x="543" y="247"/>
                    </a:lnTo>
                    <a:lnTo>
                      <a:pt x="544" y="247"/>
                    </a:lnTo>
                    <a:lnTo>
                      <a:pt x="542" y="248"/>
                    </a:lnTo>
                    <a:lnTo>
                      <a:pt x="542" y="248"/>
                    </a:lnTo>
                    <a:lnTo>
                      <a:pt x="542" y="248"/>
                    </a:lnTo>
                    <a:lnTo>
                      <a:pt x="542" y="248"/>
                    </a:lnTo>
                    <a:lnTo>
                      <a:pt x="542" y="250"/>
                    </a:lnTo>
                    <a:lnTo>
                      <a:pt x="542" y="250"/>
                    </a:lnTo>
                    <a:lnTo>
                      <a:pt x="542" y="248"/>
                    </a:lnTo>
                    <a:lnTo>
                      <a:pt x="540" y="250"/>
                    </a:lnTo>
                    <a:lnTo>
                      <a:pt x="540" y="250"/>
                    </a:lnTo>
                    <a:lnTo>
                      <a:pt x="540" y="250"/>
                    </a:lnTo>
                    <a:lnTo>
                      <a:pt x="542" y="250"/>
                    </a:lnTo>
                    <a:lnTo>
                      <a:pt x="542" y="250"/>
                    </a:lnTo>
                    <a:lnTo>
                      <a:pt x="540" y="250"/>
                    </a:lnTo>
                    <a:lnTo>
                      <a:pt x="543" y="251"/>
                    </a:lnTo>
                    <a:lnTo>
                      <a:pt x="543" y="254"/>
                    </a:lnTo>
                    <a:lnTo>
                      <a:pt x="536" y="259"/>
                    </a:lnTo>
                    <a:lnTo>
                      <a:pt x="536" y="260"/>
                    </a:lnTo>
                    <a:lnTo>
                      <a:pt x="536" y="260"/>
                    </a:lnTo>
                    <a:lnTo>
                      <a:pt x="539" y="260"/>
                    </a:lnTo>
                    <a:lnTo>
                      <a:pt x="540" y="259"/>
                    </a:lnTo>
                    <a:lnTo>
                      <a:pt x="542" y="256"/>
                    </a:lnTo>
                    <a:lnTo>
                      <a:pt x="542" y="256"/>
                    </a:lnTo>
                    <a:lnTo>
                      <a:pt x="542" y="259"/>
                    </a:lnTo>
                    <a:lnTo>
                      <a:pt x="540" y="263"/>
                    </a:lnTo>
                    <a:lnTo>
                      <a:pt x="540" y="263"/>
                    </a:lnTo>
                    <a:lnTo>
                      <a:pt x="538" y="264"/>
                    </a:lnTo>
                    <a:lnTo>
                      <a:pt x="535" y="264"/>
                    </a:lnTo>
                    <a:lnTo>
                      <a:pt x="535" y="264"/>
                    </a:lnTo>
                    <a:lnTo>
                      <a:pt x="532" y="264"/>
                    </a:lnTo>
                    <a:lnTo>
                      <a:pt x="532" y="264"/>
                    </a:lnTo>
                    <a:lnTo>
                      <a:pt x="532" y="264"/>
                    </a:lnTo>
                    <a:lnTo>
                      <a:pt x="532" y="264"/>
                    </a:lnTo>
                    <a:lnTo>
                      <a:pt x="531" y="263"/>
                    </a:lnTo>
                    <a:lnTo>
                      <a:pt x="531" y="263"/>
                    </a:lnTo>
                    <a:lnTo>
                      <a:pt x="527" y="260"/>
                    </a:lnTo>
                    <a:lnTo>
                      <a:pt x="528" y="262"/>
                    </a:lnTo>
                    <a:lnTo>
                      <a:pt x="528" y="262"/>
                    </a:lnTo>
                    <a:lnTo>
                      <a:pt x="530" y="263"/>
                    </a:lnTo>
                    <a:lnTo>
                      <a:pt x="530" y="263"/>
                    </a:lnTo>
                    <a:lnTo>
                      <a:pt x="527" y="263"/>
                    </a:lnTo>
                    <a:lnTo>
                      <a:pt x="527" y="263"/>
                    </a:lnTo>
                    <a:lnTo>
                      <a:pt x="527" y="263"/>
                    </a:lnTo>
                    <a:lnTo>
                      <a:pt x="527" y="263"/>
                    </a:lnTo>
                    <a:lnTo>
                      <a:pt x="523" y="262"/>
                    </a:lnTo>
                    <a:lnTo>
                      <a:pt x="522" y="262"/>
                    </a:lnTo>
                    <a:lnTo>
                      <a:pt x="522" y="262"/>
                    </a:lnTo>
                    <a:lnTo>
                      <a:pt x="522" y="262"/>
                    </a:lnTo>
                    <a:lnTo>
                      <a:pt x="522" y="262"/>
                    </a:lnTo>
                    <a:lnTo>
                      <a:pt x="523" y="262"/>
                    </a:lnTo>
                    <a:lnTo>
                      <a:pt x="522" y="260"/>
                    </a:lnTo>
                    <a:lnTo>
                      <a:pt x="522" y="260"/>
                    </a:lnTo>
                    <a:lnTo>
                      <a:pt x="519" y="263"/>
                    </a:lnTo>
                    <a:lnTo>
                      <a:pt x="515" y="266"/>
                    </a:lnTo>
                    <a:lnTo>
                      <a:pt x="515" y="266"/>
                    </a:lnTo>
                    <a:lnTo>
                      <a:pt x="518" y="264"/>
                    </a:lnTo>
                    <a:lnTo>
                      <a:pt x="518" y="264"/>
                    </a:lnTo>
                    <a:lnTo>
                      <a:pt x="515" y="266"/>
                    </a:lnTo>
                    <a:lnTo>
                      <a:pt x="511" y="267"/>
                    </a:lnTo>
                    <a:lnTo>
                      <a:pt x="506" y="260"/>
                    </a:lnTo>
                    <a:lnTo>
                      <a:pt x="506" y="258"/>
                    </a:lnTo>
                    <a:lnTo>
                      <a:pt x="506" y="258"/>
                    </a:lnTo>
                    <a:lnTo>
                      <a:pt x="505" y="255"/>
                    </a:lnTo>
                    <a:lnTo>
                      <a:pt x="505" y="255"/>
                    </a:lnTo>
                    <a:lnTo>
                      <a:pt x="505" y="255"/>
                    </a:lnTo>
                    <a:lnTo>
                      <a:pt x="505" y="255"/>
                    </a:lnTo>
                    <a:lnTo>
                      <a:pt x="501" y="255"/>
                    </a:lnTo>
                    <a:lnTo>
                      <a:pt x="498" y="252"/>
                    </a:lnTo>
                    <a:lnTo>
                      <a:pt x="498" y="252"/>
                    </a:lnTo>
                    <a:lnTo>
                      <a:pt x="497" y="251"/>
                    </a:lnTo>
                    <a:lnTo>
                      <a:pt x="495" y="248"/>
                    </a:lnTo>
                    <a:lnTo>
                      <a:pt x="491" y="254"/>
                    </a:lnTo>
                    <a:lnTo>
                      <a:pt x="491" y="254"/>
                    </a:lnTo>
                    <a:lnTo>
                      <a:pt x="494" y="252"/>
                    </a:lnTo>
                    <a:lnTo>
                      <a:pt x="495" y="250"/>
                    </a:lnTo>
                    <a:lnTo>
                      <a:pt x="495" y="250"/>
                    </a:lnTo>
                    <a:lnTo>
                      <a:pt x="495" y="251"/>
                    </a:lnTo>
                    <a:lnTo>
                      <a:pt x="495" y="251"/>
                    </a:lnTo>
                    <a:lnTo>
                      <a:pt x="495" y="254"/>
                    </a:lnTo>
                    <a:lnTo>
                      <a:pt x="489" y="259"/>
                    </a:lnTo>
                    <a:lnTo>
                      <a:pt x="487" y="259"/>
                    </a:lnTo>
                    <a:lnTo>
                      <a:pt x="487" y="259"/>
                    </a:lnTo>
                    <a:lnTo>
                      <a:pt x="484" y="259"/>
                    </a:lnTo>
                    <a:lnTo>
                      <a:pt x="484" y="259"/>
                    </a:lnTo>
                    <a:lnTo>
                      <a:pt x="484" y="259"/>
                    </a:lnTo>
                    <a:lnTo>
                      <a:pt x="481" y="259"/>
                    </a:lnTo>
                    <a:lnTo>
                      <a:pt x="478" y="258"/>
                    </a:lnTo>
                    <a:lnTo>
                      <a:pt x="476" y="255"/>
                    </a:lnTo>
                    <a:lnTo>
                      <a:pt x="473" y="250"/>
                    </a:lnTo>
                    <a:lnTo>
                      <a:pt x="472" y="246"/>
                    </a:lnTo>
                    <a:lnTo>
                      <a:pt x="472" y="246"/>
                    </a:lnTo>
                    <a:lnTo>
                      <a:pt x="469" y="240"/>
                    </a:lnTo>
                    <a:lnTo>
                      <a:pt x="468" y="239"/>
                    </a:lnTo>
                    <a:lnTo>
                      <a:pt x="466" y="239"/>
                    </a:lnTo>
                    <a:lnTo>
                      <a:pt x="462" y="237"/>
                    </a:lnTo>
                    <a:lnTo>
                      <a:pt x="462" y="237"/>
                    </a:lnTo>
                    <a:lnTo>
                      <a:pt x="464" y="233"/>
                    </a:lnTo>
                    <a:lnTo>
                      <a:pt x="462" y="237"/>
                    </a:lnTo>
                    <a:lnTo>
                      <a:pt x="461" y="235"/>
                    </a:lnTo>
                    <a:lnTo>
                      <a:pt x="461" y="235"/>
                    </a:lnTo>
                    <a:lnTo>
                      <a:pt x="462" y="237"/>
                    </a:lnTo>
                    <a:lnTo>
                      <a:pt x="462" y="237"/>
                    </a:lnTo>
                    <a:lnTo>
                      <a:pt x="462" y="237"/>
                    </a:lnTo>
                    <a:lnTo>
                      <a:pt x="462" y="237"/>
                    </a:lnTo>
                    <a:lnTo>
                      <a:pt x="462" y="237"/>
                    </a:lnTo>
                    <a:lnTo>
                      <a:pt x="462" y="237"/>
                    </a:lnTo>
                    <a:lnTo>
                      <a:pt x="462" y="237"/>
                    </a:lnTo>
                    <a:lnTo>
                      <a:pt x="462" y="237"/>
                    </a:lnTo>
                    <a:lnTo>
                      <a:pt x="461" y="238"/>
                    </a:lnTo>
                    <a:lnTo>
                      <a:pt x="461" y="238"/>
                    </a:lnTo>
                    <a:lnTo>
                      <a:pt x="458" y="240"/>
                    </a:lnTo>
                    <a:lnTo>
                      <a:pt x="454" y="240"/>
                    </a:lnTo>
                    <a:lnTo>
                      <a:pt x="454" y="240"/>
                    </a:lnTo>
                    <a:lnTo>
                      <a:pt x="450" y="240"/>
                    </a:lnTo>
                    <a:lnTo>
                      <a:pt x="450" y="240"/>
                    </a:lnTo>
                    <a:lnTo>
                      <a:pt x="450" y="240"/>
                    </a:lnTo>
                    <a:lnTo>
                      <a:pt x="450" y="240"/>
                    </a:lnTo>
                    <a:lnTo>
                      <a:pt x="446" y="242"/>
                    </a:lnTo>
                    <a:lnTo>
                      <a:pt x="446" y="242"/>
                    </a:lnTo>
                    <a:lnTo>
                      <a:pt x="441" y="246"/>
                    </a:lnTo>
                    <a:lnTo>
                      <a:pt x="437" y="247"/>
                    </a:lnTo>
                    <a:lnTo>
                      <a:pt x="433" y="247"/>
                    </a:lnTo>
                    <a:lnTo>
                      <a:pt x="431" y="247"/>
                    </a:lnTo>
                    <a:lnTo>
                      <a:pt x="431" y="247"/>
                    </a:lnTo>
                    <a:lnTo>
                      <a:pt x="432" y="246"/>
                    </a:lnTo>
                    <a:lnTo>
                      <a:pt x="425" y="250"/>
                    </a:lnTo>
                    <a:lnTo>
                      <a:pt x="425" y="250"/>
                    </a:lnTo>
                    <a:lnTo>
                      <a:pt x="423" y="248"/>
                    </a:lnTo>
                    <a:lnTo>
                      <a:pt x="420" y="246"/>
                    </a:lnTo>
                    <a:lnTo>
                      <a:pt x="420" y="246"/>
                    </a:lnTo>
                    <a:lnTo>
                      <a:pt x="421" y="247"/>
                    </a:lnTo>
                    <a:lnTo>
                      <a:pt x="424" y="247"/>
                    </a:lnTo>
                    <a:lnTo>
                      <a:pt x="419" y="242"/>
                    </a:lnTo>
                    <a:lnTo>
                      <a:pt x="419" y="239"/>
                    </a:lnTo>
                    <a:lnTo>
                      <a:pt x="419" y="238"/>
                    </a:lnTo>
                    <a:lnTo>
                      <a:pt x="419" y="238"/>
                    </a:lnTo>
                    <a:lnTo>
                      <a:pt x="419" y="234"/>
                    </a:lnTo>
                    <a:lnTo>
                      <a:pt x="417" y="233"/>
                    </a:lnTo>
                    <a:lnTo>
                      <a:pt x="417" y="233"/>
                    </a:lnTo>
                    <a:lnTo>
                      <a:pt x="417" y="231"/>
                    </a:lnTo>
                    <a:lnTo>
                      <a:pt x="413" y="233"/>
                    </a:lnTo>
                    <a:lnTo>
                      <a:pt x="413" y="233"/>
                    </a:lnTo>
                    <a:lnTo>
                      <a:pt x="412" y="233"/>
                    </a:lnTo>
                    <a:lnTo>
                      <a:pt x="412" y="233"/>
                    </a:lnTo>
                    <a:lnTo>
                      <a:pt x="415" y="231"/>
                    </a:lnTo>
                    <a:lnTo>
                      <a:pt x="416" y="229"/>
                    </a:lnTo>
                    <a:lnTo>
                      <a:pt x="411" y="234"/>
                    </a:lnTo>
                    <a:lnTo>
                      <a:pt x="409" y="234"/>
                    </a:lnTo>
                    <a:lnTo>
                      <a:pt x="404" y="231"/>
                    </a:lnTo>
                    <a:lnTo>
                      <a:pt x="404" y="231"/>
                    </a:lnTo>
                    <a:lnTo>
                      <a:pt x="404" y="231"/>
                    </a:lnTo>
                    <a:lnTo>
                      <a:pt x="404" y="231"/>
                    </a:lnTo>
                    <a:lnTo>
                      <a:pt x="402" y="233"/>
                    </a:lnTo>
                    <a:lnTo>
                      <a:pt x="398" y="234"/>
                    </a:lnTo>
                    <a:lnTo>
                      <a:pt x="398" y="234"/>
                    </a:lnTo>
                    <a:lnTo>
                      <a:pt x="396" y="234"/>
                    </a:lnTo>
                    <a:lnTo>
                      <a:pt x="396" y="234"/>
                    </a:lnTo>
                    <a:lnTo>
                      <a:pt x="395" y="237"/>
                    </a:lnTo>
                    <a:lnTo>
                      <a:pt x="392" y="239"/>
                    </a:lnTo>
                    <a:lnTo>
                      <a:pt x="390" y="239"/>
                    </a:lnTo>
                    <a:lnTo>
                      <a:pt x="390" y="239"/>
                    </a:lnTo>
                    <a:lnTo>
                      <a:pt x="390" y="240"/>
                    </a:lnTo>
                    <a:lnTo>
                      <a:pt x="390" y="240"/>
                    </a:lnTo>
                    <a:lnTo>
                      <a:pt x="387" y="242"/>
                    </a:lnTo>
                    <a:lnTo>
                      <a:pt x="384" y="242"/>
                    </a:lnTo>
                    <a:lnTo>
                      <a:pt x="384" y="242"/>
                    </a:lnTo>
                    <a:lnTo>
                      <a:pt x="383" y="244"/>
                    </a:lnTo>
                    <a:lnTo>
                      <a:pt x="383" y="244"/>
                    </a:lnTo>
                    <a:lnTo>
                      <a:pt x="379" y="248"/>
                    </a:lnTo>
                    <a:lnTo>
                      <a:pt x="375" y="250"/>
                    </a:lnTo>
                    <a:lnTo>
                      <a:pt x="371" y="250"/>
                    </a:lnTo>
                    <a:lnTo>
                      <a:pt x="371" y="250"/>
                    </a:lnTo>
                    <a:lnTo>
                      <a:pt x="370" y="250"/>
                    </a:lnTo>
                    <a:lnTo>
                      <a:pt x="362" y="250"/>
                    </a:lnTo>
                    <a:lnTo>
                      <a:pt x="362" y="250"/>
                    </a:lnTo>
                    <a:lnTo>
                      <a:pt x="362" y="252"/>
                    </a:lnTo>
                    <a:lnTo>
                      <a:pt x="362" y="252"/>
                    </a:lnTo>
                    <a:lnTo>
                      <a:pt x="359" y="258"/>
                    </a:lnTo>
                    <a:lnTo>
                      <a:pt x="359" y="258"/>
                    </a:lnTo>
                    <a:lnTo>
                      <a:pt x="357" y="259"/>
                    </a:lnTo>
                    <a:lnTo>
                      <a:pt x="357" y="262"/>
                    </a:lnTo>
                    <a:lnTo>
                      <a:pt x="353" y="268"/>
                    </a:lnTo>
                    <a:lnTo>
                      <a:pt x="353" y="268"/>
                    </a:lnTo>
                    <a:lnTo>
                      <a:pt x="350" y="270"/>
                    </a:lnTo>
                    <a:lnTo>
                      <a:pt x="350" y="270"/>
                    </a:lnTo>
                    <a:lnTo>
                      <a:pt x="347" y="270"/>
                    </a:lnTo>
                    <a:lnTo>
                      <a:pt x="347" y="270"/>
                    </a:lnTo>
                    <a:lnTo>
                      <a:pt x="346" y="270"/>
                    </a:lnTo>
                    <a:lnTo>
                      <a:pt x="346" y="270"/>
                    </a:lnTo>
                    <a:lnTo>
                      <a:pt x="347" y="268"/>
                    </a:lnTo>
                    <a:lnTo>
                      <a:pt x="349" y="267"/>
                    </a:lnTo>
                    <a:lnTo>
                      <a:pt x="349" y="267"/>
                    </a:lnTo>
                    <a:lnTo>
                      <a:pt x="350" y="264"/>
                    </a:lnTo>
                    <a:lnTo>
                      <a:pt x="343" y="271"/>
                    </a:lnTo>
                    <a:lnTo>
                      <a:pt x="343" y="271"/>
                    </a:lnTo>
                    <a:lnTo>
                      <a:pt x="343" y="271"/>
                    </a:lnTo>
                    <a:lnTo>
                      <a:pt x="343" y="271"/>
                    </a:lnTo>
                    <a:lnTo>
                      <a:pt x="342" y="271"/>
                    </a:lnTo>
                    <a:lnTo>
                      <a:pt x="342" y="271"/>
                    </a:lnTo>
                    <a:lnTo>
                      <a:pt x="339" y="271"/>
                    </a:lnTo>
                    <a:lnTo>
                      <a:pt x="337" y="272"/>
                    </a:lnTo>
                    <a:lnTo>
                      <a:pt x="337" y="272"/>
                    </a:lnTo>
                    <a:lnTo>
                      <a:pt x="334" y="272"/>
                    </a:lnTo>
                    <a:lnTo>
                      <a:pt x="330" y="264"/>
                    </a:lnTo>
                    <a:lnTo>
                      <a:pt x="330" y="264"/>
                    </a:lnTo>
                    <a:lnTo>
                      <a:pt x="330" y="266"/>
                    </a:lnTo>
                    <a:lnTo>
                      <a:pt x="330" y="268"/>
                    </a:lnTo>
                    <a:lnTo>
                      <a:pt x="330" y="268"/>
                    </a:lnTo>
                    <a:lnTo>
                      <a:pt x="331" y="268"/>
                    </a:lnTo>
                    <a:lnTo>
                      <a:pt x="331" y="268"/>
                    </a:lnTo>
                    <a:lnTo>
                      <a:pt x="331" y="268"/>
                    </a:lnTo>
                    <a:lnTo>
                      <a:pt x="331" y="268"/>
                    </a:lnTo>
                    <a:lnTo>
                      <a:pt x="331" y="270"/>
                    </a:lnTo>
                    <a:lnTo>
                      <a:pt x="331" y="270"/>
                    </a:lnTo>
                    <a:lnTo>
                      <a:pt x="331" y="270"/>
                    </a:lnTo>
                    <a:lnTo>
                      <a:pt x="331" y="270"/>
                    </a:lnTo>
                    <a:lnTo>
                      <a:pt x="331" y="270"/>
                    </a:lnTo>
                    <a:lnTo>
                      <a:pt x="330" y="271"/>
                    </a:lnTo>
                    <a:lnTo>
                      <a:pt x="330" y="271"/>
                    </a:lnTo>
                    <a:lnTo>
                      <a:pt x="327" y="275"/>
                    </a:lnTo>
                    <a:lnTo>
                      <a:pt x="326" y="275"/>
                    </a:lnTo>
                    <a:lnTo>
                      <a:pt x="326" y="275"/>
                    </a:lnTo>
                    <a:lnTo>
                      <a:pt x="324" y="277"/>
                    </a:lnTo>
                    <a:lnTo>
                      <a:pt x="320" y="277"/>
                    </a:lnTo>
                    <a:lnTo>
                      <a:pt x="320" y="277"/>
                    </a:lnTo>
                    <a:lnTo>
                      <a:pt x="320" y="280"/>
                    </a:lnTo>
                    <a:lnTo>
                      <a:pt x="320" y="280"/>
                    </a:lnTo>
                    <a:lnTo>
                      <a:pt x="320" y="283"/>
                    </a:lnTo>
                    <a:lnTo>
                      <a:pt x="320" y="283"/>
                    </a:lnTo>
                    <a:lnTo>
                      <a:pt x="320" y="281"/>
                    </a:lnTo>
                    <a:lnTo>
                      <a:pt x="318" y="280"/>
                    </a:lnTo>
                    <a:lnTo>
                      <a:pt x="321" y="287"/>
                    </a:lnTo>
                    <a:lnTo>
                      <a:pt x="321" y="287"/>
                    </a:lnTo>
                    <a:lnTo>
                      <a:pt x="321" y="288"/>
                    </a:lnTo>
                    <a:lnTo>
                      <a:pt x="321" y="288"/>
                    </a:lnTo>
                    <a:lnTo>
                      <a:pt x="320" y="285"/>
                    </a:lnTo>
                    <a:lnTo>
                      <a:pt x="317" y="284"/>
                    </a:lnTo>
                    <a:lnTo>
                      <a:pt x="322" y="291"/>
                    </a:lnTo>
                    <a:lnTo>
                      <a:pt x="322" y="291"/>
                    </a:lnTo>
                    <a:lnTo>
                      <a:pt x="324" y="296"/>
                    </a:lnTo>
                    <a:lnTo>
                      <a:pt x="324" y="296"/>
                    </a:lnTo>
                    <a:lnTo>
                      <a:pt x="325" y="300"/>
                    </a:lnTo>
                    <a:lnTo>
                      <a:pt x="325" y="305"/>
                    </a:lnTo>
                    <a:lnTo>
                      <a:pt x="325" y="305"/>
                    </a:lnTo>
                    <a:lnTo>
                      <a:pt x="325" y="317"/>
                    </a:lnTo>
                    <a:lnTo>
                      <a:pt x="325" y="317"/>
                    </a:lnTo>
                    <a:lnTo>
                      <a:pt x="325" y="328"/>
                    </a:lnTo>
                    <a:lnTo>
                      <a:pt x="326" y="334"/>
                    </a:lnTo>
                    <a:lnTo>
                      <a:pt x="326" y="337"/>
                    </a:lnTo>
                    <a:lnTo>
                      <a:pt x="326" y="345"/>
                    </a:lnTo>
                    <a:lnTo>
                      <a:pt x="320" y="350"/>
                    </a:lnTo>
                    <a:lnTo>
                      <a:pt x="318" y="350"/>
                    </a:lnTo>
                    <a:lnTo>
                      <a:pt x="317" y="348"/>
                    </a:lnTo>
                    <a:lnTo>
                      <a:pt x="317" y="348"/>
                    </a:lnTo>
                    <a:lnTo>
                      <a:pt x="318" y="346"/>
                    </a:lnTo>
                    <a:lnTo>
                      <a:pt x="318" y="346"/>
                    </a:lnTo>
                    <a:lnTo>
                      <a:pt x="318" y="345"/>
                    </a:lnTo>
                    <a:lnTo>
                      <a:pt x="318" y="342"/>
                    </a:lnTo>
                    <a:lnTo>
                      <a:pt x="317" y="348"/>
                    </a:lnTo>
                    <a:lnTo>
                      <a:pt x="313" y="342"/>
                    </a:lnTo>
                    <a:lnTo>
                      <a:pt x="313" y="342"/>
                    </a:lnTo>
                    <a:lnTo>
                      <a:pt x="313" y="345"/>
                    </a:lnTo>
                    <a:lnTo>
                      <a:pt x="314" y="346"/>
                    </a:lnTo>
                    <a:lnTo>
                      <a:pt x="314" y="346"/>
                    </a:lnTo>
                    <a:lnTo>
                      <a:pt x="316" y="349"/>
                    </a:lnTo>
                    <a:lnTo>
                      <a:pt x="316" y="349"/>
                    </a:lnTo>
                    <a:lnTo>
                      <a:pt x="317" y="348"/>
                    </a:lnTo>
                    <a:lnTo>
                      <a:pt x="317" y="349"/>
                    </a:lnTo>
                    <a:lnTo>
                      <a:pt x="317" y="349"/>
                    </a:lnTo>
                    <a:lnTo>
                      <a:pt x="313" y="352"/>
                    </a:lnTo>
                    <a:lnTo>
                      <a:pt x="308" y="352"/>
                    </a:lnTo>
                    <a:lnTo>
                      <a:pt x="308" y="352"/>
                    </a:lnTo>
                    <a:lnTo>
                      <a:pt x="301" y="346"/>
                    </a:lnTo>
                    <a:lnTo>
                      <a:pt x="301" y="344"/>
                    </a:lnTo>
                    <a:lnTo>
                      <a:pt x="301" y="344"/>
                    </a:lnTo>
                    <a:lnTo>
                      <a:pt x="301" y="344"/>
                    </a:lnTo>
                    <a:lnTo>
                      <a:pt x="301" y="344"/>
                    </a:lnTo>
                    <a:lnTo>
                      <a:pt x="298" y="342"/>
                    </a:lnTo>
                    <a:lnTo>
                      <a:pt x="298" y="342"/>
                    </a:lnTo>
                    <a:lnTo>
                      <a:pt x="298" y="342"/>
                    </a:lnTo>
                    <a:lnTo>
                      <a:pt x="298" y="342"/>
                    </a:lnTo>
                    <a:lnTo>
                      <a:pt x="298" y="342"/>
                    </a:lnTo>
                    <a:lnTo>
                      <a:pt x="298" y="342"/>
                    </a:lnTo>
                    <a:lnTo>
                      <a:pt x="298" y="342"/>
                    </a:lnTo>
                    <a:lnTo>
                      <a:pt x="298" y="342"/>
                    </a:lnTo>
                    <a:lnTo>
                      <a:pt x="296" y="345"/>
                    </a:lnTo>
                    <a:lnTo>
                      <a:pt x="296" y="345"/>
                    </a:lnTo>
                    <a:lnTo>
                      <a:pt x="292" y="350"/>
                    </a:lnTo>
                    <a:lnTo>
                      <a:pt x="288" y="357"/>
                    </a:lnTo>
                    <a:lnTo>
                      <a:pt x="285" y="362"/>
                    </a:lnTo>
                    <a:lnTo>
                      <a:pt x="284" y="369"/>
                    </a:lnTo>
                    <a:lnTo>
                      <a:pt x="284" y="370"/>
                    </a:lnTo>
                    <a:lnTo>
                      <a:pt x="284" y="374"/>
                    </a:lnTo>
                    <a:lnTo>
                      <a:pt x="279" y="379"/>
                    </a:lnTo>
                    <a:lnTo>
                      <a:pt x="279" y="379"/>
                    </a:lnTo>
                    <a:lnTo>
                      <a:pt x="277" y="379"/>
                    </a:lnTo>
                    <a:lnTo>
                      <a:pt x="277" y="379"/>
                    </a:lnTo>
                    <a:lnTo>
                      <a:pt x="279" y="379"/>
                    </a:lnTo>
                    <a:lnTo>
                      <a:pt x="275" y="381"/>
                    </a:lnTo>
                    <a:lnTo>
                      <a:pt x="275" y="381"/>
                    </a:lnTo>
                    <a:lnTo>
                      <a:pt x="275" y="381"/>
                    </a:lnTo>
                    <a:lnTo>
                      <a:pt x="275" y="382"/>
                    </a:lnTo>
                    <a:lnTo>
                      <a:pt x="275" y="382"/>
                    </a:lnTo>
                    <a:lnTo>
                      <a:pt x="275" y="382"/>
                    </a:lnTo>
                    <a:lnTo>
                      <a:pt x="276" y="383"/>
                    </a:lnTo>
                    <a:lnTo>
                      <a:pt x="276" y="383"/>
                    </a:lnTo>
                    <a:lnTo>
                      <a:pt x="279" y="387"/>
                    </a:lnTo>
                    <a:lnTo>
                      <a:pt x="280" y="391"/>
                    </a:lnTo>
                    <a:lnTo>
                      <a:pt x="280" y="395"/>
                    </a:lnTo>
                    <a:lnTo>
                      <a:pt x="273" y="400"/>
                    </a:lnTo>
                    <a:lnTo>
                      <a:pt x="273" y="400"/>
                    </a:lnTo>
                    <a:lnTo>
                      <a:pt x="273" y="400"/>
                    </a:lnTo>
                    <a:lnTo>
                      <a:pt x="273" y="410"/>
                    </a:lnTo>
                    <a:lnTo>
                      <a:pt x="263" y="414"/>
                    </a:lnTo>
                    <a:lnTo>
                      <a:pt x="263" y="414"/>
                    </a:lnTo>
                    <a:lnTo>
                      <a:pt x="263" y="414"/>
                    </a:lnTo>
                    <a:lnTo>
                      <a:pt x="263" y="414"/>
                    </a:lnTo>
                    <a:lnTo>
                      <a:pt x="261" y="414"/>
                    </a:lnTo>
                    <a:lnTo>
                      <a:pt x="261" y="414"/>
                    </a:lnTo>
                    <a:lnTo>
                      <a:pt x="257" y="414"/>
                    </a:lnTo>
                    <a:lnTo>
                      <a:pt x="257" y="414"/>
                    </a:lnTo>
                    <a:lnTo>
                      <a:pt x="257" y="414"/>
                    </a:lnTo>
                    <a:lnTo>
                      <a:pt x="259" y="415"/>
                    </a:lnTo>
                    <a:lnTo>
                      <a:pt x="259" y="416"/>
                    </a:lnTo>
                    <a:lnTo>
                      <a:pt x="259" y="416"/>
                    </a:lnTo>
                    <a:lnTo>
                      <a:pt x="259" y="419"/>
                    </a:lnTo>
                    <a:lnTo>
                      <a:pt x="259" y="419"/>
                    </a:lnTo>
                    <a:lnTo>
                      <a:pt x="259" y="419"/>
                    </a:lnTo>
                    <a:lnTo>
                      <a:pt x="259" y="419"/>
                    </a:lnTo>
                    <a:lnTo>
                      <a:pt x="257" y="418"/>
                    </a:lnTo>
                    <a:lnTo>
                      <a:pt x="255" y="416"/>
                    </a:lnTo>
                    <a:lnTo>
                      <a:pt x="260" y="422"/>
                    </a:lnTo>
                    <a:lnTo>
                      <a:pt x="260" y="422"/>
                    </a:lnTo>
                    <a:lnTo>
                      <a:pt x="260" y="422"/>
                    </a:lnTo>
                    <a:lnTo>
                      <a:pt x="260" y="422"/>
                    </a:lnTo>
                    <a:lnTo>
                      <a:pt x="260" y="422"/>
                    </a:lnTo>
                    <a:lnTo>
                      <a:pt x="260" y="423"/>
                    </a:lnTo>
                    <a:lnTo>
                      <a:pt x="260" y="423"/>
                    </a:lnTo>
                    <a:lnTo>
                      <a:pt x="260" y="427"/>
                    </a:lnTo>
                    <a:lnTo>
                      <a:pt x="260" y="427"/>
                    </a:lnTo>
                    <a:lnTo>
                      <a:pt x="260" y="428"/>
                    </a:lnTo>
                    <a:lnTo>
                      <a:pt x="260" y="428"/>
                    </a:lnTo>
                    <a:lnTo>
                      <a:pt x="259" y="426"/>
                    </a:lnTo>
                    <a:lnTo>
                      <a:pt x="256" y="424"/>
                    </a:lnTo>
                    <a:lnTo>
                      <a:pt x="261" y="431"/>
                    </a:lnTo>
                    <a:lnTo>
                      <a:pt x="261" y="433"/>
                    </a:lnTo>
                    <a:lnTo>
                      <a:pt x="256" y="439"/>
                    </a:lnTo>
                    <a:lnTo>
                      <a:pt x="255" y="439"/>
                    </a:lnTo>
                    <a:lnTo>
                      <a:pt x="255" y="439"/>
                    </a:lnTo>
                    <a:lnTo>
                      <a:pt x="253" y="440"/>
                    </a:lnTo>
                    <a:lnTo>
                      <a:pt x="253" y="440"/>
                    </a:lnTo>
                    <a:lnTo>
                      <a:pt x="251" y="441"/>
                    </a:lnTo>
                    <a:lnTo>
                      <a:pt x="246" y="443"/>
                    </a:lnTo>
                    <a:lnTo>
                      <a:pt x="246" y="443"/>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1" name="Freeform 28">
                <a:extLst>
                  <a:ext uri="{FF2B5EF4-FFF2-40B4-BE49-F238E27FC236}">
                    <a16:creationId xmlns:a16="http://schemas.microsoft.com/office/drawing/2014/main" xmlns="" id="{8AA95FA8-9BE0-4556-B99C-BCB7199BB060}"/>
                  </a:ext>
                </a:extLst>
              </p:cNvPr>
              <p:cNvSpPr>
                <a:spLocks noEditPoints="1"/>
              </p:cNvSpPr>
              <p:nvPr/>
            </p:nvSpPr>
            <p:spPr bwMode="auto">
              <a:xfrm>
                <a:off x="5452984" y="2913229"/>
                <a:ext cx="1276208" cy="1196119"/>
              </a:xfrm>
              <a:custGeom>
                <a:avLst/>
                <a:gdLst>
                  <a:gd name="T0" fmla="*/ 35 w 733"/>
                  <a:gd name="T1" fmla="*/ 670 h 687"/>
                  <a:gd name="T2" fmla="*/ 55 w 733"/>
                  <a:gd name="T3" fmla="*/ 642 h 687"/>
                  <a:gd name="T4" fmla="*/ 27 w 733"/>
                  <a:gd name="T5" fmla="*/ 625 h 687"/>
                  <a:gd name="T6" fmla="*/ 22 w 733"/>
                  <a:gd name="T7" fmla="*/ 575 h 687"/>
                  <a:gd name="T8" fmla="*/ 33 w 733"/>
                  <a:gd name="T9" fmla="*/ 534 h 687"/>
                  <a:gd name="T10" fmla="*/ 12 w 733"/>
                  <a:gd name="T11" fmla="*/ 513 h 687"/>
                  <a:gd name="T12" fmla="*/ 27 w 733"/>
                  <a:gd name="T13" fmla="*/ 458 h 687"/>
                  <a:gd name="T14" fmla="*/ 68 w 733"/>
                  <a:gd name="T15" fmla="*/ 462 h 687"/>
                  <a:gd name="T16" fmla="*/ 90 w 733"/>
                  <a:gd name="T17" fmla="*/ 452 h 687"/>
                  <a:gd name="T18" fmla="*/ 84 w 733"/>
                  <a:gd name="T19" fmla="*/ 396 h 687"/>
                  <a:gd name="T20" fmla="*/ 74 w 733"/>
                  <a:gd name="T21" fmla="*/ 387 h 687"/>
                  <a:gd name="T22" fmla="*/ 59 w 733"/>
                  <a:gd name="T23" fmla="*/ 342 h 687"/>
                  <a:gd name="T24" fmla="*/ 88 w 733"/>
                  <a:gd name="T25" fmla="*/ 325 h 687"/>
                  <a:gd name="T26" fmla="*/ 113 w 733"/>
                  <a:gd name="T27" fmla="*/ 330 h 687"/>
                  <a:gd name="T28" fmla="*/ 135 w 733"/>
                  <a:gd name="T29" fmla="*/ 314 h 687"/>
                  <a:gd name="T30" fmla="*/ 179 w 733"/>
                  <a:gd name="T31" fmla="*/ 331 h 687"/>
                  <a:gd name="T32" fmla="*/ 205 w 733"/>
                  <a:gd name="T33" fmla="*/ 308 h 687"/>
                  <a:gd name="T34" fmla="*/ 216 w 733"/>
                  <a:gd name="T35" fmla="*/ 267 h 687"/>
                  <a:gd name="T36" fmla="*/ 245 w 733"/>
                  <a:gd name="T37" fmla="*/ 242 h 687"/>
                  <a:gd name="T38" fmla="*/ 253 w 733"/>
                  <a:gd name="T39" fmla="*/ 183 h 687"/>
                  <a:gd name="T40" fmla="*/ 271 w 733"/>
                  <a:gd name="T41" fmla="*/ 162 h 687"/>
                  <a:gd name="T42" fmla="*/ 286 w 733"/>
                  <a:gd name="T43" fmla="*/ 157 h 687"/>
                  <a:gd name="T44" fmla="*/ 320 w 733"/>
                  <a:gd name="T45" fmla="*/ 131 h 687"/>
                  <a:gd name="T46" fmla="*/ 359 w 733"/>
                  <a:gd name="T47" fmla="*/ 133 h 687"/>
                  <a:gd name="T48" fmla="*/ 392 w 733"/>
                  <a:gd name="T49" fmla="*/ 131 h 687"/>
                  <a:gd name="T50" fmla="*/ 426 w 733"/>
                  <a:gd name="T51" fmla="*/ 148 h 687"/>
                  <a:gd name="T52" fmla="*/ 466 w 733"/>
                  <a:gd name="T53" fmla="*/ 154 h 687"/>
                  <a:gd name="T54" fmla="*/ 472 w 733"/>
                  <a:gd name="T55" fmla="*/ 142 h 687"/>
                  <a:gd name="T56" fmla="*/ 511 w 733"/>
                  <a:gd name="T57" fmla="*/ 112 h 687"/>
                  <a:gd name="T58" fmla="*/ 529 w 733"/>
                  <a:gd name="T59" fmla="*/ 70 h 687"/>
                  <a:gd name="T60" fmla="*/ 542 w 733"/>
                  <a:gd name="T61" fmla="*/ 27 h 687"/>
                  <a:gd name="T62" fmla="*/ 561 w 733"/>
                  <a:gd name="T63" fmla="*/ 6 h 687"/>
                  <a:gd name="T64" fmla="*/ 578 w 733"/>
                  <a:gd name="T65" fmla="*/ 35 h 687"/>
                  <a:gd name="T66" fmla="*/ 590 w 733"/>
                  <a:gd name="T67" fmla="*/ 35 h 687"/>
                  <a:gd name="T68" fmla="*/ 607 w 733"/>
                  <a:gd name="T69" fmla="*/ 47 h 687"/>
                  <a:gd name="T70" fmla="*/ 636 w 733"/>
                  <a:gd name="T71" fmla="*/ 67 h 687"/>
                  <a:gd name="T72" fmla="*/ 691 w 733"/>
                  <a:gd name="T73" fmla="*/ 136 h 687"/>
                  <a:gd name="T74" fmla="*/ 720 w 733"/>
                  <a:gd name="T75" fmla="*/ 144 h 687"/>
                  <a:gd name="T76" fmla="*/ 709 w 733"/>
                  <a:gd name="T77" fmla="*/ 178 h 687"/>
                  <a:gd name="T78" fmla="*/ 713 w 733"/>
                  <a:gd name="T79" fmla="*/ 205 h 687"/>
                  <a:gd name="T80" fmla="*/ 705 w 733"/>
                  <a:gd name="T81" fmla="*/ 247 h 687"/>
                  <a:gd name="T82" fmla="*/ 698 w 733"/>
                  <a:gd name="T83" fmla="*/ 257 h 687"/>
                  <a:gd name="T84" fmla="*/ 691 w 733"/>
                  <a:gd name="T85" fmla="*/ 309 h 687"/>
                  <a:gd name="T86" fmla="*/ 685 w 733"/>
                  <a:gd name="T87" fmla="*/ 339 h 687"/>
                  <a:gd name="T88" fmla="*/ 643 w 733"/>
                  <a:gd name="T89" fmla="*/ 359 h 687"/>
                  <a:gd name="T90" fmla="*/ 607 w 733"/>
                  <a:gd name="T91" fmla="*/ 391 h 687"/>
                  <a:gd name="T92" fmla="*/ 569 w 733"/>
                  <a:gd name="T93" fmla="*/ 421 h 687"/>
                  <a:gd name="T94" fmla="*/ 525 w 733"/>
                  <a:gd name="T95" fmla="*/ 428 h 687"/>
                  <a:gd name="T96" fmla="*/ 503 w 733"/>
                  <a:gd name="T97" fmla="*/ 470 h 687"/>
                  <a:gd name="T98" fmla="*/ 483 w 733"/>
                  <a:gd name="T99" fmla="*/ 466 h 687"/>
                  <a:gd name="T100" fmla="*/ 462 w 733"/>
                  <a:gd name="T101" fmla="*/ 457 h 687"/>
                  <a:gd name="T102" fmla="*/ 437 w 733"/>
                  <a:gd name="T103" fmla="*/ 428 h 687"/>
                  <a:gd name="T104" fmla="*/ 394 w 733"/>
                  <a:gd name="T105" fmla="*/ 433 h 687"/>
                  <a:gd name="T106" fmla="*/ 360 w 733"/>
                  <a:gd name="T107" fmla="*/ 456 h 687"/>
                  <a:gd name="T108" fmla="*/ 324 w 733"/>
                  <a:gd name="T109" fmla="*/ 462 h 687"/>
                  <a:gd name="T110" fmla="*/ 275 w 733"/>
                  <a:gd name="T111" fmla="*/ 501 h 687"/>
                  <a:gd name="T112" fmla="*/ 258 w 733"/>
                  <a:gd name="T113" fmla="*/ 505 h 687"/>
                  <a:gd name="T114" fmla="*/ 220 w 733"/>
                  <a:gd name="T115" fmla="*/ 519 h 687"/>
                  <a:gd name="T116" fmla="*/ 189 w 733"/>
                  <a:gd name="T117" fmla="*/ 572 h 687"/>
                  <a:gd name="T118" fmla="*/ 162 w 733"/>
                  <a:gd name="T119" fmla="*/ 612 h 687"/>
                  <a:gd name="T120" fmla="*/ 121 w 733"/>
                  <a:gd name="T121" fmla="*/ 666 h 687"/>
                  <a:gd name="T122" fmla="*/ 88 w 733"/>
                  <a:gd name="T123" fmla="*/ 472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3" h="687">
                    <a:moveTo>
                      <a:pt x="82" y="687"/>
                    </a:moveTo>
                    <a:lnTo>
                      <a:pt x="82" y="687"/>
                    </a:lnTo>
                    <a:lnTo>
                      <a:pt x="81" y="687"/>
                    </a:lnTo>
                    <a:lnTo>
                      <a:pt x="80" y="687"/>
                    </a:lnTo>
                    <a:lnTo>
                      <a:pt x="80" y="687"/>
                    </a:lnTo>
                    <a:lnTo>
                      <a:pt x="73" y="687"/>
                    </a:lnTo>
                    <a:lnTo>
                      <a:pt x="69" y="686"/>
                    </a:lnTo>
                    <a:lnTo>
                      <a:pt x="69" y="686"/>
                    </a:lnTo>
                    <a:lnTo>
                      <a:pt x="64" y="684"/>
                    </a:lnTo>
                    <a:lnTo>
                      <a:pt x="59" y="683"/>
                    </a:lnTo>
                    <a:lnTo>
                      <a:pt x="59" y="683"/>
                    </a:lnTo>
                    <a:lnTo>
                      <a:pt x="52" y="677"/>
                    </a:lnTo>
                    <a:lnTo>
                      <a:pt x="52" y="677"/>
                    </a:lnTo>
                    <a:lnTo>
                      <a:pt x="52" y="677"/>
                    </a:lnTo>
                    <a:lnTo>
                      <a:pt x="51" y="675"/>
                    </a:lnTo>
                    <a:lnTo>
                      <a:pt x="51" y="677"/>
                    </a:lnTo>
                    <a:lnTo>
                      <a:pt x="48" y="677"/>
                    </a:lnTo>
                    <a:lnTo>
                      <a:pt x="48" y="677"/>
                    </a:lnTo>
                    <a:lnTo>
                      <a:pt x="45" y="677"/>
                    </a:lnTo>
                    <a:lnTo>
                      <a:pt x="45" y="677"/>
                    </a:lnTo>
                    <a:lnTo>
                      <a:pt x="43" y="675"/>
                    </a:lnTo>
                    <a:lnTo>
                      <a:pt x="40" y="675"/>
                    </a:lnTo>
                    <a:lnTo>
                      <a:pt x="37" y="673"/>
                    </a:lnTo>
                    <a:lnTo>
                      <a:pt x="37" y="673"/>
                    </a:lnTo>
                    <a:lnTo>
                      <a:pt x="36" y="671"/>
                    </a:lnTo>
                    <a:lnTo>
                      <a:pt x="35" y="670"/>
                    </a:lnTo>
                    <a:lnTo>
                      <a:pt x="35" y="670"/>
                    </a:lnTo>
                    <a:lnTo>
                      <a:pt x="32" y="667"/>
                    </a:lnTo>
                    <a:lnTo>
                      <a:pt x="32" y="662"/>
                    </a:lnTo>
                    <a:lnTo>
                      <a:pt x="32" y="661"/>
                    </a:lnTo>
                    <a:lnTo>
                      <a:pt x="32" y="661"/>
                    </a:lnTo>
                    <a:lnTo>
                      <a:pt x="33" y="658"/>
                    </a:lnTo>
                    <a:lnTo>
                      <a:pt x="36" y="655"/>
                    </a:lnTo>
                    <a:lnTo>
                      <a:pt x="36" y="655"/>
                    </a:lnTo>
                    <a:lnTo>
                      <a:pt x="33" y="654"/>
                    </a:lnTo>
                    <a:lnTo>
                      <a:pt x="31" y="651"/>
                    </a:lnTo>
                    <a:lnTo>
                      <a:pt x="31" y="649"/>
                    </a:lnTo>
                    <a:lnTo>
                      <a:pt x="31" y="649"/>
                    </a:lnTo>
                    <a:lnTo>
                      <a:pt x="32" y="643"/>
                    </a:lnTo>
                    <a:lnTo>
                      <a:pt x="35" y="640"/>
                    </a:lnTo>
                    <a:lnTo>
                      <a:pt x="37" y="637"/>
                    </a:lnTo>
                    <a:lnTo>
                      <a:pt x="43" y="637"/>
                    </a:lnTo>
                    <a:lnTo>
                      <a:pt x="43" y="637"/>
                    </a:lnTo>
                    <a:lnTo>
                      <a:pt x="45" y="637"/>
                    </a:lnTo>
                    <a:lnTo>
                      <a:pt x="48" y="638"/>
                    </a:lnTo>
                    <a:lnTo>
                      <a:pt x="49" y="641"/>
                    </a:lnTo>
                    <a:lnTo>
                      <a:pt x="49" y="641"/>
                    </a:lnTo>
                    <a:lnTo>
                      <a:pt x="53" y="646"/>
                    </a:lnTo>
                    <a:lnTo>
                      <a:pt x="53" y="646"/>
                    </a:lnTo>
                    <a:lnTo>
                      <a:pt x="55" y="642"/>
                    </a:lnTo>
                    <a:lnTo>
                      <a:pt x="55" y="642"/>
                    </a:lnTo>
                    <a:lnTo>
                      <a:pt x="55" y="642"/>
                    </a:lnTo>
                    <a:lnTo>
                      <a:pt x="55" y="645"/>
                    </a:lnTo>
                    <a:lnTo>
                      <a:pt x="56" y="641"/>
                    </a:lnTo>
                    <a:lnTo>
                      <a:pt x="56" y="641"/>
                    </a:lnTo>
                    <a:lnTo>
                      <a:pt x="57" y="640"/>
                    </a:lnTo>
                    <a:lnTo>
                      <a:pt x="57" y="640"/>
                    </a:lnTo>
                    <a:lnTo>
                      <a:pt x="59" y="638"/>
                    </a:lnTo>
                    <a:lnTo>
                      <a:pt x="59" y="637"/>
                    </a:lnTo>
                    <a:lnTo>
                      <a:pt x="59" y="637"/>
                    </a:lnTo>
                    <a:lnTo>
                      <a:pt x="55" y="632"/>
                    </a:lnTo>
                    <a:lnTo>
                      <a:pt x="55" y="632"/>
                    </a:lnTo>
                    <a:lnTo>
                      <a:pt x="52" y="629"/>
                    </a:lnTo>
                    <a:lnTo>
                      <a:pt x="52" y="626"/>
                    </a:lnTo>
                    <a:lnTo>
                      <a:pt x="52" y="626"/>
                    </a:lnTo>
                    <a:lnTo>
                      <a:pt x="51" y="626"/>
                    </a:lnTo>
                    <a:lnTo>
                      <a:pt x="51" y="626"/>
                    </a:lnTo>
                    <a:lnTo>
                      <a:pt x="48" y="628"/>
                    </a:lnTo>
                    <a:lnTo>
                      <a:pt x="47" y="629"/>
                    </a:lnTo>
                    <a:lnTo>
                      <a:pt x="40" y="636"/>
                    </a:lnTo>
                    <a:lnTo>
                      <a:pt x="39" y="636"/>
                    </a:lnTo>
                    <a:lnTo>
                      <a:pt x="36" y="634"/>
                    </a:lnTo>
                    <a:lnTo>
                      <a:pt x="36" y="634"/>
                    </a:lnTo>
                    <a:lnTo>
                      <a:pt x="35" y="634"/>
                    </a:lnTo>
                    <a:lnTo>
                      <a:pt x="35" y="634"/>
                    </a:lnTo>
                    <a:lnTo>
                      <a:pt x="31" y="632"/>
                    </a:lnTo>
                    <a:lnTo>
                      <a:pt x="28" y="629"/>
                    </a:lnTo>
                    <a:lnTo>
                      <a:pt x="27" y="625"/>
                    </a:lnTo>
                    <a:lnTo>
                      <a:pt x="27" y="624"/>
                    </a:lnTo>
                    <a:lnTo>
                      <a:pt x="27" y="624"/>
                    </a:lnTo>
                    <a:lnTo>
                      <a:pt x="27" y="624"/>
                    </a:lnTo>
                    <a:lnTo>
                      <a:pt x="24" y="621"/>
                    </a:lnTo>
                    <a:lnTo>
                      <a:pt x="23" y="617"/>
                    </a:lnTo>
                    <a:lnTo>
                      <a:pt x="23" y="617"/>
                    </a:lnTo>
                    <a:lnTo>
                      <a:pt x="23" y="616"/>
                    </a:lnTo>
                    <a:lnTo>
                      <a:pt x="24" y="612"/>
                    </a:lnTo>
                    <a:lnTo>
                      <a:pt x="24" y="612"/>
                    </a:lnTo>
                    <a:lnTo>
                      <a:pt x="27" y="605"/>
                    </a:lnTo>
                    <a:lnTo>
                      <a:pt x="27" y="601"/>
                    </a:lnTo>
                    <a:lnTo>
                      <a:pt x="27" y="601"/>
                    </a:lnTo>
                    <a:lnTo>
                      <a:pt x="24" y="600"/>
                    </a:lnTo>
                    <a:lnTo>
                      <a:pt x="22" y="596"/>
                    </a:lnTo>
                    <a:lnTo>
                      <a:pt x="22" y="596"/>
                    </a:lnTo>
                    <a:lnTo>
                      <a:pt x="20" y="592"/>
                    </a:lnTo>
                    <a:lnTo>
                      <a:pt x="20" y="588"/>
                    </a:lnTo>
                    <a:lnTo>
                      <a:pt x="20" y="588"/>
                    </a:lnTo>
                    <a:lnTo>
                      <a:pt x="19" y="584"/>
                    </a:lnTo>
                    <a:lnTo>
                      <a:pt x="18" y="583"/>
                    </a:lnTo>
                    <a:lnTo>
                      <a:pt x="18" y="583"/>
                    </a:lnTo>
                    <a:lnTo>
                      <a:pt x="18" y="579"/>
                    </a:lnTo>
                    <a:lnTo>
                      <a:pt x="19" y="576"/>
                    </a:lnTo>
                    <a:lnTo>
                      <a:pt x="23" y="573"/>
                    </a:lnTo>
                    <a:lnTo>
                      <a:pt x="23" y="573"/>
                    </a:lnTo>
                    <a:lnTo>
                      <a:pt x="22" y="575"/>
                    </a:lnTo>
                    <a:lnTo>
                      <a:pt x="20" y="577"/>
                    </a:lnTo>
                    <a:lnTo>
                      <a:pt x="27" y="571"/>
                    </a:lnTo>
                    <a:lnTo>
                      <a:pt x="28" y="571"/>
                    </a:lnTo>
                    <a:lnTo>
                      <a:pt x="28" y="571"/>
                    </a:lnTo>
                    <a:lnTo>
                      <a:pt x="31" y="567"/>
                    </a:lnTo>
                    <a:lnTo>
                      <a:pt x="32" y="565"/>
                    </a:lnTo>
                    <a:lnTo>
                      <a:pt x="32" y="565"/>
                    </a:lnTo>
                    <a:lnTo>
                      <a:pt x="36" y="563"/>
                    </a:lnTo>
                    <a:lnTo>
                      <a:pt x="41" y="563"/>
                    </a:lnTo>
                    <a:lnTo>
                      <a:pt x="41" y="559"/>
                    </a:lnTo>
                    <a:lnTo>
                      <a:pt x="41" y="559"/>
                    </a:lnTo>
                    <a:lnTo>
                      <a:pt x="41" y="555"/>
                    </a:lnTo>
                    <a:lnTo>
                      <a:pt x="43" y="554"/>
                    </a:lnTo>
                    <a:lnTo>
                      <a:pt x="43" y="554"/>
                    </a:lnTo>
                    <a:lnTo>
                      <a:pt x="45" y="551"/>
                    </a:lnTo>
                    <a:lnTo>
                      <a:pt x="49" y="550"/>
                    </a:lnTo>
                    <a:lnTo>
                      <a:pt x="49" y="550"/>
                    </a:lnTo>
                    <a:lnTo>
                      <a:pt x="49" y="550"/>
                    </a:lnTo>
                    <a:lnTo>
                      <a:pt x="49" y="547"/>
                    </a:lnTo>
                    <a:lnTo>
                      <a:pt x="49" y="547"/>
                    </a:lnTo>
                    <a:lnTo>
                      <a:pt x="47" y="544"/>
                    </a:lnTo>
                    <a:lnTo>
                      <a:pt x="47" y="544"/>
                    </a:lnTo>
                    <a:lnTo>
                      <a:pt x="43" y="542"/>
                    </a:lnTo>
                    <a:lnTo>
                      <a:pt x="40" y="539"/>
                    </a:lnTo>
                    <a:lnTo>
                      <a:pt x="39" y="539"/>
                    </a:lnTo>
                    <a:lnTo>
                      <a:pt x="33" y="534"/>
                    </a:lnTo>
                    <a:lnTo>
                      <a:pt x="33" y="534"/>
                    </a:lnTo>
                    <a:lnTo>
                      <a:pt x="35" y="536"/>
                    </a:lnTo>
                    <a:lnTo>
                      <a:pt x="37" y="538"/>
                    </a:lnTo>
                    <a:lnTo>
                      <a:pt x="36" y="538"/>
                    </a:lnTo>
                    <a:lnTo>
                      <a:pt x="36" y="538"/>
                    </a:lnTo>
                    <a:lnTo>
                      <a:pt x="35" y="538"/>
                    </a:lnTo>
                    <a:lnTo>
                      <a:pt x="33" y="536"/>
                    </a:lnTo>
                    <a:lnTo>
                      <a:pt x="33" y="536"/>
                    </a:lnTo>
                    <a:lnTo>
                      <a:pt x="31" y="535"/>
                    </a:lnTo>
                    <a:lnTo>
                      <a:pt x="29" y="534"/>
                    </a:lnTo>
                    <a:lnTo>
                      <a:pt x="28" y="531"/>
                    </a:lnTo>
                    <a:lnTo>
                      <a:pt x="28" y="530"/>
                    </a:lnTo>
                    <a:lnTo>
                      <a:pt x="28" y="530"/>
                    </a:lnTo>
                    <a:lnTo>
                      <a:pt x="26" y="526"/>
                    </a:lnTo>
                    <a:lnTo>
                      <a:pt x="26" y="521"/>
                    </a:lnTo>
                    <a:lnTo>
                      <a:pt x="26" y="515"/>
                    </a:lnTo>
                    <a:lnTo>
                      <a:pt x="27" y="513"/>
                    </a:lnTo>
                    <a:lnTo>
                      <a:pt x="27" y="513"/>
                    </a:lnTo>
                    <a:lnTo>
                      <a:pt x="23" y="510"/>
                    </a:lnTo>
                    <a:lnTo>
                      <a:pt x="23" y="510"/>
                    </a:lnTo>
                    <a:lnTo>
                      <a:pt x="22" y="510"/>
                    </a:lnTo>
                    <a:lnTo>
                      <a:pt x="20" y="510"/>
                    </a:lnTo>
                    <a:lnTo>
                      <a:pt x="20" y="510"/>
                    </a:lnTo>
                    <a:lnTo>
                      <a:pt x="18" y="511"/>
                    </a:lnTo>
                    <a:lnTo>
                      <a:pt x="12" y="513"/>
                    </a:lnTo>
                    <a:lnTo>
                      <a:pt x="12" y="513"/>
                    </a:lnTo>
                    <a:lnTo>
                      <a:pt x="10" y="513"/>
                    </a:lnTo>
                    <a:lnTo>
                      <a:pt x="7" y="513"/>
                    </a:lnTo>
                    <a:lnTo>
                      <a:pt x="3" y="510"/>
                    </a:lnTo>
                    <a:lnTo>
                      <a:pt x="3" y="510"/>
                    </a:lnTo>
                    <a:lnTo>
                      <a:pt x="2" y="509"/>
                    </a:lnTo>
                    <a:lnTo>
                      <a:pt x="0" y="505"/>
                    </a:lnTo>
                    <a:lnTo>
                      <a:pt x="0" y="502"/>
                    </a:lnTo>
                    <a:lnTo>
                      <a:pt x="3" y="497"/>
                    </a:lnTo>
                    <a:lnTo>
                      <a:pt x="3" y="497"/>
                    </a:lnTo>
                    <a:lnTo>
                      <a:pt x="4" y="497"/>
                    </a:lnTo>
                    <a:lnTo>
                      <a:pt x="6" y="493"/>
                    </a:lnTo>
                    <a:lnTo>
                      <a:pt x="6" y="493"/>
                    </a:lnTo>
                    <a:lnTo>
                      <a:pt x="8" y="489"/>
                    </a:lnTo>
                    <a:lnTo>
                      <a:pt x="8" y="489"/>
                    </a:lnTo>
                    <a:lnTo>
                      <a:pt x="8" y="485"/>
                    </a:lnTo>
                    <a:lnTo>
                      <a:pt x="8" y="485"/>
                    </a:lnTo>
                    <a:lnTo>
                      <a:pt x="14" y="478"/>
                    </a:lnTo>
                    <a:lnTo>
                      <a:pt x="16" y="469"/>
                    </a:lnTo>
                    <a:lnTo>
                      <a:pt x="16" y="469"/>
                    </a:lnTo>
                    <a:lnTo>
                      <a:pt x="18" y="465"/>
                    </a:lnTo>
                    <a:lnTo>
                      <a:pt x="18" y="465"/>
                    </a:lnTo>
                    <a:lnTo>
                      <a:pt x="24" y="460"/>
                    </a:lnTo>
                    <a:lnTo>
                      <a:pt x="26" y="458"/>
                    </a:lnTo>
                    <a:lnTo>
                      <a:pt x="26" y="458"/>
                    </a:lnTo>
                    <a:lnTo>
                      <a:pt x="27" y="458"/>
                    </a:lnTo>
                    <a:lnTo>
                      <a:pt x="27" y="458"/>
                    </a:lnTo>
                    <a:lnTo>
                      <a:pt x="31" y="457"/>
                    </a:lnTo>
                    <a:lnTo>
                      <a:pt x="35" y="456"/>
                    </a:lnTo>
                    <a:lnTo>
                      <a:pt x="35" y="456"/>
                    </a:lnTo>
                    <a:lnTo>
                      <a:pt x="37" y="457"/>
                    </a:lnTo>
                    <a:lnTo>
                      <a:pt x="41" y="458"/>
                    </a:lnTo>
                    <a:lnTo>
                      <a:pt x="41" y="460"/>
                    </a:lnTo>
                    <a:lnTo>
                      <a:pt x="43" y="457"/>
                    </a:lnTo>
                    <a:lnTo>
                      <a:pt x="43" y="457"/>
                    </a:lnTo>
                    <a:lnTo>
                      <a:pt x="44" y="457"/>
                    </a:lnTo>
                    <a:lnTo>
                      <a:pt x="44" y="457"/>
                    </a:lnTo>
                    <a:lnTo>
                      <a:pt x="48" y="457"/>
                    </a:lnTo>
                    <a:lnTo>
                      <a:pt x="51" y="458"/>
                    </a:lnTo>
                    <a:lnTo>
                      <a:pt x="53" y="462"/>
                    </a:lnTo>
                    <a:lnTo>
                      <a:pt x="53" y="462"/>
                    </a:lnTo>
                    <a:lnTo>
                      <a:pt x="53" y="462"/>
                    </a:lnTo>
                    <a:lnTo>
                      <a:pt x="56" y="462"/>
                    </a:lnTo>
                    <a:lnTo>
                      <a:pt x="56" y="462"/>
                    </a:lnTo>
                    <a:lnTo>
                      <a:pt x="59" y="464"/>
                    </a:lnTo>
                    <a:lnTo>
                      <a:pt x="59" y="464"/>
                    </a:lnTo>
                    <a:lnTo>
                      <a:pt x="60" y="462"/>
                    </a:lnTo>
                    <a:lnTo>
                      <a:pt x="64" y="462"/>
                    </a:lnTo>
                    <a:lnTo>
                      <a:pt x="65" y="462"/>
                    </a:lnTo>
                    <a:lnTo>
                      <a:pt x="66" y="462"/>
                    </a:lnTo>
                    <a:lnTo>
                      <a:pt x="66" y="462"/>
                    </a:lnTo>
                    <a:lnTo>
                      <a:pt x="68" y="462"/>
                    </a:lnTo>
                    <a:lnTo>
                      <a:pt x="68" y="462"/>
                    </a:lnTo>
                    <a:lnTo>
                      <a:pt x="69" y="461"/>
                    </a:lnTo>
                    <a:lnTo>
                      <a:pt x="69" y="461"/>
                    </a:lnTo>
                    <a:lnTo>
                      <a:pt x="72" y="460"/>
                    </a:lnTo>
                    <a:lnTo>
                      <a:pt x="76" y="458"/>
                    </a:lnTo>
                    <a:lnTo>
                      <a:pt x="76" y="458"/>
                    </a:lnTo>
                    <a:lnTo>
                      <a:pt x="78" y="460"/>
                    </a:lnTo>
                    <a:lnTo>
                      <a:pt x="81" y="461"/>
                    </a:lnTo>
                    <a:lnTo>
                      <a:pt x="81" y="461"/>
                    </a:lnTo>
                    <a:lnTo>
                      <a:pt x="81" y="461"/>
                    </a:lnTo>
                    <a:lnTo>
                      <a:pt x="84" y="464"/>
                    </a:lnTo>
                    <a:lnTo>
                      <a:pt x="84" y="468"/>
                    </a:lnTo>
                    <a:lnTo>
                      <a:pt x="84" y="468"/>
                    </a:lnTo>
                    <a:lnTo>
                      <a:pt x="84" y="468"/>
                    </a:lnTo>
                    <a:lnTo>
                      <a:pt x="86" y="469"/>
                    </a:lnTo>
                    <a:lnTo>
                      <a:pt x="86" y="469"/>
                    </a:lnTo>
                    <a:lnTo>
                      <a:pt x="85" y="466"/>
                    </a:lnTo>
                    <a:lnTo>
                      <a:pt x="84" y="464"/>
                    </a:lnTo>
                    <a:lnTo>
                      <a:pt x="84" y="464"/>
                    </a:lnTo>
                    <a:lnTo>
                      <a:pt x="85" y="460"/>
                    </a:lnTo>
                    <a:lnTo>
                      <a:pt x="88" y="457"/>
                    </a:lnTo>
                    <a:lnTo>
                      <a:pt x="88" y="457"/>
                    </a:lnTo>
                    <a:lnTo>
                      <a:pt x="89" y="456"/>
                    </a:lnTo>
                    <a:lnTo>
                      <a:pt x="89" y="454"/>
                    </a:lnTo>
                    <a:lnTo>
                      <a:pt x="90" y="452"/>
                    </a:lnTo>
                    <a:lnTo>
                      <a:pt x="90" y="452"/>
                    </a:lnTo>
                    <a:lnTo>
                      <a:pt x="90" y="452"/>
                    </a:lnTo>
                    <a:lnTo>
                      <a:pt x="90" y="452"/>
                    </a:lnTo>
                    <a:lnTo>
                      <a:pt x="90" y="452"/>
                    </a:lnTo>
                    <a:lnTo>
                      <a:pt x="92" y="450"/>
                    </a:lnTo>
                    <a:lnTo>
                      <a:pt x="88" y="448"/>
                    </a:lnTo>
                    <a:lnTo>
                      <a:pt x="88" y="448"/>
                    </a:lnTo>
                    <a:lnTo>
                      <a:pt x="88" y="444"/>
                    </a:lnTo>
                    <a:lnTo>
                      <a:pt x="89" y="441"/>
                    </a:lnTo>
                    <a:lnTo>
                      <a:pt x="89" y="439"/>
                    </a:lnTo>
                    <a:lnTo>
                      <a:pt x="89" y="439"/>
                    </a:lnTo>
                    <a:lnTo>
                      <a:pt x="92" y="431"/>
                    </a:lnTo>
                    <a:lnTo>
                      <a:pt x="92" y="431"/>
                    </a:lnTo>
                    <a:lnTo>
                      <a:pt x="94" y="420"/>
                    </a:lnTo>
                    <a:lnTo>
                      <a:pt x="93" y="417"/>
                    </a:lnTo>
                    <a:lnTo>
                      <a:pt x="92" y="416"/>
                    </a:lnTo>
                    <a:lnTo>
                      <a:pt x="92" y="416"/>
                    </a:lnTo>
                    <a:lnTo>
                      <a:pt x="89" y="415"/>
                    </a:lnTo>
                    <a:lnTo>
                      <a:pt x="89" y="415"/>
                    </a:lnTo>
                    <a:lnTo>
                      <a:pt x="86" y="413"/>
                    </a:lnTo>
                    <a:lnTo>
                      <a:pt x="86" y="413"/>
                    </a:lnTo>
                    <a:lnTo>
                      <a:pt x="84" y="411"/>
                    </a:lnTo>
                    <a:lnTo>
                      <a:pt x="80" y="408"/>
                    </a:lnTo>
                    <a:lnTo>
                      <a:pt x="78" y="404"/>
                    </a:lnTo>
                    <a:lnTo>
                      <a:pt x="78" y="404"/>
                    </a:lnTo>
                    <a:lnTo>
                      <a:pt x="80" y="402"/>
                    </a:lnTo>
                    <a:lnTo>
                      <a:pt x="81" y="399"/>
                    </a:lnTo>
                    <a:lnTo>
                      <a:pt x="84" y="396"/>
                    </a:lnTo>
                    <a:lnTo>
                      <a:pt x="84" y="396"/>
                    </a:lnTo>
                    <a:lnTo>
                      <a:pt x="84" y="396"/>
                    </a:lnTo>
                    <a:lnTo>
                      <a:pt x="84" y="396"/>
                    </a:lnTo>
                    <a:lnTo>
                      <a:pt x="84" y="392"/>
                    </a:lnTo>
                    <a:lnTo>
                      <a:pt x="85" y="391"/>
                    </a:lnTo>
                    <a:lnTo>
                      <a:pt x="85" y="391"/>
                    </a:lnTo>
                    <a:lnTo>
                      <a:pt x="86" y="388"/>
                    </a:lnTo>
                    <a:lnTo>
                      <a:pt x="81" y="384"/>
                    </a:lnTo>
                    <a:lnTo>
                      <a:pt x="81" y="384"/>
                    </a:lnTo>
                    <a:lnTo>
                      <a:pt x="82" y="387"/>
                    </a:lnTo>
                    <a:lnTo>
                      <a:pt x="82" y="387"/>
                    </a:lnTo>
                    <a:lnTo>
                      <a:pt x="85" y="388"/>
                    </a:lnTo>
                    <a:lnTo>
                      <a:pt x="85" y="388"/>
                    </a:lnTo>
                    <a:lnTo>
                      <a:pt x="85" y="388"/>
                    </a:lnTo>
                    <a:lnTo>
                      <a:pt x="85" y="388"/>
                    </a:lnTo>
                    <a:lnTo>
                      <a:pt x="85" y="388"/>
                    </a:lnTo>
                    <a:lnTo>
                      <a:pt x="82" y="390"/>
                    </a:lnTo>
                    <a:lnTo>
                      <a:pt x="82" y="390"/>
                    </a:lnTo>
                    <a:lnTo>
                      <a:pt x="80" y="390"/>
                    </a:lnTo>
                    <a:lnTo>
                      <a:pt x="80" y="390"/>
                    </a:lnTo>
                    <a:lnTo>
                      <a:pt x="80" y="388"/>
                    </a:lnTo>
                    <a:lnTo>
                      <a:pt x="80" y="388"/>
                    </a:lnTo>
                    <a:lnTo>
                      <a:pt x="78" y="388"/>
                    </a:lnTo>
                    <a:lnTo>
                      <a:pt x="78" y="388"/>
                    </a:lnTo>
                    <a:lnTo>
                      <a:pt x="74" y="387"/>
                    </a:lnTo>
                    <a:lnTo>
                      <a:pt x="74" y="387"/>
                    </a:lnTo>
                    <a:lnTo>
                      <a:pt x="73" y="384"/>
                    </a:lnTo>
                    <a:lnTo>
                      <a:pt x="73" y="384"/>
                    </a:lnTo>
                    <a:lnTo>
                      <a:pt x="72" y="383"/>
                    </a:lnTo>
                    <a:lnTo>
                      <a:pt x="72" y="382"/>
                    </a:lnTo>
                    <a:lnTo>
                      <a:pt x="72" y="382"/>
                    </a:lnTo>
                    <a:lnTo>
                      <a:pt x="70" y="379"/>
                    </a:lnTo>
                    <a:lnTo>
                      <a:pt x="69" y="376"/>
                    </a:lnTo>
                    <a:lnTo>
                      <a:pt x="69" y="371"/>
                    </a:lnTo>
                    <a:lnTo>
                      <a:pt x="69" y="371"/>
                    </a:lnTo>
                    <a:lnTo>
                      <a:pt x="69" y="368"/>
                    </a:lnTo>
                    <a:lnTo>
                      <a:pt x="66" y="368"/>
                    </a:lnTo>
                    <a:lnTo>
                      <a:pt x="66" y="368"/>
                    </a:lnTo>
                    <a:lnTo>
                      <a:pt x="66" y="368"/>
                    </a:lnTo>
                    <a:lnTo>
                      <a:pt x="65" y="368"/>
                    </a:lnTo>
                    <a:lnTo>
                      <a:pt x="65" y="368"/>
                    </a:lnTo>
                    <a:lnTo>
                      <a:pt x="64" y="368"/>
                    </a:lnTo>
                    <a:lnTo>
                      <a:pt x="61" y="370"/>
                    </a:lnTo>
                    <a:lnTo>
                      <a:pt x="60" y="370"/>
                    </a:lnTo>
                    <a:lnTo>
                      <a:pt x="53" y="365"/>
                    </a:lnTo>
                    <a:lnTo>
                      <a:pt x="53" y="365"/>
                    </a:lnTo>
                    <a:lnTo>
                      <a:pt x="55" y="358"/>
                    </a:lnTo>
                    <a:lnTo>
                      <a:pt x="57" y="353"/>
                    </a:lnTo>
                    <a:lnTo>
                      <a:pt x="57" y="353"/>
                    </a:lnTo>
                    <a:lnTo>
                      <a:pt x="59" y="351"/>
                    </a:lnTo>
                    <a:lnTo>
                      <a:pt x="59" y="349"/>
                    </a:lnTo>
                    <a:lnTo>
                      <a:pt x="59" y="342"/>
                    </a:lnTo>
                    <a:lnTo>
                      <a:pt x="61" y="338"/>
                    </a:lnTo>
                    <a:lnTo>
                      <a:pt x="61" y="338"/>
                    </a:lnTo>
                    <a:lnTo>
                      <a:pt x="61" y="337"/>
                    </a:lnTo>
                    <a:lnTo>
                      <a:pt x="65" y="334"/>
                    </a:lnTo>
                    <a:lnTo>
                      <a:pt x="65" y="334"/>
                    </a:lnTo>
                    <a:lnTo>
                      <a:pt x="65" y="335"/>
                    </a:lnTo>
                    <a:lnTo>
                      <a:pt x="66" y="333"/>
                    </a:lnTo>
                    <a:lnTo>
                      <a:pt x="66" y="333"/>
                    </a:lnTo>
                    <a:lnTo>
                      <a:pt x="66" y="333"/>
                    </a:lnTo>
                    <a:lnTo>
                      <a:pt x="68" y="333"/>
                    </a:lnTo>
                    <a:lnTo>
                      <a:pt x="70" y="329"/>
                    </a:lnTo>
                    <a:lnTo>
                      <a:pt x="70" y="329"/>
                    </a:lnTo>
                    <a:lnTo>
                      <a:pt x="76" y="330"/>
                    </a:lnTo>
                    <a:lnTo>
                      <a:pt x="76" y="330"/>
                    </a:lnTo>
                    <a:lnTo>
                      <a:pt x="76" y="330"/>
                    </a:lnTo>
                    <a:lnTo>
                      <a:pt x="76" y="330"/>
                    </a:lnTo>
                    <a:lnTo>
                      <a:pt x="78" y="329"/>
                    </a:lnTo>
                    <a:lnTo>
                      <a:pt x="78" y="329"/>
                    </a:lnTo>
                    <a:lnTo>
                      <a:pt x="80" y="327"/>
                    </a:lnTo>
                    <a:lnTo>
                      <a:pt x="89" y="326"/>
                    </a:lnTo>
                    <a:lnTo>
                      <a:pt x="89" y="326"/>
                    </a:lnTo>
                    <a:lnTo>
                      <a:pt x="86" y="326"/>
                    </a:lnTo>
                    <a:lnTo>
                      <a:pt x="86" y="326"/>
                    </a:lnTo>
                    <a:lnTo>
                      <a:pt x="85" y="326"/>
                    </a:lnTo>
                    <a:lnTo>
                      <a:pt x="85" y="326"/>
                    </a:lnTo>
                    <a:lnTo>
                      <a:pt x="88" y="325"/>
                    </a:lnTo>
                    <a:lnTo>
                      <a:pt x="88" y="325"/>
                    </a:lnTo>
                    <a:lnTo>
                      <a:pt x="88" y="325"/>
                    </a:lnTo>
                    <a:lnTo>
                      <a:pt x="89" y="325"/>
                    </a:lnTo>
                    <a:lnTo>
                      <a:pt x="89" y="325"/>
                    </a:lnTo>
                    <a:lnTo>
                      <a:pt x="89" y="326"/>
                    </a:lnTo>
                    <a:lnTo>
                      <a:pt x="94" y="322"/>
                    </a:lnTo>
                    <a:lnTo>
                      <a:pt x="94" y="322"/>
                    </a:lnTo>
                    <a:lnTo>
                      <a:pt x="96" y="322"/>
                    </a:lnTo>
                    <a:lnTo>
                      <a:pt x="96" y="322"/>
                    </a:lnTo>
                    <a:lnTo>
                      <a:pt x="97" y="322"/>
                    </a:lnTo>
                    <a:lnTo>
                      <a:pt x="98" y="321"/>
                    </a:lnTo>
                    <a:lnTo>
                      <a:pt x="98" y="321"/>
                    </a:lnTo>
                    <a:lnTo>
                      <a:pt x="101" y="321"/>
                    </a:lnTo>
                    <a:lnTo>
                      <a:pt x="101" y="321"/>
                    </a:lnTo>
                    <a:lnTo>
                      <a:pt x="105" y="322"/>
                    </a:lnTo>
                    <a:lnTo>
                      <a:pt x="106" y="324"/>
                    </a:lnTo>
                    <a:lnTo>
                      <a:pt x="107" y="326"/>
                    </a:lnTo>
                    <a:lnTo>
                      <a:pt x="107" y="326"/>
                    </a:lnTo>
                    <a:lnTo>
                      <a:pt x="106" y="325"/>
                    </a:lnTo>
                    <a:lnTo>
                      <a:pt x="105" y="324"/>
                    </a:lnTo>
                    <a:lnTo>
                      <a:pt x="107" y="327"/>
                    </a:lnTo>
                    <a:lnTo>
                      <a:pt x="107" y="327"/>
                    </a:lnTo>
                    <a:lnTo>
                      <a:pt x="110" y="329"/>
                    </a:lnTo>
                    <a:lnTo>
                      <a:pt x="110" y="329"/>
                    </a:lnTo>
                    <a:lnTo>
                      <a:pt x="113" y="330"/>
                    </a:lnTo>
                    <a:lnTo>
                      <a:pt x="113" y="330"/>
                    </a:lnTo>
                    <a:lnTo>
                      <a:pt x="117" y="329"/>
                    </a:lnTo>
                    <a:lnTo>
                      <a:pt x="117" y="329"/>
                    </a:lnTo>
                    <a:lnTo>
                      <a:pt x="118" y="327"/>
                    </a:lnTo>
                    <a:lnTo>
                      <a:pt x="118" y="327"/>
                    </a:lnTo>
                    <a:lnTo>
                      <a:pt x="118" y="329"/>
                    </a:lnTo>
                    <a:lnTo>
                      <a:pt x="121" y="326"/>
                    </a:lnTo>
                    <a:lnTo>
                      <a:pt x="121" y="326"/>
                    </a:lnTo>
                    <a:lnTo>
                      <a:pt x="121" y="326"/>
                    </a:lnTo>
                    <a:lnTo>
                      <a:pt x="122" y="325"/>
                    </a:lnTo>
                    <a:lnTo>
                      <a:pt x="122" y="325"/>
                    </a:lnTo>
                    <a:lnTo>
                      <a:pt x="122" y="325"/>
                    </a:lnTo>
                    <a:lnTo>
                      <a:pt x="122" y="325"/>
                    </a:lnTo>
                    <a:lnTo>
                      <a:pt x="123" y="321"/>
                    </a:lnTo>
                    <a:lnTo>
                      <a:pt x="125" y="318"/>
                    </a:lnTo>
                    <a:lnTo>
                      <a:pt x="127" y="317"/>
                    </a:lnTo>
                    <a:lnTo>
                      <a:pt x="130" y="316"/>
                    </a:lnTo>
                    <a:lnTo>
                      <a:pt x="130" y="316"/>
                    </a:lnTo>
                    <a:lnTo>
                      <a:pt x="130" y="316"/>
                    </a:lnTo>
                    <a:lnTo>
                      <a:pt x="130" y="316"/>
                    </a:lnTo>
                    <a:lnTo>
                      <a:pt x="129" y="317"/>
                    </a:lnTo>
                    <a:lnTo>
                      <a:pt x="127" y="320"/>
                    </a:lnTo>
                    <a:lnTo>
                      <a:pt x="133" y="314"/>
                    </a:lnTo>
                    <a:lnTo>
                      <a:pt x="134" y="314"/>
                    </a:lnTo>
                    <a:lnTo>
                      <a:pt x="134" y="314"/>
                    </a:lnTo>
                    <a:lnTo>
                      <a:pt x="135" y="314"/>
                    </a:lnTo>
                    <a:lnTo>
                      <a:pt x="135" y="314"/>
                    </a:lnTo>
                    <a:lnTo>
                      <a:pt x="138" y="316"/>
                    </a:lnTo>
                    <a:lnTo>
                      <a:pt x="141" y="317"/>
                    </a:lnTo>
                    <a:lnTo>
                      <a:pt x="141" y="317"/>
                    </a:lnTo>
                    <a:lnTo>
                      <a:pt x="141" y="317"/>
                    </a:lnTo>
                    <a:lnTo>
                      <a:pt x="138" y="316"/>
                    </a:lnTo>
                    <a:lnTo>
                      <a:pt x="142" y="320"/>
                    </a:lnTo>
                    <a:lnTo>
                      <a:pt x="142" y="320"/>
                    </a:lnTo>
                    <a:lnTo>
                      <a:pt x="143" y="320"/>
                    </a:lnTo>
                    <a:lnTo>
                      <a:pt x="151" y="320"/>
                    </a:lnTo>
                    <a:lnTo>
                      <a:pt x="154" y="321"/>
                    </a:lnTo>
                    <a:lnTo>
                      <a:pt x="154" y="321"/>
                    </a:lnTo>
                    <a:lnTo>
                      <a:pt x="156" y="324"/>
                    </a:lnTo>
                    <a:lnTo>
                      <a:pt x="159" y="325"/>
                    </a:lnTo>
                    <a:lnTo>
                      <a:pt x="159" y="325"/>
                    </a:lnTo>
                    <a:lnTo>
                      <a:pt x="159" y="326"/>
                    </a:lnTo>
                    <a:lnTo>
                      <a:pt x="160" y="329"/>
                    </a:lnTo>
                    <a:lnTo>
                      <a:pt x="160" y="329"/>
                    </a:lnTo>
                    <a:lnTo>
                      <a:pt x="164" y="327"/>
                    </a:lnTo>
                    <a:lnTo>
                      <a:pt x="164" y="327"/>
                    </a:lnTo>
                    <a:lnTo>
                      <a:pt x="168" y="329"/>
                    </a:lnTo>
                    <a:lnTo>
                      <a:pt x="171" y="330"/>
                    </a:lnTo>
                    <a:lnTo>
                      <a:pt x="172" y="329"/>
                    </a:lnTo>
                    <a:lnTo>
                      <a:pt x="175" y="329"/>
                    </a:lnTo>
                    <a:lnTo>
                      <a:pt x="180" y="333"/>
                    </a:lnTo>
                    <a:lnTo>
                      <a:pt x="180" y="333"/>
                    </a:lnTo>
                    <a:lnTo>
                      <a:pt x="179" y="331"/>
                    </a:lnTo>
                    <a:lnTo>
                      <a:pt x="179" y="331"/>
                    </a:lnTo>
                    <a:lnTo>
                      <a:pt x="180" y="331"/>
                    </a:lnTo>
                    <a:lnTo>
                      <a:pt x="182" y="331"/>
                    </a:lnTo>
                    <a:lnTo>
                      <a:pt x="184" y="333"/>
                    </a:lnTo>
                    <a:lnTo>
                      <a:pt x="184" y="333"/>
                    </a:lnTo>
                    <a:lnTo>
                      <a:pt x="185" y="331"/>
                    </a:lnTo>
                    <a:lnTo>
                      <a:pt x="185" y="331"/>
                    </a:lnTo>
                    <a:lnTo>
                      <a:pt x="188" y="329"/>
                    </a:lnTo>
                    <a:lnTo>
                      <a:pt x="192" y="327"/>
                    </a:lnTo>
                    <a:lnTo>
                      <a:pt x="192" y="327"/>
                    </a:lnTo>
                    <a:lnTo>
                      <a:pt x="192" y="327"/>
                    </a:lnTo>
                    <a:lnTo>
                      <a:pt x="192" y="324"/>
                    </a:lnTo>
                    <a:lnTo>
                      <a:pt x="191" y="318"/>
                    </a:lnTo>
                    <a:lnTo>
                      <a:pt x="191" y="316"/>
                    </a:lnTo>
                    <a:lnTo>
                      <a:pt x="191" y="313"/>
                    </a:lnTo>
                    <a:lnTo>
                      <a:pt x="191" y="313"/>
                    </a:lnTo>
                    <a:lnTo>
                      <a:pt x="191" y="310"/>
                    </a:lnTo>
                    <a:lnTo>
                      <a:pt x="192" y="306"/>
                    </a:lnTo>
                    <a:lnTo>
                      <a:pt x="192" y="306"/>
                    </a:lnTo>
                    <a:lnTo>
                      <a:pt x="195" y="305"/>
                    </a:lnTo>
                    <a:lnTo>
                      <a:pt x="197" y="305"/>
                    </a:lnTo>
                    <a:lnTo>
                      <a:pt x="197" y="305"/>
                    </a:lnTo>
                    <a:lnTo>
                      <a:pt x="201" y="305"/>
                    </a:lnTo>
                    <a:lnTo>
                      <a:pt x="204" y="308"/>
                    </a:lnTo>
                    <a:lnTo>
                      <a:pt x="204" y="308"/>
                    </a:lnTo>
                    <a:lnTo>
                      <a:pt x="205" y="308"/>
                    </a:lnTo>
                    <a:lnTo>
                      <a:pt x="209" y="304"/>
                    </a:lnTo>
                    <a:lnTo>
                      <a:pt x="209" y="304"/>
                    </a:lnTo>
                    <a:lnTo>
                      <a:pt x="205" y="305"/>
                    </a:lnTo>
                    <a:lnTo>
                      <a:pt x="205" y="308"/>
                    </a:lnTo>
                    <a:lnTo>
                      <a:pt x="205" y="308"/>
                    </a:lnTo>
                    <a:lnTo>
                      <a:pt x="204" y="306"/>
                    </a:lnTo>
                    <a:lnTo>
                      <a:pt x="204" y="306"/>
                    </a:lnTo>
                    <a:lnTo>
                      <a:pt x="204" y="301"/>
                    </a:lnTo>
                    <a:lnTo>
                      <a:pt x="204" y="297"/>
                    </a:lnTo>
                    <a:lnTo>
                      <a:pt x="212" y="290"/>
                    </a:lnTo>
                    <a:lnTo>
                      <a:pt x="212" y="290"/>
                    </a:lnTo>
                    <a:lnTo>
                      <a:pt x="212" y="290"/>
                    </a:lnTo>
                    <a:lnTo>
                      <a:pt x="212" y="288"/>
                    </a:lnTo>
                    <a:lnTo>
                      <a:pt x="212" y="287"/>
                    </a:lnTo>
                    <a:lnTo>
                      <a:pt x="212" y="287"/>
                    </a:lnTo>
                    <a:lnTo>
                      <a:pt x="212" y="285"/>
                    </a:lnTo>
                    <a:lnTo>
                      <a:pt x="211" y="284"/>
                    </a:lnTo>
                    <a:lnTo>
                      <a:pt x="211" y="284"/>
                    </a:lnTo>
                    <a:lnTo>
                      <a:pt x="209" y="281"/>
                    </a:lnTo>
                    <a:lnTo>
                      <a:pt x="207" y="276"/>
                    </a:lnTo>
                    <a:lnTo>
                      <a:pt x="213" y="269"/>
                    </a:lnTo>
                    <a:lnTo>
                      <a:pt x="213" y="269"/>
                    </a:lnTo>
                    <a:lnTo>
                      <a:pt x="213" y="269"/>
                    </a:lnTo>
                    <a:lnTo>
                      <a:pt x="216" y="268"/>
                    </a:lnTo>
                    <a:lnTo>
                      <a:pt x="216" y="268"/>
                    </a:lnTo>
                    <a:lnTo>
                      <a:pt x="216" y="267"/>
                    </a:lnTo>
                    <a:lnTo>
                      <a:pt x="216" y="267"/>
                    </a:lnTo>
                    <a:lnTo>
                      <a:pt x="217" y="268"/>
                    </a:lnTo>
                    <a:lnTo>
                      <a:pt x="217" y="268"/>
                    </a:lnTo>
                    <a:lnTo>
                      <a:pt x="213" y="263"/>
                    </a:lnTo>
                    <a:lnTo>
                      <a:pt x="213" y="263"/>
                    </a:lnTo>
                    <a:lnTo>
                      <a:pt x="215" y="259"/>
                    </a:lnTo>
                    <a:lnTo>
                      <a:pt x="216" y="256"/>
                    </a:lnTo>
                    <a:lnTo>
                      <a:pt x="219" y="253"/>
                    </a:lnTo>
                    <a:lnTo>
                      <a:pt x="219" y="253"/>
                    </a:lnTo>
                    <a:lnTo>
                      <a:pt x="219" y="253"/>
                    </a:lnTo>
                    <a:lnTo>
                      <a:pt x="221" y="248"/>
                    </a:lnTo>
                    <a:lnTo>
                      <a:pt x="224" y="244"/>
                    </a:lnTo>
                    <a:lnTo>
                      <a:pt x="224" y="244"/>
                    </a:lnTo>
                    <a:lnTo>
                      <a:pt x="225" y="242"/>
                    </a:lnTo>
                    <a:lnTo>
                      <a:pt x="226" y="239"/>
                    </a:lnTo>
                    <a:lnTo>
                      <a:pt x="228" y="235"/>
                    </a:lnTo>
                    <a:lnTo>
                      <a:pt x="228" y="235"/>
                    </a:lnTo>
                    <a:lnTo>
                      <a:pt x="232" y="234"/>
                    </a:lnTo>
                    <a:lnTo>
                      <a:pt x="237" y="232"/>
                    </a:lnTo>
                    <a:lnTo>
                      <a:pt x="237" y="232"/>
                    </a:lnTo>
                    <a:lnTo>
                      <a:pt x="244" y="239"/>
                    </a:lnTo>
                    <a:lnTo>
                      <a:pt x="244" y="239"/>
                    </a:lnTo>
                    <a:lnTo>
                      <a:pt x="242" y="238"/>
                    </a:lnTo>
                    <a:lnTo>
                      <a:pt x="242" y="238"/>
                    </a:lnTo>
                    <a:lnTo>
                      <a:pt x="245" y="242"/>
                    </a:lnTo>
                    <a:lnTo>
                      <a:pt x="245" y="242"/>
                    </a:lnTo>
                    <a:lnTo>
                      <a:pt x="245" y="243"/>
                    </a:lnTo>
                    <a:lnTo>
                      <a:pt x="245" y="243"/>
                    </a:lnTo>
                    <a:lnTo>
                      <a:pt x="245" y="243"/>
                    </a:lnTo>
                    <a:lnTo>
                      <a:pt x="245" y="243"/>
                    </a:lnTo>
                    <a:lnTo>
                      <a:pt x="245" y="243"/>
                    </a:lnTo>
                    <a:lnTo>
                      <a:pt x="250" y="239"/>
                    </a:lnTo>
                    <a:lnTo>
                      <a:pt x="258" y="239"/>
                    </a:lnTo>
                    <a:lnTo>
                      <a:pt x="258" y="239"/>
                    </a:lnTo>
                    <a:lnTo>
                      <a:pt x="258" y="234"/>
                    </a:lnTo>
                    <a:lnTo>
                      <a:pt x="258" y="234"/>
                    </a:lnTo>
                    <a:lnTo>
                      <a:pt x="258" y="235"/>
                    </a:lnTo>
                    <a:lnTo>
                      <a:pt x="257" y="231"/>
                    </a:lnTo>
                    <a:lnTo>
                      <a:pt x="257" y="223"/>
                    </a:lnTo>
                    <a:lnTo>
                      <a:pt x="257" y="223"/>
                    </a:lnTo>
                    <a:lnTo>
                      <a:pt x="257" y="212"/>
                    </a:lnTo>
                    <a:lnTo>
                      <a:pt x="257" y="212"/>
                    </a:lnTo>
                    <a:lnTo>
                      <a:pt x="257" y="206"/>
                    </a:lnTo>
                    <a:lnTo>
                      <a:pt x="256" y="201"/>
                    </a:lnTo>
                    <a:lnTo>
                      <a:pt x="256" y="199"/>
                    </a:lnTo>
                    <a:lnTo>
                      <a:pt x="256" y="199"/>
                    </a:lnTo>
                    <a:lnTo>
                      <a:pt x="256" y="199"/>
                    </a:lnTo>
                    <a:lnTo>
                      <a:pt x="254" y="194"/>
                    </a:lnTo>
                    <a:lnTo>
                      <a:pt x="253" y="187"/>
                    </a:lnTo>
                    <a:lnTo>
                      <a:pt x="253" y="187"/>
                    </a:lnTo>
                    <a:lnTo>
                      <a:pt x="253" y="183"/>
                    </a:lnTo>
                    <a:lnTo>
                      <a:pt x="253" y="183"/>
                    </a:lnTo>
                    <a:lnTo>
                      <a:pt x="253" y="182"/>
                    </a:lnTo>
                    <a:lnTo>
                      <a:pt x="253" y="182"/>
                    </a:lnTo>
                    <a:lnTo>
                      <a:pt x="254" y="185"/>
                    </a:lnTo>
                    <a:lnTo>
                      <a:pt x="254" y="185"/>
                    </a:lnTo>
                    <a:lnTo>
                      <a:pt x="258" y="186"/>
                    </a:lnTo>
                    <a:lnTo>
                      <a:pt x="252" y="179"/>
                    </a:lnTo>
                    <a:lnTo>
                      <a:pt x="252" y="174"/>
                    </a:lnTo>
                    <a:lnTo>
                      <a:pt x="254" y="169"/>
                    </a:lnTo>
                    <a:lnTo>
                      <a:pt x="254" y="169"/>
                    </a:lnTo>
                    <a:lnTo>
                      <a:pt x="256" y="168"/>
                    </a:lnTo>
                    <a:lnTo>
                      <a:pt x="256" y="168"/>
                    </a:lnTo>
                    <a:lnTo>
                      <a:pt x="258" y="166"/>
                    </a:lnTo>
                    <a:lnTo>
                      <a:pt x="261" y="164"/>
                    </a:lnTo>
                    <a:lnTo>
                      <a:pt x="261" y="164"/>
                    </a:lnTo>
                    <a:lnTo>
                      <a:pt x="260" y="165"/>
                    </a:lnTo>
                    <a:lnTo>
                      <a:pt x="260" y="165"/>
                    </a:lnTo>
                    <a:lnTo>
                      <a:pt x="262" y="164"/>
                    </a:lnTo>
                    <a:lnTo>
                      <a:pt x="262" y="164"/>
                    </a:lnTo>
                    <a:lnTo>
                      <a:pt x="263" y="161"/>
                    </a:lnTo>
                    <a:lnTo>
                      <a:pt x="266" y="160"/>
                    </a:lnTo>
                    <a:lnTo>
                      <a:pt x="269" y="158"/>
                    </a:lnTo>
                    <a:lnTo>
                      <a:pt x="269" y="158"/>
                    </a:lnTo>
                    <a:lnTo>
                      <a:pt x="271" y="160"/>
                    </a:lnTo>
                    <a:lnTo>
                      <a:pt x="273" y="161"/>
                    </a:lnTo>
                    <a:lnTo>
                      <a:pt x="273" y="161"/>
                    </a:lnTo>
                    <a:lnTo>
                      <a:pt x="271" y="162"/>
                    </a:lnTo>
                    <a:lnTo>
                      <a:pt x="271" y="162"/>
                    </a:lnTo>
                    <a:lnTo>
                      <a:pt x="270" y="164"/>
                    </a:lnTo>
                    <a:lnTo>
                      <a:pt x="270" y="166"/>
                    </a:lnTo>
                    <a:lnTo>
                      <a:pt x="274" y="162"/>
                    </a:lnTo>
                    <a:lnTo>
                      <a:pt x="275" y="166"/>
                    </a:lnTo>
                    <a:lnTo>
                      <a:pt x="275" y="166"/>
                    </a:lnTo>
                    <a:lnTo>
                      <a:pt x="275" y="164"/>
                    </a:lnTo>
                    <a:lnTo>
                      <a:pt x="275" y="162"/>
                    </a:lnTo>
                    <a:lnTo>
                      <a:pt x="275" y="162"/>
                    </a:lnTo>
                    <a:lnTo>
                      <a:pt x="274" y="161"/>
                    </a:lnTo>
                    <a:lnTo>
                      <a:pt x="275" y="160"/>
                    </a:lnTo>
                    <a:lnTo>
                      <a:pt x="275" y="160"/>
                    </a:lnTo>
                    <a:lnTo>
                      <a:pt x="275" y="160"/>
                    </a:lnTo>
                    <a:lnTo>
                      <a:pt x="277" y="158"/>
                    </a:lnTo>
                    <a:lnTo>
                      <a:pt x="277" y="158"/>
                    </a:lnTo>
                    <a:lnTo>
                      <a:pt x="277" y="158"/>
                    </a:lnTo>
                    <a:lnTo>
                      <a:pt x="277" y="158"/>
                    </a:lnTo>
                    <a:lnTo>
                      <a:pt x="279" y="158"/>
                    </a:lnTo>
                    <a:lnTo>
                      <a:pt x="279" y="158"/>
                    </a:lnTo>
                    <a:lnTo>
                      <a:pt x="282" y="158"/>
                    </a:lnTo>
                    <a:lnTo>
                      <a:pt x="282" y="158"/>
                    </a:lnTo>
                    <a:lnTo>
                      <a:pt x="283" y="158"/>
                    </a:lnTo>
                    <a:lnTo>
                      <a:pt x="283" y="158"/>
                    </a:lnTo>
                    <a:lnTo>
                      <a:pt x="281" y="160"/>
                    </a:lnTo>
                    <a:lnTo>
                      <a:pt x="279" y="164"/>
                    </a:lnTo>
                    <a:lnTo>
                      <a:pt x="286" y="157"/>
                    </a:lnTo>
                    <a:lnTo>
                      <a:pt x="289" y="157"/>
                    </a:lnTo>
                    <a:lnTo>
                      <a:pt x="289" y="156"/>
                    </a:lnTo>
                    <a:lnTo>
                      <a:pt x="289" y="154"/>
                    </a:lnTo>
                    <a:lnTo>
                      <a:pt x="290" y="150"/>
                    </a:lnTo>
                    <a:lnTo>
                      <a:pt x="290" y="150"/>
                    </a:lnTo>
                    <a:lnTo>
                      <a:pt x="291" y="148"/>
                    </a:lnTo>
                    <a:lnTo>
                      <a:pt x="291" y="148"/>
                    </a:lnTo>
                    <a:lnTo>
                      <a:pt x="295" y="144"/>
                    </a:lnTo>
                    <a:lnTo>
                      <a:pt x="299" y="140"/>
                    </a:lnTo>
                    <a:lnTo>
                      <a:pt x="301" y="140"/>
                    </a:lnTo>
                    <a:lnTo>
                      <a:pt x="301" y="140"/>
                    </a:lnTo>
                    <a:lnTo>
                      <a:pt x="303" y="140"/>
                    </a:lnTo>
                    <a:lnTo>
                      <a:pt x="303" y="140"/>
                    </a:lnTo>
                    <a:lnTo>
                      <a:pt x="307" y="140"/>
                    </a:lnTo>
                    <a:lnTo>
                      <a:pt x="308" y="141"/>
                    </a:lnTo>
                    <a:lnTo>
                      <a:pt x="308" y="141"/>
                    </a:lnTo>
                    <a:lnTo>
                      <a:pt x="310" y="141"/>
                    </a:lnTo>
                    <a:lnTo>
                      <a:pt x="310" y="141"/>
                    </a:lnTo>
                    <a:lnTo>
                      <a:pt x="310" y="141"/>
                    </a:lnTo>
                    <a:lnTo>
                      <a:pt x="312" y="138"/>
                    </a:lnTo>
                    <a:lnTo>
                      <a:pt x="312" y="138"/>
                    </a:lnTo>
                    <a:lnTo>
                      <a:pt x="314" y="137"/>
                    </a:lnTo>
                    <a:lnTo>
                      <a:pt x="314" y="134"/>
                    </a:lnTo>
                    <a:lnTo>
                      <a:pt x="314" y="134"/>
                    </a:lnTo>
                    <a:lnTo>
                      <a:pt x="318" y="133"/>
                    </a:lnTo>
                    <a:lnTo>
                      <a:pt x="320" y="131"/>
                    </a:lnTo>
                    <a:lnTo>
                      <a:pt x="320" y="131"/>
                    </a:lnTo>
                    <a:lnTo>
                      <a:pt x="324" y="129"/>
                    </a:lnTo>
                    <a:lnTo>
                      <a:pt x="327" y="128"/>
                    </a:lnTo>
                    <a:lnTo>
                      <a:pt x="327" y="128"/>
                    </a:lnTo>
                    <a:lnTo>
                      <a:pt x="330" y="125"/>
                    </a:lnTo>
                    <a:lnTo>
                      <a:pt x="330" y="125"/>
                    </a:lnTo>
                    <a:lnTo>
                      <a:pt x="334" y="121"/>
                    </a:lnTo>
                    <a:lnTo>
                      <a:pt x="334" y="121"/>
                    </a:lnTo>
                    <a:lnTo>
                      <a:pt x="336" y="120"/>
                    </a:lnTo>
                    <a:lnTo>
                      <a:pt x="340" y="120"/>
                    </a:lnTo>
                    <a:lnTo>
                      <a:pt x="340" y="120"/>
                    </a:lnTo>
                    <a:lnTo>
                      <a:pt x="343" y="120"/>
                    </a:lnTo>
                    <a:lnTo>
                      <a:pt x="347" y="123"/>
                    </a:lnTo>
                    <a:lnTo>
                      <a:pt x="347" y="123"/>
                    </a:lnTo>
                    <a:lnTo>
                      <a:pt x="347" y="123"/>
                    </a:lnTo>
                    <a:lnTo>
                      <a:pt x="348" y="123"/>
                    </a:lnTo>
                    <a:lnTo>
                      <a:pt x="348" y="123"/>
                    </a:lnTo>
                    <a:lnTo>
                      <a:pt x="351" y="121"/>
                    </a:lnTo>
                    <a:lnTo>
                      <a:pt x="351" y="121"/>
                    </a:lnTo>
                    <a:lnTo>
                      <a:pt x="355" y="123"/>
                    </a:lnTo>
                    <a:lnTo>
                      <a:pt x="359" y="127"/>
                    </a:lnTo>
                    <a:lnTo>
                      <a:pt x="359" y="127"/>
                    </a:lnTo>
                    <a:lnTo>
                      <a:pt x="359" y="129"/>
                    </a:lnTo>
                    <a:lnTo>
                      <a:pt x="359" y="132"/>
                    </a:lnTo>
                    <a:lnTo>
                      <a:pt x="359" y="132"/>
                    </a:lnTo>
                    <a:lnTo>
                      <a:pt x="359" y="133"/>
                    </a:lnTo>
                    <a:lnTo>
                      <a:pt x="359" y="133"/>
                    </a:lnTo>
                    <a:lnTo>
                      <a:pt x="357" y="131"/>
                    </a:lnTo>
                    <a:lnTo>
                      <a:pt x="355" y="129"/>
                    </a:lnTo>
                    <a:lnTo>
                      <a:pt x="360" y="136"/>
                    </a:lnTo>
                    <a:lnTo>
                      <a:pt x="360" y="142"/>
                    </a:lnTo>
                    <a:lnTo>
                      <a:pt x="360" y="142"/>
                    </a:lnTo>
                    <a:lnTo>
                      <a:pt x="361" y="142"/>
                    </a:lnTo>
                    <a:lnTo>
                      <a:pt x="361" y="142"/>
                    </a:lnTo>
                    <a:lnTo>
                      <a:pt x="361" y="141"/>
                    </a:lnTo>
                    <a:lnTo>
                      <a:pt x="361" y="141"/>
                    </a:lnTo>
                    <a:lnTo>
                      <a:pt x="363" y="140"/>
                    </a:lnTo>
                    <a:lnTo>
                      <a:pt x="369" y="137"/>
                    </a:lnTo>
                    <a:lnTo>
                      <a:pt x="369" y="137"/>
                    </a:lnTo>
                    <a:lnTo>
                      <a:pt x="369" y="137"/>
                    </a:lnTo>
                    <a:lnTo>
                      <a:pt x="369" y="137"/>
                    </a:lnTo>
                    <a:lnTo>
                      <a:pt x="372" y="136"/>
                    </a:lnTo>
                    <a:lnTo>
                      <a:pt x="372" y="136"/>
                    </a:lnTo>
                    <a:lnTo>
                      <a:pt x="375" y="134"/>
                    </a:lnTo>
                    <a:lnTo>
                      <a:pt x="379" y="133"/>
                    </a:lnTo>
                    <a:lnTo>
                      <a:pt x="379" y="133"/>
                    </a:lnTo>
                    <a:lnTo>
                      <a:pt x="380" y="133"/>
                    </a:lnTo>
                    <a:lnTo>
                      <a:pt x="380" y="133"/>
                    </a:lnTo>
                    <a:lnTo>
                      <a:pt x="384" y="131"/>
                    </a:lnTo>
                    <a:lnTo>
                      <a:pt x="388" y="129"/>
                    </a:lnTo>
                    <a:lnTo>
                      <a:pt x="389" y="129"/>
                    </a:lnTo>
                    <a:lnTo>
                      <a:pt x="392" y="131"/>
                    </a:lnTo>
                    <a:lnTo>
                      <a:pt x="392" y="131"/>
                    </a:lnTo>
                    <a:lnTo>
                      <a:pt x="394" y="128"/>
                    </a:lnTo>
                    <a:lnTo>
                      <a:pt x="400" y="127"/>
                    </a:lnTo>
                    <a:lnTo>
                      <a:pt x="400" y="127"/>
                    </a:lnTo>
                    <a:lnTo>
                      <a:pt x="401" y="127"/>
                    </a:lnTo>
                    <a:lnTo>
                      <a:pt x="401" y="127"/>
                    </a:lnTo>
                    <a:lnTo>
                      <a:pt x="406" y="128"/>
                    </a:lnTo>
                    <a:lnTo>
                      <a:pt x="409" y="131"/>
                    </a:lnTo>
                    <a:lnTo>
                      <a:pt x="409" y="131"/>
                    </a:lnTo>
                    <a:lnTo>
                      <a:pt x="410" y="133"/>
                    </a:lnTo>
                    <a:lnTo>
                      <a:pt x="412" y="136"/>
                    </a:lnTo>
                    <a:lnTo>
                      <a:pt x="412" y="144"/>
                    </a:lnTo>
                    <a:lnTo>
                      <a:pt x="412" y="144"/>
                    </a:lnTo>
                    <a:lnTo>
                      <a:pt x="412" y="144"/>
                    </a:lnTo>
                    <a:lnTo>
                      <a:pt x="414" y="145"/>
                    </a:lnTo>
                    <a:lnTo>
                      <a:pt x="414" y="145"/>
                    </a:lnTo>
                    <a:lnTo>
                      <a:pt x="417" y="148"/>
                    </a:lnTo>
                    <a:lnTo>
                      <a:pt x="420" y="150"/>
                    </a:lnTo>
                    <a:lnTo>
                      <a:pt x="420" y="150"/>
                    </a:lnTo>
                    <a:lnTo>
                      <a:pt x="420" y="150"/>
                    </a:lnTo>
                    <a:lnTo>
                      <a:pt x="420" y="150"/>
                    </a:lnTo>
                    <a:lnTo>
                      <a:pt x="420" y="150"/>
                    </a:lnTo>
                    <a:lnTo>
                      <a:pt x="420" y="150"/>
                    </a:lnTo>
                    <a:lnTo>
                      <a:pt x="421" y="149"/>
                    </a:lnTo>
                    <a:lnTo>
                      <a:pt x="425" y="148"/>
                    </a:lnTo>
                    <a:lnTo>
                      <a:pt x="426" y="148"/>
                    </a:lnTo>
                    <a:lnTo>
                      <a:pt x="426" y="148"/>
                    </a:lnTo>
                    <a:lnTo>
                      <a:pt x="427" y="146"/>
                    </a:lnTo>
                    <a:lnTo>
                      <a:pt x="427" y="146"/>
                    </a:lnTo>
                    <a:lnTo>
                      <a:pt x="431" y="145"/>
                    </a:lnTo>
                    <a:lnTo>
                      <a:pt x="435" y="144"/>
                    </a:lnTo>
                    <a:lnTo>
                      <a:pt x="435" y="144"/>
                    </a:lnTo>
                    <a:lnTo>
                      <a:pt x="442" y="145"/>
                    </a:lnTo>
                    <a:lnTo>
                      <a:pt x="446" y="153"/>
                    </a:lnTo>
                    <a:lnTo>
                      <a:pt x="446" y="153"/>
                    </a:lnTo>
                    <a:lnTo>
                      <a:pt x="445" y="156"/>
                    </a:lnTo>
                    <a:lnTo>
                      <a:pt x="447" y="157"/>
                    </a:lnTo>
                    <a:lnTo>
                      <a:pt x="447" y="157"/>
                    </a:lnTo>
                    <a:lnTo>
                      <a:pt x="450" y="154"/>
                    </a:lnTo>
                    <a:lnTo>
                      <a:pt x="454" y="152"/>
                    </a:lnTo>
                    <a:lnTo>
                      <a:pt x="454" y="152"/>
                    </a:lnTo>
                    <a:lnTo>
                      <a:pt x="453" y="152"/>
                    </a:lnTo>
                    <a:lnTo>
                      <a:pt x="453" y="152"/>
                    </a:lnTo>
                    <a:lnTo>
                      <a:pt x="454" y="150"/>
                    </a:lnTo>
                    <a:lnTo>
                      <a:pt x="458" y="150"/>
                    </a:lnTo>
                    <a:lnTo>
                      <a:pt x="459" y="150"/>
                    </a:lnTo>
                    <a:lnTo>
                      <a:pt x="459" y="150"/>
                    </a:lnTo>
                    <a:lnTo>
                      <a:pt x="463" y="152"/>
                    </a:lnTo>
                    <a:lnTo>
                      <a:pt x="463" y="152"/>
                    </a:lnTo>
                    <a:lnTo>
                      <a:pt x="460" y="152"/>
                    </a:lnTo>
                    <a:lnTo>
                      <a:pt x="466" y="156"/>
                    </a:lnTo>
                    <a:lnTo>
                      <a:pt x="466" y="154"/>
                    </a:lnTo>
                    <a:lnTo>
                      <a:pt x="466" y="154"/>
                    </a:lnTo>
                    <a:lnTo>
                      <a:pt x="463" y="153"/>
                    </a:lnTo>
                    <a:lnTo>
                      <a:pt x="464" y="153"/>
                    </a:lnTo>
                    <a:lnTo>
                      <a:pt x="464" y="153"/>
                    </a:lnTo>
                    <a:lnTo>
                      <a:pt x="466" y="153"/>
                    </a:lnTo>
                    <a:lnTo>
                      <a:pt x="468" y="153"/>
                    </a:lnTo>
                    <a:lnTo>
                      <a:pt x="472" y="156"/>
                    </a:lnTo>
                    <a:lnTo>
                      <a:pt x="471" y="154"/>
                    </a:lnTo>
                    <a:lnTo>
                      <a:pt x="471" y="154"/>
                    </a:lnTo>
                    <a:lnTo>
                      <a:pt x="472" y="154"/>
                    </a:lnTo>
                    <a:lnTo>
                      <a:pt x="472" y="154"/>
                    </a:lnTo>
                    <a:lnTo>
                      <a:pt x="471" y="153"/>
                    </a:lnTo>
                    <a:lnTo>
                      <a:pt x="471" y="153"/>
                    </a:lnTo>
                    <a:lnTo>
                      <a:pt x="472" y="153"/>
                    </a:lnTo>
                    <a:lnTo>
                      <a:pt x="472" y="153"/>
                    </a:lnTo>
                    <a:lnTo>
                      <a:pt x="474" y="152"/>
                    </a:lnTo>
                    <a:lnTo>
                      <a:pt x="474" y="152"/>
                    </a:lnTo>
                    <a:lnTo>
                      <a:pt x="474" y="148"/>
                    </a:lnTo>
                    <a:lnTo>
                      <a:pt x="474" y="148"/>
                    </a:lnTo>
                    <a:lnTo>
                      <a:pt x="474" y="146"/>
                    </a:lnTo>
                    <a:lnTo>
                      <a:pt x="474" y="146"/>
                    </a:lnTo>
                    <a:lnTo>
                      <a:pt x="475" y="149"/>
                    </a:lnTo>
                    <a:lnTo>
                      <a:pt x="475" y="149"/>
                    </a:lnTo>
                    <a:lnTo>
                      <a:pt x="479" y="150"/>
                    </a:lnTo>
                    <a:lnTo>
                      <a:pt x="472" y="145"/>
                    </a:lnTo>
                    <a:lnTo>
                      <a:pt x="472" y="142"/>
                    </a:lnTo>
                    <a:lnTo>
                      <a:pt x="478" y="136"/>
                    </a:lnTo>
                    <a:lnTo>
                      <a:pt x="482" y="136"/>
                    </a:lnTo>
                    <a:lnTo>
                      <a:pt x="482" y="127"/>
                    </a:lnTo>
                    <a:lnTo>
                      <a:pt x="487" y="121"/>
                    </a:lnTo>
                    <a:lnTo>
                      <a:pt x="487" y="121"/>
                    </a:lnTo>
                    <a:lnTo>
                      <a:pt x="484" y="123"/>
                    </a:lnTo>
                    <a:lnTo>
                      <a:pt x="483" y="124"/>
                    </a:lnTo>
                    <a:lnTo>
                      <a:pt x="483" y="124"/>
                    </a:lnTo>
                    <a:lnTo>
                      <a:pt x="483" y="123"/>
                    </a:lnTo>
                    <a:lnTo>
                      <a:pt x="488" y="119"/>
                    </a:lnTo>
                    <a:lnTo>
                      <a:pt x="496" y="119"/>
                    </a:lnTo>
                    <a:lnTo>
                      <a:pt x="498" y="119"/>
                    </a:lnTo>
                    <a:lnTo>
                      <a:pt x="503" y="113"/>
                    </a:lnTo>
                    <a:lnTo>
                      <a:pt x="508" y="113"/>
                    </a:lnTo>
                    <a:lnTo>
                      <a:pt x="508" y="113"/>
                    </a:lnTo>
                    <a:lnTo>
                      <a:pt x="508" y="113"/>
                    </a:lnTo>
                    <a:lnTo>
                      <a:pt x="508" y="113"/>
                    </a:lnTo>
                    <a:lnTo>
                      <a:pt x="507" y="113"/>
                    </a:lnTo>
                    <a:lnTo>
                      <a:pt x="508" y="113"/>
                    </a:lnTo>
                    <a:lnTo>
                      <a:pt x="508" y="113"/>
                    </a:lnTo>
                    <a:lnTo>
                      <a:pt x="508" y="115"/>
                    </a:lnTo>
                    <a:lnTo>
                      <a:pt x="509" y="113"/>
                    </a:lnTo>
                    <a:lnTo>
                      <a:pt x="513" y="111"/>
                    </a:lnTo>
                    <a:lnTo>
                      <a:pt x="513" y="111"/>
                    </a:lnTo>
                    <a:lnTo>
                      <a:pt x="513" y="111"/>
                    </a:lnTo>
                    <a:lnTo>
                      <a:pt x="511" y="112"/>
                    </a:lnTo>
                    <a:lnTo>
                      <a:pt x="511" y="109"/>
                    </a:lnTo>
                    <a:lnTo>
                      <a:pt x="511" y="109"/>
                    </a:lnTo>
                    <a:lnTo>
                      <a:pt x="511" y="111"/>
                    </a:lnTo>
                    <a:lnTo>
                      <a:pt x="511" y="111"/>
                    </a:lnTo>
                    <a:lnTo>
                      <a:pt x="511" y="109"/>
                    </a:lnTo>
                    <a:lnTo>
                      <a:pt x="517" y="104"/>
                    </a:lnTo>
                    <a:lnTo>
                      <a:pt x="517" y="104"/>
                    </a:lnTo>
                    <a:lnTo>
                      <a:pt x="520" y="105"/>
                    </a:lnTo>
                    <a:lnTo>
                      <a:pt x="523" y="103"/>
                    </a:lnTo>
                    <a:lnTo>
                      <a:pt x="523" y="103"/>
                    </a:lnTo>
                    <a:lnTo>
                      <a:pt x="525" y="104"/>
                    </a:lnTo>
                    <a:lnTo>
                      <a:pt x="524" y="101"/>
                    </a:lnTo>
                    <a:lnTo>
                      <a:pt x="525" y="100"/>
                    </a:lnTo>
                    <a:lnTo>
                      <a:pt x="525" y="100"/>
                    </a:lnTo>
                    <a:lnTo>
                      <a:pt x="523" y="101"/>
                    </a:lnTo>
                    <a:lnTo>
                      <a:pt x="519" y="97"/>
                    </a:lnTo>
                    <a:lnTo>
                      <a:pt x="519" y="96"/>
                    </a:lnTo>
                    <a:lnTo>
                      <a:pt x="519" y="96"/>
                    </a:lnTo>
                    <a:lnTo>
                      <a:pt x="520" y="87"/>
                    </a:lnTo>
                    <a:lnTo>
                      <a:pt x="521" y="80"/>
                    </a:lnTo>
                    <a:lnTo>
                      <a:pt x="521" y="80"/>
                    </a:lnTo>
                    <a:lnTo>
                      <a:pt x="521" y="79"/>
                    </a:lnTo>
                    <a:lnTo>
                      <a:pt x="521" y="76"/>
                    </a:lnTo>
                    <a:lnTo>
                      <a:pt x="529" y="70"/>
                    </a:lnTo>
                    <a:lnTo>
                      <a:pt x="529" y="70"/>
                    </a:lnTo>
                    <a:lnTo>
                      <a:pt x="529" y="70"/>
                    </a:lnTo>
                    <a:lnTo>
                      <a:pt x="529" y="70"/>
                    </a:lnTo>
                    <a:lnTo>
                      <a:pt x="527" y="71"/>
                    </a:lnTo>
                    <a:lnTo>
                      <a:pt x="527" y="71"/>
                    </a:lnTo>
                    <a:lnTo>
                      <a:pt x="528" y="70"/>
                    </a:lnTo>
                    <a:lnTo>
                      <a:pt x="531" y="68"/>
                    </a:lnTo>
                    <a:lnTo>
                      <a:pt x="531" y="68"/>
                    </a:lnTo>
                    <a:lnTo>
                      <a:pt x="531" y="67"/>
                    </a:lnTo>
                    <a:lnTo>
                      <a:pt x="537" y="62"/>
                    </a:lnTo>
                    <a:lnTo>
                      <a:pt x="537" y="62"/>
                    </a:lnTo>
                    <a:lnTo>
                      <a:pt x="536" y="59"/>
                    </a:lnTo>
                    <a:lnTo>
                      <a:pt x="537" y="58"/>
                    </a:lnTo>
                    <a:lnTo>
                      <a:pt x="537" y="58"/>
                    </a:lnTo>
                    <a:lnTo>
                      <a:pt x="537" y="54"/>
                    </a:lnTo>
                    <a:lnTo>
                      <a:pt x="537" y="51"/>
                    </a:lnTo>
                    <a:lnTo>
                      <a:pt x="540" y="46"/>
                    </a:lnTo>
                    <a:lnTo>
                      <a:pt x="540" y="46"/>
                    </a:lnTo>
                    <a:lnTo>
                      <a:pt x="541" y="43"/>
                    </a:lnTo>
                    <a:lnTo>
                      <a:pt x="541" y="42"/>
                    </a:lnTo>
                    <a:lnTo>
                      <a:pt x="541" y="30"/>
                    </a:lnTo>
                    <a:lnTo>
                      <a:pt x="545" y="25"/>
                    </a:lnTo>
                    <a:lnTo>
                      <a:pt x="544" y="25"/>
                    </a:lnTo>
                    <a:lnTo>
                      <a:pt x="544" y="25"/>
                    </a:lnTo>
                    <a:lnTo>
                      <a:pt x="542" y="27"/>
                    </a:lnTo>
                    <a:lnTo>
                      <a:pt x="542" y="27"/>
                    </a:lnTo>
                    <a:lnTo>
                      <a:pt x="542" y="27"/>
                    </a:lnTo>
                    <a:lnTo>
                      <a:pt x="542" y="27"/>
                    </a:lnTo>
                    <a:lnTo>
                      <a:pt x="542" y="25"/>
                    </a:lnTo>
                    <a:lnTo>
                      <a:pt x="542" y="23"/>
                    </a:lnTo>
                    <a:lnTo>
                      <a:pt x="542" y="23"/>
                    </a:lnTo>
                    <a:lnTo>
                      <a:pt x="542" y="22"/>
                    </a:lnTo>
                    <a:lnTo>
                      <a:pt x="542" y="22"/>
                    </a:lnTo>
                    <a:lnTo>
                      <a:pt x="542" y="22"/>
                    </a:lnTo>
                    <a:lnTo>
                      <a:pt x="540" y="19"/>
                    </a:lnTo>
                    <a:lnTo>
                      <a:pt x="540" y="17"/>
                    </a:lnTo>
                    <a:lnTo>
                      <a:pt x="540" y="13"/>
                    </a:lnTo>
                    <a:lnTo>
                      <a:pt x="542" y="10"/>
                    </a:lnTo>
                    <a:lnTo>
                      <a:pt x="542" y="10"/>
                    </a:lnTo>
                    <a:lnTo>
                      <a:pt x="542" y="10"/>
                    </a:lnTo>
                    <a:lnTo>
                      <a:pt x="542" y="9"/>
                    </a:lnTo>
                    <a:lnTo>
                      <a:pt x="542" y="9"/>
                    </a:lnTo>
                    <a:lnTo>
                      <a:pt x="544" y="6"/>
                    </a:lnTo>
                    <a:lnTo>
                      <a:pt x="545" y="4"/>
                    </a:lnTo>
                    <a:lnTo>
                      <a:pt x="546" y="1"/>
                    </a:lnTo>
                    <a:lnTo>
                      <a:pt x="549" y="0"/>
                    </a:lnTo>
                    <a:lnTo>
                      <a:pt x="549" y="0"/>
                    </a:lnTo>
                    <a:lnTo>
                      <a:pt x="553" y="0"/>
                    </a:lnTo>
                    <a:lnTo>
                      <a:pt x="553" y="0"/>
                    </a:lnTo>
                    <a:lnTo>
                      <a:pt x="556" y="0"/>
                    </a:lnTo>
                    <a:lnTo>
                      <a:pt x="558" y="1"/>
                    </a:lnTo>
                    <a:lnTo>
                      <a:pt x="560" y="4"/>
                    </a:lnTo>
                    <a:lnTo>
                      <a:pt x="561" y="6"/>
                    </a:lnTo>
                    <a:lnTo>
                      <a:pt x="561" y="6"/>
                    </a:lnTo>
                    <a:lnTo>
                      <a:pt x="561" y="8"/>
                    </a:lnTo>
                    <a:lnTo>
                      <a:pt x="561" y="8"/>
                    </a:lnTo>
                    <a:lnTo>
                      <a:pt x="560" y="6"/>
                    </a:lnTo>
                    <a:lnTo>
                      <a:pt x="564" y="12"/>
                    </a:lnTo>
                    <a:lnTo>
                      <a:pt x="564" y="13"/>
                    </a:lnTo>
                    <a:lnTo>
                      <a:pt x="560" y="17"/>
                    </a:lnTo>
                    <a:lnTo>
                      <a:pt x="564" y="18"/>
                    </a:lnTo>
                    <a:lnTo>
                      <a:pt x="564" y="18"/>
                    </a:lnTo>
                    <a:lnTo>
                      <a:pt x="565" y="22"/>
                    </a:lnTo>
                    <a:lnTo>
                      <a:pt x="565" y="22"/>
                    </a:lnTo>
                    <a:lnTo>
                      <a:pt x="566" y="23"/>
                    </a:lnTo>
                    <a:lnTo>
                      <a:pt x="566" y="23"/>
                    </a:lnTo>
                    <a:lnTo>
                      <a:pt x="565" y="22"/>
                    </a:lnTo>
                    <a:lnTo>
                      <a:pt x="566" y="25"/>
                    </a:lnTo>
                    <a:lnTo>
                      <a:pt x="566" y="25"/>
                    </a:lnTo>
                    <a:lnTo>
                      <a:pt x="566" y="25"/>
                    </a:lnTo>
                    <a:lnTo>
                      <a:pt x="570" y="31"/>
                    </a:lnTo>
                    <a:lnTo>
                      <a:pt x="573" y="37"/>
                    </a:lnTo>
                    <a:lnTo>
                      <a:pt x="573" y="37"/>
                    </a:lnTo>
                    <a:lnTo>
                      <a:pt x="573" y="39"/>
                    </a:lnTo>
                    <a:lnTo>
                      <a:pt x="573" y="39"/>
                    </a:lnTo>
                    <a:lnTo>
                      <a:pt x="574" y="39"/>
                    </a:lnTo>
                    <a:lnTo>
                      <a:pt x="574" y="39"/>
                    </a:lnTo>
                    <a:lnTo>
                      <a:pt x="576" y="38"/>
                    </a:lnTo>
                    <a:lnTo>
                      <a:pt x="576" y="38"/>
                    </a:lnTo>
                    <a:lnTo>
                      <a:pt x="578" y="35"/>
                    </a:lnTo>
                    <a:lnTo>
                      <a:pt x="579" y="35"/>
                    </a:lnTo>
                    <a:lnTo>
                      <a:pt x="579" y="35"/>
                    </a:lnTo>
                    <a:lnTo>
                      <a:pt x="578" y="38"/>
                    </a:lnTo>
                    <a:lnTo>
                      <a:pt x="581" y="34"/>
                    </a:lnTo>
                    <a:lnTo>
                      <a:pt x="582" y="34"/>
                    </a:lnTo>
                    <a:lnTo>
                      <a:pt x="582" y="33"/>
                    </a:lnTo>
                    <a:lnTo>
                      <a:pt x="582" y="33"/>
                    </a:lnTo>
                    <a:lnTo>
                      <a:pt x="582" y="33"/>
                    </a:lnTo>
                    <a:lnTo>
                      <a:pt x="583" y="31"/>
                    </a:lnTo>
                    <a:lnTo>
                      <a:pt x="585" y="31"/>
                    </a:lnTo>
                    <a:lnTo>
                      <a:pt x="587" y="34"/>
                    </a:lnTo>
                    <a:lnTo>
                      <a:pt x="587" y="34"/>
                    </a:lnTo>
                    <a:lnTo>
                      <a:pt x="587" y="34"/>
                    </a:lnTo>
                    <a:lnTo>
                      <a:pt x="589" y="34"/>
                    </a:lnTo>
                    <a:lnTo>
                      <a:pt x="589" y="34"/>
                    </a:lnTo>
                    <a:lnTo>
                      <a:pt x="587" y="34"/>
                    </a:lnTo>
                    <a:lnTo>
                      <a:pt x="587" y="34"/>
                    </a:lnTo>
                    <a:lnTo>
                      <a:pt x="587" y="34"/>
                    </a:lnTo>
                    <a:lnTo>
                      <a:pt x="591" y="39"/>
                    </a:lnTo>
                    <a:lnTo>
                      <a:pt x="591" y="39"/>
                    </a:lnTo>
                    <a:lnTo>
                      <a:pt x="591" y="38"/>
                    </a:lnTo>
                    <a:lnTo>
                      <a:pt x="593" y="39"/>
                    </a:lnTo>
                    <a:lnTo>
                      <a:pt x="593" y="39"/>
                    </a:lnTo>
                    <a:lnTo>
                      <a:pt x="591" y="37"/>
                    </a:lnTo>
                    <a:lnTo>
                      <a:pt x="590" y="35"/>
                    </a:lnTo>
                    <a:lnTo>
                      <a:pt x="590" y="35"/>
                    </a:lnTo>
                    <a:lnTo>
                      <a:pt x="590" y="35"/>
                    </a:lnTo>
                    <a:lnTo>
                      <a:pt x="590" y="35"/>
                    </a:lnTo>
                    <a:lnTo>
                      <a:pt x="589" y="34"/>
                    </a:lnTo>
                    <a:lnTo>
                      <a:pt x="589" y="34"/>
                    </a:lnTo>
                    <a:lnTo>
                      <a:pt x="590" y="33"/>
                    </a:lnTo>
                    <a:lnTo>
                      <a:pt x="590" y="33"/>
                    </a:lnTo>
                    <a:lnTo>
                      <a:pt x="593" y="33"/>
                    </a:lnTo>
                    <a:lnTo>
                      <a:pt x="593" y="33"/>
                    </a:lnTo>
                    <a:lnTo>
                      <a:pt x="597" y="34"/>
                    </a:lnTo>
                    <a:lnTo>
                      <a:pt x="599" y="35"/>
                    </a:lnTo>
                    <a:lnTo>
                      <a:pt x="601" y="38"/>
                    </a:lnTo>
                    <a:lnTo>
                      <a:pt x="601" y="38"/>
                    </a:lnTo>
                    <a:lnTo>
                      <a:pt x="601" y="38"/>
                    </a:lnTo>
                    <a:lnTo>
                      <a:pt x="601" y="38"/>
                    </a:lnTo>
                    <a:lnTo>
                      <a:pt x="601" y="38"/>
                    </a:lnTo>
                    <a:lnTo>
                      <a:pt x="603" y="43"/>
                    </a:lnTo>
                    <a:lnTo>
                      <a:pt x="603" y="45"/>
                    </a:lnTo>
                    <a:lnTo>
                      <a:pt x="603" y="45"/>
                    </a:lnTo>
                    <a:lnTo>
                      <a:pt x="603" y="46"/>
                    </a:lnTo>
                    <a:lnTo>
                      <a:pt x="603" y="46"/>
                    </a:lnTo>
                    <a:lnTo>
                      <a:pt x="603" y="46"/>
                    </a:lnTo>
                    <a:lnTo>
                      <a:pt x="603" y="46"/>
                    </a:lnTo>
                    <a:lnTo>
                      <a:pt x="605" y="46"/>
                    </a:lnTo>
                    <a:lnTo>
                      <a:pt x="607" y="47"/>
                    </a:lnTo>
                    <a:lnTo>
                      <a:pt x="607" y="47"/>
                    </a:lnTo>
                    <a:lnTo>
                      <a:pt x="607" y="47"/>
                    </a:lnTo>
                    <a:lnTo>
                      <a:pt x="610" y="47"/>
                    </a:lnTo>
                    <a:lnTo>
                      <a:pt x="610" y="47"/>
                    </a:lnTo>
                    <a:lnTo>
                      <a:pt x="614" y="50"/>
                    </a:lnTo>
                    <a:lnTo>
                      <a:pt x="618" y="52"/>
                    </a:lnTo>
                    <a:lnTo>
                      <a:pt x="618" y="52"/>
                    </a:lnTo>
                    <a:lnTo>
                      <a:pt x="618" y="54"/>
                    </a:lnTo>
                    <a:lnTo>
                      <a:pt x="620" y="54"/>
                    </a:lnTo>
                    <a:lnTo>
                      <a:pt x="626" y="58"/>
                    </a:lnTo>
                    <a:lnTo>
                      <a:pt x="626" y="58"/>
                    </a:lnTo>
                    <a:lnTo>
                      <a:pt x="627" y="62"/>
                    </a:lnTo>
                    <a:lnTo>
                      <a:pt x="626" y="64"/>
                    </a:lnTo>
                    <a:lnTo>
                      <a:pt x="626" y="64"/>
                    </a:lnTo>
                    <a:lnTo>
                      <a:pt x="630" y="63"/>
                    </a:lnTo>
                    <a:lnTo>
                      <a:pt x="630" y="63"/>
                    </a:lnTo>
                    <a:lnTo>
                      <a:pt x="631" y="63"/>
                    </a:lnTo>
                    <a:lnTo>
                      <a:pt x="632" y="66"/>
                    </a:lnTo>
                    <a:lnTo>
                      <a:pt x="632" y="66"/>
                    </a:lnTo>
                    <a:lnTo>
                      <a:pt x="631" y="67"/>
                    </a:lnTo>
                    <a:lnTo>
                      <a:pt x="631" y="67"/>
                    </a:lnTo>
                    <a:lnTo>
                      <a:pt x="630" y="70"/>
                    </a:lnTo>
                    <a:lnTo>
                      <a:pt x="630" y="72"/>
                    </a:lnTo>
                    <a:lnTo>
                      <a:pt x="634" y="67"/>
                    </a:lnTo>
                    <a:lnTo>
                      <a:pt x="636" y="72"/>
                    </a:lnTo>
                    <a:lnTo>
                      <a:pt x="636" y="72"/>
                    </a:lnTo>
                    <a:lnTo>
                      <a:pt x="636" y="70"/>
                    </a:lnTo>
                    <a:lnTo>
                      <a:pt x="636" y="67"/>
                    </a:lnTo>
                    <a:lnTo>
                      <a:pt x="636" y="67"/>
                    </a:lnTo>
                    <a:lnTo>
                      <a:pt x="634" y="66"/>
                    </a:lnTo>
                    <a:lnTo>
                      <a:pt x="635" y="63"/>
                    </a:lnTo>
                    <a:lnTo>
                      <a:pt x="638" y="63"/>
                    </a:lnTo>
                    <a:lnTo>
                      <a:pt x="640" y="64"/>
                    </a:lnTo>
                    <a:lnTo>
                      <a:pt x="640" y="64"/>
                    </a:lnTo>
                    <a:lnTo>
                      <a:pt x="647" y="67"/>
                    </a:lnTo>
                    <a:lnTo>
                      <a:pt x="651" y="71"/>
                    </a:lnTo>
                    <a:lnTo>
                      <a:pt x="659" y="79"/>
                    </a:lnTo>
                    <a:lnTo>
                      <a:pt x="659" y="82"/>
                    </a:lnTo>
                    <a:lnTo>
                      <a:pt x="659" y="88"/>
                    </a:lnTo>
                    <a:lnTo>
                      <a:pt x="659" y="88"/>
                    </a:lnTo>
                    <a:lnTo>
                      <a:pt x="661" y="93"/>
                    </a:lnTo>
                    <a:lnTo>
                      <a:pt x="664" y="99"/>
                    </a:lnTo>
                    <a:lnTo>
                      <a:pt x="669" y="103"/>
                    </a:lnTo>
                    <a:lnTo>
                      <a:pt x="675" y="107"/>
                    </a:lnTo>
                    <a:lnTo>
                      <a:pt x="677" y="112"/>
                    </a:lnTo>
                    <a:lnTo>
                      <a:pt x="677" y="116"/>
                    </a:lnTo>
                    <a:lnTo>
                      <a:pt x="677" y="116"/>
                    </a:lnTo>
                    <a:lnTo>
                      <a:pt x="681" y="123"/>
                    </a:lnTo>
                    <a:lnTo>
                      <a:pt x="687" y="127"/>
                    </a:lnTo>
                    <a:lnTo>
                      <a:pt x="691" y="132"/>
                    </a:lnTo>
                    <a:lnTo>
                      <a:pt x="691" y="133"/>
                    </a:lnTo>
                    <a:lnTo>
                      <a:pt x="689" y="134"/>
                    </a:lnTo>
                    <a:lnTo>
                      <a:pt x="689" y="134"/>
                    </a:lnTo>
                    <a:lnTo>
                      <a:pt x="691" y="136"/>
                    </a:lnTo>
                    <a:lnTo>
                      <a:pt x="691" y="136"/>
                    </a:lnTo>
                    <a:lnTo>
                      <a:pt x="692" y="137"/>
                    </a:lnTo>
                    <a:lnTo>
                      <a:pt x="695" y="137"/>
                    </a:lnTo>
                    <a:lnTo>
                      <a:pt x="695" y="137"/>
                    </a:lnTo>
                    <a:lnTo>
                      <a:pt x="697" y="136"/>
                    </a:lnTo>
                    <a:lnTo>
                      <a:pt x="701" y="134"/>
                    </a:lnTo>
                    <a:lnTo>
                      <a:pt x="702" y="134"/>
                    </a:lnTo>
                    <a:lnTo>
                      <a:pt x="709" y="141"/>
                    </a:lnTo>
                    <a:lnTo>
                      <a:pt x="709" y="141"/>
                    </a:lnTo>
                    <a:lnTo>
                      <a:pt x="708" y="137"/>
                    </a:lnTo>
                    <a:lnTo>
                      <a:pt x="708" y="137"/>
                    </a:lnTo>
                    <a:lnTo>
                      <a:pt x="706" y="136"/>
                    </a:lnTo>
                    <a:lnTo>
                      <a:pt x="705" y="136"/>
                    </a:lnTo>
                    <a:lnTo>
                      <a:pt x="705" y="136"/>
                    </a:lnTo>
                    <a:lnTo>
                      <a:pt x="705" y="136"/>
                    </a:lnTo>
                    <a:lnTo>
                      <a:pt x="705" y="136"/>
                    </a:lnTo>
                    <a:lnTo>
                      <a:pt x="708" y="136"/>
                    </a:lnTo>
                    <a:lnTo>
                      <a:pt x="708" y="136"/>
                    </a:lnTo>
                    <a:lnTo>
                      <a:pt x="712" y="136"/>
                    </a:lnTo>
                    <a:lnTo>
                      <a:pt x="716" y="141"/>
                    </a:lnTo>
                    <a:lnTo>
                      <a:pt x="716" y="141"/>
                    </a:lnTo>
                    <a:lnTo>
                      <a:pt x="717" y="142"/>
                    </a:lnTo>
                    <a:lnTo>
                      <a:pt x="717" y="142"/>
                    </a:lnTo>
                    <a:lnTo>
                      <a:pt x="717" y="142"/>
                    </a:lnTo>
                    <a:lnTo>
                      <a:pt x="716" y="142"/>
                    </a:lnTo>
                    <a:lnTo>
                      <a:pt x="720" y="144"/>
                    </a:lnTo>
                    <a:lnTo>
                      <a:pt x="720" y="144"/>
                    </a:lnTo>
                    <a:lnTo>
                      <a:pt x="721" y="144"/>
                    </a:lnTo>
                    <a:lnTo>
                      <a:pt x="721" y="144"/>
                    </a:lnTo>
                    <a:lnTo>
                      <a:pt x="726" y="146"/>
                    </a:lnTo>
                    <a:lnTo>
                      <a:pt x="729" y="149"/>
                    </a:lnTo>
                    <a:lnTo>
                      <a:pt x="730" y="152"/>
                    </a:lnTo>
                    <a:lnTo>
                      <a:pt x="730" y="152"/>
                    </a:lnTo>
                    <a:lnTo>
                      <a:pt x="730" y="152"/>
                    </a:lnTo>
                    <a:lnTo>
                      <a:pt x="730" y="152"/>
                    </a:lnTo>
                    <a:lnTo>
                      <a:pt x="730" y="152"/>
                    </a:lnTo>
                    <a:lnTo>
                      <a:pt x="730" y="152"/>
                    </a:lnTo>
                    <a:lnTo>
                      <a:pt x="733" y="156"/>
                    </a:lnTo>
                    <a:lnTo>
                      <a:pt x="733" y="160"/>
                    </a:lnTo>
                    <a:lnTo>
                      <a:pt x="733" y="162"/>
                    </a:lnTo>
                    <a:lnTo>
                      <a:pt x="733" y="162"/>
                    </a:lnTo>
                    <a:lnTo>
                      <a:pt x="730" y="165"/>
                    </a:lnTo>
                    <a:lnTo>
                      <a:pt x="728" y="168"/>
                    </a:lnTo>
                    <a:lnTo>
                      <a:pt x="722" y="170"/>
                    </a:lnTo>
                    <a:lnTo>
                      <a:pt x="722" y="170"/>
                    </a:lnTo>
                    <a:lnTo>
                      <a:pt x="720" y="171"/>
                    </a:lnTo>
                    <a:lnTo>
                      <a:pt x="718" y="171"/>
                    </a:lnTo>
                    <a:lnTo>
                      <a:pt x="718" y="171"/>
                    </a:lnTo>
                    <a:lnTo>
                      <a:pt x="716" y="175"/>
                    </a:lnTo>
                    <a:lnTo>
                      <a:pt x="710" y="178"/>
                    </a:lnTo>
                    <a:lnTo>
                      <a:pt x="709" y="178"/>
                    </a:lnTo>
                    <a:lnTo>
                      <a:pt x="709" y="178"/>
                    </a:lnTo>
                    <a:lnTo>
                      <a:pt x="709" y="178"/>
                    </a:lnTo>
                    <a:lnTo>
                      <a:pt x="708" y="178"/>
                    </a:lnTo>
                    <a:lnTo>
                      <a:pt x="708" y="178"/>
                    </a:lnTo>
                    <a:lnTo>
                      <a:pt x="705" y="178"/>
                    </a:lnTo>
                    <a:lnTo>
                      <a:pt x="705" y="179"/>
                    </a:lnTo>
                    <a:lnTo>
                      <a:pt x="705" y="179"/>
                    </a:lnTo>
                    <a:lnTo>
                      <a:pt x="702" y="182"/>
                    </a:lnTo>
                    <a:lnTo>
                      <a:pt x="702" y="182"/>
                    </a:lnTo>
                    <a:lnTo>
                      <a:pt x="701" y="181"/>
                    </a:lnTo>
                    <a:lnTo>
                      <a:pt x="698" y="181"/>
                    </a:lnTo>
                    <a:lnTo>
                      <a:pt x="698" y="181"/>
                    </a:lnTo>
                    <a:lnTo>
                      <a:pt x="702" y="182"/>
                    </a:lnTo>
                    <a:lnTo>
                      <a:pt x="698" y="185"/>
                    </a:lnTo>
                    <a:lnTo>
                      <a:pt x="698" y="186"/>
                    </a:lnTo>
                    <a:lnTo>
                      <a:pt x="698" y="186"/>
                    </a:lnTo>
                    <a:lnTo>
                      <a:pt x="702" y="185"/>
                    </a:lnTo>
                    <a:lnTo>
                      <a:pt x="704" y="183"/>
                    </a:lnTo>
                    <a:lnTo>
                      <a:pt x="704" y="183"/>
                    </a:lnTo>
                    <a:lnTo>
                      <a:pt x="702" y="182"/>
                    </a:lnTo>
                    <a:lnTo>
                      <a:pt x="704" y="182"/>
                    </a:lnTo>
                    <a:lnTo>
                      <a:pt x="704" y="182"/>
                    </a:lnTo>
                    <a:lnTo>
                      <a:pt x="706" y="186"/>
                    </a:lnTo>
                    <a:lnTo>
                      <a:pt x="706" y="186"/>
                    </a:lnTo>
                    <a:lnTo>
                      <a:pt x="709" y="190"/>
                    </a:lnTo>
                    <a:lnTo>
                      <a:pt x="713" y="195"/>
                    </a:lnTo>
                    <a:lnTo>
                      <a:pt x="713" y="205"/>
                    </a:lnTo>
                    <a:lnTo>
                      <a:pt x="708" y="210"/>
                    </a:lnTo>
                    <a:lnTo>
                      <a:pt x="708" y="210"/>
                    </a:lnTo>
                    <a:lnTo>
                      <a:pt x="710" y="209"/>
                    </a:lnTo>
                    <a:lnTo>
                      <a:pt x="712" y="206"/>
                    </a:lnTo>
                    <a:lnTo>
                      <a:pt x="712" y="206"/>
                    </a:lnTo>
                    <a:lnTo>
                      <a:pt x="712" y="207"/>
                    </a:lnTo>
                    <a:lnTo>
                      <a:pt x="712" y="207"/>
                    </a:lnTo>
                    <a:lnTo>
                      <a:pt x="712" y="210"/>
                    </a:lnTo>
                    <a:lnTo>
                      <a:pt x="712" y="210"/>
                    </a:lnTo>
                    <a:lnTo>
                      <a:pt x="712" y="210"/>
                    </a:lnTo>
                    <a:lnTo>
                      <a:pt x="713" y="212"/>
                    </a:lnTo>
                    <a:lnTo>
                      <a:pt x="713" y="216"/>
                    </a:lnTo>
                    <a:lnTo>
                      <a:pt x="713" y="216"/>
                    </a:lnTo>
                    <a:lnTo>
                      <a:pt x="713" y="222"/>
                    </a:lnTo>
                    <a:lnTo>
                      <a:pt x="712" y="224"/>
                    </a:lnTo>
                    <a:lnTo>
                      <a:pt x="709" y="228"/>
                    </a:lnTo>
                    <a:lnTo>
                      <a:pt x="709" y="228"/>
                    </a:lnTo>
                    <a:lnTo>
                      <a:pt x="709" y="230"/>
                    </a:lnTo>
                    <a:lnTo>
                      <a:pt x="709" y="230"/>
                    </a:lnTo>
                    <a:lnTo>
                      <a:pt x="709" y="230"/>
                    </a:lnTo>
                    <a:lnTo>
                      <a:pt x="706" y="235"/>
                    </a:lnTo>
                    <a:lnTo>
                      <a:pt x="706" y="235"/>
                    </a:lnTo>
                    <a:lnTo>
                      <a:pt x="705" y="239"/>
                    </a:lnTo>
                    <a:lnTo>
                      <a:pt x="705" y="243"/>
                    </a:lnTo>
                    <a:lnTo>
                      <a:pt x="705" y="246"/>
                    </a:lnTo>
                    <a:lnTo>
                      <a:pt x="705" y="247"/>
                    </a:lnTo>
                    <a:lnTo>
                      <a:pt x="705" y="247"/>
                    </a:lnTo>
                    <a:lnTo>
                      <a:pt x="704" y="249"/>
                    </a:lnTo>
                    <a:lnTo>
                      <a:pt x="702" y="252"/>
                    </a:lnTo>
                    <a:lnTo>
                      <a:pt x="700" y="255"/>
                    </a:lnTo>
                    <a:lnTo>
                      <a:pt x="700" y="255"/>
                    </a:lnTo>
                    <a:lnTo>
                      <a:pt x="698" y="255"/>
                    </a:lnTo>
                    <a:lnTo>
                      <a:pt x="698" y="255"/>
                    </a:lnTo>
                    <a:lnTo>
                      <a:pt x="700" y="253"/>
                    </a:lnTo>
                    <a:lnTo>
                      <a:pt x="698" y="255"/>
                    </a:lnTo>
                    <a:lnTo>
                      <a:pt x="698" y="255"/>
                    </a:lnTo>
                    <a:lnTo>
                      <a:pt x="698" y="252"/>
                    </a:lnTo>
                    <a:lnTo>
                      <a:pt x="697" y="253"/>
                    </a:lnTo>
                    <a:lnTo>
                      <a:pt x="697" y="253"/>
                    </a:lnTo>
                    <a:lnTo>
                      <a:pt x="695" y="252"/>
                    </a:lnTo>
                    <a:lnTo>
                      <a:pt x="695" y="255"/>
                    </a:lnTo>
                    <a:lnTo>
                      <a:pt x="695" y="255"/>
                    </a:lnTo>
                    <a:lnTo>
                      <a:pt x="693" y="256"/>
                    </a:lnTo>
                    <a:lnTo>
                      <a:pt x="693" y="256"/>
                    </a:lnTo>
                    <a:lnTo>
                      <a:pt x="693" y="257"/>
                    </a:lnTo>
                    <a:lnTo>
                      <a:pt x="693" y="256"/>
                    </a:lnTo>
                    <a:lnTo>
                      <a:pt x="693" y="256"/>
                    </a:lnTo>
                    <a:lnTo>
                      <a:pt x="692" y="259"/>
                    </a:lnTo>
                    <a:lnTo>
                      <a:pt x="692" y="259"/>
                    </a:lnTo>
                    <a:lnTo>
                      <a:pt x="695" y="257"/>
                    </a:lnTo>
                    <a:lnTo>
                      <a:pt x="697" y="256"/>
                    </a:lnTo>
                    <a:lnTo>
                      <a:pt x="698" y="257"/>
                    </a:lnTo>
                    <a:lnTo>
                      <a:pt x="698" y="259"/>
                    </a:lnTo>
                    <a:lnTo>
                      <a:pt x="698" y="261"/>
                    </a:lnTo>
                    <a:lnTo>
                      <a:pt x="698" y="261"/>
                    </a:lnTo>
                    <a:lnTo>
                      <a:pt x="693" y="271"/>
                    </a:lnTo>
                    <a:lnTo>
                      <a:pt x="689" y="281"/>
                    </a:lnTo>
                    <a:lnTo>
                      <a:pt x="689" y="281"/>
                    </a:lnTo>
                    <a:lnTo>
                      <a:pt x="688" y="288"/>
                    </a:lnTo>
                    <a:lnTo>
                      <a:pt x="688" y="288"/>
                    </a:lnTo>
                    <a:lnTo>
                      <a:pt x="688" y="288"/>
                    </a:lnTo>
                    <a:lnTo>
                      <a:pt x="689" y="293"/>
                    </a:lnTo>
                    <a:lnTo>
                      <a:pt x="692" y="296"/>
                    </a:lnTo>
                    <a:lnTo>
                      <a:pt x="695" y="301"/>
                    </a:lnTo>
                    <a:lnTo>
                      <a:pt x="695" y="304"/>
                    </a:lnTo>
                    <a:lnTo>
                      <a:pt x="695" y="304"/>
                    </a:lnTo>
                    <a:lnTo>
                      <a:pt x="695" y="305"/>
                    </a:lnTo>
                    <a:lnTo>
                      <a:pt x="695" y="305"/>
                    </a:lnTo>
                    <a:lnTo>
                      <a:pt x="695" y="306"/>
                    </a:lnTo>
                    <a:lnTo>
                      <a:pt x="695" y="306"/>
                    </a:lnTo>
                    <a:lnTo>
                      <a:pt x="695" y="304"/>
                    </a:lnTo>
                    <a:lnTo>
                      <a:pt x="691" y="302"/>
                    </a:lnTo>
                    <a:lnTo>
                      <a:pt x="696" y="308"/>
                    </a:lnTo>
                    <a:lnTo>
                      <a:pt x="696" y="309"/>
                    </a:lnTo>
                    <a:lnTo>
                      <a:pt x="695" y="310"/>
                    </a:lnTo>
                    <a:lnTo>
                      <a:pt x="695" y="310"/>
                    </a:lnTo>
                    <a:lnTo>
                      <a:pt x="693" y="309"/>
                    </a:lnTo>
                    <a:lnTo>
                      <a:pt x="691" y="309"/>
                    </a:lnTo>
                    <a:lnTo>
                      <a:pt x="691" y="310"/>
                    </a:lnTo>
                    <a:lnTo>
                      <a:pt x="691" y="309"/>
                    </a:lnTo>
                    <a:lnTo>
                      <a:pt x="691" y="310"/>
                    </a:lnTo>
                    <a:lnTo>
                      <a:pt x="692" y="312"/>
                    </a:lnTo>
                    <a:lnTo>
                      <a:pt x="691" y="313"/>
                    </a:lnTo>
                    <a:lnTo>
                      <a:pt x="691" y="316"/>
                    </a:lnTo>
                    <a:lnTo>
                      <a:pt x="691" y="316"/>
                    </a:lnTo>
                    <a:lnTo>
                      <a:pt x="693" y="314"/>
                    </a:lnTo>
                    <a:lnTo>
                      <a:pt x="695" y="313"/>
                    </a:lnTo>
                    <a:lnTo>
                      <a:pt x="696" y="314"/>
                    </a:lnTo>
                    <a:lnTo>
                      <a:pt x="696" y="321"/>
                    </a:lnTo>
                    <a:lnTo>
                      <a:pt x="689" y="326"/>
                    </a:lnTo>
                    <a:lnTo>
                      <a:pt x="689" y="326"/>
                    </a:lnTo>
                    <a:lnTo>
                      <a:pt x="689" y="326"/>
                    </a:lnTo>
                    <a:lnTo>
                      <a:pt x="688" y="327"/>
                    </a:lnTo>
                    <a:lnTo>
                      <a:pt x="687" y="327"/>
                    </a:lnTo>
                    <a:lnTo>
                      <a:pt x="685" y="327"/>
                    </a:lnTo>
                    <a:lnTo>
                      <a:pt x="684" y="331"/>
                    </a:lnTo>
                    <a:lnTo>
                      <a:pt x="684" y="331"/>
                    </a:lnTo>
                    <a:lnTo>
                      <a:pt x="684" y="331"/>
                    </a:lnTo>
                    <a:lnTo>
                      <a:pt x="684" y="331"/>
                    </a:lnTo>
                    <a:lnTo>
                      <a:pt x="684" y="333"/>
                    </a:lnTo>
                    <a:lnTo>
                      <a:pt x="684" y="333"/>
                    </a:lnTo>
                    <a:lnTo>
                      <a:pt x="684" y="333"/>
                    </a:lnTo>
                    <a:lnTo>
                      <a:pt x="684" y="335"/>
                    </a:lnTo>
                    <a:lnTo>
                      <a:pt x="685" y="339"/>
                    </a:lnTo>
                    <a:lnTo>
                      <a:pt x="679" y="345"/>
                    </a:lnTo>
                    <a:lnTo>
                      <a:pt x="679" y="345"/>
                    </a:lnTo>
                    <a:lnTo>
                      <a:pt x="677" y="345"/>
                    </a:lnTo>
                    <a:lnTo>
                      <a:pt x="677" y="345"/>
                    </a:lnTo>
                    <a:lnTo>
                      <a:pt x="680" y="343"/>
                    </a:lnTo>
                    <a:lnTo>
                      <a:pt x="681" y="341"/>
                    </a:lnTo>
                    <a:lnTo>
                      <a:pt x="675" y="346"/>
                    </a:lnTo>
                    <a:lnTo>
                      <a:pt x="675" y="346"/>
                    </a:lnTo>
                    <a:lnTo>
                      <a:pt x="675" y="346"/>
                    </a:lnTo>
                    <a:lnTo>
                      <a:pt x="672" y="346"/>
                    </a:lnTo>
                    <a:lnTo>
                      <a:pt x="672" y="346"/>
                    </a:lnTo>
                    <a:lnTo>
                      <a:pt x="667" y="345"/>
                    </a:lnTo>
                    <a:lnTo>
                      <a:pt x="667" y="345"/>
                    </a:lnTo>
                    <a:lnTo>
                      <a:pt x="664" y="345"/>
                    </a:lnTo>
                    <a:lnTo>
                      <a:pt x="661" y="347"/>
                    </a:lnTo>
                    <a:lnTo>
                      <a:pt x="661" y="347"/>
                    </a:lnTo>
                    <a:lnTo>
                      <a:pt x="660" y="347"/>
                    </a:lnTo>
                    <a:lnTo>
                      <a:pt x="660" y="347"/>
                    </a:lnTo>
                    <a:lnTo>
                      <a:pt x="657" y="349"/>
                    </a:lnTo>
                    <a:lnTo>
                      <a:pt x="654" y="350"/>
                    </a:lnTo>
                    <a:lnTo>
                      <a:pt x="654" y="350"/>
                    </a:lnTo>
                    <a:lnTo>
                      <a:pt x="652" y="350"/>
                    </a:lnTo>
                    <a:lnTo>
                      <a:pt x="651" y="351"/>
                    </a:lnTo>
                    <a:lnTo>
                      <a:pt x="651" y="351"/>
                    </a:lnTo>
                    <a:lnTo>
                      <a:pt x="647" y="357"/>
                    </a:lnTo>
                    <a:lnTo>
                      <a:pt x="643" y="359"/>
                    </a:lnTo>
                    <a:lnTo>
                      <a:pt x="643" y="359"/>
                    </a:lnTo>
                    <a:lnTo>
                      <a:pt x="639" y="363"/>
                    </a:lnTo>
                    <a:lnTo>
                      <a:pt x="639" y="363"/>
                    </a:lnTo>
                    <a:lnTo>
                      <a:pt x="638" y="367"/>
                    </a:lnTo>
                    <a:lnTo>
                      <a:pt x="638" y="367"/>
                    </a:lnTo>
                    <a:lnTo>
                      <a:pt x="635" y="371"/>
                    </a:lnTo>
                    <a:lnTo>
                      <a:pt x="635" y="372"/>
                    </a:lnTo>
                    <a:lnTo>
                      <a:pt x="630" y="379"/>
                    </a:lnTo>
                    <a:lnTo>
                      <a:pt x="626" y="379"/>
                    </a:lnTo>
                    <a:lnTo>
                      <a:pt x="619" y="371"/>
                    </a:lnTo>
                    <a:lnTo>
                      <a:pt x="619" y="371"/>
                    </a:lnTo>
                    <a:lnTo>
                      <a:pt x="619" y="374"/>
                    </a:lnTo>
                    <a:lnTo>
                      <a:pt x="620" y="375"/>
                    </a:lnTo>
                    <a:lnTo>
                      <a:pt x="620" y="375"/>
                    </a:lnTo>
                    <a:lnTo>
                      <a:pt x="623" y="378"/>
                    </a:lnTo>
                    <a:lnTo>
                      <a:pt x="622" y="376"/>
                    </a:lnTo>
                    <a:lnTo>
                      <a:pt x="622" y="376"/>
                    </a:lnTo>
                    <a:lnTo>
                      <a:pt x="618" y="380"/>
                    </a:lnTo>
                    <a:lnTo>
                      <a:pt x="618" y="380"/>
                    </a:lnTo>
                    <a:lnTo>
                      <a:pt x="614" y="384"/>
                    </a:lnTo>
                    <a:lnTo>
                      <a:pt x="613" y="384"/>
                    </a:lnTo>
                    <a:lnTo>
                      <a:pt x="613" y="384"/>
                    </a:lnTo>
                    <a:lnTo>
                      <a:pt x="610" y="386"/>
                    </a:lnTo>
                    <a:lnTo>
                      <a:pt x="610" y="386"/>
                    </a:lnTo>
                    <a:lnTo>
                      <a:pt x="609" y="388"/>
                    </a:lnTo>
                    <a:lnTo>
                      <a:pt x="607" y="391"/>
                    </a:lnTo>
                    <a:lnTo>
                      <a:pt x="603" y="392"/>
                    </a:lnTo>
                    <a:lnTo>
                      <a:pt x="601" y="392"/>
                    </a:lnTo>
                    <a:lnTo>
                      <a:pt x="601" y="392"/>
                    </a:lnTo>
                    <a:lnTo>
                      <a:pt x="594" y="392"/>
                    </a:lnTo>
                    <a:lnTo>
                      <a:pt x="594" y="392"/>
                    </a:lnTo>
                    <a:lnTo>
                      <a:pt x="591" y="391"/>
                    </a:lnTo>
                    <a:lnTo>
                      <a:pt x="591" y="391"/>
                    </a:lnTo>
                    <a:lnTo>
                      <a:pt x="591" y="391"/>
                    </a:lnTo>
                    <a:lnTo>
                      <a:pt x="594" y="390"/>
                    </a:lnTo>
                    <a:lnTo>
                      <a:pt x="590" y="391"/>
                    </a:lnTo>
                    <a:lnTo>
                      <a:pt x="590" y="391"/>
                    </a:lnTo>
                    <a:lnTo>
                      <a:pt x="589" y="395"/>
                    </a:lnTo>
                    <a:lnTo>
                      <a:pt x="589" y="395"/>
                    </a:lnTo>
                    <a:lnTo>
                      <a:pt x="587" y="398"/>
                    </a:lnTo>
                    <a:lnTo>
                      <a:pt x="587" y="398"/>
                    </a:lnTo>
                    <a:lnTo>
                      <a:pt x="579" y="406"/>
                    </a:lnTo>
                    <a:lnTo>
                      <a:pt x="579" y="407"/>
                    </a:lnTo>
                    <a:lnTo>
                      <a:pt x="579" y="407"/>
                    </a:lnTo>
                    <a:lnTo>
                      <a:pt x="582" y="411"/>
                    </a:lnTo>
                    <a:lnTo>
                      <a:pt x="582" y="413"/>
                    </a:lnTo>
                    <a:lnTo>
                      <a:pt x="582" y="416"/>
                    </a:lnTo>
                    <a:lnTo>
                      <a:pt x="573" y="420"/>
                    </a:lnTo>
                    <a:lnTo>
                      <a:pt x="573" y="420"/>
                    </a:lnTo>
                    <a:lnTo>
                      <a:pt x="572" y="419"/>
                    </a:lnTo>
                    <a:lnTo>
                      <a:pt x="572" y="419"/>
                    </a:lnTo>
                    <a:lnTo>
                      <a:pt x="569" y="421"/>
                    </a:lnTo>
                    <a:lnTo>
                      <a:pt x="569" y="421"/>
                    </a:lnTo>
                    <a:lnTo>
                      <a:pt x="565" y="424"/>
                    </a:lnTo>
                    <a:lnTo>
                      <a:pt x="561" y="425"/>
                    </a:lnTo>
                    <a:lnTo>
                      <a:pt x="556" y="425"/>
                    </a:lnTo>
                    <a:lnTo>
                      <a:pt x="556" y="425"/>
                    </a:lnTo>
                    <a:lnTo>
                      <a:pt x="554" y="423"/>
                    </a:lnTo>
                    <a:lnTo>
                      <a:pt x="554" y="423"/>
                    </a:lnTo>
                    <a:lnTo>
                      <a:pt x="553" y="423"/>
                    </a:lnTo>
                    <a:lnTo>
                      <a:pt x="553" y="423"/>
                    </a:lnTo>
                    <a:lnTo>
                      <a:pt x="548" y="424"/>
                    </a:lnTo>
                    <a:lnTo>
                      <a:pt x="548" y="424"/>
                    </a:lnTo>
                    <a:lnTo>
                      <a:pt x="545" y="423"/>
                    </a:lnTo>
                    <a:lnTo>
                      <a:pt x="544" y="423"/>
                    </a:lnTo>
                    <a:lnTo>
                      <a:pt x="542" y="424"/>
                    </a:lnTo>
                    <a:lnTo>
                      <a:pt x="542" y="424"/>
                    </a:lnTo>
                    <a:lnTo>
                      <a:pt x="542" y="424"/>
                    </a:lnTo>
                    <a:lnTo>
                      <a:pt x="536" y="427"/>
                    </a:lnTo>
                    <a:lnTo>
                      <a:pt x="529" y="427"/>
                    </a:lnTo>
                    <a:lnTo>
                      <a:pt x="528" y="427"/>
                    </a:lnTo>
                    <a:lnTo>
                      <a:pt x="528" y="427"/>
                    </a:lnTo>
                    <a:lnTo>
                      <a:pt x="527" y="427"/>
                    </a:lnTo>
                    <a:lnTo>
                      <a:pt x="527" y="427"/>
                    </a:lnTo>
                    <a:lnTo>
                      <a:pt x="528" y="425"/>
                    </a:lnTo>
                    <a:lnTo>
                      <a:pt x="531" y="423"/>
                    </a:lnTo>
                    <a:lnTo>
                      <a:pt x="525" y="428"/>
                    </a:lnTo>
                    <a:lnTo>
                      <a:pt x="525" y="428"/>
                    </a:lnTo>
                    <a:lnTo>
                      <a:pt x="527" y="428"/>
                    </a:lnTo>
                    <a:lnTo>
                      <a:pt x="527" y="428"/>
                    </a:lnTo>
                    <a:lnTo>
                      <a:pt x="525" y="428"/>
                    </a:lnTo>
                    <a:lnTo>
                      <a:pt x="523" y="429"/>
                    </a:lnTo>
                    <a:lnTo>
                      <a:pt x="521" y="432"/>
                    </a:lnTo>
                    <a:lnTo>
                      <a:pt x="521" y="432"/>
                    </a:lnTo>
                    <a:lnTo>
                      <a:pt x="520" y="433"/>
                    </a:lnTo>
                    <a:lnTo>
                      <a:pt x="520" y="433"/>
                    </a:lnTo>
                    <a:lnTo>
                      <a:pt x="519" y="437"/>
                    </a:lnTo>
                    <a:lnTo>
                      <a:pt x="519" y="437"/>
                    </a:lnTo>
                    <a:lnTo>
                      <a:pt x="517" y="440"/>
                    </a:lnTo>
                    <a:lnTo>
                      <a:pt x="517" y="440"/>
                    </a:lnTo>
                    <a:lnTo>
                      <a:pt x="516" y="445"/>
                    </a:lnTo>
                    <a:lnTo>
                      <a:pt x="513" y="448"/>
                    </a:lnTo>
                    <a:lnTo>
                      <a:pt x="509" y="453"/>
                    </a:lnTo>
                    <a:lnTo>
                      <a:pt x="509" y="453"/>
                    </a:lnTo>
                    <a:lnTo>
                      <a:pt x="505" y="458"/>
                    </a:lnTo>
                    <a:lnTo>
                      <a:pt x="504" y="461"/>
                    </a:lnTo>
                    <a:lnTo>
                      <a:pt x="504" y="465"/>
                    </a:lnTo>
                    <a:lnTo>
                      <a:pt x="504" y="465"/>
                    </a:lnTo>
                    <a:lnTo>
                      <a:pt x="504" y="466"/>
                    </a:lnTo>
                    <a:lnTo>
                      <a:pt x="499" y="473"/>
                    </a:lnTo>
                    <a:lnTo>
                      <a:pt x="499" y="473"/>
                    </a:lnTo>
                    <a:lnTo>
                      <a:pt x="501" y="472"/>
                    </a:lnTo>
                    <a:lnTo>
                      <a:pt x="503" y="469"/>
                    </a:lnTo>
                    <a:lnTo>
                      <a:pt x="503" y="470"/>
                    </a:lnTo>
                    <a:lnTo>
                      <a:pt x="503" y="470"/>
                    </a:lnTo>
                    <a:lnTo>
                      <a:pt x="503" y="474"/>
                    </a:lnTo>
                    <a:lnTo>
                      <a:pt x="501" y="476"/>
                    </a:lnTo>
                    <a:lnTo>
                      <a:pt x="499" y="477"/>
                    </a:lnTo>
                    <a:lnTo>
                      <a:pt x="496" y="478"/>
                    </a:lnTo>
                    <a:lnTo>
                      <a:pt x="496" y="478"/>
                    </a:lnTo>
                    <a:lnTo>
                      <a:pt x="492" y="478"/>
                    </a:lnTo>
                    <a:lnTo>
                      <a:pt x="492" y="478"/>
                    </a:lnTo>
                    <a:lnTo>
                      <a:pt x="486" y="478"/>
                    </a:lnTo>
                    <a:lnTo>
                      <a:pt x="478" y="473"/>
                    </a:lnTo>
                    <a:lnTo>
                      <a:pt x="478" y="473"/>
                    </a:lnTo>
                    <a:lnTo>
                      <a:pt x="478" y="473"/>
                    </a:lnTo>
                    <a:lnTo>
                      <a:pt x="476" y="472"/>
                    </a:lnTo>
                    <a:lnTo>
                      <a:pt x="476" y="472"/>
                    </a:lnTo>
                    <a:lnTo>
                      <a:pt x="476" y="468"/>
                    </a:lnTo>
                    <a:lnTo>
                      <a:pt x="478" y="465"/>
                    </a:lnTo>
                    <a:lnTo>
                      <a:pt x="478" y="465"/>
                    </a:lnTo>
                    <a:lnTo>
                      <a:pt x="478" y="465"/>
                    </a:lnTo>
                    <a:lnTo>
                      <a:pt x="478" y="465"/>
                    </a:lnTo>
                    <a:lnTo>
                      <a:pt x="478" y="466"/>
                    </a:lnTo>
                    <a:lnTo>
                      <a:pt x="479" y="465"/>
                    </a:lnTo>
                    <a:lnTo>
                      <a:pt x="479" y="465"/>
                    </a:lnTo>
                    <a:lnTo>
                      <a:pt x="480" y="466"/>
                    </a:lnTo>
                    <a:lnTo>
                      <a:pt x="484" y="468"/>
                    </a:lnTo>
                    <a:lnTo>
                      <a:pt x="484" y="466"/>
                    </a:lnTo>
                    <a:lnTo>
                      <a:pt x="483" y="466"/>
                    </a:lnTo>
                    <a:lnTo>
                      <a:pt x="483" y="466"/>
                    </a:lnTo>
                    <a:lnTo>
                      <a:pt x="482" y="464"/>
                    </a:lnTo>
                    <a:lnTo>
                      <a:pt x="483" y="462"/>
                    </a:lnTo>
                    <a:lnTo>
                      <a:pt x="484" y="461"/>
                    </a:lnTo>
                    <a:lnTo>
                      <a:pt x="484" y="461"/>
                    </a:lnTo>
                    <a:lnTo>
                      <a:pt x="483" y="461"/>
                    </a:lnTo>
                    <a:lnTo>
                      <a:pt x="480" y="464"/>
                    </a:lnTo>
                    <a:lnTo>
                      <a:pt x="479" y="464"/>
                    </a:lnTo>
                    <a:lnTo>
                      <a:pt x="479" y="464"/>
                    </a:lnTo>
                    <a:lnTo>
                      <a:pt x="479" y="464"/>
                    </a:lnTo>
                    <a:lnTo>
                      <a:pt x="479" y="464"/>
                    </a:lnTo>
                    <a:lnTo>
                      <a:pt x="479" y="464"/>
                    </a:lnTo>
                    <a:lnTo>
                      <a:pt x="478" y="462"/>
                    </a:lnTo>
                    <a:lnTo>
                      <a:pt x="478" y="462"/>
                    </a:lnTo>
                    <a:lnTo>
                      <a:pt x="476" y="461"/>
                    </a:lnTo>
                    <a:lnTo>
                      <a:pt x="476" y="461"/>
                    </a:lnTo>
                    <a:lnTo>
                      <a:pt x="475" y="461"/>
                    </a:lnTo>
                    <a:lnTo>
                      <a:pt x="468" y="457"/>
                    </a:lnTo>
                    <a:lnTo>
                      <a:pt x="468" y="457"/>
                    </a:lnTo>
                    <a:lnTo>
                      <a:pt x="467" y="457"/>
                    </a:lnTo>
                    <a:lnTo>
                      <a:pt x="466" y="457"/>
                    </a:lnTo>
                    <a:lnTo>
                      <a:pt x="464" y="457"/>
                    </a:lnTo>
                    <a:lnTo>
                      <a:pt x="458" y="452"/>
                    </a:lnTo>
                    <a:lnTo>
                      <a:pt x="458" y="452"/>
                    </a:lnTo>
                    <a:lnTo>
                      <a:pt x="459" y="454"/>
                    </a:lnTo>
                    <a:lnTo>
                      <a:pt x="462" y="457"/>
                    </a:lnTo>
                    <a:lnTo>
                      <a:pt x="462" y="457"/>
                    </a:lnTo>
                    <a:lnTo>
                      <a:pt x="460" y="456"/>
                    </a:lnTo>
                    <a:lnTo>
                      <a:pt x="460" y="456"/>
                    </a:lnTo>
                    <a:lnTo>
                      <a:pt x="457" y="454"/>
                    </a:lnTo>
                    <a:lnTo>
                      <a:pt x="455" y="452"/>
                    </a:lnTo>
                    <a:lnTo>
                      <a:pt x="455" y="448"/>
                    </a:lnTo>
                    <a:lnTo>
                      <a:pt x="455" y="448"/>
                    </a:lnTo>
                    <a:lnTo>
                      <a:pt x="455" y="446"/>
                    </a:lnTo>
                    <a:lnTo>
                      <a:pt x="455" y="446"/>
                    </a:lnTo>
                    <a:lnTo>
                      <a:pt x="455" y="449"/>
                    </a:lnTo>
                    <a:lnTo>
                      <a:pt x="459" y="450"/>
                    </a:lnTo>
                    <a:lnTo>
                      <a:pt x="454" y="444"/>
                    </a:lnTo>
                    <a:lnTo>
                      <a:pt x="454" y="443"/>
                    </a:lnTo>
                    <a:lnTo>
                      <a:pt x="454" y="443"/>
                    </a:lnTo>
                    <a:lnTo>
                      <a:pt x="453" y="435"/>
                    </a:lnTo>
                    <a:lnTo>
                      <a:pt x="453" y="433"/>
                    </a:lnTo>
                    <a:lnTo>
                      <a:pt x="450" y="429"/>
                    </a:lnTo>
                    <a:lnTo>
                      <a:pt x="449" y="429"/>
                    </a:lnTo>
                    <a:lnTo>
                      <a:pt x="449" y="429"/>
                    </a:lnTo>
                    <a:lnTo>
                      <a:pt x="447" y="427"/>
                    </a:lnTo>
                    <a:lnTo>
                      <a:pt x="445" y="425"/>
                    </a:lnTo>
                    <a:lnTo>
                      <a:pt x="442" y="425"/>
                    </a:lnTo>
                    <a:lnTo>
                      <a:pt x="442" y="425"/>
                    </a:lnTo>
                    <a:lnTo>
                      <a:pt x="439" y="427"/>
                    </a:lnTo>
                    <a:lnTo>
                      <a:pt x="437" y="428"/>
                    </a:lnTo>
                    <a:lnTo>
                      <a:pt x="437" y="428"/>
                    </a:lnTo>
                    <a:lnTo>
                      <a:pt x="433" y="432"/>
                    </a:lnTo>
                    <a:lnTo>
                      <a:pt x="429" y="433"/>
                    </a:lnTo>
                    <a:lnTo>
                      <a:pt x="425" y="433"/>
                    </a:lnTo>
                    <a:lnTo>
                      <a:pt x="425" y="433"/>
                    </a:lnTo>
                    <a:lnTo>
                      <a:pt x="422" y="433"/>
                    </a:lnTo>
                    <a:lnTo>
                      <a:pt x="414" y="433"/>
                    </a:lnTo>
                    <a:lnTo>
                      <a:pt x="410" y="431"/>
                    </a:lnTo>
                    <a:lnTo>
                      <a:pt x="410" y="431"/>
                    </a:lnTo>
                    <a:lnTo>
                      <a:pt x="413" y="432"/>
                    </a:lnTo>
                    <a:lnTo>
                      <a:pt x="413" y="432"/>
                    </a:lnTo>
                    <a:lnTo>
                      <a:pt x="410" y="433"/>
                    </a:lnTo>
                    <a:lnTo>
                      <a:pt x="410" y="433"/>
                    </a:lnTo>
                    <a:lnTo>
                      <a:pt x="405" y="433"/>
                    </a:lnTo>
                    <a:lnTo>
                      <a:pt x="405" y="433"/>
                    </a:lnTo>
                    <a:lnTo>
                      <a:pt x="402" y="433"/>
                    </a:lnTo>
                    <a:lnTo>
                      <a:pt x="402" y="433"/>
                    </a:lnTo>
                    <a:lnTo>
                      <a:pt x="397" y="435"/>
                    </a:lnTo>
                    <a:lnTo>
                      <a:pt x="397" y="435"/>
                    </a:lnTo>
                    <a:lnTo>
                      <a:pt x="393" y="436"/>
                    </a:lnTo>
                    <a:lnTo>
                      <a:pt x="393" y="436"/>
                    </a:lnTo>
                    <a:lnTo>
                      <a:pt x="392" y="436"/>
                    </a:lnTo>
                    <a:lnTo>
                      <a:pt x="392" y="436"/>
                    </a:lnTo>
                    <a:lnTo>
                      <a:pt x="394" y="435"/>
                    </a:lnTo>
                    <a:lnTo>
                      <a:pt x="394" y="435"/>
                    </a:lnTo>
                    <a:lnTo>
                      <a:pt x="394" y="435"/>
                    </a:lnTo>
                    <a:lnTo>
                      <a:pt x="394" y="433"/>
                    </a:lnTo>
                    <a:lnTo>
                      <a:pt x="389" y="437"/>
                    </a:lnTo>
                    <a:lnTo>
                      <a:pt x="386" y="437"/>
                    </a:lnTo>
                    <a:lnTo>
                      <a:pt x="386" y="439"/>
                    </a:lnTo>
                    <a:lnTo>
                      <a:pt x="386" y="439"/>
                    </a:lnTo>
                    <a:lnTo>
                      <a:pt x="384" y="441"/>
                    </a:lnTo>
                    <a:lnTo>
                      <a:pt x="381" y="444"/>
                    </a:lnTo>
                    <a:lnTo>
                      <a:pt x="381" y="444"/>
                    </a:lnTo>
                    <a:lnTo>
                      <a:pt x="377" y="448"/>
                    </a:lnTo>
                    <a:lnTo>
                      <a:pt x="377" y="449"/>
                    </a:lnTo>
                    <a:lnTo>
                      <a:pt x="377" y="450"/>
                    </a:lnTo>
                    <a:lnTo>
                      <a:pt x="377" y="450"/>
                    </a:lnTo>
                    <a:lnTo>
                      <a:pt x="376" y="454"/>
                    </a:lnTo>
                    <a:lnTo>
                      <a:pt x="373" y="456"/>
                    </a:lnTo>
                    <a:lnTo>
                      <a:pt x="369" y="456"/>
                    </a:lnTo>
                    <a:lnTo>
                      <a:pt x="369" y="456"/>
                    </a:lnTo>
                    <a:lnTo>
                      <a:pt x="368" y="456"/>
                    </a:lnTo>
                    <a:lnTo>
                      <a:pt x="368" y="456"/>
                    </a:lnTo>
                    <a:lnTo>
                      <a:pt x="369" y="454"/>
                    </a:lnTo>
                    <a:lnTo>
                      <a:pt x="372" y="452"/>
                    </a:lnTo>
                    <a:lnTo>
                      <a:pt x="365" y="457"/>
                    </a:lnTo>
                    <a:lnTo>
                      <a:pt x="364" y="457"/>
                    </a:lnTo>
                    <a:lnTo>
                      <a:pt x="360" y="456"/>
                    </a:lnTo>
                    <a:lnTo>
                      <a:pt x="360" y="456"/>
                    </a:lnTo>
                    <a:lnTo>
                      <a:pt x="360" y="456"/>
                    </a:lnTo>
                    <a:lnTo>
                      <a:pt x="360" y="456"/>
                    </a:lnTo>
                    <a:lnTo>
                      <a:pt x="360" y="456"/>
                    </a:lnTo>
                    <a:lnTo>
                      <a:pt x="359" y="458"/>
                    </a:lnTo>
                    <a:lnTo>
                      <a:pt x="359" y="458"/>
                    </a:lnTo>
                    <a:lnTo>
                      <a:pt x="357" y="460"/>
                    </a:lnTo>
                    <a:lnTo>
                      <a:pt x="353" y="461"/>
                    </a:lnTo>
                    <a:lnTo>
                      <a:pt x="353" y="461"/>
                    </a:lnTo>
                    <a:lnTo>
                      <a:pt x="349" y="460"/>
                    </a:lnTo>
                    <a:lnTo>
                      <a:pt x="348" y="460"/>
                    </a:lnTo>
                    <a:lnTo>
                      <a:pt x="348" y="460"/>
                    </a:lnTo>
                    <a:lnTo>
                      <a:pt x="347" y="458"/>
                    </a:lnTo>
                    <a:lnTo>
                      <a:pt x="347" y="458"/>
                    </a:lnTo>
                    <a:lnTo>
                      <a:pt x="343" y="456"/>
                    </a:lnTo>
                    <a:lnTo>
                      <a:pt x="343" y="456"/>
                    </a:lnTo>
                    <a:lnTo>
                      <a:pt x="340" y="457"/>
                    </a:lnTo>
                    <a:lnTo>
                      <a:pt x="338" y="458"/>
                    </a:lnTo>
                    <a:lnTo>
                      <a:pt x="338" y="458"/>
                    </a:lnTo>
                    <a:lnTo>
                      <a:pt x="334" y="457"/>
                    </a:lnTo>
                    <a:lnTo>
                      <a:pt x="331" y="456"/>
                    </a:lnTo>
                    <a:lnTo>
                      <a:pt x="331" y="456"/>
                    </a:lnTo>
                    <a:lnTo>
                      <a:pt x="328" y="457"/>
                    </a:lnTo>
                    <a:lnTo>
                      <a:pt x="328" y="457"/>
                    </a:lnTo>
                    <a:lnTo>
                      <a:pt x="327" y="458"/>
                    </a:lnTo>
                    <a:lnTo>
                      <a:pt x="327" y="458"/>
                    </a:lnTo>
                    <a:lnTo>
                      <a:pt x="328" y="457"/>
                    </a:lnTo>
                    <a:lnTo>
                      <a:pt x="328" y="457"/>
                    </a:lnTo>
                    <a:lnTo>
                      <a:pt x="324" y="462"/>
                    </a:lnTo>
                    <a:lnTo>
                      <a:pt x="324" y="462"/>
                    </a:lnTo>
                    <a:lnTo>
                      <a:pt x="316" y="468"/>
                    </a:lnTo>
                    <a:lnTo>
                      <a:pt x="316" y="468"/>
                    </a:lnTo>
                    <a:lnTo>
                      <a:pt x="316" y="470"/>
                    </a:lnTo>
                    <a:lnTo>
                      <a:pt x="315" y="473"/>
                    </a:lnTo>
                    <a:lnTo>
                      <a:pt x="315" y="473"/>
                    </a:lnTo>
                    <a:lnTo>
                      <a:pt x="311" y="474"/>
                    </a:lnTo>
                    <a:lnTo>
                      <a:pt x="311" y="474"/>
                    </a:lnTo>
                    <a:lnTo>
                      <a:pt x="306" y="482"/>
                    </a:lnTo>
                    <a:lnTo>
                      <a:pt x="303" y="485"/>
                    </a:lnTo>
                    <a:lnTo>
                      <a:pt x="299" y="487"/>
                    </a:lnTo>
                    <a:lnTo>
                      <a:pt x="299" y="487"/>
                    </a:lnTo>
                    <a:lnTo>
                      <a:pt x="298" y="490"/>
                    </a:lnTo>
                    <a:lnTo>
                      <a:pt x="298" y="490"/>
                    </a:lnTo>
                    <a:lnTo>
                      <a:pt x="297" y="494"/>
                    </a:lnTo>
                    <a:lnTo>
                      <a:pt x="293" y="498"/>
                    </a:lnTo>
                    <a:lnTo>
                      <a:pt x="293" y="498"/>
                    </a:lnTo>
                    <a:lnTo>
                      <a:pt x="293" y="498"/>
                    </a:lnTo>
                    <a:lnTo>
                      <a:pt x="290" y="502"/>
                    </a:lnTo>
                    <a:lnTo>
                      <a:pt x="287" y="503"/>
                    </a:lnTo>
                    <a:lnTo>
                      <a:pt x="286" y="503"/>
                    </a:lnTo>
                    <a:lnTo>
                      <a:pt x="285" y="503"/>
                    </a:lnTo>
                    <a:lnTo>
                      <a:pt x="285" y="503"/>
                    </a:lnTo>
                    <a:lnTo>
                      <a:pt x="282" y="503"/>
                    </a:lnTo>
                    <a:lnTo>
                      <a:pt x="282" y="503"/>
                    </a:lnTo>
                    <a:lnTo>
                      <a:pt x="278" y="503"/>
                    </a:lnTo>
                    <a:lnTo>
                      <a:pt x="275" y="501"/>
                    </a:lnTo>
                    <a:lnTo>
                      <a:pt x="273" y="498"/>
                    </a:lnTo>
                    <a:lnTo>
                      <a:pt x="273" y="498"/>
                    </a:lnTo>
                    <a:lnTo>
                      <a:pt x="271" y="497"/>
                    </a:lnTo>
                    <a:lnTo>
                      <a:pt x="267" y="497"/>
                    </a:lnTo>
                    <a:lnTo>
                      <a:pt x="267" y="497"/>
                    </a:lnTo>
                    <a:lnTo>
                      <a:pt x="266" y="497"/>
                    </a:lnTo>
                    <a:lnTo>
                      <a:pt x="266" y="501"/>
                    </a:lnTo>
                    <a:lnTo>
                      <a:pt x="266" y="501"/>
                    </a:lnTo>
                    <a:lnTo>
                      <a:pt x="263" y="502"/>
                    </a:lnTo>
                    <a:lnTo>
                      <a:pt x="261" y="502"/>
                    </a:lnTo>
                    <a:lnTo>
                      <a:pt x="261" y="502"/>
                    </a:lnTo>
                    <a:lnTo>
                      <a:pt x="262" y="502"/>
                    </a:lnTo>
                    <a:lnTo>
                      <a:pt x="263" y="499"/>
                    </a:lnTo>
                    <a:lnTo>
                      <a:pt x="260" y="503"/>
                    </a:lnTo>
                    <a:lnTo>
                      <a:pt x="260" y="503"/>
                    </a:lnTo>
                    <a:lnTo>
                      <a:pt x="260" y="503"/>
                    </a:lnTo>
                    <a:lnTo>
                      <a:pt x="260" y="503"/>
                    </a:lnTo>
                    <a:lnTo>
                      <a:pt x="260" y="505"/>
                    </a:lnTo>
                    <a:lnTo>
                      <a:pt x="260" y="505"/>
                    </a:lnTo>
                    <a:lnTo>
                      <a:pt x="260" y="503"/>
                    </a:lnTo>
                    <a:lnTo>
                      <a:pt x="258" y="503"/>
                    </a:lnTo>
                    <a:lnTo>
                      <a:pt x="258" y="505"/>
                    </a:lnTo>
                    <a:lnTo>
                      <a:pt x="258" y="505"/>
                    </a:lnTo>
                    <a:lnTo>
                      <a:pt x="260" y="503"/>
                    </a:lnTo>
                    <a:lnTo>
                      <a:pt x="260" y="503"/>
                    </a:lnTo>
                    <a:lnTo>
                      <a:pt x="258" y="505"/>
                    </a:lnTo>
                    <a:lnTo>
                      <a:pt x="261" y="507"/>
                    </a:lnTo>
                    <a:lnTo>
                      <a:pt x="261" y="507"/>
                    </a:lnTo>
                    <a:lnTo>
                      <a:pt x="261" y="509"/>
                    </a:lnTo>
                    <a:lnTo>
                      <a:pt x="260" y="511"/>
                    </a:lnTo>
                    <a:lnTo>
                      <a:pt x="257" y="513"/>
                    </a:lnTo>
                    <a:lnTo>
                      <a:pt x="253" y="514"/>
                    </a:lnTo>
                    <a:lnTo>
                      <a:pt x="252" y="514"/>
                    </a:lnTo>
                    <a:lnTo>
                      <a:pt x="245" y="510"/>
                    </a:lnTo>
                    <a:lnTo>
                      <a:pt x="245" y="510"/>
                    </a:lnTo>
                    <a:lnTo>
                      <a:pt x="248" y="511"/>
                    </a:lnTo>
                    <a:lnTo>
                      <a:pt x="246" y="511"/>
                    </a:lnTo>
                    <a:lnTo>
                      <a:pt x="246" y="511"/>
                    </a:lnTo>
                    <a:lnTo>
                      <a:pt x="245" y="511"/>
                    </a:lnTo>
                    <a:lnTo>
                      <a:pt x="245" y="511"/>
                    </a:lnTo>
                    <a:lnTo>
                      <a:pt x="242" y="513"/>
                    </a:lnTo>
                    <a:lnTo>
                      <a:pt x="237" y="514"/>
                    </a:lnTo>
                    <a:lnTo>
                      <a:pt x="237" y="514"/>
                    </a:lnTo>
                    <a:lnTo>
                      <a:pt x="233" y="511"/>
                    </a:lnTo>
                    <a:lnTo>
                      <a:pt x="229" y="510"/>
                    </a:lnTo>
                    <a:lnTo>
                      <a:pt x="229" y="510"/>
                    </a:lnTo>
                    <a:lnTo>
                      <a:pt x="228" y="509"/>
                    </a:lnTo>
                    <a:lnTo>
                      <a:pt x="226" y="509"/>
                    </a:lnTo>
                    <a:lnTo>
                      <a:pt x="226" y="509"/>
                    </a:lnTo>
                    <a:lnTo>
                      <a:pt x="228" y="514"/>
                    </a:lnTo>
                    <a:lnTo>
                      <a:pt x="223" y="519"/>
                    </a:lnTo>
                    <a:lnTo>
                      <a:pt x="220" y="519"/>
                    </a:lnTo>
                    <a:lnTo>
                      <a:pt x="220" y="519"/>
                    </a:lnTo>
                    <a:lnTo>
                      <a:pt x="219" y="522"/>
                    </a:lnTo>
                    <a:lnTo>
                      <a:pt x="219" y="523"/>
                    </a:lnTo>
                    <a:lnTo>
                      <a:pt x="219" y="523"/>
                    </a:lnTo>
                    <a:lnTo>
                      <a:pt x="217" y="527"/>
                    </a:lnTo>
                    <a:lnTo>
                      <a:pt x="215" y="531"/>
                    </a:lnTo>
                    <a:lnTo>
                      <a:pt x="209" y="536"/>
                    </a:lnTo>
                    <a:lnTo>
                      <a:pt x="208" y="536"/>
                    </a:lnTo>
                    <a:lnTo>
                      <a:pt x="208" y="538"/>
                    </a:lnTo>
                    <a:lnTo>
                      <a:pt x="208" y="538"/>
                    </a:lnTo>
                    <a:lnTo>
                      <a:pt x="207" y="540"/>
                    </a:lnTo>
                    <a:lnTo>
                      <a:pt x="204" y="543"/>
                    </a:lnTo>
                    <a:lnTo>
                      <a:pt x="199" y="547"/>
                    </a:lnTo>
                    <a:lnTo>
                      <a:pt x="199" y="547"/>
                    </a:lnTo>
                    <a:lnTo>
                      <a:pt x="199" y="547"/>
                    </a:lnTo>
                    <a:lnTo>
                      <a:pt x="199" y="547"/>
                    </a:lnTo>
                    <a:lnTo>
                      <a:pt x="200" y="551"/>
                    </a:lnTo>
                    <a:lnTo>
                      <a:pt x="199" y="555"/>
                    </a:lnTo>
                    <a:lnTo>
                      <a:pt x="199" y="555"/>
                    </a:lnTo>
                    <a:lnTo>
                      <a:pt x="200" y="558"/>
                    </a:lnTo>
                    <a:lnTo>
                      <a:pt x="200" y="562"/>
                    </a:lnTo>
                    <a:lnTo>
                      <a:pt x="196" y="567"/>
                    </a:lnTo>
                    <a:lnTo>
                      <a:pt x="196" y="567"/>
                    </a:lnTo>
                    <a:lnTo>
                      <a:pt x="192" y="569"/>
                    </a:lnTo>
                    <a:lnTo>
                      <a:pt x="192" y="569"/>
                    </a:lnTo>
                    <a:lnTo>
                      <a:pt x="189" y="572"/>
                    </a:lnTo>
                    <a:lnTo>
                      <a:pt x="189" y="572"/>
                    </a:lnTo>
                    <a:lnTo>
                      <a:pt x="189" y="575"/>
                    </a:lnTo>
                    <a:lnTo>
                      <a:pt x="188" y="577"/>
                    </a:lnTo>
                    <a:lnTo>
                      <a:pt x="188" y="577"/>
                    </a:lnTo>
                    <a:lnTo>
                      <a:pt x="187" y="580"/>
                    </a:lnTo>
                    <a:lnTo>
                      <a:pt x="183" y="580"/>
                    </a:lnTo>
                    <a:lnTo>
                      <a:pt x="182" y="580"/>
                    </a:lnTo>
                    <a:lnTo>
                      <a:pt x="182" y="580"/>
                    </a:lnTo>
                    <a:lnTo>
                      <a:pt x="180" y="583"/>
                    </a:lnTo>
                    <a:lnTo>
                      <a:pt x="180" y="583"/>
                    </a:lnTo>
                    <a:lnTo>
                      <a:pt x="178" y="587"/>
                    </a:lnTo>
                    <a:lnTo>
                      <a:pt x="176" y="588"/>
                    </a:lnTo>
                    <a:lnTo>
                      <a:pt x="174" y="589"/>
                    </a:lnTo>
                    <a:lnTo>
                      <a:pt x="174" y="589"/>
                    </a:lnTo>
                    <a:lnTo>
                      <a:pt x="168" y="593"/>
                    </a:lnTo>
                    <a:lnTo>
                      <a:pt x="168" y="596"/>
                    </a:lnTo>
                    <a:lnTo>
                      <a:pt x="168" y="596"/>
                    </a:lnTo>
                    <a:lnTo>
                      <a:pt x="170" y="597"/>
                    </a:lnTo>
                    <a:lnTo>
                      <a:pt x="171" y="600"/>
                    </a:lnTo>
                    <a:lnTo>
                      <a:pt x="171" y="604"/>
                    </a:lnTo>
                    <a:lnTo>
                      <a:pt x="170" y="606"/>
                    </a:lnTo>
                    <a:lnTo>
                      <a:pt x="170" y="606"/>
                    </a:lnTo>
                    <a:lnTo>
                      <a:pt x="166" y="609"/>
                    </a:lnTo>
                    <a:lnTo>
                      <a:pt x="163" y="610"/>
                    </a:lnTo>
                    <a:lnTo>
                      <a:pt x="163" y="610"/>
                    </a:lnTo>
                    <a:lnTo>
                      <a:pt x="162" y="612"/>
                    </a:lnTo>
                    <a:lnTo>
                      <a:pt x="156" y="614"/>
                    </a:lnTo>
                    <a:lnTo>
                      <a:pt x="152" y="614"/>
                    </a:lnTo>
                    <a:lnTo>
                      <a:pt x="152" y="614"/>
                    </a:lnTo>
                    <a:lnTo>
                      <a:pt x="151" y="620"/>
                    </a:lnTo>
                    <a:lnTo>
                      <a:pt x="148" y="624"/>
                    </a:lnTo>
                    <a:lnTo>
                      <a:pt x="148" y="624"/>
                    </a:lnTo>
                    <a:lnTo>
                      <a:pt x="146" y="626"/>
                    </a:lnTo>
                    <a:lnTo>
                      <a:pt x="146" y="629"/>
                    </a:lnTo>
                    <a:lnTo>
                      <a:pt x="141" y="633"/>
                    </a:lnTo>
                    <a:lnTo>
                      <a:pt x="141" y="633"/>
                    </a:lnTo>
                    <a:lnTo>
                      <a:pt x="142" y="636"/>
                    </a:lnTo>
                    <a:lnTo>
                      <a:pt x="143" y="638"/>
                    </a:lnTo>
                    <a:lnTo>
                      <a:pt x="143" y="642"/>
                    </a:lnTo>
                    <a:lnTo>
                      <a:pt x="137" y="646"/>
                    </a:lnTo>
                    <a:lnTo>
                      <a:pt x="137" y="646"/>
                    </a:lnTo>
                    <a:lnTo>
                      <a:pt x="135" y="646"/>
                    </a:lnTo>
                    <a:lnTo>
                      <a:pt x="135" y="646"/>
                    </a:lnTo>
                    <a:lnTo>
                      <a:pt x="134" y="649"/>
                    </a:lnTo>
                    <a:lnTo>
                      <a:pt x="134" y="649"/>
                    </a:lnTo>
                    <a:lnTo>
                      <a:pt x="131" y="654"/>
                    </a:lnTo>
                    <a:lnTo>
                      <a:pt x="130" y="655"/>
                    </a:lnTo>
                    <a:lnTo>
                      <a:pt x="130" y="655"/>
                    </a:lnTo>
                    <a:lnTo>
                      <a:pt x="126" y="658"/>
                    </a:lnTo>
                    <a:lnTo>
                      <a:pt x="126" y="658"/>
                    </a:lnTo>
                    <a:lnTo>
                      <a:pt x="126" y="659"/>
                    </a:lnTo>
                    <a:lnTo>
                      <a:pt x="121" y="666"/>
                    </a:lnTo>
                    <a:lnTo>
                      <a:pt x="118" y="666"/>
                    </a:lnTo>
                    <a:lnTo>
                      <a:pt x="118" y="666"/>
                    </a:lnTo>
                    <a:lnTo>
                      <a:pt x="115" y="667"/>
                    </a:lnTo>
                    <a:lnTo>
                      <a:pt x="115" y="667"/>
                    </a:lnTo>
                    <a:lnTo>
                      <a:pt x="114" y="671"/>
                    </a:lnTo>
                    <a:lnTo>
                      <a:pt x="114" y="673"/>
                    </a:lnTo>
                    <a:lnTo>
                      <a:pt x="106" y="677"/>
                    </a:lnTo>
                    <a:lnTo>
                      <a:pt x="106" y="677"/>
                    </a:lnTo>
                    <a:lnTo>
                      <a:pt x="106" y="677"/>
                    </a:lnTo>
                    <a:lnTo>
                      <a:pt x="106" y="677"/>
                    </a:lnTo>
                    <a:lnTo>
                      <a:pt x="102" y="679"/>
                    </a:lnTo>
                    <a:lnTo>
                      <a:pt x="102" y="679"/>
                    </a:lnTo>
                    <a:lnTo>
                      <a:pt x="100" y="682"/>
                    </a:lnTo>
                    <a:lnTo>
                      <a:pt x="94" y="683"/>
                    </a:lnTo>
                    <a:lnTo>
                      <a:pt x="94" y="683"/>
                    </a:lnTo>
                    <a:lnTo>
                      <a:pt x="93" y="683"/>
                    </a:lnTo>
                    <a:lnTo>
                      <a:pt x="93" y="683"/>
                    </a:lnTo>
                    <a:lnTo>
                      <a:pt x="93" y="683"/>
                    </a:lnTo>
                    <a:lnTo>
                      <a:pt x="93" y="683"/>
                    </a:lnTo>
                    <a:lnTo>
                      <a:pt x="89" y="686"/>
                    </a:lnTo>
                    <a:lnTo>
                      <a:pt x="86" y="687"/>
                    </a:lnTo>
                    <a:lnTo>
                      <a:pt x="82" y="687"/>
                    </a:lnTo>
                    <a:lnTo>
                      <a:pt x="82" y="687"/>
                    </a:lnTo>
                    <a:close/>
                    <a:moveTo>
                      <a:pt x="86" y="469"/>
                    </a:moveTo>
                    <a:lnTo>
                      <a:pt x="86" y="469"/>
                    </a:lnTo>
                    <a:lnTo>
                      <a:pt x="88" y="472"/>
                    </a:lnTo>
                    <a:lnTo>
                      <a:pt x="88" y="472"/>
                    </a:lnTo>
                    <a:lnTo>
                      <a:pt x="88" y="472"/>
                    </a:lnTo>
                    <a:lnTo>
                      <a:pt x="88" y="472"/>
                    </a:lnTo>
                    <a:lnTo>
                      <a:pt x="88" y="472"/>
                    </a:lnTo>
                    <a:lnTo>
                      <a:pt x="89" y="472"/>
                    </a:lnTo>
                    <a:lnTo>
                      <a:pt x="89" y="472"/>
                    </a:lnTo>
                    <a:lnTo>
                      <a:pt x="90" y="470"/>
                    </a:lnTo>
                    <a:lnTo>
                      <a:pt x="92" y="469"/>
                    </a:lnTo>
                    <a:lnTo>
                      <a:pt x="88" y="470"/>
                    </a:lnTo>
                    <a:lnTo>
                      <a:pt x="88" y="470"/>
                    </a:lnTo>
                    <a:lnTo>
                      <a:pt x="86" y="469"/>
                    </a:lnTo>
                    <a:lnTo>
                      <a:pt x="86" y="469"/>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2" name="Freeform 29">
                <a:extLst>
                  <a:ext uri="{FF2B5EF4-FFF2-40B4-BE49-F238E27FC236}">
                    <a16:creationId xmlns:a16="http://schemas.microsoft.com/office/drawing/2014/main" xmlns="" id="{70C88202-F8D8-44D3-9928-7F507E5800F3}"/>
                  </a:ext>
                </a:extLst>
              </p:cNvPr>
              <p:cNvSpPr>
                <a:spLocks/>
              </p:cNvSpPr>
              <p:nvPr/>
            </p:nvSpPr>
            <p:spPr bwMode="auto">
              <a:xfrm>
                <a:off x="4592893" y="2928899"/>
                <a:ext cx="1138662" cy="945403"/>
              </a:xfrm>
              <a:custGeom>
                <a:avLst/>
                <a:gdLst>
                  <a:gd name="T0" fmla="*/ 411 w 654"/>
                  <a:gd name="T1" fmla="*/ 509 h 543"/>
                  <a:gd name="T2" fmla="*/ 369 w 654"/>
                  <a:gd name="T3" fmla="*/ 501 h 543"/>
                  <a:gd name="T4" fmla="*/ 328 w 654"/>
                  <a:gd name="T5" fmla="*/ 467 h 543"/>
                  <a:gd name="T6" fmla="*/ 301 w 654"/>
                  <a:gd name="T7" fmla="*/ 478 h 543"/>
                  <a:gd name="T8" fmla="*/ 276 w 654"/>
                  <a:gd name="T9" fmla="*/ 457 h 543"/>
                  <a:gd name="T10" fmla="*/ 256 w 654"/>
                  <a:gd name="T11" fmla="*/ 465 h 543"/>
                  <a:gd name="T12" fmla="*/ 250 w 654"/>
                  <a:gd name="T13" fmla="*/ 477 h 543"/>
                  <a:gd name="T14" fmla="*/ 246 w 654"/>
                  <a:gd name="T15" fmla="*/ 488 h 543"/>
                  <a:gd name="T16" fmla="*/ 210 w 654"/>
                  <a:gd name="T17" fmla="*/ 486 h 543"/>
                  <a:gd name="T18" fmla="*/ 181 w 654"/>
                  <a:gd name="T19" fmla="*/ 477 h 543"/>
                  <a:gd name="T20" fmla="*/ 143 w 654"/>
                  <a:gd name="T21" fmla="*/ 492 h 543"/>
                  <a:gd name="T22" fmla="*/ 116 w 654"/>
                  <a:gd name="T23" fmla="*/ 490 h 543"/>
                  <a:gd name="T24" fmla="*/ 83 w 654"/>
                  <a:gd name="T25" fmla="*/ 505 h 543"/>
                  <a:gd name="T26" fmla="*/ 51 w 654"/>
                  <a:gd name="T27" fmla="*/ 492 h 543"/>
                  <a:gd name="T28" fmla="*/ 17 w 654"/>
                  <a:gd name="T29" fmla="*/ 489 h 543"/>
                  <a:gd name="T30" fmla="*/ 1 w 654"/>
                  <a:gd name="T31" fmla="*/ 469 h 543"/>
                  <a:gd name="T32" fmla="*/ 16 w 654"/>
                  <a:gd name="T33" fmla="*/ 391 h 543"/>
                  <a:gd name="T34" fmla="*/ 26 w 654"/>
                  <a:gd name="T35" fmla="*/ 356 h 543"/>
                  <a:gd name="T36" fmla="*/ 30 w 654"/>
                  <a:gd name="T37" fmla="*/ 311 h 543"/>
                  <a:gd name="T38" fmla="*/ 70 w 654"/>
                  <a:gd name="T39" fmla="*/ 256 h 543"/>
                  <a:gd name="T40" fmla="*/ 85 w 654"/>
                  <a:gd name="T41" fmla="*/ 225 h 543"/>
                  <a:gd name="T42" fmla="*/ 108 w 654"/>
                  <a:gd name="T43" fmla="*/ 203 h 543"/>
                  <a:gd name="T44" fmla="*/ 131 w 654"/>
                  <a:gd name="T45" fmla="*/ 181 h 543"/>
                  <a:gd name="T46" fmla="*/ 163 w 654"/>
                  <a:gd name="T47" fmla="*/ 160 h 543"/>
                  <a:gd name="T48" fmla="*/ 192 w 654"/>
                  <a:gd name="T49" fmla="*/ 151 h 543"/>
                  <a:gd name="T50" fmla="*/ 217 w 654"/>
                  <a:gd name="T51" fmla="*/ 144 h 543"/>
                  <a:gd name="T52" fmla="*/ 264 w 654"/>
                  <a:gd name="T53" fmla="*/ 131 h 543"/>
                  <a:gd name="T54" fmla="*/ 300 w 654"/>
                  <a:gd name="T55" fmla="*/ 144 h 543"/>
                  <a:gd name="T56" fmla="*/ 312 w 654"/>
                  <a:gd name="T57" fmla="*/ 164 h 543"/>
                  <a:gd name="T58" fmla="*/ 321 w 654"/>
                  <a:gd name="T59" fmla="*/ 148 h 543"/>
                  <a:gd name="T60" fmla="*/ 321 w 654"/>
                  <a:gd name="T61" fmla="*/ 128 h 543"/>
                  <a:gd name="T62" fmla="*/ 352 w 654"/>
                  <a:gd name="T63" fmla="*/ 98 h 543"/>
                  <a:gd name="T64" fmla="*/ 375 w 654"/>
                  <a:gd name="T65" fmla="*/ 82 h 543"/>
                  <a:gd name="T66" fmla="*/ 418 w 654"/>
                  <a:gd name="T67" fmla="*/ 75 h 543"/>
                  <a:gd name="T68" fmla="*/ 419 w 654"/>
                  <a:gd name="T69" fmla="*/ 42 h 543"/>
                  <a:gd name="T70" fmla="*/ 412 w 654"/>
                  <a:gd name="T71" fmla="*/ 9 h 543"/>
                  <a:gd name="T72" fmla="*/ 415 w 654"/>
                  <a:gd name="T73" fmla="*/ 9 h 543"/>
                  <a:gd name="T74" fmla="*/ 441 w 654"/>
                  <a:gd name="T75" fmla="*/ 17 h 543"/>
                  <a:gd name="T76" fmla="*/ 472 w 654"/>
                  <a:gd name="T77" fmla="*/ 22 h 543"/>
                  <a:gd name="T78" fmla="*/ 485 w 654"/>
                  <a:gd name="T79" fmla="*/ 58 h 543"/>
                  <a:gd name="T80" fmla="*/ 473 w 654"/>
                  <a:gd name="T81" fmla="*/ 77 h 543"/>
                  <a:gd name="T82" fmla="*/ 486 w 654"/>
                  <a:gd name="T83" fmla="*/ 114 h 543"/>
                  <a:gd name="T84" fmla="*/ 505 w 654"/>
                  <a:gd name="T85" fmla="*/ 128 h 543"/>
                  <a:gd name="T86" fmla="*/ 512 w 654"/>
                  <a:gd name="T87" fmla="*/ 114 h 543"/>
                  <a:gd name="T88" fmla="*/ 546 w 654"/>
                  <a:gd name="T89" fmla="*/ 131 h 543"/>
                  <a:gd name="T90" fmla="*/ 557 w 654"/>
                  <a:gd name="T91" fmla="*/ 193 h 543"/>
                  <a:gd name="T92" fmla="*/ 580 w 654"/>
                  <a:gd name="T93" fmla="*/ 225 h 543"/>
                  <a:gd name="T94" fmla="*/ 607 w 654"/>
                  <a:gd name="T95" fmla="*/ 222 h 543"/>
                  <a:gd name="T96" fmla="*/ 633 w 654"/>
                  <a:gd name="T97" fmla="*/ 235 h 543"/>
                  <a:gd name="T98" fmla="*/ 654 w 654"/>
                  <a:gd name="T99" fmla="*/ 274 h 543"/>
                  <a:gd name="T100" fmla="*/ 636 w 654"/>
                  <a:gd name="T101" fmla="*/ 304 h 543"/>
                  <a:gd name="T102" fmla="*/ 623 w 654"/>
                  <a:gd name="T103" fmla="*/ 312 h 543"/>
                  <a:gd name="T104" fmla="*/ 596 w 654"/>
                  <a:gd name="T105" fmla="*/ 317 h 543"/>
                  <a:gd name="T106" fmla="*/ 551 w 654"/>
                  <a:gd name="T107" fmla="*/ 341 h 543"/>
                  <a:gd name="T108" fmla="*/ 550 w 654"/>
                  <a:gd name="T109" fmla="*/ 354 h 543"/>
                  <a:gd name="T110" fmla="*/ 568 w 654"/>
                  <a:gd name="T111" fmla="*/ 370 h 543"/>
                  <a:gd name="T112" fmla="*/ 582 w 654"/>
                  <a:gd name="T113" fmla="*/ 399 h 543"/>
                  <a:gd name="T114" fmla="*/ 588 w 654"/>
                  <a:gd name="T115" fmla="*/ 418 h 543"/>
                  <a:gd name="T116" fmla="*/ 578 w 654"/>
                  <a:gd name="T117" fmla="*/ 453 h 543"/>
                  <a:gd name="T118" fmla="*/ 546 w 654"/>
                  <a:gd name="T119" fmla="*/ 457 h 543"/>
                  <a:gd name="T120" fmla="*/ 531 w 654"/>
                  <a:gd name="T121" fmla="*/ 445 h 543"/>
                  <a:gd name="T122" fmla="*/ 512 w 654"/>
                  <a:gd name="T123" fmla="*/ 472 h 543"/>
                  <a:gd name="T124" fmla="*/ 479 w 654"/>
                  <a:gd name="T125" fmla="*/ 53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4" h="543">
                    <a:moveTo>
                      <a:pt x="455" y="543"/>
                    </a:moveTo>
                    <a:lnTo>
                      <a:pt x="449" y="542"/>
                    </a:lnTo>
                    <a:lnTo>
                      <a:pt x="449" y="542"/>
                    </a:lnTo>
                    <a:lnTo>
                      <a:pt x="449" y="542"/>
                    </a:lnTo>
                    <a:lnTo>
                      <a:pt x="443" y="534"/>
                    </a:lnTo>
                    <a:lnTo>
                      <a:pt x="441" y="529"/>
                    </a:lnTo>
                    <a:lnTo>
                      <a:pt x="441" y="529"/>
                    </a:lnTo>
                    <a:lnTo>
                      <a:pt x="441" y="527"/>
                    </a:lnTo>
                    <a:lnTo>
                      <a:pt x="440" y="523"/>
                    </a:lnTo>
                    <a:lnTo>
                      <a:pt x="440" y="522"/>
                    </a:lnTo>
                    <a:lnTo>
                      <a:pt x="440" y="522"/>
                    </a:lnTo>
                    <a:lnTo>
                      <a:pt x="436" y="518"/>
                    </a:lnTo>
                    <a:lnTo>
                      <a:pt x="436" y="518"/>
                    </a:lnTo>
                    <a:lnTo>
                      <a:pt x="430" y="513"/>
                    </a:lnTo>
                    <a:lnTo>
                      <a:pt x="430" y="513"/>
                    </a:lnTo>
                    <a:lnTo>
                      <a:pt x="426" y="515"/>
                    </a:lnTo>
                    <a:lnTo>
                      <a:pt x="422" y="515"/>
                    </a:lnTo>
                    <a:lnTo>
                      <a:pt x="422" y="515"/>
                    </a:lnTo>
                    <a:lnTo>
                      <a:pt x="419" y="515"/>
                    </a:lnTo>
                    <a:lnTo>
                      <a:pt x="416" y="514"/>
                    </a:lnTo>
                    <a:lnTo>
                      <a:pt x="411" y="509"/>
                    </a:lnTo>
                    <a:lnTo>
                      <a:pt x="411" y="509"/>
                    </a:lnTo>
                    <a:lnTo>
                      <a:pt x="408" y="508"/>
                    </a:lnTo>
                    <a:lnTo>
                      <a:pt x="406" y="508"/>
                    </a:lnTo>
                    <a:lnTo>
                      <a:pt x="406" y="508"/>
                    </a:lnTo>
                    <a:lnTo>
                      <a:pt x="402" y="509"/>
                    </a:lnTo>
                    <a:lnTo>
                      <a:pt x="401" y="512"/>
                    </a:lnTo>
                    <a:lnTo>
                      <a:pt x="395" y="517"/>
                    </a:lnTo>
                    <a:lnTo>
                      <a:pt x="394" y="517"/>
                    </a:lnTo>
                    <a:lnTo>
                      <a:pt x="391" y="517"/>
                    </a:lnTo>
                    <a:lnTo>
                      <a:pt x="391" y="517"/>
                    </a:lnTo>
                    <a:lnTo>
                      <a:pt x="386" y="513"/>
                    </a:lnTo>
                    <a:lnTo>
                      <a:pt x="382" y="509"/>
                    </a:lnTo>
                    <a:lnTo>
                      <a:pt x="381" y="502"/>
                    </a:lnTo>
                    <a:lnTo>
                      <a:pt x="378" y="496"/>
                    </a:lnTo>
                    <a:lnTo>
                      <a:pt x="378" y="494"/>
                    </a:lnTo>
                    <a:lnTo>
                      <a:pt x="378" y="494"/>
                    </a:lnTo>
                    <a:lnTo>
                      <a:pt x="375" y="493"/>
                    </a:lnTo>
                    <a:lnTo>
                      <a:pt x="375" y="493"/>
                    </a:lnTo>
                    <a:lnTo>
                      <a:pt x="371" y="498"/>
                    </a:lnTo>
                    <a:lnTo>
                      <a:pt x="371" y="498"/>
                    </a:lnTo>
                    <a:lnTo>
                      <a:pt x="371" y="500"/>
                    </a:lnTo>
                    <a:lnTo>
                      <a:pt x="371" y="500"/>
                    </a:lnTo>
                    <a:lnTo>
                      <a:pt x="369" y="501"/>
                    </a:lnTo>
                    <a:lnTo>
                      <a:pt x="363" y="502"/>
                    </a:lnTo>
                    <a:lnTo>
                      <a:pt x="363" y="502"/>
                    </a:lnTo>
                    <a:lnTo>
                      <a:pt x="361" y="502"/>
                    </a:lnTo>
                    <a:lnTo>
                      <a:pt x="356" y="496"/>
                    </a:lnTo>
                    <a:lnTo>
                      <a:pt x="356" y="494"/>
                    </a:lnTo>
                    <a:lnTo>
                      <a:pt x="356" y="494"/>
                    </a:lnTo>
                    <a:lnTo>
                      <a:pt x="353" y="490"/>
                    </a:lnTo>
                    <a:lnTo>
                      <a:pt x="350" y="486"/>
                    </a:lnTo>
                    <a:lnTo>
                      <a:pt x="342" y="481"/>
                    </a:lnTo>
                    <a:lnTo>
                      <a:pt x="340" y="477"/>
                    </a:lnTo>
                    <a:lnTo>
                      <a:pt x="338" y="477"/>
                    </a:lnTo>
                    <a:lnTo>
                      <a:pt x="336" y="477"/>
                    </a:lnTo>
                    <a:lnTo>
                      <a:pt x="334" y="477"/>
                    </a:lnTo>
                    <a:lnTo>
                      <a:pt x="334" y="477"/>
                    </a:lnTo>
                    <a:lnTo>
                      <a:pt x="332" y="476"/>
                    </a:lnTo>
                    <a:lnTo>
                      <a:pt x="330" y="473"/>
                    </a:lnTo>
                    <a:lnTo>
                      <a:pt x="329" y="471"/>
                    </a:lnTo>
                    <a:lnTo>
                      <a:pt x="329" y="469"/>
                    </a:lnTo>
                    <a:lnTo>
                      <a:pt x="329" y="469"/>
                    </a:lnTo>
                    <a:lnTo>
                      <a:pt x="330" y="472"/>
                    </a:lnTo>
                    <a:lnTo>
                      <a:pt x="333" y="473"/>
                    </a:lnTo>
                    <a:lnTo>
                      <a:pt x="328" y="467"/>
                    </a:lnTo>
                    <a:lnTo>
                      <a:pt x="328" y="467"/>
                    </a:lnTo>
                    <a:lnTo>
                      <a:pt x="329" y="468"/>
                    </a:lnTo>
                    <a:lnTo>
                      <a:pt x="329" y="468"/>
                    </a:lnTo>
                    <a:lnTo>
                      <a:pt x="328" y="467"/>
                    </a:lnTo>
                    <a:lnTo>
                      <a:pt x="326" y="467"/>
                    </a:lnTo>
                    <a:lnTo>
                      <a:pt x="325" y="465"/>
                    </a:lnTo>
                    <a:lnTo>
                      <a:pt x="325" y="465"/>
                    </a:lnTo>
                    <a:lnTo>
                      <a:pt x="321" y="465"/>
                    </a:lnTo>
                    <a:lnTo>
                      <a:pt x="321" y="465"/>
                    </a:lnTo>
                    <a:lnTo>
                      <a:pt x="317" y="465"/>
                    </a:lnTo>
                    <a:lnTo>
                      <a:pt x="317" y="465"/>
                    </a:lnTo>
                    <a:lnTo>
                      <a:pt x="313" y="468"/>
                    </a:lnTo>
                    <a:lnTo>
                      <a:pt x="308" y="469"/>
                    </a:lnTo>
                    <a:lnTo>
                      <a:pt x="308" y="469"/>
                    </a:lnTo>
                    <a:lnTo>
                      <a:pt x="308" y="469"/>
                    </a:lnTo>
                    <a:lnTo>
                      <a:pt x="308" y="469"/>
                    </a:lnTo>
                    <a:lnTo>
                      <a:pt x="305" y="471"/>
                    </a:lnTo>
                    <a:lnTo>
                      <a:pt x="305" y="471"/>
                    </a:lnTo>
                    <a:lnTo>
                      <a:pt x="305" y="473"/>
                    </a:lnTo>
                    <a:lnTo>
                      <a:pt x="304" y="476"/>
                    </a:lnTo>
                    <a:lnTo>
                      <a:pt x="304" y="476"/>
                    </a:lnTo>
                    <a:lnTo>
                      <a:pt x="301" y="478"/>
                    </a:lnTo>
                    <a:lnTo>
                      <a:pt x="299" y="478"/>
                    </a:lnTo>
                    <a:lnTo>
                      <a:pt x="299" y="478"/>
                    </a:lnTo>
                    <a:lnTo>
                      <a:pt x="297" y="480"/>
                    </a:lnTo>
                    <a:lnTo>
                      <a:pt x="295" y="481"/>
                    </a:lnTo>
                    <a:lnTo>
                      <a:pt x="287" y="476"/>
                    </a:lnTo>
                    <a:lnTo>
                      <a:pt x="287" y="473"/>
                    </a:lnTo>
                    <a:lnTo>
                      <a:pt x="287" y="473"/>
                    </a:lnTo>
                    <a:lnTo>
                      <a:pt x="287" y="468"/>
                    </a:lnTo>
                    <a:lnTo>
                      <a:pt x="287" y="468"/>
                    </a:lnTo>
                    <a:lnTo>
                      <a:pt x="287" y="465"/>
                    </a:lnTo>
                    <a:lnTo>
                      <a:pt x="287" y="465"/>
                    </a:lnTo>
                    <a:lnTo>
                      <a:pt x="284" y="467"/>
                    </a:lnTo>
                    <a:lnTo>
                      <a:pt x="282" y="468"/>
                    </a:lnTo>
                    <a:lnTo>
                      <a:pt x="282" y="468"/>
                    </a:lnTo>
                    <a:lnTo>
                      <a:pt x="279" y="468"/>
                    </a:lnTo>
                    <a:lnTo>
                      <a:pt x="275" y="463"/>
                    </a:lnTo>
                    <a:lnTo>
                      <a:pt x="275" y="463"/>
                    </a:lnTo>
                    <a:lnTo>
                      <a:pt x="275" y="459"/>
                    </a:lnTo>
                    <a:lnTo>
                      <a:pt x="276" y="456"/>
                    </a:lnTo>
                    <a:lnTo>
                      <a:pt x="276" y="456"/>
                    </a:lnTo>
                    <a:lnTo>
                      <a:pt x="276" y="456"/>
                    </a:lnTo>
                    <a:lnTo>
                      <a:pt x="276" y="457"/>
                    </a:lnTo>
                    <a:lnTo>
                      <a:pt x="279" y="453"/>
                    </a:lnTo>
                    <a:lnTo>
                      <a:pt x="279" y="453"/>
                    </a:lnTo>
                    <a:lnTo>
                      <a:pt x="279" y="453"/>
                    </a:lnTo>
                    <a:lnTo>
                      <a:pt x="279" y="453"/>
                    </a:lnTo>
                    <a:lnTo>
                      <a:pt x="278" y="455"/>
                    </a:lnTo>
                    <a:lnTo>
                      <a:pt x="278" y="455"/>
                    </a:lnTo>
                    <a:lnTo>
                      <a:pt x="278" y="453"/>
                    </a:lnTo>
                    <a:lnTo>
                      <a:pt x="278" y="453"/>
                    </a:lnTo>
                    <a:lnTo>
                      <a:pt x="278" y="453"/>
                    </a:lnTo>
                    <a:lnTo>
                      <a:pt x="278" y="453"/>
                    </a:lnTo>
                    <a:lnTo>
                      <a:pt x="276" y="453"/>
                    </a:lnTo>
                    <a:lnTo>
                      <a:pt x="275" y="453"/>
                    </a:lnTo>
                    <a:lnTo>
                      <a:pt x="268" y="453"/>
                    </a:lnTo>
                    <a:lnTo>
                      <a:pt x="267" y="453"/>
                    </a:lnTo>
                    <a:lnTo>
                      <a:pt x="266" y="456"/>
                    </a:lnTo>
                    <a:lnTo>
                      <a:pt x="266" y="456"/>
                    </a:lnTo>
                    <a:lnTo>
                      <a:pt x="263" y="459"/>
                    </a:lnTo>
                    <a:lnTo>
                      <a:pt x="263" y="463"/>
                    </a:lnTo>
                    <a:lnTo>
                      <a:pt x="263" y="464"/>
                    </a:lnTo>
                    <a:lnTo>
                      <a:pt x="259" y="467"/>
                    </a:lnTo>
                    <a:lnTo>
                      <a:pt x="259" y="467"/>
                    </a:lnTo>
                    <a:lnTo>
                      <a:pt x="256" y="465"/>
                    </a:lnTo>
                    <a:lnTo>
                      <a:pt x="259" y="468"/>
                    </a:lnTo>
                    <a:lnTo>
                      <a:pt x="256" y="471"/>
                    </a:lnTo>
                    <a:lnTo>
                      <a:pt x="256" y="471"/>
                    </a:lnTo>
                    <a:lnTo>
                      <a:pt x="256" y="471"/>
                    </a:lnTo>
                    <a:lnTo>
                      <a:pt x="256" y="471"/>
                    </a:lnTo>
                    <a:lnTo>
                      <a:pt x="258" y="469"/>
                    </a:lnTo>
                    <a:lnTo>
                      <a:pt x="260" y="469"/>
                    </a:lnTo>
                    <a:lnTo>
                      <a:pt x="262" y="471"/>
                    </a:lnTo>
                    <a:lnTo>
                      <a:pt x="262" y="471"/>
                    </a:lnTo>
                    <a:lnTo>
                      <a:pt x="262" y="475"/>
                    </a:lnTo>
                    <a:lnTo>
                      <a:pt x="262" y="477"/>
                    </a:lnTo>
                    <a:lnTo>
                      <a:pt x="262" y="477"/>
                    </a:lnTo>
                    <a:lnTo>
                      <a:pt x="258" y="480"/>
                    </a:lnTo>
                    <a:lnTo>
                      <a:pt x="255" y="480"/>
                    </a:lnTo>
                    <a:lnTo>
                      <a:pt x="252" y="480"/>
                    </a:lnTo>
                    <a:lnTo>
                      <a:pt x="250" y="477"/>
                    </a:lnTo>
                    <a:lnTo>
                      <a:pt x="250" y="478"/>
                    </a:lnTo>
                    <a:lnTo>
                      <a:pt x="248" y="477"/>
                    </a:lnTo>
                    <a:lnTo>
                      <a:pt x="248" y="477"/>
                    </a:lnTo>
                    <a:lnTo>
                      <a:pt x="250" y="477"/>
                    </a:lnTo>
                    <a:lnTo>
                      <a:pt x="250" y="477"/>
                    </a:lnTo>
                    <a:lnTo>
                      <a:pt x="250" y="477"/>
                    </a:lnTo>
                    <a:lnTo>
                      <a:pt x="250" y="476"/>
                    </a:lnTo>
                    <a:lnTo>
                      <a:pt x="247" y="476"/>
                    </a:lnTo>
                    <a:lnTo>
                      <a:pt x="247" y="476"/>
                    </a:lnTo>
                    <a:lnTo>
                      <a:pt x="247" y="477"/>
                    </a:lnTo>
                    <a:lnTo>
                      <a:pt x="246" y="476"/>
                    </a:lnTo>
                    <a:lnTo>
                      <a:pt x="246" y="476"/>
                    </a:lnTo>
                    <a:lnTo>
                      <a:pt x="246" y="476"/>
                    </a:lnTo>
                    <a:lnTo>
                      <a:pt x="248" y="477"/>
                    </a:lnTo>
                    <a:lnTo>
                      <a:pt x="248" y="477"/>
                    </a:lnTo>
                    <a:lnTo>
                      <a:pt x="250" y="478"/>
                    </a:lnTo>
                    <a:lnTo>
                      <a:pt x="246" y="482"/>
                    </a:lnTo>
                    <a:lnTo>
                      <a:pt x="246" y="482"/>
                    </a:lnTo>
                    <a:lnTo>
                      <a:pt x="248" y="481"/>
                    </a:lnTo>
                    <a:lnTo>
                      <a:pt x="250" y="480"/>
                    </a:lnTo>
                    <a:lnTo>
                      <a:pt x="250" y="480"/>
                    </a:lnTo>
                    <a:lnTo>
                      <a:pt x="250" y="480"/>
                    </a:lnTo>
                    <a:lnTo>
                      <a:pt x="250" y="480"/>
                    </a:lnTo>
                    <a:lnTo>
                      <a:pt x="250" y="482"/>
                    </a:lnTo>
                    <a:lnTo>
                      <a:pt x="250" y="484"/>
                    </a:lnTo>
                    <a:lnTo>
                      <a:pt x="250" y="484"/>
                    </a:lnTo>
                    <a:lnTo>
                      <a:pt x="247" y="486"/>
                    </a:lnTo>
                    <a:lnTo>
                      <a:pt x="246" y="488"/>
                    </a:lnTo>
                    <a:lnTo>
                      <a:pt x="242" y="489"/>
                    </a:lnTo>
                    <a:lnTo>
                      <a:pt x="242" y="489"/>
                    </a:lnTo>
                    <a:lnTo>
                      <a:pt x="242" y="489"/>
                    </a:lnTo>
                    <a:lnTo>
                      <a:pt x="243" y="488"/>
                    </a:lnTo>
                    <a:lnTo>
                      <a:pt x="244" y="485"/>
                    </a:lnTo>
                    <a:lnTo>
                      <a:pt x="238" y="490"/>
                    </a:lnTo>
                    <a:lnTo>
                      <a:pt x="238" y="490"/>
                    </a:lnTo>
                    <a:lnTo>
                      <a:pt x="237" y="490"/>
                    </a:lnTo>
                    <a:lnTo>
                      <a:pt x="237" y="490"/>
                    </a:lnTo>
                    <a:lnTo>
                      <a:pt x="235" y="492"/>
                    </a:lnTo>
                    <a:lnTo>
                      <a:pt x="231" y="492"/>
                    </a:lnTo>
                    <a:lnTo>
                      <a:pt x="231" y="492"/>
                    </a:lnTo>
                    <a:lnTo>
                      <a:pt x="229" y="492"/>
                    </a:lnTo>
                    <a:lnTo>
                      <a:pt x="226" y="492"/>
                    </a:lnTo>
                    <a:lnTo>
                      <a:pt x="226" y="492"/>
                    </a:lnTo>
                    <a:lnTo>
                      <a:pt x="222" y="492"/>
                    </a:lnTo>
                    <a:lnTo>
                      <a:pt x="219" y="490"/>
                    </a:lnTo>
                    <a:lnTo>
                      <a:pt x="217" y="490"/>
                    </a:lnTo>
                    <a:lnTo>
                      <a:pt x="213" y="488"/>
                    </a:lnTo>
                    <a:lnTo>
                      <a:pt x="213" y="488"/>
                    </a:lnTo>
                    <a:lnTo>
                      <a:pt x="211" y="488"/>
                    </a:lnTo>
                    <a:lnTo>
                      <a:pt x="210" y="486"/>
                    </a:lnTo>
                    <a:lnTo>
                      <a:pt x="210" y="486"/>
                    </a:lnTo>
                    <a:lnTo>
                      <a:pt x="207" y="486"/>
                    </a:lnTo>
                    <a:lnTo>
                      <a:pt x="207" y="486"/>
                    </a:lnTo>
                    <a:lnTo>
                      <a:pt x="206" y="486"/>
                    </a:lnTo>
                    <a:lnTo>
                      <a:pt x="204" y="486"/>
                    </a:lnTo>
                    <a:lnTo>
                      <a:pt x="198" y="484"/>
                    </a:lnTo>
                    <a:lnTo>
                      <a:pt x="198" y="484"/>
                    </a:lnTo>
                    <a:lnTo>
                      <a:pt x="197" y="484"/>
                    </a:lnTo>
                    <a:lnTo>
                      <a:pt x="197" y="484"/>
                    </a:lnTo>
                    <a:lnTo>
                      <a:pt x="196" y="482"/>
                    </a:lnTo>
                    <a:lnTo>
                      <a:pt x="196" y="482"/>
                    </a:lnTo>
                    <a:lnTo>
                      <a:pt x="194" y="482"/>
                    </a:lnTo>
                    <a:lnTo>
                      <a:pt x="194" y="482"/>
                    </a:lnTo>
                    <a:lnTo>
                      <a:pt x="194" y="482"/>
                    </a:lnTo>
                    <a:lnTo>
                      <a:pt x="194" y="482"/>
                    </a:lnTo>
                    <a:lnTo>
                      <a:pt x="192" y="482"/>
                    </a:lnTo>
                    <a:lnTo>
                      <a:pt x="192" y="482"/>
                    </a:lnTo>
                    <a:lnTo>
                      <a:pt x="189" y="484"/>
                    </a:lnTo>
                    <a:lnTo>
                      <a:pt x="189" y="484"/>
                    </a:lnTo>
                    <a:lnTo>
                      <a:pt x="185" y="482"/>
                    </a:lnTo>
                    <a:lnTo>
                      <a:pt x="182" y="481"/>
                    </a:lnTo>
                    <a:lnTo>
                      <a:pt x="181" y="477"/>
                    </a:lnTo>
                    <a:lnTo>
                      <a:pt x="178" y="477"/>
                    </a:lnTo>
                    <a:lnTo>
                      <a:pt x="178" y="477"/>
                    </a:lnTo>
                    <a:lnTo>
                      <a:pt x="178" y="477"/>
                    </a:lnTo>
                    <a:lnTo>
                      <a:pt x="178" y="478"/>
                    </a:lnTo>
                    <a:lnTo>
                      <a:pt x="178" y="478"/>
                    </a:lnTo>
                    <a:lnTo>
                      <a:pt x="177" y="480"/>
                    </a:lnTo>
                    <a:lnTo>
                      <a:pt x="176" y="482"/>
                    </a:lnTo>
                    <a:lnTo>
                      <a:pt x="172" y="484"/>
                    </a:lnTo>
                    <a:lnTo>
                      <a:pt x="170" y="484"/>
                    </a:lnTo>
                    <a:lnTo>
                      <a:pt x="170" y="484"/>
                    </a:lnTo>
                    <a:lnTo>
                      <a:pt x="169" y="485"/>
                    </a:lnTo>
                    <a:lnTo>
                      <a:pt x="166" y="486"/>
                    </a:lnTo>
                    <a:lnTo>
                      <a:pt x="165" y="488"/>
                    </a:lnTo>
                    <a:lnTo>
                      <a:pt x="161" y="489"/>
                    </a:lnTo>
                    <a:lnTo>
                      <a:pt x="155" y="489"/>
                    </a:lnTo>
                    <a:lnTo>
                      <a:pt x="155" y="489"/>
                    </a:lnTo>
                    <a:lnTo>
                      <a:pt x="153" y="492"/>
                    </a:lnTo>
                    <a:lnTo>
                      <a:pt x="148" y="494"/>
                    </a:lnTo>
                    <a:lnTo>
                      <a:pt x="147" y="494"/>
                    </a:lnTo>
                    <a:lnTo>
                      <a:pt x="143" y="492"/>
                    </a:lnTo>
                    <a:lnTo>
                      <a:pt x="143" y="492"/>
                    </a:lnTo>
                    <a:lnTo>
                      <a:pt x="143" y="492"/>
                    </a:lnTo>
                    <a:lnTo>
                      <a:pt x="143" y="492"/>
                    </a:lnTo>
                    <a:lnTo>
                      <a:pt x="143" y="492"/>
                    </a:lnTo>
                    <a:lnTo>
                      <a:pt x="143" y="492"/>
                    </a:lnTo>
                    <a:lnTo>
                      <a:pt x="141" y="492"/>
                    </a:lnTo>
                    <a:lnTo>
                      <a:pt x="141" y="492"/>
                    </a:lnTo>
                    <a:lnTo>
                      <a:pt x="141" y="492"/>
                    </a:lnTo>
                    <a:lnTo>
                      <a:pt x="137" y="490"/>
                    </a:lnTo>
                    <a:lnTo>
                      <a:pt x="135" y="489"/>
                    </a:lnTo>
                    <a:lnTo>
                      <a:pt x="135" y="489"/>
                    </a:lnTo>
                    <a:lnTo>
                      <a:pt x="135" y="489"/>
                    </a:lnTo>
                    <a:lnTo>
                      <a:pt x="133" y="488"/>
                    </a:lnTo>
                    <a:lnTo>
                      <a:pt x="133" y="488"/>
                    </a:lnTo>
                    <a:lnTo>
                      <a:pt x="132" y="488"/>
                    </a:lnTo>
                    <a:lnTo>
                      <a:pt x="132" y="488"/>
                    </a:lnTo>
                    <a:lnTo>
                      <a:pt x="129" y="488"/>
                    </a:lnTo>
                    <a:lnTo>
                      <a:pt x="129" y="488"/>
                    </a:lnTo>
                    <a:lnTo>
                      <a:pt x="128" y="488"/>
                    </a:lnTo>
                    <a:lnTo>
                      <a:pt x="119" y="488"/>
                    </a:lnTo>
                    <a:lnTo>
                      <a:pt x="119" y="488"/>
                    </a:lnTo>
                    <a:lnTo>
                      <a:pt x="119" y="489"/>
                    </a:lnTo>
                    <a:lnTo>
                      <a:pt x="119" y="489"/>
                    </a:lnTo>
                    <a:lnTo>
                      <a:pt x="116" y="490"/>
                    </a:lnTo>
                    <a:lnTo>
                      <a:pt x="114" y="492"/>
                    </a:lnTo>
                    <a:lnTo>
                      <a:pt x="112" y="492"/>
                    </a:lnTo>
                    <a:lnTo>
                      <a:pt x="106" y="485"/>
                    </a:lnTo>
                    <a:lnTo>
                      <a:pt x="106" y="485"/>
                    </a:lnTo>
                    <a:lnTo>
                      <a:pt x="107" y="488"/>
                    </a:lnTo>
                    <a:lnTo>
                      <a:pt x="104" y="486"/>
                    </a:lnTo>
                    <a:lnTo>
                      <a:pt x="104" y="486"/>
                    </a:lnTo>
                    <a:lnTo>
                      <a:pt x="107" y="488"/>
                    </a:lnTo>
                    <a:lnTo>
                      <a:pt x="107" y="488"/>
                    </a:lnTo>
                    <a:lnTo>
                      <a:pt x="107" y="488"/>
                    </a:lnTo>
                    <a:lnTo>
                      <a:pt x="107" y="488"/>
                    </a:lnTo>
                    <a:lnTo>
                      <a:pt x="104" y="489"/>
                    </a:lnTo>
                    <a:lnTo>
                      <a:pt x="104" y="490"/>
                    </a:lnTo>
                    <a:lnTo>
                      <a:pt x="104" y="490"/>
                    </a:lnTo>
                    <a:lnTo>
                      <a:pt x="100" y="497"/>
                    </a:lnTo>
                    <a:lnTo>
                      <a:pt x="94" y="501"/>
                    </a:lnTo>
                    <a:lnTo>
                      <a:pt x="91" y="502"/>
                    </a:lnTo>
                    <a:lnTo>
                      <a:pt x="90" y="502"/>
                    </a:lnTo>
                    <a:lnTo>
                      <a:pt x="90" y="502"/>
                    </a:lnTo>
                    <a:lnTo>
                      <a:pt x="87" y="504"/>
                    </a:lnTo>
                    <a:lnTo>
                      <a:pt x="83" y="505"/>
                    </a:lnTo>
                    <a:lnTo>
                      <a:pt x="83" y="505"/>
                    </a:lnTo>
                    <a:lnTo>
                      <a:pt x="79" y="505"/>
                    </a:lnTo>
                    <a:lnTo>
                      <a:pt x="77" y="502"/>
                    </a:lnTo>
                    <a:lnTo>
                      <a:pt x="75" y="498"/>
                    </a:lnTo>
                    <a:lnTo>
                      <a:pt x="75" y="498"/>
                    </a:lnTo>
                    <a:lnTo>
                      <a:pt x="75" y="497"/>
                    </a:lnTo>
                    <a:lnTo>
                      <a:pt x="75" y="497"/>
                    </a:lnTo>
                    <a:lnTo>
                      <a:pt x="75" y="497"/>
                    </a:lnTo>
                    <a:lnTo>
                      <a:pt x="73" y="492"/>
                    </a:lnTo>
                    <a:lnTo>
                      <a:pt x="73" y="492"/>
                    </a:lnTo>
                    <a:lnTo>
                      <a:pt x="73" y="492"/>
                    </a:lnTo>
                    <a:lnTo>
                      <a:pt x="73" y="490"/>
                    </a:lnTo>
                    <a:lnTo>
                      <a:pt x="73" y="490"/>
                    </a:lnTo>
                    <a:lnTo>
                      <a:pt x="70" y="490"/>
                    </a:lnTo>
                    <a:lnTo>
                      <a:pt x="70" y="490"/>
                    </a:lnTo>
                    <a:lnTo>
                      <a:pt x="63" y="490"/>
                    </a:lnTo>
                    <a:lnTo>
                      <a:pt x="63" y="490"/>
                    </a:lnTo>
                    <a:lnTo>
                      <a:pt x="57" y="490"/>
                    </a:lnTo>
                    <a:lnTo>
                      <a:pt x="57" y="490"/>
                    </a:lnTo>
                    <a:lnTo>
                      <a:pt x="53" y="490"/>
                    </a:lnTo>
                    <a:lnTo>
                      <a:pt x="53" y="490"/>
                    </a:lnTo>
                    <a:lnTo>
                      <a:pt x="51" y="492"/>
                    </a:lnTo>
                    <a:lnTo>
                      <a:pt x="51" y="492"/>
                    </a:lnTo>
                    <a:lnTo>
                      <a:pt x="51" y="496"/>
                    </a:lnTo>
                    <a:lnTo>
                      <a:pt x="50" y="498"/>
                    </a:lnTo>
                    <a:lnTo>
                      <a:pt x="50" y="498"/>
                    </a:lnTo>
                    <a:lnTo>
                      <a:pt x="47" y="500"/>
                    </a:lnTo>
                    <a:lnTo>
                      <a:pt x="44" y="501"/>
                    </a:lnTo>
                    <a:lnTo>
                      <a:pt x="42" y="501"/>
                    </a:lnTo>
                    <a:lnTo>
                      <a:pt x="42" y="501"/>
                    </a:lnTo>
                    <a:lnTo>
                      <a:pt x="37" y="498"/>
                    </a:lnTo>
                    <a:lnTo>
                      <a:pt x="37" y="498"/>
                    </a:lnTo>
                    <a:lnTo>
                      <a:pt x="34" y="496"/>
                    </a:lnTo>
                    <a:lnTo>
                      <a:pt x="29" y="493"/>
                    </a:lnTo>
                    <a:lnTo>
                      <a:pt x="29" y="493"/>
                    </a:lnTo>
                    <a:lnTo>
                      <a:pt x="26" y="490"/>
                    </a:lnTo>
                    <a:lnTo>
                      <a:pt x="26" y="490"/>
                    </a:lnTo>
                    <a:lnTo>
                      <a:pt x="22" y="488"/>
                    </a:lnTo>
                    <a:lnTo>
                      <a:pt x="22" y="488"/>
                    </a:lnTo>
                    <a:lnTo>
                      <a:pt x="22" y="488"/>
                    </a:lnTo>
                    <a:lnTo>
                      <a:pt x="22" y="488"/>
                    </a:lnTo>
                    <a:lnTo>
                      <a:pt x="21" y="488"/>
                    </a:lnTo>
                    <a:lnTo>
                      <a:pt x="18" y="488"/>
                    </a:lnTo>
                    <a:lnTo>
                      <a:pt x="18" y="488"/>
                    </a:lnTo>
                    <a:lnTo>
                      <a:pt x="17" y="489"/>
                    </a:lnTo>
                    <a:lnTo>
                      <a:pt x="17" y="489"/>
                    </a:lnTo>
                    <a:lnTo>
                      <a:pt x="14" y="489"/>
                    </a:lnTo>
                    <a:lnTo>
                      <a:pt x="12" y="490"/>
                    </a:lnTo>
                    <a:lnTo>
                      <a:pt x="12" y="490"/>
                    </a:lnTo>
                    <a:lnTo>
                      <a:pt x="8" y="489"/>
                    </a:lnTo>
                    <a:lnTo>
                      <a:pt x="5" y="488"/>
                    </a:lnTo>
                    <a:lnTo>
                      <a:pt x="3" y="484"/>
                    </a:lnTo>
                    <a:lnTo>
                      <a:pt x="3" y="482"/>
                    </a:lnTo>
                    <a:lnTo>
                      <a:pt x="3" y="482"/>
                    </a:lnTo>
                    <a:lnTo>
                      <a:pt x="3" y="480"/>
                    </a:lnTo>
                    <a:lnTo>
                      <a:pt x="3" y="480"/>
                    </a:lnTo>
                    <a:lnTo>
                      <a:pt x="3" y="478"/>
                    </a:lnTo>
                    <a:lnTo>
                      <a:pt x="3" y="478"/>
                    </a:lnTo>
                    <a:lnTo>
                      <a:pt x="4" y="481"/>
                    </a:lnTo>
                    <a:lnTo>
                      <a:pt x="7" y="482"/>
                    </a:lnTo>
                    <a:lnTo>
                      <a:pt x="1" y="476"/>
                    </a:lnTo>
                    <a:lnTo>
                      <a:pt x="1" y="476"/>
                    </a:lnTo>
                    <a:lnTo>
                      <a:pt x="1" y="476"/>
                    </a:lnTo>
                    <a:lnTo>
                      <a:pt x="0" y="475"/>
                    </a:lnTo>
                    <a:lnTo>
                      <a:pt x="0" y="472"/>
                    </a:lnTo>
                    <a:lnTo>
                      <a:pt x="1" y="469"/>
                    </a:lnTo>
                    <a:lnTo>
                      <a:pt x="1" y="469"/>
                    </a:lnTo>
                    <a:lnTo>
                      <a:pt x="9" y="452"/>
                    </a:lnTo>
                    <a:lnTo>
                      <a:pt x="9" y="452"/>
                    </a:lnTo>
                    <a:lnTo>
                      <a:pt x="18" y="436"/>
                    </a:lnTo>
                    <a:lnTo>
                      <a:pt x="26" y="419"/>
                    </a:lnTo>
                    <a:lnTo>
                      <a:pt x="26" y="418"/>
                    </a:lnTo>
                    <a:lnTo>
                      <a:pt x="26" y="418"/>
                    </a:lnTo>
                    <a:lnTo>
                      <a:pt x="22" y="418"/>
                    </a:lnTo>
                    <a:lnTo>
                      <a:pt x="22" y="418"/>
                    </a:lnTo>
                    <a:lnTo>
                      <a:pt x="20" y="416"/>
                    </a:lnTo>
                    <a:lnTo>
                      <a:pt x="18" y="416"/>
                    </a:lnTo>
                    <a:lnTo>
                      <a:pt x="13" y="411"/>
                    </a:lnTo>
                    <a:lnTo>
                      <a:pt x="13" y="411"/>
                    </a:lnTo>
                    <a:lnTo>
                      <a:pt x="14" y="414"/>
                    </a:lnTo>
                    <a:lnTo>
                      <a:pt x="17" y="416"/>
                    </a:lnTo>
                    <a:lnTo>
                      <a:pt x="17" y="416"/>
                    </a:lnTo>
                    <a:lnTo>
                      <a:pt x="14" y="415"/>
                    </a:lnTo>
                    <a:lnTo>
                      <a:pt x="10" y="408"/>
                    </a:lnTo>
                    <a:lnTo>
                      <a:pt x="10" y="408"/>
                    </a:lnTo>
                    <a:lnTo>
                      <a:pt x="12" y="402"/>
                    </a:lnTo>
                    <a:lnTo>
                      <a:pt x="14" y="397"/>
                    </a:lnTo>
                    <a:lnTo>
                      <a:pt x="14" y="397"/>
                    </a:lnTo>
                    <a:lnTo>
                      <a:pt x="16" y="391"/>
                    </a:lnTo>
                    <a:lnTo>
                      <a:pt x="17" y="386"/>
                    </a:lnTo>
                    <a:lnTo>
                      <a:pt x="17" y="386"/>
                    </a:lnTo>
                    <a:lnTo>
                      <a:pt x="20" y="381"/>
                    </a:lnTo>
                    <a:lnTo>
                      <a:pt x="20" y="381"/>
                    </a:lnTo>
                    <a:lnTo>
                      <a:pt x="18" y="382"/>
                    </a:lnTo>
                    <a:lnTo>
                      <a:pt x="18" y="383"/>
                    </a:lnTo>
                    <a:lnTo>
                      <a:pt x="18" y="383"/>
                    </a:lnTo>
                    <a:lnTo>
                      <a:pt x="17" y="381"/>
                    </a:lnTo>
                    <a:lnTo>
                      <a:pt x="16" y="378"/>
                    </a:lnTo>
                    <a:lnTo>
                      <a:pt x="16" y="378"/>
                    </a:lnTo>
                    <a:lnTo>
                      <a:pt x="16" y="374"/>
                    </a:lnTo>
                    <a:lnTo>
                      <a:pt x="17" y="371"/>
                    </a:lnTo>
                    <a:lnTo>
                      <a:pt x="20" y="367"/>
                    </a:lnTo>
                    <a:lnTo>
                      <a:pt x="20" y="367"/>
                    </a:lnTo>
                    <a:lnTo>
                      <a:pt x="20" y="370"/>
                    </a:lnTo>
                    <a:lnTo>
                      <a:pt x="25" y="363"/>
                    </a:lnTo>
                    <a:lnTo>
                      <a:pt x="25" y="363"/>
                    </a:lnTo>
                    <a:lnTo>
                      <a:pt x="24" y="363"/>
                    </a:lnTo>
                    <a:lnTo>
                      <a:pt x="24" y="363"/>
                    </a:lnTo>
                    <a:lnTo>
                      <a:pt x="25" y="359"/>
                    </a:lnTo>
                    <a:lnTo>
                      <a:pt x="25" y="359"/>
                    </a:lnTo>
                    <a:lnTo>
                      <a:pt x="26" y="356"/>
                    </a:lnTo>
                    <a:lnTo>
                      <a:pt x="28" y="352"/>
                    </a:lnTo>
                    <a:lnTo>
                      <a:pt x="28" y="352"/>
                    </a:lnTo>
                    <a:lnTo>
                      <a:pt x="30" y="346"/>
                    </a:lnTo>
                    <a:lnTo>
                      <a:pt x="30" y="346"/>
                    </a:lnTo>
                    <a:lnTo>
                      <a:pt x="33" y="338"/>
                    </a:lnTo>
                    <a:lnTo>
                      <a:pt x="34" y="330"/>
                    </a:lnTo>
                    <a:lnTo>
                      <a:pt x="34" y="330"/>
                    </a:lnTo>
                    <a:lnTo>
                      <a:pt x="33" y="330"/>
                    </a:lnTo>
                    <a:lnTo>
                      <a:pt x="33" y="330"/>
                    </a:lnTo>
                    <a:lnTo>
                      <a:pt x="34" y="330"/>
                    </a:lnTo>
                    <a:lnTo>
                      <a:pt x="34" y="330"/>
                    </a:lnTo>
                    <a:lnTo>
                      <a:pt x="34" y="330"/>
                    </a:lnTo>
                    <a:lnTo>
                      <a:pt x="32" y="328"/>
                    </a:lnTo>
                    <a:lnTo>
                      <a:pt x="32" y="328"/>
                    </a:lnTo>
                    <a:lnTo>
                      <a:pt x="29" y="328"/>
                    </a:lnTo>
                    <a:lnTo>
                      <a:pt x="29" y="328"/>
                    </a:lnTo>
                    <a:lnTo>
                      <a:pt x="24" y="324"/>
                    </a:lnTo>
                    <a:lnTo>
                      <a:pt x="22" y="320"/>
                    </a:lnTo>
                    <a:lnTo>
                      <a:pt x="22" y="317"/>
                    </a:lnTo>
                    <a:lnTo>
                      <a:pt x="28" y="311"/>
                    </a:lnTo>
                    <a:lnTo>
                      <a:pt x="30" y="311"/>
                    </a:lnTo>
                    <a:lnTo>
                      <a:pt x="30" y="311"/>
                    </a:lnTo>
                    <a:lnTo>
                      <a:pt x="33" y="309"/>
                    </a:lnTo>
                    <a:lnTo>
                      <a:pt x="36" y="308"/>
                    </a:lnTo>
                    <a:lnTo>
                      <a:pt x="41" y="305"/>
                    </a:lnTo>
                    <a:lnTo>
                      <a:pt x="41" y="305"/>
                    </a:lnTo>
                    <a:lnTo>
                      <a:pt x="44" y="305"/>
                    </a:lnTo>
                    <a:lnTo>
                      <a:pt x="44" y="305"/>
                    </a:lnTo>
                    <a:lnTo>
                      <a:pt x="49" y="292"/>
                    </a:lnTo>
                    <a:lnTo>
                      <a:pt x="53" y="276"/>
                    </a:lnTo>
                    <a:lnTo>
                      <a:pt x="53" y="276"/>
                    </a:lnTo>
                    <a:lnTo>
                      <a:pt x="54" y="271"/>
                    </a:lnTo>
                    <a:lnTo>
                      <a:pt x="55" y="266"/>
                    </a:lnTo>
                    <a:lnTo>
                      <a:pt x="55" y="266"/>
                    </a:lnTo>
                    <a:lnTo>
                      <a:pt x="57" y="263"/>
                    </a:lnTo>
                    <a:lnTo>
                      <a:pt x="58" y="262"/>
                    </a:lnTo>
                    <a:lnTo>
                      <a:pt x="58" y="262"/>
                    </a:lnTo>
                    <a:lnTo>
                      <a:pt x="58" y="260"/>
                    </a:lnTo>
                    <a:lnTo>
                      <a:pt x="63" y="256"/>
                    </a:lnTo>
                    <a:lnTo>
                      <a:pt x="69" y="256"/>
                    </a:lnTo>
                    <a:lnTo>
                      <a:pt x="69" y="256"/>
                    </a:lnTo>
                    <a:lnTo>
                      <a:pt x="69" y="256"/>
                    </a:lnTo>
                    <a:lnTo>
                      <a:pt x="70" y="256"/>
                    </a:lnTo>
                    <a:lnTo>
                      <a:pt x="70" y="256"/>
                    </a:lnTo>
                    <a:lnTo>
                      <a:pt x="71" y="252"/>
                    </a:lnTo>
                    <a:lnTo>
                      <a:pt x="71" y="252"/>
                    </a:lnTo>
                    <a:lnTo>
                      <a:pt x="71" y="252"/>
                    </a:lnTo>
                    <a:lnTo>
                      <a:pt x="71" y="252"/>
                    </a:lnTo>
                    <a:lnTo>
                      <a:pt x="73" y="248"/>
                    </a:lnTo>
                    <a:lnTo>
                      <a:pt x="73" y="248"/>
                    </a:lnTo>
                    <a:lnTo>
                      <a:pt x="75" y="244"/>
                    </a:lnTo>
                    <a:lnTo>
                      <a:pt x="77" y="243"/>
                    </a:lnTo>
                    <a:lnTo>
                      <a:pt x="77" y="243"/>
                    </a:lnTo>
                    <a:lnTo>
                      <a:pt x="77" y="242"/>
                    </a:lnTo>
                    <a:lnTo>
                      <a:pt x="77" y="242"/>
                    </a:lnTo>
                    <a:lnTo>
                      <a:pt x="77" y="242"/>
                    </a:lnTo>
                    <a:lnTo>
                      <a:pt x="77" y="242"/>
                    </a:lnTo>
                    <a:lnTo>
                      <a:pt x="75" y="239"/>
                    </a:lnTo>
                    <a:lnTo>
                      <a:pt x="75" y="237"/>
                    </a:lnTo>
                    <a:lnTo>
                      <a:pt x="77" y="233"/>
                    </a:lnTo>
                    <a:lnTo>
                      <a:pt x="79" y="230"/>
                    </a:lnTo>
                    <a:lnTo>
                      <a:pt x="79" y="230"/>
                    </a:lnTo>
                    <a:lnTo>
                      <a:pt x="81" y="229"/>
                    </a:lnTo>
                    <a:lnTo>
                      <a:pt x="81" y="229"/>
                    </a:lnTo>
                    <a:lnTo>
                      <a:pt x="81" y="229"/>
                    </a:lnTo>
                    <a:lnTo>
                      <a:pt x="85" y="225"/>
                    </a:lnTo>
                    <a:lnTo>
                      <a:pt x="85" y="225"/>
                    </a:lnTo>
                    <a:lnTo>
                      <a:pt x="85" y="225"/>
                    </a:lnTo>
                    <a:lnTo>
                      <a:pt x="85" y="223"/>
                    </a:lnTo>
                    <a:lnTo>
                      <a:pt x="85" y="223"/>
                    </a:lnTo>
                    <a:lnTo>
                      <a:pt x="87" y="221"/>
                    </a:lnTo>
                    <a:lnTo>
                      <a:pt x="90" y="218"/>
                    </a:lnTo>
                    <a:lnTo>
                      <a:pt x="90" y="218"/>
                    </a:lnTo>
                    <a:lnTo>
                      <a:pt x="90" y="218"/>
                    </a:lnTo>
                    <a:lnTo>
                      <a:pt x="92" y="215"/>
                    </a:lnTo>
                    <a:lnTo>
                      <a:pt x="96" y="214"/>
                    </a:lnTo>
                    <a:lnTo>
                      <a:pt x="96" y="214"/>
                    </a:lnTo>
                    <a:lnTo>
                      <a:pt x="96" y="214"/>
                    </a:lnTo>
                    <a:lnTo>
                      <a:pt x="96" y="211"/>
                    </a:lnTo>
                    <a:lnTo>
                      <a:pt x="104" y="206"/>
                    </a:lnTo>
                    <a:lnTo>
                      <a:pt x="104" y="206"/>
                    </a:lnTo>
                    <a:lnTo>
                      <a:pt x="104" y="206"/>
                    </a:lnTo>
                    <a:lnTo>
                      <a:pt x="104" y="206"/>
                    </a:lnTo>
                    <a:lnTo>
                      <a:pt x="102" y="206"/>
                    </a:lnTo>
                    <a:lnTo>
                      <a:pt x="102" y="206"/>
                    </a:lnTo>
                    <a:lnTo>
                      <a:pt x="104" y="205"/>
                    </a:lnTo>
                    <a:lnTo>
                      <a:pt x="108" y="203"/>
                    </a:lnTo>
                    <a:lnTo>
                      <a:pt x="108" y="203"/>
                    </a:lnTo>
                    <a:lnTo>
                      <a:pt x="110" y="205"/>
                    </a:lnTo>
                    <a:lnTo>
                      <a:pt x="110" y="205"/>
                    </a:lnTo>
                    <a:lnTo>
                      <a:pt x="114" y="202"/>
                    </a:lnTo>
                    <a:lnTo>
                      <a:pt x="114" y="200"/>
                    </a:lnTo>
                    <a:lnTo>
                      <a:pt x="114" y="200"/>
                    </a:lnTo>
                    <a:lnTo>
                      <a:pt x="112" y="196"/>
                    </a:lnTo>
                    <a:lnTo>
                      <a:pt x="112" y="196"/>
                    </a:lnTo>
                    <a:lnTo>
                      <a:pt x="114" y="192"/>
                    </a:lnTo>
                    <a:lnTo>
                      <a:pt x="116" y="189"/>
                    </a:lnTo>
                    <a:lnTo>
                      <a:pt x="116" y="189"/>
                    </a:lnTo>
                    <a:lnTo>
                      <a:pt x="116" y="185"/>
                    </a:lnTo>
                    <a:lnTo>
                      <a:pt x="116" y="185"/>
                    </a:lnTo>
                    <a:lnTo>
                      <a:pt x="120" y="182"/>
                    </a:lnTo>
                    <a:lnTo>
                      <a:pt x="126" y="181"/>
                    </a:lnTo>
                    <a:lnTo>
                      <a:pt x="126" y="181"/>
                    </a:lnTo>
                    <a:lnTo>
                      <a:pt x="128" y="181"/>
                    </a:lnTo>
                    <a:lnTo>
                      <a:pt x="128" y="181"/>
                    </a:lnTo>
                    <a:lnTo>
                      <a:pt x="131" y="181"/>
                    </a:lnTo>
                    <a:lnTo>
                      <a:pt x="131" y="181"/>
                    </a:lnTo>
                    <a:lnTo>
                      <a:pt x="131" y="181"/>
                    </a:lnTo>
                    <a:lnTo>
                      <a:pt x="131" y="181"/>
                    </a:lnTo>
                    <a:lnTo>
                      <a:pt x="131" y="181"/>
                    </a:lnTo>
                    <a:lnTo>
                      <a:pt x="131" y="181"/>
                    </a:lnTo>
                    <a:lnTo>
                      <a:pt x="129" y="184"/>
                    </a:lnTo>
                    <a:lnTo>
                      <a:pt x="135" y="180"/>
                    </a:lnTo>
                    <a:lnTo>
                      <a:pt x="135" y="180"/>
                    </a:lnTo>
                    <a:lnTo>
                      <a:pt x="135" y="180"/>
                    </a:lnTo>
                    <a:lnTo>
                      <a:pt x="137" y="174"/>
                    </a:lnTo>
                    <a:lnTo>
                      <a:pt x="137" y="174"/>
                    </a:lnTo>
                    <a:lnTo>
                      <a:pt x="139" y="173"/>
                    </a:lnTo>
                    <a:lnTo>
                      <a:pt x="139" y="173"/>
                    </a:lnTo>
                    <a:lnTo>
                      <a:pt x="140" y="172"/>
                    </a:lnTo>
                    <a:lnTo>
                      <a:pt x="143" y="169"/>
                    </a:lnTo>
                    <a:lnTo>
                      <a:pt x="143" y="169"/>
                    </a:lnTo>
                    <a:lnTo>
                      <a:pt x="148" y="165"/>
                    </a:lnTo>
                    <a:lnTo>
                      <a:pt x="148" y="165"/>
                    </a:lnTo>
                    <a:lnTo>
                      <a:pt x="152" y="162"/>
                    </a:lnTo>
                    <a:lnTo>
                      <a:pt x="152" y="162"/>
                    </a:lnTo>
                    <a:lnTo>
                      <a:pt x="155" y="161"/>
                    </a:lnTo>
                    <a:lnTo>
                      <a:pt x="159" y="160"/>
                    </a:lnTo>
                    <a:lnTo>
                      <a:pt x="159" y="160"/>
                    </a:lnTo>
                    <a:lnTo>
                      <a:pt x="160" y="160"/>
                    </a:lnTo>
                    <a:lnTo>
                      <a:pt x="160" y="160"/>
                    </a:lnTo>
                    <a:lnTo>
                      <a:pt x="163" y="160"/>
                    </a:lnTo>
                    <a:lnTo>
                      <a:pt x="163" y="160"/>
                    </a:lnTo>
                    <a:lnTo>
                      <a:pt x="164" y="160"/>
                    </a:lnTo>
                    <a:lnTo>
                      <a:pt x="164" y="160"/>
                    </a:lnTo>
                    <a:lnTo>
                      <a:pt x="163" y="160"/>
                    </a:lnTo>
                    <a:lnTo>
                      <a:pt x="160" y="161"/>
                    </a:lnTo>
                    <a:lnTo>
                      <a:pt x="160" y="161"/>
                    </a:lnTo>
                    <a:lnTo>
                      <a:pt x="159" y="165"/>
                    </a:lnTo>
                    <a:lnTo>
                      <a:pt x="165" y="159"/>
                    </a:lnTo>
                    <a:lnTo>
                      <a:pt x="166" y="159"/>
                    </a:lnTo>
                    <a:lnTo>
                      <a:pt x="166" y="159"/>
                    </a:lnTo>
                    <a:lnTo>
                      <a:pt x="166" y="159"/>
                    </a:lnTo>
                    <a:lnTo>
                      <a:pt x="168" y="159"/>
                    </a:lnTo>
                    <a:lnTo>
                      <a:pt x="168" y="159"/>
                    </a:lnTo>
                    <a:lnTo>
                      <a:pt x="169" y="156"/>
                    </a:lnTo>
                    <a:lnTo>
                      <a:pt x="173" y="153"/>
                    </a:lnTo>
                    <a:lnTo>
                      <a:pt x="176" y="153"/>
                    </a:lnTo>
                    <a:lnTo>
                      <a:pt x="184" y="153"/>
                    </a:lnTo>
                    <a:lnTo>
                      <a:pt x="184" y="153"/>
                    </a:lnTo>
                    <a:lnTo>
                      <a:pt x="188" y="153"/>
                    </a:lnTo>
                    <a:lnTo>
                      <a:pt x="192" y="151"/>
                    </a:lnTo>
                    <a:lnTo>
                      <a:pt x="192" y="151"/>
                    </a:lnTo>
                    <a:lnTo>
                      <a:pt x="192" y="151"/>
                    </a:lnTo>
                    <a:lnTo>
                      <a:pt x="192" y="151"/>
                    </a:lnTo>
                    <a:lnTo>
                      <a:pt x="196" y="147"/>
                    </a:lnTo>
                    <a:lnTo>
                      <a:pt x="198" y="145"/>
                    </a:lnTo>
                    <a:lnTo>
                      <a:pt x="202" y="145"/>
                    </a:lnTo>
                    <a:lnTo>
                      <a:pt x="206" y="147"/>
                    </a:lnTo>
                    <a:lnTo>
                      <a:pt x="206" y="147"/>
                    </a:lnTo>
                    <a:lnTo>
                      <a:pt x="213" y="153"/>
                    </a:lnTo>
                    <a:lnTo>
                      <a:pt x="214" y="153"/>
                    </a:lnTo>
                    <a:lnTo>
                      <a:pt x="214" y="153"/>
                    </a:lnTo>
                    <a:lnTo>
                      <a:pt x="215" y="153"/>
                    </a:lnTo>
                    <a:lnTo>
                      <a:pt x="217" y="152"/>
                    </a:lnTo>
                    <a:lnTo>
                      <a:pt x="217" y="152"/>
                    </a:lnTo>
                    <a:lnTo>
                      <a:pt x="217" y="152"/>
                    </a:lnTo>
                    <a:lnTo>
                      <a:pt x="217" y="149"/>
                    </a:lnTo>
                    <a:lnTo>
                      <a:pt x="217" y="145"/>
                    </a:lnTo>
                    <a:lnTo>
                      <a:pt x="221" y="141"/>
                    </a:lnTo>
                    <a:lnTo>
                      <a:pt x="221" y="141"/>
                    </a:lnTo>
                    <a:lnTo>
                      <a:pt x="218" y="143"/>
                    </a:lnTo>
                    <a:lnTo>
                      <a:pt x="217" y="144"/>
                    </a:lnTo>
                    <a:lnTo>
                      <a:pt x="217" y="144"/>
                    </a:lnTo>
                    <a:lnTo>
                      <a:pt x="217" y="144"/>
                    </a:lnTo>
                    <a:lnTo>
                      <a:pt x="217" y="144"/>
                    </a:lnTo>
                    <a:lnTo>
                      <a:pt x="218" y="141"/>
                    </a:lnTo>
                    <a:lnTo>
                      <a:pt x="225" y="136"/>
                    </a:lnTo>
                    <a:lnTo>
                      <a:pt x="225" y="136"/>
                    </a:lnTo>
                    <a:lnTo>
                      <a:pt x="226" y="136"/>
                    </a:lnTo>
                    <a:lnTo>
                      <a:pt x="226" y="136"/>
                    </a:lnTo>
                    <a:lnTo>
                      <a:pt x="229" y="135"/>
                    </a:lnTo>
                    <a:lnTo>
                      <a:pt x="229" y="135"/>
                    </a:lnTo>
                    <a:lnTo>
                      <a:pt x="231" y="132"/>
                    </a:lnTo>
                    <a:lnTo>
                      <a:pt x="234" y="131"/>
                    </a:lnTo>
                    <a:lnTo>
                      <a:pt x="234" y="131"/>
                    </a:lnTo>
                    <a:lnTo>
                      <a:pt x="239" y="128"/>
                    </a:lnTo>
                    <a:lnTo>
                      <a:pt x="244" y="125"/>
                    </a:lnTo>
                    <a:lnTo>
                      <a:pt x="244" y="125"/>
                    </a:lnTo>
                    <a:lnTo>
                      <a:pt x="252" y="123"/>
                    </a:lnTo>
                    <a:lnTo>
                      <a:pt x="256" y="122"/>
                    </a:lnTo>
                    <a:lnTo>
                      <a:pt x="256" y="122"/>
                    </a:lnTo>
                    <a:lnTo>
                      <a:pt x="259" y="124"/>
                    </a:lnTo>
                    <a:lnTo>
                      <a:pt x="262" y="127"/>
                    </a:lnTo>
                    <a:lnTo>
                      <a:pt x="262" y="127"/>
                    </a:lnTo>
                    <a:lnTo>
                      <a:pt x="260" y="125"/>
                    </a:lnTo>
                    <a:lnTo>
                      <a:pt x="258" y="124"/>
                    </a:lnTo>
                    <a:lnTo>
                      <a:pt x="264" y="131"/>
                    </a:lnTo>
                    <a:lnTo>
                      <a:pt x="264" y="133"/>
                    </a:lnTo>
                    <a:lnTo>
                      <a:pt x="264" y="133"/>
                    </a:lnTo>
                    <a:lnTo>
                      <a:pt x="264" y="135"/>
                    </a:lnTo>
                    <a:lnTo>
                      <a:pt x="267" y="137"/>
                    </a:lnTo>
                    <a:lnTo>
                      <a:pt x="267" y="137"/>
                    </a:lnTo>
                    <a:lnTo>
                      <a:pt x="268" y="137"/>
                    </a:lnTo>
                    <a:lnTo>
                      <a:pt x="268" y="137"/>
                    </a:lnTo>
                    <a:lnTo>
                      <a:pt x="272" y="135"/>
                    </a:lnTo>
                    <a:lnTo>
                      <a:pt x="272" y="135"/>
                    </a:lnTo>
                    <a:lnTo>
                      <a:pt x="276" y="133"/>
                    </a:lnTo>
                    <a:lnTo>
                      <a:pt x="280" y="132"/>
                    </a:lnTo>
                    <a:lnTo>
                      <a:pt x="280" y="132"/>
                    </a:lnTo>
                    <a:lnTo>
                      <a:pt x="284" y="132"/>
                    </a:lnTo>
                    <a:lnTo>
                      <a:pt x="288" y="137"/>
                    </a:lnTo>
                    <a:lnTo>
                      <a:pt x="289" y="137"/>
                    </a:lnTo>
                    <a:lnTo>
                      <a:pt x="289" y="137"/>
                    </a:lnTo>
                    <a:lnTo>
                      <a:pt x="295" y="139"/>
                    </a:lnTo>
                    <a:lnTo>
                      <a:pt x="297" y="141"/>
                    </a:lnTo>
                    <a:lnTo>
                      <a:pt x="300" y="143"/>
                    </a:lnTo>
                    <a:lnTo>
                      <a:pt x="300" y="143"/>
                    </a:lnTo>
                    <a:lnTo>
                      <a:pt x="300" y="144"/>
                    </a:lnTo>
                    <a:lnTo>
                      <a:pt x="300" y="144"/>
                    </a:lnTo>
                    <a:lnTo>
                      <a:pt x="299" y="143"/>
                    </a:lnTo>
                    <a:lnTo>
                      <a:pt x="299" y="143"/>
                    </a:lnTo>
                    <a:lnTo>
                      <a:pt x="299" y="143"/>
                    </a:lnTo>
                    <a:lnTo>
                      <a:pt x="303" y="147"/>
                    </a:lnTo>
                    <a:lnTo>
                      <a:pt x="303" y="147"/>
                    </a:lnTo>
                    <a:lnTo>
                      <a:pt x="303" y="153"/>
                    </a:lnTo>
                    <a:lnTo>
                      <a:pt x="303" y="157"/>
                    </a:lnTo>
                    <a:lnTo>
                      <a:pt x="303" y="157"/>
                    </a:lnTo>
                    <a:lnTo>
                      <a:pt x="301" y="160"/>
                    </a:lnTo>
                    <a:lnTo>
                      <a:pt x="301" y="160"/>
                    </a:lnTo>
                    <a:lnTo>
                      <a:pt x="301" y="159"/>
                    </a:lnTo>
                    <a:lnTo>
                      <a:pt x="303" y="162"/>
                    </a:lnTo>
                    <a:lnTo>
                      <a:pt x="303" y="162"/>
                    </a:lnTo>
                    <a:lnTo>
                      <a:pt x="303" y="164"/>
                    </a:lnTo>
                    <a:lnTo>
                      <a:pt x="303" y="164"/>
                    </a:lnTo>
                    <a:lnTo>
                      <a:pt x="305" y="166"/>
                    </a:lnTo>
                    <a:lnTo>
                      <a:pt x="307" y="166"/>
                    </a:lnTo>
                    <a:lnTo>
                      <a:pt x="307" y="166"/>
                    </a:lnTo>
                    <a:lnTo>
                      <a:pt x="307" y="166"/>
                    </a:lnTo>
                    <a:lnTo>
                      <a:pt x="307" y="166"/>
                    </a:lnTo>
                    <a:lnTo>
                      <a:pt x="309" y="165"/>
                    </a:lnTo>
                    <a:lnTo>
                      <a:pt x="312" y="164"/>
                    </a:lnTo>
                    <a:lnTo>
                      <a:pt x="312" y="164"/>
                    </a:lnTo>
                    <a:lnTo>
                      <a:pt x="312" y="164"/>
                    </a:lnTo>
                    <a:lnTo>
                      <a:pt x="313" y="162"/>
                    </a:lnTo>
                    <a:lnTo>
                      <a:pt x="313" y="162"/>
                    </a:lnTo>
                    <a:lnTo>
                      <a:pt x="317" y="160"/>
                    </a:lnTo>
                    <a:lnTo>
                      <a:pt x="319" y="157"/>
                    </a:lnTo>
                    <a:lnTo>
                      <a:pt x="319" y="156"/>
                    </a:lnTo>
                    <a:lnTo>
                      <a:pt x="319" y="156"/>
                    </a:lnTo>
                    <a:lnTo>
                      <a:pt x="320" y="157"/>
                    </a:lnTo>
                    <a:lnTo>
                      <a:pt x="315" y="149"/>
                    </a:lnTo>
                    <a:lnTo>
                      <a:pt x="315" y="149"/>
                    </a:lnTo>
                    <a:lnTo>
                      <a:pt x="315" y="147"/>
                    </a:lnTo>
                    <a:lnTo>
                      <a:pt x="317" y="144"/>
                    </a:lnTo>
                    <a:lnTo>
                      <a:pt x="317" y="144"/>
                    </a:lnTo>
                    <a:lnTo>
                      <a:pt x="317" y="145"/>
                    </a:lnTo>
                    <a:lnTo>
                      <a:pt x="317" y="145"/>
                    </a:lnTo>
                    <a:lnTo>
                      <a:pt x="319" y="147"/>
                    </a:lnTo>
                    <a:lnTo>
                      <a:pt x="319" y="147"/>
                    </a:lnTo>
                    <a:lnTo>
                      <a:pt x="320" y="148"/>
                    </a:lnTo>
                    <a:lnTo>
                      <a:pt x="319" y="147"/>
                    </a:lnTo>
                    <a:lnTo>
                      <a:pt x="319" y="147"/>
                    </a:lnTo>
                    <a:lnTo>
                      <a:pt x="321" y="148"/>
                    </a:lnTo>
                    <a:lnTo>
                      <a:pt x="319" y="144"/>
                    </a:lnTo>
                    <a:lnTo>
                      <a:pt x="319" y="144"/>
                    </a:lnTo>
                    <a:lnTo>
                      <a:pt x="317" y="145"/>
                    </a:lnTo>
                    <a:lnTo>
                      <a:pt x="317" y="144"/>
                    </a:lnTo>
                    <a:lnTo>
                      <a:pt x="317" y="144"/>
                    </a:lnTo>
                    <a:lnTo>
                      <a:pt x="317" y="144"/>
                    </a:lnTo>
                    <a:lnTo>
                      <a:pt x="317" y="143"/>
                    </a:lnTo>
                    <a:lnTo>
                      <a:pt x="317" y="141"/>
                    </a:lnTo>
                    <a:lnTo>
                      <a:pt x="317" y="141"/>
                    </a:lnTo>
                    <a:lnTo>
                      <a:pt x="316" y="143"/>
                    </a:lnTo>
                    <a:lnTo>
                      <a:pt x="316" y="140"/>
                    </a:lnTo>
                    <a:lnTo>
                      <a:pt x="316" y="140"/>
                    </a:lnTo>
                    <a:lnTo>
                      <a:pt x="316" y="141"/>
                    </a:lnTo>
                    <a:lnTo>
                      <a:pt x="316" y="141"/>
                    </a:lnTo>
                    <a:lnTo>
                      <a:pt x="315" y="139"/>
                    </a:lnTo>
                    <a:lnTo>
                      <a:pt x="320" y="131"/>
                    </a:lnTo>
                    <a:lnTo>
                      <a:pt x="320" y="131"/>
                    </a:lnTo>
                    <a:lnTo>
                      <a:pt x="316" y="132"/>
                    </a:lnTo>
                    <a:lnTo>
                      <a:pt x="315" y="135"/>
                    </a:lnTo>
                    <a:lnTo>
                      <a:pt x="315" y="135"/>
                    </a:lnTo>
                    <a:lnTo>
                      <a:pt x="316" y="132"/>
                    </a:lnTo>
                    <a:lnTo>
                      <a:pt x="321" y="128"/>
                    </a:lnTo>
                    <a:lnTo>
                      <a:pt x="325" y="128"/>
                    </a:lnTo>
                    <a:lnTo>
                      <a:pt x="325" y="128"/>
                    </a:lnTo>
                    <a:lnTo>
                      <a:pt x="325" y="128"/>
                    </a:lnTo>
                    <a:lnTo>
                      <a:pt x="328" y="125"/>
                    </a:lnTo>
                    <a:lnTo>
                      <a:pt x="328" y="125"/>
                    </a:lnTo>
                    <a:lnTo>
                      <a:pt x="328" y="123"/>
                    </a:lnTo>
                    <a:lnTo>
                      <a:pt x="334" y="119"/>
                    </a:lnTo>
                    <a:lnTo>
                      <a:pt x="336" y="119"/>
                    </a:lnTo>
                    <a:lnTo>
                      <a:pt x="336" y="119"/>
                    </a:lnTo>
                    <a:lnTo>
                      <a:pt x="336" y="119"/>
                    </a:lnTo>
                    <a:lnTo>
                      <a:pt x="340" y="115"/>
                    </a:lnTo>
                    <a:lnTo>
                      <a:pt x="340" y="115"/>
                    </a:lnTo>
                    <a:lnTo>
                      <a:pt x="344" y="111"/>
                    </a:lnTo>
                    <a:lnTo>
                      <a:pt x="346" y="108"/>
                    </a:lnTo>
                    <a:lnTo>
                      <a:pt x="350" y="107"/>
                    </a:lnTo>
                    <a:lnTo>
                      <a:pt x="353" y="107"/>
                    </a:lnTo>
                    <a:lnTo>
                      <a:pt x="353" y="107"/>
                    </a:lnTo>
                    <a:lnTo>
                      <a:pt x="353" y="107"/>
                    </a:lnTo>
                    <a:lnTo>
                      <a:pt x="353" y="103"/>
                    </a:lnTo>
                    <a:lnTo>
                      <a:pt x="353" y="103"/>
                    </a:lnTo>
                    <a:lnTo>
                      <a:pt x="352" y="98"/>
                    </a:lnTo>
                    <a:lnTo>
                      <a:pt x="352" y="98"/>
                    </a:lnTo>
                    <a:lnTo>
                      <a:pt x="352" y="94"/>
                    </a:lnTo>
                    <a:lnTo>
                      <a:pt x="353" y="92"/>
                    </a:lnTo>
                    <a:lnTo>
                      <a:pt x="353" y="92"/>
                    </a:lnTo>
                    <a:lnTo>
                      <a:pt x="356" y="88"/>
                    </a:lnTo>
                    <a:lnTo>
                      <a:pt x="356" y="88"/>
                    </a:lnTo>
                    <a:lnTo>
                      <a:pt x="354" y="91"/>
                    </a:lnTo>
                    <a:lnTo>
                      <a:pt x="360" y="86"/>
                    </a:lnTo>
                    <a:lnTo>
                      <a:pt x="360" y="86"/>
                    </a:lnTo>
                    <a:lnTo>
                      <a:pt x="358" y="86"/>
                    </a:lnTo>
                    <a:lnTo>
                      <a:pt x="358" y="86"/>
                    </a:lnTo>
                    <a:lnTo>
                      <a:pt x="358" y="86"/>
                    </a:lnTo>
                    <a:lnTo>
                      <a:pt x="358" y="86"/>
                    </a:lnTo>
                    <a:lnTo>
                      <a:pt x="361" y="83"/>
                    </a:lnTo>
                    <a:lnTo>
                      <a:pt x="363" y="82"/>
                    </a:lnTo>
                    <a:lnTo>
                      <a:pt x="366" y="81"/>
                    </a:lnTo>
                    <a:lnTo>
                      <a:pt x="366" y="81"/>
                    </a:lnTo>
                    <a:lnTo>
                      <a:pt x="369" y="82"/>
                    </a:lnTo>
                    <a:lnTo>
                      <a:pt x="369" y="82"/>
                    </a:lnTo>
                    <a:lnTo>
                      <a:pt x="369" y="82"/>
                    </a:lnTo>
                    <a:lnTo>
                      <a:pt x="371" y="81"/>
                    </a:lnTo>
                    <a:lnTo>
                      <a:pt x="371" y="81"/>
                    </a:lnTo>
                    <a:lnTo>
                      <a:pt x="375" y="82"/>
                    </a:lnTo>
                    <a:lnTo>
                      <a:pt x="378" y="83"/>
                    </a:lnTo>
                    <a:lnTo>
                      <a:pt x="378" y="83"/>
                    </a:lnTo>
                    <a:lnTo>
                      <a:pt x="378" y="82"/>
                    </a:lnTo>
                    <a:lnTo>
                      <a:pt x="378" y="82"/>
                    </a:lnTo>
                    <a:lnTo>
                      <a:pt x="379" y="77"/>
                    </a:lnTo>
                    <a:lnTo>
                      <a:pt x="381" y="75"/>
                    </a:lnTo>
                    <a:lnTo>
                      <a:pt x="383" y="73"/>
                    </a:lnTo>
                    <a:lnTo>
                      <a:pt x="386" y="73"/>
                    </a:lnTo>
                    <a:lnTo>
                      <a:pt x="390" y="73"/>
                    </a:lnTo>
                    <a:lnTo>
                      <a:pt x="393" y="73"/>
                    </a:lnTo>
                    <a:lnTo>
                      <a:pt x="393" y="73"/>
                    </a:lnTo>
                    <a:lnTo>
                      <a:pt x="398" y="75"/>
                    </a:lnTo>
                    <a:lnTo>
                      <a:pt x="403" y="77"/>
                    </a:lnTo>
                    <a:lnTo>
                      <a:pt x="403" y="77"/>
                    </a:lnTo>
                    <a:lnTo>
                      <a:pt x="407" y="77"/>
                    </a:lnTo>
                    <a:lnTo>
                      <a:pt x="411" y="74"/>
                    </a:lnTo>
                    <a:lnTo>
                      <a:pt x="414" y="74"/>
                    </a:lnTo>
                    <a:lnTo>
                      <a:pt x="415" y="74"/>
                    </a:lnTo>
                    <a:lnTo>
                      <a:pt x="420" y="78"/>
                    </a:lnTo>
                    <a:lnTo>
                      <a:pt x="420" y="77"/>
                    </a:lnTo>
                    <a:lnTo>
                      <a:pt x="420" y="77"/>
                    </a:lnTo>
                    <a:lnTo>
                      <a:pt x="418" y="75"/>
                    </a:lnTo>
                    <a:lnTo>
                      <a:pt x="418" y="75"/>
                    </a:lnTo>
                    <a:lnTo>
                      <a:pt x="419" y="75"/>
                    </a:lnTo>
                    <a:lnTo>
                      <a:pt x="419" y="75"/>
                    </a:lnTo>
                    <a:lnTo>
                      <a:pt x="416" y="74"/>
                    </a:lnTo>
                    <a:lnTo>
                      <a:pt x="416" y="74"/>
                    </a:lnTo>
                    <a:lnTo>
                      <a:pt x="411" y="70"/>
                    </a:lnTo>
                    <a:lnTo>
                      <a:pt x="408" y="66"/>
                    </a:lnTo>
                    <a:lnTo>
                      <a:pt x="408" y="61"/>
                    </a:lnTo>
                    <a:lnTo>
                      <a:pt x="410" y="57"/>
                    </a:lnTo>
                    <a:lnTo>
                      <a:pt x="410" y="57"/>
                    </a:lnTo>
                    <a:lnTo>
                      <a:pt x="411" y="54"/>
                    </a:lnTo>
                    <a:lnTo>
                      <a:pt x="415" y="54"/>
                    </a:lnTo>
                    <a:lnTo>
                      <a:pt x="415" y="54"/>
                    </a:lnTo>
                    <a:lnTo>
                      <a:pt x="419" y="54"/>
                    </a:lnTo>
                    <a:lnTo>
                      <a:pt x="418" y="53"/>
                    </a:lnTo>
                    <a:lnTo>
                      <a:pt x="418" y="53"/>
                    </a:lnTo>
                    <a:lnTo>
                      <a:pt x="418" y="53"/>
                    </a:lnTo>
                    <a:lnTo>
                      <a:pt x="418" y="47"/>
                    </a:lnTo>
                    <a:lnTo>
                      <a:pt x="419" y="45"/>
                    </a:lnTo>
                    <a:lnTo>
                      <a:pt x="419" y="45"/>
                    </a:lnTo>
                    <a:lnTo>
                      <a:pt x="419" y="43"/>
                    </a:lnTo>
                    <a:lnTo>
                      <a:pt x="419" y="42"/>
                    </a:lnTo>
                    <a:lnTo>
                      <a:pt x="419" y="42"/>
                    </a:lnTo>
                    <a:lnTo>
                      <a:pt x="418" y="38"/>
                    </a:lnTo>
                    <a:lnTo>
                      <a:pt x="414" y="34"/>
                    </a:lnTo>
                    <a:lnTo>
                      <a:pt x="414" y="34"/>
                    </a:lnTo>
                    <a:lnTo>
                      <a:pt x="408" y="30"/>
                    </a:lnTo>
                    <a:lnTo>
                      <a:pt x="406" y="28"/>
                    </a:lnTo>
                    <a:lnTo>
                      <a:pt x="404" y="24"/>
                    </a:lnTo>
                    <a:lnTo>
                      <a:pt x="404" y="22"/>
                    </a:lnTo>
                    <a:lnTo>
                      <a:pt x="404" y="22"/>
                    </a:lnTo>
                    <a:lnTo>
                      <a:pt x="403" y="20"/>
                    </a:lnTo>
                    <a:lnTo>
                      <a:pt x="403" y="20"/>
                    </a:lnTo>
                    <a:lnTo>
                      <a:pt x="404" y="21"/>
                    </a:lnTo>
                    <a:lnTo>
                      <a:pt x="404" y="20"/>
                    </a:lnTo>
                    <a:lnTo>
                      <a:pt x="406" y="20"/>
                    </a:lnTo>
                    <a:lnTo>
                      <a:pt x="402" y="14"/>
                    </a:lnTo>
                    <a:lnTo>
                      <a:pt x="402" y="14"/>
                    </a:lnTo>
                    <a:lnTo>
                      <a:pt x="403" y="12"/>
                    </a:lnTo>
                    <a:lnTo>
                      <a:pt x="404" y="10"/>
                    </a:lnTo>
                    <a:lnTo>
                      <a:pt x="406" y="9"/>
                    </a:lnTo>
                    <a:lnTo>
                      <a:pt x="408" y="9"/>
                    </a:lnTo>
                    <a:lnTo>
                      <a:pt x="408" y="9"/>
                    </a:lnTo>
                    <a:lnTo>
                      <a:pt x="412" y="9"/>
                    </a:lnTo>
                    <a:lnTo>
                      <a:pt x="412" y="9"/>
                    </a:lnTo>
                    <a:lnTo>
                      <a:pt x="411" y="10"/>
                    </a:lnTo>
                    <a:lnTo>
                      <a:pt x="411" y="10"/>
                    </a:lnTo>
                    <a:lnTo>
                      <a:pt x="410" y="13"/>
                    </a:lnTo>
                    <a:lnTo>
                      <a:pt x="411" y="13"/>
                    </a:lnTo>
                    <a:lnTo>
                      <a:pt x="411" y="13"/>
                    </a:lnTo>
                    <a:lnTo>
                      <a:pt x="410" y="13"/>
                    </a:lnTo>
                    <a:lnTo>
                      <a:pt x="414" y="10"/>
                    </a:lnTo>
                    <a:lnTo>
                      <a:pt x="414" y="10"/>
                    </a:lnTo>
                    <a:lnTo>
                      <a:pt x="414" y="10"/>
                    </a:lnTo>
                    <a:lnTo>
                      <a:pt x="414" y="10"/>
                    </a:lnTo>
                    <a:lnTo>
                      <a:pt x="414" y="10"/>
                    </a:lnTo>
                    <a:lnTo>
                      <a:pt x="414" y="10"/>
                    </a:lnTo>
                    <a:lnTo>
                      <a:pt x="415" y="10"/>
                    </a:lnTo>
                    <a:lnTo>
                      <a:pt x="415" y="9"/>
                    </a:lnTo>
                    <a:lnTo>
                      <a:pt x="415" y="9"/>
                    </a:lnTo>
                    <a:lnTo>
                      <a:pt x="418" y="8"/>
                    </a:lnTo>
                    <a:lnTo>
                      <a:pt x="418" y="8"/>
                    </a:lnTo>
                    <a:lnTo>
                      <a:pt x="418" y="8"/>
                    </a:lnTo>
                    <a:lnTo>
                      <a:pt x="418" y="8"/>
                    </a:lnTo>
                    <a:lnTo>
                      <a:pt x="415" y="9"/>
                    </a:lnTo>
                    <a:lnTo>
                      <a:pt x="415" y="9"/>
                    </a:lnTo>
                    <a:lnTo>
                      <a:pt x="414" y="9"/>
                    </a:lnTo>
                    <a:lnTo>
                      <a:pt x="414" y="9"/>
                    </a:lnTo>
                    <a:lnTo>
                      <a:pt x="416" y="5"/>
                    </a:lnTo>
                    <a:lnTo>
                      <a:pt x="418" y="4"/>
                    </a:lnTo>
                    <a:lnTo>
                      <a:pt x="420" y="3"/>
                    </a:lnTo>
                    <a:lnTo>
                      <a:pt x="422" y="3"/>
                    </a:lnTo>
                    <a:lnTo>
                      <a:pt x="422" y="3"/>
                    </a:lnTo>
                    <a:lnTo>
                      <a:pt x="423" y="3"/>
                    </a:lnTo>
                    <a:lnTo>
                      <a:pt x="423" y="3"/>
                    </a:lnTo>
                    <a:lnTo>
                      <a:pt x="426" y="1"/>
                    </a:lnTo>
                    <a:lnTo>
                      <a:pt x="430" y="0"/>
                    </a:lnTo>
                    <a:lnTo>
                      <a:pt x="430" y="0"/>
                    </a:lnTo>
                    <a:lnTo>
                      <a:pt x="432" y="0"/>
                    </a:lnTo>
                    <a:lnTo>
                      <a:pt x="436" y="5"/>
                    </a:lnTo>
                    <a:lnTo>
                      <a:pt x="439" y="9"/>
                    </a:lnTo>
                    <a:lnTo>
                      <a:pt x="439" y="9"/>
                    </a:lnTo>
                    <a:lnTo>
                      <a:pt x="439" y="9"/>
                    </a:lnTo>
                    <a:lnTo>
                      <a:pt x="439" y="9"/>
                    </a:lnTo>
                    <a:lnTo>
                      <a:pt x="439" y="10"/>
                    </a:lnTo>
                    <a:lnTo>
                      <a:pt x="439" y="10"/>
                    </a:lnTo>
                    <a:lnTo>
                      <a:pt x="439" y="10"/>
                    </a:lnTo>
                    <a:lnTo>
                      <a:pt x="441" y="17"/>
                    </a:lnTo>
                    <a:lnTo>
                      <a:pt x="441" y="17"/>
                    </a:lnTo>
                    <a:lnTo>
                      <a:pt x="444" y="17"/>
                    </a:lnTo>
                    <a:lnTo>
                      <a:pt x="444" y="17"/>
                    </a:lnTo>
                    <a:lnTo>
                      <a:pt x="447" y="17"/>
                    </a:lnTo>
                    <a:lnTo>
                      <a:pt x="447" y="17"/>
                    </a:lnTo>
                    <a:lnTo>
                      <a:pt x="445" y="17"/>
                    </a:lnTo>
                    <a:lnTo>
                      <a:pt x="443" y="21"/>
                    </a:lnTo>
                    <a:lnTo>
                      <a:pt x="449" y="16"/>
                    </a:lnTo>
                    <a:lnTo>
                      <a:pt x="449" y="16"/>
                    </a:lnTo>
                    <a:lnTo>
                      <a:pt x="449" y="16"/>
                    </a:lnTo>
                    <a:lnTo>
                      <a:pt x="452" y="14"/>
                    </a:lnTo>
                    <a:lnTo>
                      <a:pt x="452" y="14"/>
                    </a:lnTo>
                    <a:lnTo>
                      <a:pt x="455" y="16"/>
                    </a:lnTo>
                    <a:lnTo>
                      <a:pt x="457" y="17"/>
                    </a:lnTo>
                    <a:lnTo>
                      <a:pt x="460" y="20"/>
                    </a:lnTo>
                    <a:lnTo>
                      <a:pt x="460" y="20"/>
                    </a:lnTo>
                    <a:lnTo>
                      <a:pt x="461" y="18"/>
                    </a:lnTo>
                    <a:lnTo>
                      <a:pt x="461" y="18"/>
                    </a:lnTo>
                    <a:lnTo>
                      <a:pt x="464" y="18"/>
                    </a:lnTo>
                    <a:lnTo>
                      <a:pt x="464" y="18"/>
                    </a:lnTo>
                    <a:lnTo>
                      <a:pt x="468" y="20"/>
                    </a:lnTo>
                    <a:lnTo>
                      <a:pt x="472" y="22"/>
                    </a:lnTo>
                    <a:lnTo>
                      <a:pt x="472" y="22"/>
                    </a:lnTo>
                    <a:lnTo>
                      <a:pt x="473" y="24"/>
                    </a:lnTo>
                    <a:lnTo>
                      <a:pt x="473" y="26"/>
                    </a:lnTo>
                    <a:lnTo>
                      <a:pt x="473" y="26"/>
                    </a:lnTo>
                    <a:lnTo>
                      <a:pt x="473" y="26"/>
                    </a:lnTo>
                    <a:lnTo>
                      <a:pt x="473" y="26"/>
                    </a:lnTo>
                    <a:lnTo>
                      <a:pt x="479" y="30"/>
                    </a:lnTo>
                    <a:lnTo>
                      <a:pt x="480" y="33"/>
                    </a:lnTo>
                    <a:lnTo>
                      <a:pt x="481" y="37"/>
                    </a:lnTo>
                    <a:lnTo>
                      <a:pt x="481" y="37"/>
                    </a:lnTo>
                    <a:lnTo>
                      <a:pt x="481" y="41"/>
                    </a:lnTo>
                    <a:lnTo>
                      <a:pt x="479" y="45"/>
                    </a:lnTo>
                    <a:lnTo>
                      <a:pt x="479" y="45"/>
                    </a:lnTo>
                    <a:lnTo>
                      <a:pt x="479" y="45"/>
                    </a:lnTo>
                    <a:lnTo>
                      <a:pt x="481" y="46"/>
                    </a:lnTo>
                    <a:lnTo>
                      <a:pt x="485" y="49"/>
                    </a:lnTo>
                    <a:lnTo>
                      <a:pt x="485" y="49"/>
                    </a:lnTo>
                    <a:lnTo>
                      <a:pt x="486" y="51"/>
                    </a:lnTo>
                    <a:lnTo>
                      <a:pt x="486" y="54"/>
                    </a:lnTo>
                    <a:lnTo>
                      <a:pt x="486" y="54"/>
                    </a:lnTo>
                    <a:lnTo>
                      <a:pt x="485" y="58"/>
                    </a:lnTo>
                    <a:lnTo>
                      <a:pt x="485" y="58"/>
                    </a:lnTo>
                    <a:lnTo>
                      <a:pt x="485" y="59"/>
                    </a:lnTo>
                    <a:lnTo>
                      <a:pt x="485" y="59"/>
                    </a:lnTo>
                    <a:lnTo>
                      <a:pt x="484" y="55"/>
                    </a:lnTo>
                    <a:lnTo>
                      <a:pt x="484" y="55"/>
                    </a:lnTo>
                    <a:lnTo>
                      <a:pt x="482" y="55"/>
                    </a:lnTo>
                    <a:lnTo>
                      <a:pt x="481" y="54"/>
                    </a:lnTo>
                    <a:lnTo>
                      <a:pt x="481" y="54"/>
                    </a:lnTo>
                    <a:lnTo>
                      <a:pt x="481" y="54"/>
                    </a:lnTo>
                    <a:lnTo>
                      <a:pt x="486" y="61"/>
                    </a:lnTo>
                    <a:lnTo>
                      <a:pt x="486" y="62"/>
                    </a:lnTo>
                    <a:lnTo>
                      <a:pt x="481" y="67"/>
                    </a:lnTo>
                    <a:lnTo>
                      <a:pt x="476" y="67"/>
                    </a:lnTo>
                    <a:lnTo>
                      <a:pt x="476" y="67"/>
                    </a:lnTo>
                    <a:lnTo>
                      <a:pt x="476" y="67"/>
                    </a:lnTo>
                    <a:lnTo>
                      <a:pt x="473" y="67"/>
                    </a:lnTo>
                    <a:lnTo>
                      <a:pt x="473" y="67"/>
                    </a:lnTo>
                    <a:lnTo>
                      <a:pt x="473" y="67"/>
                    </a:lnTo>
                    <a:lnTo>
                      <a:pt x="473" y="73"/>
                    </a:lnTo>
                    <a:lnTo>
                      <a:pt x="473" y="73"/>
                    </a:lnTo>
                    <a:lnTo>
                      <a:pt x="473" y="78"/>
                    </a:lnTo>
                    <a:lnTo>
                      <a:pt x="473" y="78"/>
                    </a:lnTo>
                    <a:lnTo>
                      <a:pt x="473" y="77"/>
                    </a:lnTo>
                    <a:lnTo>
                      <a:pt x="473" y="77"/>
                    </a:lnTo>
                    <a:lnTo>
                      <a:pt x="480" y="78"/>
                    </a:lnTo>
                    <a:lnTo>
                      <a:pt x="484" y="81"/>
                    </a:lnTo>
                    <a:lnTo>
                      <a:pt x="486" y="83"/>
                    </a:lnTo>
                    <a:lnTo>
                      <a:pt x="486" y="86"/>
                    </a:lnTo>
                    <a:lnTo>
                      <a:pt x="486" y="87"/>
                    </a:lnTo>
                    <a:lnTo>
                      <a:pt x="486" y="87"/>
                    </a:lnTo>
                    <a:lnTo>
                      <a:pt x="486" y="87"/>
                    </a:lnTo>
                    <a:lnTo>
                      <a:pt x="489" y="90"/>
                    </a:lnTo>
                    <a:lnTo>
                      <a:pt x="489" y="90"/>
                    </a:lnTo>
                    <a:lnTo>
                      <a:pt x="492" y="95"/>
                    </a:lnTo>
                    <a:lnTo>
                      <a:pt x="492" y="98"/>
                    </a:lnTo>
                    <a:lnTo>
                      <a:pt x="492" y="99"/>
                    </a:lnTo>
                    <a:lnTo>
                      <a:pt x="492" y="99"/>
                    </a:lnTo>
                    <a:lnTo>
                      <a:pt x="492" y="99"/>
                    </a:lnTo>
                    <a:lnTo>
                      <a:pt x="492" y="100"/>
                    </a:lnTo>
                    <a:lnTo>
                      <a:pt x="492" y="100"/>
                    </a:lnTo>
                    <a:lnTo>
                      <a:pt x="493" y="103"/>
                    </a:lnTo>
                    <a:lnTo>
                      <a:pt x="493" y="108"/>
                    </a:lnTo>
                    <a:lnTo>
                      <a:pt x="486" y="114"/>
                    </a:lnTo>
                    <a:lnTo>
                      <a:pt x="486" y="114"/>
                    </a:lnTo>
                    <a:lnTo>
                      <a:pt x="486" y="114"/>
                    </a:lnTo>
                    <a:lnTo>
                      <a:pt x="486" y="115"/>
                    </a:lnTo>
                    <a:lnTo>
                      <a:pt x="486" y="116"/>
                    </a:lnTo>
                    <a:lnTo>
                      <a:pt x="486" y="116"/>
                    </a:lnTo>
                    <a:lnTo>
                      <a:pt x="486" y="120"/>
                    </a:lnTo>
                    <a:lnTo>
                      <a:pt x="486" y="120"/>
                    </a:lnTo>
                    <a:lnTo>
                      <a:pt x="486" y="122"/>
                    </a:lnTo>
                    <a:lnTo>
                      <a:pt x="486" y="122"/>
                    </a:lnTo>
                    <a:lnTo>
                      <a:pt x="485" y="119"/>
                    </a:lnTo>
                    <a:lnTo>
                      <a:pt x="485" y="119"/>
                    </a:lnTo>
                    <a:lnTo>
                      <a:pt x="482" y="116"/>
                    </a:lnTo>
                    <a:lnTo>
                      <a:pt x="488" y="123"/>
                    </a:lnTo>
                    <a:lnTo>
                      <a:pt x="488" y="123"/>
                    </a:lnTo>
                    <a:lnTo>
                      <a:pt x="488" y="122"/>
                    </a:lnTo>
                    <a:lnTo>
                      <a:pt x="488" y="122"/>
                    </a:lnTo>
                    <a:lnTo>
                      <a:pt x="489" y="125"/>
                    </a:lnTo>
                    <a:lnTo>
                      <a:pt x="490" y="125"/>
                    </a:lnTo>
                    <a:lnTo>
                      <a:pt x="494" y="128"/>
                    </a:lnTo>
                    <a:lnTo>
                      <a:pt x="494" y="128"/>
                    </a:lnTo>
                    <a:lnTo>
                      <a:pt x="494" y="128"/>
                    </a:lnTo>
                    <a:lnTo>
                      <a:pt x="494" y="128"/>
                    </a:lnTo>
                    <a:lnTo>
                      <a:pt x="498" y="128"/>
                    </a:lnTo>
                    <a:lnTo>
                      <a:pt x="505" y="128"/>
                    </a:lnTo>
                    <a:lnTo>
                      <a:pt x="508" y="131"/>
                    </a:lnTo>
                    <a:lnTo>
                      <a:pt x="508" y="135"/>
                    </a:lnTo>
                    <a:lnTo>
                      <a:pt x="509" y="131"/>
                    </a:lnTo>
                    <a:lnTo>
                      <a:pt x="510" y="132"/>
                    </a:lnTo>
                    <a:lnTo>
                      <a:pt x="510" y="131"/>
                    </a:lnTo>
                    <a:lnTo>
                      <a:pt x="510" y="131"/>
                    </a:lnTo>
                    <a:lnTo>
                      <a:pt x="509" y="129"/>
                    </a:lnTo>
                    <a:lnTo>
                      <a:pt x="509" y="129"/>
                    </a:lnTo>
                    <a:lnTo>
                      <a:pt x="509" y="129"/>
                    </a:lnTo>
                    <a:lnTo>
                      <a:pt x="509" y="129"/>
                    </a:lnTo>
                    <a:lnTo>
                      <a:pt x="510" y="129"/>
                    </a:lnTo>
                    <a:lnTo>
                      <a:pt x="513" y="129"/>
                    </a:lnTo>
                    <a:lnTo>
                      <a:pt x="513" y="129"/>
                    </a:lnTo>
                    <a:lnTo>
                      <a:pt x="513" y="128"/>
                    </a:lnTo>
                    <a:lnTo>
                      <a:pt x="513" y="128"/>
                    </a:lnTo>
                    <a:lnTo>
                      <a:pt x="513" y="128"/>
                    </a:lnTo>
                    <a:lnTo>
                      <a:pt x="510" y="124"/>
                    </a:lnTo>
                    <a:lnTo>
                      <a:pt x="510" y="124"/>
                    </a:lnTo>
                    <a:lnTo>
                      <a:pt x="510" y="123"/>
                    </a:lnTo>
                    <a:lnTo>
                      <a:pt x="510" y="116"/>
                    </a:lnTo>
                    <a:lnTo>
                      <a:pt x="510" y="116"/>
                    </a:lnTo>
                    <a:lnTo>
                      <a:pt x="512" y="114"/>
                    </a:lnTo>
                    <a:lnTo>
                      <a:pt x="514" y="112"/>
                    </a:lnTo>
                    <a:lnTo>
                      <a:pt x="518" y="112"/>
                    </a:lnTo>
                    <a:lnTo>
                      <a:pt x="518" y="112"/>
                    </a:lnTo>
                    <a:lnTo>
                      <a:pt x="521" y="112"/>
                    </a:lnTo>
                    <a:lnTo>
                      <a:pt x="521" y="112"/>
                    </a:lnTo>
                    <a:lnTo>
                      <a:pt x="520" y="112"/>
                    </a:lnTo>
                    <a:lnTo>
                      <a:pt x="518" y="115"/>
                    </a:lnTo>
                    <a:lnTo>
                      <a:pt x="523" y="111"/>
                    </a:lnTo>
                    <a:lnTo>
                      <a:pt x="523" y="111"/>
                    </a:lnTo>
                    <a:lnTo>
                      <a:pt x="526" y="111"/>
                    </a:lnTo>
                    <a:lnTo>
                      <a:pt x="526" y="111"/>
                    </a:lnTo>
                    <a:lnTo>
                      <a:pt x="530" y="111"/>
                    </a:lnTo>
                    <a:lnTo>
                      <a:pt x="533" y="114"/>
                    </a:lnTo>
                    <a:lnTo>
                      <a:pt x="534" y="116"/>
                    </a:lnTo>
                    <a:lnTo>
                      <a:pt x="531" y="123"/>
                    </a:lnTo>
                    <a:lnTo>
                      <a:pt x="531" y="123"/>
                    </a:lnTo>
                    <a:lnTo>
                      <a:pt x="531" y="123"/>
                    </a:lnTo>
                    <a:lnTo>
                      <a:pt x="531" y="123"/>
                    </a:lnTo>
                    <a:lnTo>
                      <a:pt x="535" y="124"/>
                    </a:lnTo>
                    <a:lnTo>
                      <a:pt x="535" y="124"/>
                    </a:lnTo>
                    <a:lnTo>
                      <a:pt x="542" y="128"/>
                    </a:lnTo>
                    <a:lnTo>
                      <a:pt x="546" y="131"/>
                    </a:lnTo>
                    <a:lnTo>
                      <a:pt x="547" y="135"/>
                    </a:lnTo>
                    <a:lnTo>
                      <a:pt x="546" y="141"/>
                    </a:lnTo>
                    <a:lnTo>
                      <a:pt x="546" y="141"/>
                    </a:lnTo>
                    <a:lnTo>
                      <a:pt x="542" y="145"/>
                    </a:lnTo>
                    <a:lnTo>
                      <a:pt x="541" y="148"/>
                    </a:lnTo>
                    <a:lnTo>
                      <a:pt x="541" y="148"/>
                    </a:lnTo>
                    <a:lnTo>
                      <a:pt x="541" y="149"/>
                    </a:lnTo>
                    <a:lnTo>
                      <a:pt x="542" y="152"/>
                    </a:lnTo>
                    <a:lnTo>
                      <a:pt x="538" y="161"/>
                    </a:lnTo>
                    <a:lnTo>
                      <a:pt x="538" y="161"/>
                    </a:lnTo>
                    <a:lnTo>
                      <a:pt x="539" y="161"/>
                    </a:lnTo>
                    <a:lnTo>
                      <a:pt x="539" y="161"/>
                    </a:lnTo>
                    <a:lnTo>
                      <a:pt x="539" y="161"/>
                    </a:lnTo>
                    <a:lnTo>
                      <a:pt x="539" y="161"/>
                    </a:lnTo>
                    <a:lnTo>
                      <a:pt x="539" y="161"/>
                    </a:lnTo>
                    <a:lnTo>
                      <a:pt x="539" y="161"/>
                    </a:lnTo>
                    <a:lnTo>
                      <a:pt x="546" y="166"/>
                    </a:lnTo>
                    <a:lnTo>
                      <a:pt x="553" y="172"/>
                    </a:lnTo>
                    <a:lnTo>
                      <a:pt x="557" y="178"/>
                    </a:lnTo>
                    <a:lnTo>
                      <a:pt x="562" y="185"/>
                    </a:lnTo>
                    <a:lnTo>
                      <a:pt x="557" y="193"/>
                    </a:lnTo>
                    <a:lnTo>
                      <a:pt x="557" y="193"/>
                    </a:lnTo>
                    <a:lnTo>
                      <a:pt x="555" y="194"/>
                    </a:lnTo>
                    <a:lnTo>
                      <a:pt x="555" y="197"/>
                    </a:lnTo>
                    <a:lnTo>
                      <a:pt x="555" y="198"/>
                    </a:lnTo>
                    <a:lnTo>
                      <a:pt x="555" y="198"/>
                    </a:lnTo>
                    <a:lnTo>
                      <a:pt x="555" y="200"/>
                    </a:lnTo>
                    <a:lnTo>
                      <a:pt x="555" y="200"/>
                    </a:lnTo>
                    <a:lnTo>
                      <a:pt x="555" y="201"/>
                    </a:lnTo>
                    <a:lnTo>
                      <a:pt x="555" y="201"/>
                    </a:lnTo>
                    <a:lnTo>
                      <a:pt x="554" y="198"/>
                    </a:lnTo>
                    <a:lnTo>
                      <a:pt x="551" y="197"/>
                    </a:lnTo>
                    <a:lnTo>
                      <a:pt x="557" y="202"/>
                    </a:lnTo>
                    <a:lnTo>
                      <a:pt x="557" y="205"/>
                    </a:lnTo>
                    <a:lnTo>
                      <a:pt x="557" y="205"/>
                    </a:lnTo>
                    <a:lnTo>
                      <a:pt x="560" y="210"/>
                    </a:lnTo>
                    <a:lnTo>
                      <a:pt x="560" y="210"/>
                    </a:lnTo>
                    <a:lnTo>
                      <a:pt x="562" y="213"/>
                    </a:lnTo>
                    <a:lnTo>
                      <a:pt x="562" y="213"/>
                    </a:lnTo>
                    <a:lnTo>
                      <a:pt x="568" y="217"/>
                    </a:lnTo>
                    <a:lnTo>
                      <a:pt x="575" y="221"/>
                    </a:lnTo>
                    <a:lnTo>
                      <a:pt x="576" y="222"/>
                    </a:lnTo>
                    <a:lnTo>
                      <a:pt x="576" y="222"/>
                    </a:lnTo>
                    <a:lnTo>
                      <a:pt x="580" y="225"/>
                    </a:lnTo>
                    <a:lnTo>
                      <a:pt x="580" y="225"/>
                    </a:lnTo>
                    <a:lnTo>
                      <a:pt x="582" y="226"/>
                    </a:lnTo>
                    <a:lnTo>
                      <a:pt x="582" y="226"/>
                    </a:lnTo>
                    <a:lnTo>
                      <a:pt x="582" y="225"/>
                    </a:lnTo>
                    <a:lnTo>
                      <a:pt x="582" y="225"/>
                    </a:lnTo>
                    <a:lnTo>
                      <a:pt x="584" y="222"/>
                    </a:lnTo>
                    <a:lnTo>
                      <a:pt x="588" y="219"/>
                    </a:lnTo>
                    <a:lnTo>
                      <a:pt x="594" y="222"/>
                    </a:lnTo>
                    <a:lnTo>
                      <a:pt x="594" y="222"/>
                    </a:lnTo>
                    <a:lnTo>
                      <a:pt x="592" y="222"/>
                    </a:lnTo>
                    <a:lnTo>
                      <a:pt x="592" y="225"/>
                    </a:lnTo>
                    <a:lnTo>
                      <a:pt x="598" y="219"/>
                    </a:lnTo>
                    <a:lnTo>
                      <a:pt x="603" y="219"/>
                    </a:lnTo>
                    <a:lnTo>
                      <a:pt x="604" y="219"/>
                    </a:lnTo>
                    <a:lnTo>
                      <a:pt x="604" y="219"/>
                    </a:lnTo>
                    <a:lnTo>
                      <a:pt x="608" y="222"/>
                    </a:lnTo>
                    <a:lnTo>
                      <a:pt x="608" y="222"/>
                    </a:lnTo>
                    <a:lnTo>
                      <a:pt x="605" y="221"/>
                    </a:lnTo>
                    <a:lnTo>
                      <a:pt x="607" y="222"/>
                    </a:lnTo>
                    <a:lnTo>
                      <a:pt x="607" y="222"/>
                    </a:lnTo>
                    <a:lnTo>
                      <a:pt x="607" y="222"/>
                    </a:lnTo>
                    <a:lnTo>
                      <a:pt x="607" y="222"/>
                    </a:lnTo>
                    <a:lnTo>
                      <a:pt x="609" y="222"/>
                    </a:lnTo>
                    <a:lnTo>
                      <a:pt x="611" y="223"/>
                    </a:lnTo>
                    <a:lnTo>
                      <a:pt x="613" y="226"/>
                    </a:lnTo>
                    <a:lnTo>
                      <a:pt x="615" y="230"/>
                    </a:lnTo>
                    <a:lnTo>
                      <a:pt x="615" y="230"/>
                    </a:lnTo>
                    <a:lnTo>
                      <a:pt x="615" y="230"/>
                    </a:lnTo>
                    <a:lnTo>
                      <a:pt x="615" y="229"/>
                    </a:lnTo>
                    <a:lnTo>
                      <a:pt x="612" y="227"/>
                    </a:lnTo>
                    <a:lnTo>
                      <a:pt x="616" y="233"/>
                    </a:lnTo>
                    <a:lnTo>
                      <a:pt x="616" y="233"/>
                    </a:lnTo>
                    <a:lnTo>
                      <a:pt x="619" y="231"/>
                    </a:lnTo>
                    <a:lnTo>
                      <a:pt x="619" y="231"/>
                    </a:lnTo>
                    <a:lnTo>
                      <a:pt x="621" y="230"/>
                    </a:lnTo>
                    <a:lnTo>
                      <a:pt x="624" y="230"/>
                    </a:lnTo>
                    <a:lnTo>
                      <a:pt x="624" y="230"/>
                    </a:lnTo>
                    <a:lnTo>
                      <a:pt x="624" y="230"/>
                    </a:lnTo>
                    <a:lnTo>
                      <a:pt x="625" y="230"/>
                    </a:lnTo>
                    <a:lnTo>
                      <a:pt x="625" y="230"/>
                    </a:lnTo>
                    <a:lnTo>
                      <a:pt x="628" y="230"/>
                    </a:lnTo>
                    <a:lnTo>
                      <a:pt x="631" y="231"/>
                    </a:lnTo>
                    <a:lnTo>
                      <a:pt x="632" y="233"/>
                    </a:lnTo>
                    <a:lnTo>
                      <a:pt x="633" y="235"/>
                    </a:lnTo>
                    <a:lnTo>
                      <a:pt x="633" y="237"/>
                    </a:lnTo>
                    <a:lnTo>
                      <a:pt x="633" y="240"/>
                    </a:lnTo>
                    <a:lnTo>
                      <a:pt x="631" y="243"/>
                    </a:lnTo>
                    <a:lnTo>
                      <a:pt x="631" y="243"/>
                    </a:lnTo>
                    <a:lnTo>
                      <a:pt x="627" y="242"/>
                    </a:lnTo>
                    <a:lnTo>
                      <a:pt x="629" y="244"/>
                    </a:lnTo>
                    <a:lnTo>
                      <a:pt x="627" y="247"/>
                    </a:lnTo>
                    <a:lnTo>
                      <a:pt x="627" y="247"/>
                    </a:lnTo>
                    <a:lnTo>
                      <a:pt x="627" y="247"/>
                    </a:lnTo>
                    <a:lnTo>
                      <a:pt x="627" y="247"/>
                    </a:lnTo>
                    <a:lnTo>
                      <a:pt x="631" y="246"/>
                    </a:lnTo>
                    <a:lnTo>
                      <a:pt x="631" y="246"/>
                    </a:lnTo>
                    <a:lnTo>
                      <a:pt x="632" y="246"/>
                    </a:lnTo>
                    <a:lnTo>
                      <a:pt x="632" y="246"/>
                    </a:lnTo>
                    <a:lnTo>
                      <a:pt x="640" y="252"/>
                    </a:lnTo>
                    <a:lnTo>
                      <a:pt x="640" y="252"/>
                    </a:lnTo>
                    <a:lnTo>
                      <a:pt x="648" y="259"/>
                    </a:lnTo>
                    <a:lnTo>
                      <a:pt x="652" y="263"/>
                    </a:lnTo>
                    <a:lnTo>
                      <a:pt x="654" y="270"/>
                    </a:lnTo>
                    <a:lnTo>
                      <a:pt x="654" y="271"/>
                    </a:lnTo>
                    <a:lnTo>
                      <a:pt x="654" y="272"/>
                    </a:lnTo>
                    <a:lnTo>
                      <a:pt x="654" y="274"/>
                    </a:lnTo>
                    <a:lnTo>
                      <a:pt x="654" y="274"/>
                    </a:lnTo>
                    <a:lnTo>
                      <a:pt x="653" y="278"/>
                    </a:lnTo>
                    <a:lnTo>
                      <a:pt x="650" y="279"/>
                    </a:lnTo>
                    <a:lnTo>
                      <a:pt x="645" y="280"/>
                    </a:lnTo>
                    <a:lnTo>
                      <a:pt x="644" y="280"/>
                    </a:lnTo>
                    <a:lnTo>
                      <a:pt x="644" y="280"/>
                    </a:lnTo>
                    <a:lnTo>
                      <a:pt x="641" y="280"/>
                    </a:lnTo>
                    <a:lnTo>
                      <a:pt x="641" y="280"/>
                    </a:lnTo>
                    <a:lnTo>
                      <a:pt x="641" y="280"/>
                    </a:lnTo>
                    <a:lnTo>
                      <a:pt x="641" y="280"/>
                    </a:lnTo>
                    <a:lnTo>
                      <a:pt x="640" y="284"/>
                    </a:lnTo>
                    <a:lnTo>
                      <a:pt x="640" y="287"/>
                    </a:lnTo>
                    <a:lnTo>
                      <a:pt x="637" y="289"/>
                    </a:lnTo>
                    <a:lnTo>
                      <a:pt x="637" y="289"/>
                    </a:lnTo>
                    <a:lnTo>
                      <a:pt x="636" y="291"/>
                    </a:lnTo>
                    <a:lnTo>
                      <a:pt x="636" y="291"/>
                    </a:lnTo>
                    <a:lnTo>
                      <a:pt x="635" y="295"/>
                    </a:lnTo>
                    <a:lnTo>
                      <a:pt x="635" y="295"/>
                    </a:lnTo>
                    <a:lnTo>
                      <a:pt x="635" y="295"/>
                    </a:lnTo>
                    <a:lnTo>
                      <a:pt x="636" y="300"/>
                    </a:lnTo>
                    <a:lnTo>
                      <a:pt x="636" y="300"/>
                    </a:lnTo>
                    <a:lnTo>
                      <a:pt x="636" y="304"/>
                    </a:lnTo>
                    <a:lnTo>
                      <a:pt x="635" y="307"/>
                    </a:lnTo>
                    <a:lnTo>
                      <a:pt x="632" y="309"/>
                    </a:lnTo>
                    <a:lnTo>
                      <a:pt x="632" y="309"/>
                    </a:lnTo>
                    <a:lnTo>
                      <a:pt x="633" y="307"/>
                    </a:lnTo>
                    <a:lnTo>
                      <a:pt x="628" y="311"/>
                    </a:lnTo>
                    <a:lnTo>
                      <a:pt x="628" y="311"/>
                    </a:lnTo>
                    <a:lnTo>
                      <a:pt x="628" y="311"/>
                    </a:lnTo>
                    <a:lnTo>
                      <a:pt x="628" y="312"/>
                    </a:lnTo>
                    <a:lnTo>
                      <a:pt x="627" y="312"/>
                    </a:lnTo>
                    <a:lnTo>
                      <a:pt x="627" y="312"/>
                    </a:lnTo>
                    <a:lnTo>
                      <a:pt x="627" y="312"/>
                    </a:lnTo>
                    <a:lnTo>
                      <a:pt x="625" y="312"/>
                    </a:lnTo>
                    <a:lnTo>
                      <a:pt x="625" y="312"/>
                    </a:lnTo>
                    <a:lnTo>
                      <a:pt x="623" y="312"/>
                    </a:lnTo>
                    <a:lnTo>
                      <a:pt x="623" y="312"/>
                    </a:lnTo>
                    <a:lnTo>
                      <a:pt x="623" y="312"/>
                    </a:lnTo>
                    <a:lnTo>
                      <a:pt x="621" y="312"/>
                    </a:lnTo>
                    <a:lnTo>
                      <a:pt x="621" y="312"/>
                    </a:lnTo>
                    <a:lnTo>
                      <a:pt x="621" y="312"/>
                    </a:lnTo>
                    <a:lnTo>
                      <a:pt x="621" y="312"/>
                    </a:lnTo>
                    <a:lnTo>
                      <a:pt x="623" y="312"/>
                    </a:lnTo>
                    <a:lnTo>
                      <a:pt x="623" y="312"/>
                    </a:lnTo>
                    <a:lnTo>
                      <a:pt x="621" y="312"/>
                    </a:lnTo>
                    <a:lnTo>
                      <a:pt x="620" y="312"/>
                    </a:lnTo>
                    <a:lnTo>
                      <a:pt x="620" y="312"/>
                    </a:lnTo>
                    <a:lnTo>
                      <a:pt x="620" y="313"/>
                    </a:lnTo>
                    <a:lnTo>
                      <a:pt x="617" y="316"/>
                    </a:lnTo>
                    <a:lnTo>
                      <a:pt x="617" y="316"/>
                    </a:lnTo>
                    <a:lnTo>
                      <a:pt x="620" y="315"/>
                    </a:lnTo>
                    <a:lnTo>
                      <a:pt x="620" y="315"/>
                    </a:lnTo>
                    <a:lnTo>
                      <a:pt x="619" y="318"/>
                    </a:lnTo>
                    <a:lnTo>
                      <a:pt x="615" y="322"/>
                    </a:lnTo>
                    <a:lnTo>
                      <a:pt x="615" y="322"/>
                    </a:lnTo>
                    <a:lnTo>
                      <a:pt x="615" y="322"/>
                    </a:lnTo>
                    <a:lnTo>
                      <a:pt x="613" y="322"/>
                    </a:lnTo>
                    <a:lnTo>
                      <a:pt x="613" y="322"/>
                    </a:lnTo>
                    <a:lnTo>
                      <a:pt x="609" y="325"/>
                    </a:lnTo>
                    <a:lnTo>
                      <a:pt x="605" y="325"/>
                    </a:lnTo>
                    <a:lnTo>
                      <a:pt x="605" y="325"/>
                    </a:lnTo>
                    <a:lnTo>
                      <a:pt x="601" y="325"/>
                    </a:lnTo>
                    <a:lnTo>
                      <a:pt x="599" y="322"/>
                    </a:lnTo>
                    <a:lnTo>
                      <a:pt x="598" y="320"/>
                    </a:lnTo>
                    <a:lnTo>
                      <a:pt x="598" y="320"/>
                    </a:lnTo>
                    <a:lnTo>
                      <a:pt x="596" y="317"/>
                    </a:lnTo>
                    <a:lnTo>
                      <a:pt x="596" y="317"/>
                    </a:lnTo>
                    <a:lnTo>
                      <a:pt x="596" y="317"/>
                    </a:lnTo>
                    <a:lnTo>
                      <a:pt x="595" y="317"/>
                    </a:lnTo>
                    <a:lnTo>
                      <a:pt x="595" y="317"/>
                    </a:lnTo>
                    <a:lnTo>
                      <a:pt x="591" y="318"/>
                    </a:lnTo>
                    <a:lnTo>
                      <a:pt x="591" y="318"/>
                    </a:lnTo>
                    <a:lnTo>
                      <a:pt x="590" y="320"/>
                    </a:lnTo>
                    <a:lnTo>
                      <a:pt x="587" y="320"/>
                    </a:lnTo>
                    <a:lnTo>
                      <a:pt x="587" y="320"/>
                    </a:lnTo>
                    <a:lnTo>
                      <a:pt x="579" y="321"/>
                    </a:lnTo>
                    <a:lnTo>
                      <a:pt x="579" y="321"/>
                    </a:lnTo>
                    <a:lnTo>
                      <a:pt x="575" y="321"/>
                    </a:lnTo>
                    <a:lnTo>
                      <a:pt x="570" y="320"/>
                    </a:lnTo>
                    <a:lnTo>
                      <a:pt x="570" y="320"/>
                    </a:lnTo>
                    <a:lnTo>
                      <a:pt x="568" y="320"/>
                    </a:lnTo>
                    <a:lnTo>
                      <a:pt x="568" y="320"/>
                    </a:lnTo>
                    <a:lnTo>
                      <a:pt x="566" y="322"/>
                    </a:lnTo>
                    <a:lnTo>
                      <a:pt x="564" y="324"/>
                    </a:lnTo>
                    <a:lnTo>
                      <a:pt x="563" y="324"/>
                    </a:lnTo>
                    <a:lnTo>
                      <a:pt x="558" y="329"/>
                    </a:lnTo>
                    <a:lnTo>
                      <a:pt x="558" y="334"/>
                    </a:lnTo>
                    <a:lnTo>
                      <a:pt x="551" y="341"/>
                    </a:lnTo>
                    <a:lnTo>
                      <a:pt x="551" y="341"/>
                    </a:lnTo>
                    <a:lnTo>
                      <a:pt x="551" y="341"/>
                    </a:lnTo>
                    <a:lnTo>
                      <a:pt x="551" y="341"/>
                    </a:lnTo>
                    <a:lnTo>
                      <a:pt x="554" y="340"/>
                    </a:lnTo>
                    <a:lnTo>
                      <a:pt x="555" y="340"/>
                    </a:lnTo>
                    <a:lnTo>
                      <a:pt x="555" y="340"/>
                    </a:lnTo>
                    <a:lnTo>
                      <a:pt x="557" y="337"/>
                    </a:lnTo>
                    <a:lnTo>
                      <a:pt x="557" y="337"/>
                    </a:lnTo>
                    <a:lnTo>
                      <a:pt x="557" y="337"/>
                    </a:lnTo>
                    <a:lnTo>
                      <a:pt x="557" y="337"/>
                    </a:lnTo>
                    <a:lnTo>
                      <a:pt x="557" y="342"/>
                    </a:lnTo>
                    <a:lnTo>
                      <a:pt x="557" y="342"/>
                    </a:lnTo>
                    <a:lnTo>
                      <a:pt x="555" y="346"/>
                    </a:lnTo>
                    <a:lnTo>
                      <a:pt x="554" y="350"/>
                    </a:lnTo>
                    <a:lnTo>
                      <a:pt x="554" y="350"/>
                    </a:lnTo>
                    <a:lnTo>
                      <a:pt x="553" y="352"/>
                    </a:lnTo>
                    <a:lnTo>
                      <a:pt x="550" y="354"/>
                    </a:lnTo>
                    <a:lnTo>
                      <a:pt x="550" y="354"/>
                    </a:lnTo>
                    <a:lnTo>
                      <a:pt x="550" y="353"/>
                    </a:lnTo>
                    <a:lnTo>
                      <a:pt x="550" y="353"/>
                    </a:lnTo>
                    <a:lnTo>
                      <a:pt x="547" y="350"/>
                    </a:lnTo>
                    <a:lnTo>
                      <a:pt x="550" y="354"/>
                    </a:lnTo>
                    <a:lnTo>
                      <a:pt x="549" y="356"/>
                    </a:lnTo>
                    <a:lnTo>
                      <a:pt x="549" y="356"/>
                    </a:lnTo>
                    <a:lnTo>
                      <a:pt x="550" y="354"/>
                    </a:lnTo>
                    <a:lnTo>
                      <a:pt x="550" y="354"/>
                    </a:lnTo>
                    <a:lnTo>
                      <a:pt x="550" y="354"/>
                    </a:lnTo>
                    <a:lnTo>
                      <a:pt x="550" y="354"/>
                    </a:lnTo>
                    <a:lnTo>
                      <a:pt x="550" y="354"/>
                    </a:lnTo>
                    <a:lnTo>
                      <a:pt x="551" y="356"/>
                    </a:lnTo>
                    <a:lnTo>
                      <a:pt x="551" y="354"/>
                    </a:lnTo>
                    <a:lnTo>
                      <a:pt x="551" y="354"/>
                    </a:lnTo>
                    <a:lnTo>
                      <a:pt x="555" y="357"/>
                    </a:lnTo>
                    <a:lnTo>
                      <a:pt x="557" y="357"/>
                    </a:lnTo>
                    <a:lnTo>
                      <a:pt x="557" y="357"/>
                    </a:lnTo>
                    <a:lnTo>
                      <a:pt x="558" y="356"/>
                    </a:lnTo>
                    <a:lnTo>
                      <a:pt x="560" y="356"/>
                    </a:lnTo>
                    <a:lnTo>
                      <a:pt x="560" y="356"/>
                    </a:lnTo>
                    <a:lnTo>
                      <a:pt x="564" y="356"/>
                    </a:lnTo>
                    <a:lnTo>
                      <a:pt x="568" y="361"/>
                    </a:lnTo>
                    <a:lnTo>
                      <a:pt x="568" y="362"/>
                    </a:lnTo>
                    <a:lnTo>
                      <a:pt x="566" y="366"/>
                    </a:lnTo>
                    <a:lnTo>
                      <a:pt x="566" y="366"/>
                    </a:lnTo>
                    <a:lnTo>
                      <a:pt x="568" y="370"/>
                    </a:lnTo>
                    <a:lnTo>
                      <a:pt x="571" y="374"/>
                    </a:lnTo>
                    <a:lnTo>
                      <a:pt x="571" y="374"/>
                    </a:lnTo>
                    <a:lnTo>
                      <a:pt x="571" y="374"/>
                    </a:lnTo>
                    <a:lnTo>
                      <a:pt x="572" y="374"/>
                    </a:lnTo>
                    <a:lnTo>
                      <a:pt x="572" y="374"/>
                    </a:lnTo>
                    <a:lnTo>
                      <a:pt x="578" y="379"/>
                    </a:lnTo>
                    <a:lnTo>
                      <a:pt x="578" y="379"/>
                    </a:lnTo>
                    <a:lnTo>
                      <a:pt x="576" y="377"/>
                    </a:lnTo>
                    <a:lnTo>
                      <a:pt x="575" y="375"/>
                    </a:lnTo>
                    <a:lnTo>
                      <a:pt x="576" y="375"/>
                    </a:lnTo>
                    <a:lnTo>
                      <a:pt x="576" y="375"/>
                    </a:lnTo>
                    <a:lnTo>
                      <a:pt x="578" y="375"/>
                    </a:lnTo>
                    <a:lnTo>
                      <a:pt x="583" y="381"/>
                    </a:lnTo>
                    <a:lnTo>
                      <a:pt x="583" y="381"/>
                    </a:lnTo>
                    <a:lnTo>
                      <a:pt x="583" y="386"/>
                    </a:lnTo>
                    <a:lnTo>
                      <a:pt x="582" y="389"/>
                    </a:lnTo>
                    <a:lnTo>
                      <a:pt x="578" y="391"/>
                    </a:lnTo>
                    <a:lnTo>
                      <a:pt x="578" y="395"/>
                    </a:lnTo>
                    <a:lnTo>
                      <a:pt x="578" y="395"/>
                    </a:lnTo>
                    <a:lnTo>
                      <a:pt x="578" y="398"/>
                    </a:lnTo>
                    <a:lnTo>
                      <a:pt x="578" y="398"/>
                    </a:lnTo>
                    <a:lnTo>
                      <a:pt x="582" y="399"/>
                    </a:lnTo>
                    <a:lnTo>
                      <a:pt x="586" y="400"/>
                    </a:lnTo>
                    <a:lnTo>
                      <a:pt x="586" y="400"/>
                    </a:lnTo>
                    <a:lnTo>
                      <a:pt x="586" y="402"/>
                    </a:lnTo>
                    <a:lnTo>
                      <a:pt x="586" y="402"/>
                    </a:lnTo>
                    <a:lnTo>
                      <a:pt x="588" y="403"/>
                    </a:lnTo>
                    <a:lnTo>
                      <a:pt x="590" y="406"/>
                    </a:lnTo>
                    <a:lnTo>
                      <a:pt x="591" y="408"/>
                    </a:lnTo>
                    <a:lnTo>
                      <a:pt x="591" y="410"/>
                    </a:lnTo>
                    <a:lnTo>
                      <a:pt x="591" y="410"/>
                    </a:lnTo>
                    <a:lnTo>
                      <a:pt x="590" y="407"/>
                    </a:lnTo>
                    <a:lnTo>
                      <a:pt x="587" y="406"/>
                    </a:lnTo>
                    <a:lnTo>
                      <a:pt x="592" y="412"/>
                    </a:lnTo>
                    <a:lnTo>
                      <a:pt x="592" y="414"/>
                    </a:lnTo>
                    <a:lnTo>
                      <a:pt x="588" y="416"/>
                    </a:lnTo>
                    <a:lnTo>
                      <a:pt x="588" y="416"/>
                    </a:lnTo>
                    <a:lnTo>
                      <a:pt x="587" y="415"/>
                    </a:lnTo>
                    <a:lnTo>
                      <a:pt x="587" y="416"/>
                    </a:lnTo>
                    <a:lnTo>
                      <a:pt x="584" y="419"/>
                    </a:lnTo>
                    <a:lnTo>
                      <a:pt x="584" y="419"/>
                    </a:lnTo>
                    <a:lnTo>
                      <a:pt x="586" y="419"/>
                    </a:lnTo>
                    <a:lnTo>
                      <a:pt x="586" y="419"/>
                    </a:lnTo>
                    <a:lnTo>
                      <a:pt x="588" y="418"/>
                    </a:lnTo>
                    <a:lnTo>
                      <a:pt x="590" y="420"/>
                    </a:lnTo>
                    <a:lnTo>
                      <a:pt x="590" y="420"/>
                    </a:lnTo>
                    <a:lnTo>
                      <a:pt x="590" y="426"/>
                    </a:lnTo>
                    <a:lnTo>
                      <a:pt x="587" y="428"/>
                    </a:lnTo>
                    <a:lnTo>
                      <a:pt x="587" y="428"/>
                    </a:lnTo>
                    <a:lnTo>
                      <a:pt x="587" y="428"/>
                    </a:lnTo>
                    <a:lnTo>
                      <a:pt x="587" y="430"/>
                    </a:lnTo>
                    <a:lnTo>
                      <a:pt x="587" y="430"/>
                    </a:lnTo>
                    <a:lnTo>
                      <a:pt x="587" y="430"/>
                    </a:lnTo>
                    <a:lnTo>
                      <a:pt x="587" y="430"/>
                    </a:lnTo>
                    <a:lnTo>
                      <a:pt x="588" y="434"/>
                    </a:lnTo>
                    <a:lnTo>
                      <a:pt x="588" y="436"/>
                    </a:lnTo>
                    <a:lnTo>
                      <a:pt x="587" y="439"/>
                    </a:lnTo>
                    <a:lnTo>
                      <a:pt x="587" y="439"/>
                    </a:lnTo>
                    <a:lnTo>
                      <a:pt x="587" y="439"/>
                    </a:lnTo>
                    <a:lnTo>
                      <a:pt x="587" y="439"/>
                    </a:lnTo>
                    <a:lnTo>
                      <a:pt x="588" y="441"/>
                    </a:lnTo>
                    <a:lnTo>
                      <a:pt x="588" y="445"/>
                    </a:lnTo>
                    <a:lnTo>
                      <a:pt x="587" y="449"/>
                    </a:lnTo>
                    <a:lnTo>
                      <a:pt x="583" y="452"/>
                    </a:lnTo>
                    <a:lnTo>
                      <a:pt x="580" y="453"/>
                    </a:lnTo>
                    <a:lnTo>
                      <a:pt x="578" y="453"/>
                    </a:lnTo>
                    <a:lnTo>
                      <a:pt x="572" y="449"/>
                    </a:lnTo>
                    <a:lnTo>
                      <a:pt x="572" y="449"/>
                    </a:lnTo>
                    <a:lnTo>
                      <a:pt x="572" y="449"/>
                    </a:lnTo>
                    <a:lnTo>
                      <a:pt x="572" y="449"/>
                    </a:lnTo>
                    <a:lnTo>
                      <a:pt x="571" y="452"/>
                    </a:lnTo>
                    <a:lnTo>
                      <a:pt x="571" y="452"/>
                    </a:lnTo>
                    <a:lnTo>
                      <a:pt x="568" y="456"/>
                    </a:lnTo>
                    <a:lnTo>
                      <a:pt x="563" y="457"/>
                    </a:lnTo>
                    <a:lnTo>
                      <a:pt x="563" y="457"/>
                    </a:lnTo>
                    <a:lnTo>
                      <a:pt x="562" y="457"/>
                    </a:lnTo>
                    <a:lnTo>
                      <a:pt x="562" y="457"/>
                    </a:lnTo>
                    <a:lnTo>
                      <a:pt x="564" y="456"/>
                    </a:lnTo>
                    <a:lnTo>
                      <a:pt x="566" y="453"/>
                    </a:lnTo>
                    <a:lnTo>
                      <a:pt x="559" y="459"/>
                    </a:lnTo>
                    <a:lnTo>
                      <a:pt x="555" y="459"/>
                    </a:lnTo>
                    <a:lnTo>
                      <a:pt x="549" y="453"/>
                    </a:lnTo>
                    <a:lnTo>
                      <a:pt x="549" y="453"/>
                    </a:lnTo>
                    <a:lnTo>
                      <a:pt x="550" y="456"/>
                    </a:lnTo>
                    <a:lnTo>
                      <a:pt x="553" y="457"/>
                    </a:lnTo>
                    <a:lnTo>
                      <a:pt x="550" y="457"/>
                    </a:lnTo>
                    <a:lnTo>
                      <a:pt x="550" y="457"/>
                    </a:lnTo>
                    <a:lnTo>
                      <a:pt x="546" y="457"/>
                    </a:lnTo>
                    <a:lnTo>
                      <a:pt x="543" y="456"/>
                    </a:lnTo>
                    <a:lnTo>
                      <a:pt x="542" y="452"/>
                    </a:lnTo>
                    <a:lnTo>
                      <a:pt x="542" y="452"/>
                    </a:lnTo>
                    <a:lnTo>
                      <a:pt x="542" y="452"/>
                    </a:lnTo>
                    <a:lnTo>
                      <a:pt x="541" y="452"/>
                    </a:lnTo>
                    <a:lnTo>
                      <a:pt x="541" y="452"/>
                    </a:lnTo>
                    <a:lnTo>
                      <a:pt x="542" y="452"/>
                    </a:lnTo>
                    <a:lnTo>
                      <a:pt x="541" y="451"/>
                    </a:lnTo>
                    <a:lnTo>
                      <a:pt x="539" y="452"/>
                    </a:lnTo>
                    <a:lnTo>
                      <a:pt x="539" y="452"/>
                    </a:lnTo>
                    <a:lnTo>
                      <a:pt x="541" y="451"/>
                    </a:lnTo>
                    <a:lnTo>
                      <a:pt x="533" y="455"/>
                    </a:lnTo>
                    <a:lnTo>
                      <a:pt x="533" y="455"/>
                    </a:lnTo>
                    <a:lnTo>
                      <a:pt x="530" y="453"/>
                    </a:lnTo>
                    <a:lnTo>
                      <a:pt x="530" y="453"/>
                    </a:lnTo>
                    <a:lnTo>
                      <a:pt x="531" y="453"/>
                    </a:lnTo>
                    <a:lnTo>
                      <a:pt x="530" y="451"/>
                    </a:lnTo>
                    <a:lnTo>
                      <a:pt x="530" y="451"/>
                    </a:lnTo>
                    <a:lnTo>
                      <a:pt x="530" y="451"/>
                    </a:lnTo>
                    <a:lnTo>
                      <a:pt x="530" y="451"/>
                    </a:lnTo>
                    <a:lnTo>
                      <a:pt x="531" y="448"/>
                    </a:lnTo>
                    <a:lnTo>
                      <a:pt x="531" y="445"/>
                    </a:lnTo>
                    <a:lnTo>
                      <a:pt x="530" y="451"/>
                    </a:lnTo>
                    <a:lnTo>
                      <a:pt x="526" y="447"/>
                    </a:lnTo>
                    <a:lnTo>
                      <a:pt x="526" y="447"/>
                    </a:lnTo>
                    <a:lnTo>
                      <a:pt x="526" y="448"/>
                    </a:lnTo>
                    <a:lnTo>
                      <a:pt x="526" y="451"/>
                    </a:lnTo>
                    <a:lnTo>
                      <a:pt x="526" y="451"/>
                    </a:lnTo>
                    <a:lnTo>
                      <a:pt x="529" y="452"/>
                    </a:lnTo>
                    <a:lnTo>
                      <a:pt x="529" y="452"/>
                    </a:lnTo>
                    <a:lnTo>
                      <a:pt x="530" y="452"/>
                    </a:lnTo>
                    <a:lnTo>
                      <a:pt x="530" y="452"/>
                    </a:lnTo>
                    <a:lnTo>
                      <a:pt x="530" y="452"/>
                    </a:lnTo>
                    <a:lnTo>
                      <a:pt x="526" y="455"/>
                    </a:lnTo>
                    <a:lnTo>
                      <a:pt x="521" y="455"/>
                    </a:lnTo>
                    <a:lnTo>
                      <a:pt x="521" y="455"/>
                    </a:lnTo>
                    <a:lnTo>
                      <a:pt x="521" y="455"/>
                    </a:lnTo>
                    <a:lnTo>
                      <a:pt x="518" y="455"/>
                    </a:lnTo>
                    <a:lnTo>
                      <a:pt x="517" y="456"/>
                    </a:lnTo>
                    <a:lnTo>
                      <a:pt x="514" y="463"/>
                    </a:lnTo>
                    <a:lnTo>
                      <a:pt x="514" y="463"/>
                    </a:lnTo>
                    <a:lnTo>
                      <a:pt x="513" y="468"/>
                    </a:lnTo>
                    <a:lnTo>
                      <a:pt x="512" y="472"/>
                    </a:lnTo>
                    <a:lnTo>
                      <a:pt x="512" y="472"/>
                    </a:lnTo>
                    <a:lnTo>
                      <a:pt x="509" y="475"/>
                    </a:lnTo>
                    <a:lnTo>
                      <a:pt x="508" y="477"/>
                    </a:lnTo>
                    <a:lnTo>
                      <a:pt x="508" y="477"/>
                    </a:lnTo>
                    <a:lnTo>
                      <a:pt x="506" y="481"/>
                    </a:lnTo>
                    <a:lnTo>
                      <a:pt x="506" y="482"/>
                    </a:lnTo>
                    <a:lnTo>
                      <a:pt x="505" y="485"/>
                    </a:lnTo>
                    <a:lnTo>
                      <a:pt x="505" y="485"/>
                    </a:lnTo>
                    <a:lnTo>
                      <a:pt x="493" y="501"/>
                    </a:lnTo>
                    <a:lnTo>
                      <a:pt x="493" y="501"/>
                    </a:lnTo>
                    <a:lnTo>
                      <a:pt x="485" y="512"/>
                    </a:lnTo>
                    <a:lnTo>
                      <a:pt x="485" y="512"/>
                    </a:lnTo>
                    <a:lnTo>
                      <a:pt x="482" y="515"/>
                    </a:lnTo>
                    <a:lnTo>
                      <a:pt x="482" y="515"/>
                    </a:lnTo>
                    <a:lnTo>
                      <a:pt x="480" y="518"/>
                    </a:lnTo>
                    <a:lnTo>
                      <a:pt x="480" y="519"/>
                    </a:lnTo>
                    <a:lnTo>
                      <a:pt x="480" y="519"/>
                    </a:lnTo>
                    <a:lnTo>
                      <a:pt x="481" y="523"/>
                    </a:lnTo>
                    <a:lnTo>
                      <a:pt x="480" y="526"/>
                    </a:lnTo>
                    <a:lnTo>
                      <a:pt x="479" y="529"/>
                    </a:lnTo>
                    <a:lnTo>
                      <a:pt x="479" y="529"/>
                    </a:lnTo>
                    <a:lnTo>
                      <a:pt x="479" y="529"/>
                    </a:lnTo>
                    <a:lnTo>
                      <a:pt x="479" y="530"/>
                    </a:lnTo>
                    <a:lnTo>
                      <a:pt x="475" y="535"/>
                    </a:lnTo>
                    <a:lnTo>
                      <a:pt x="475" y="535"/>
                    </a:lnTo>
                    <a:lnTo>
                      <a:pt x="475" y="537"/>
                    </a:lnTo>
                    <a:lnTo>
                      <a:pt x="471" y="539"/>
                    </a:lnTo>
                    <a:lnTo>
                      <a:pt x="471" y="539"/>
                    </a:lnTo>
                    <a:lnTo>
                      <a:pt x="467" y="541"/>
                    </a:lnTo>
                    <a:lnTo>
                      <a:pt x="467" y="541"/>
                    </a:lnTo>
                    <a:lnTo>
                      <a:pt x="463" y="539"/>
                    </a:lnTo>
                    <a:lnTo>
                      <a:pt x="463" y="539"/>
                    </a:lnTo>
                    <a:lnTo>
                      <a:pt x="463" y="541"/>
                    </a:lnTo>
                    <a:lnTo>
                      <a:pt x="463" y="541"/>
                    </a:lnTo>
                    <a:lnTo>
                      <a:pt x="460" y="542"/>
                    </a:lnTo>
                    <a:lnTo>
                      <a:pt x="456" y="543"/>
                    </a:lnTo>
                    <a:lnTo>
                      <a:pt x="455" y="543"/>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3" name="Freeform 38">
                <a:extLst>
                  <a:ext uri="{FF2B5EF4-FFF2-40B4-BE49-F238E27FC236}">
                    <a16:creationId xmlns:a16="http://schemas.microsoft.com/office/drawing/2014/main" xmlns="" id="{34A8A078-0E33-4EF6-8107-13B092C778F6}"/>
                  </a:ext>
                </a:extLst>
              </p:cNvPr>
              <p:cNvSpPr>
                <a:spLocks/>
              </p:cNvSpPr>
              <p:nvPr/>
            </p:nvSpPr>
            <p:spPr bwMode="auto">
              <a:xfrm>
                <a:off x="4986376" y="3710637"/>
                <a:ext cx="555403" cy="363885"/>
              </a:xfrm>
              <a:custGeom>
                <a:avLst/>
                <a:gdLst>
                  <a:gd name="T0" fmla="*/ 279 w 319"/>
                  <a:gd name="T1" fmla="*/ 197 h 209"/>
                  <a:gd name="T2" fmla="*/ 271 w 319"/>
                  <a:gd name="T3" fmla="*/ 195 h 209"/>
                  <a:gd name="T4" fmla="*/ 256 w 319"/>
                  <a:gd name="T5" fmla="*/ 193 h 209"/>
                  <a:gd name="T6" fmla="*/ 233 w 319"/>
                  <a:gd name="T7" fmla="*/ 187 h 209"/>
                  <a:gd name="T8" fmla="*/ 230 w 319"/>
                  <a:gd name="T9" fmla="*/ 179 h 209"/>
                  <a:gd name="T10" fmla="*/ 225 w 319"/>
                  <a:gd name="T11" fmla="*/ 150 h 209"/>
                  <a:gd name="T12" fmla="*/ 209 w 319"/>
                  <a:gd name="T13" fmla="*/ 156 h 209"/>
                  <a:gd name="T14" fmla="*/ 193 w 319"/>
                  <a:gd name="T15" fmla="*/ 166 h 209"/>
                  <a:gd name="T16" fmla="*/ 190 w 319"/>
                  <a:gd name="T17" fmla="*/ 172 h 209"/>
                  <a:gd name="T18" fmla="*/ 181 w 319"/>
                  <a:gd name="T19" fmla="*/ 179 h 209"/>
                  <a:gd name="T20" fmla="*/ 172 w 319"/>
                  <a:gd name="T21" fmla="*/ 195 h 209"/>
                  <a:gd name="T22" fmla="*/ 152 w 319"/>
                  <a:gd name="T23" fmla="*/ 188 h 209"/>
                  <a:gd name="T24" fmla="*/ 135 w 319"/>
                  <a:gd name="T25" fmla="*/ 184 h 209"/>
                  <a:gd name="T26" fmla="*/ 128 w 319"/>
                  <a:gd name="T27" fmla="*/ 182 h 209"/>
                  <a:gd name="T28" fmla="*/ 120 w 319"/>
                  <a:gd name="T29" fmla="*/ 189 h 209"/>
                  <a:gd name="T30" fmla="*/ 112 w 319"/>
                  <a:gd name="T31" fmla="*/ 200 h 209"/>
                  <a:gd name="T32" fmla="*/ 87 w 319"/>
                  <a:gd name="T33" fmla="*/ 195 h 209"/>
                  <a:gd name="T34" fmla="*/ 79 w 319"/>
                  <a:gd name="T35" fmla="*/ 189 h 209"/>
                  <a:gd name="T36" fmla="*/ 71 w 319"/>
                  <a:gd name="T37" fmla="*/ 184 h 209"/>
                  <a:gd name="T38" fmla="*/ 63 w 319"/>
                  <a:gd name="T39" fmla="*/ 180 h 209"/>
                  <a:gd name="T40" fmla="*/ 69 w 319"/>
                  <a:gd name="T41" fmla="*/ 160 h 209"/>
                  <a:gd name="T42" fmla="*/ 56 w 319"/>
                  <a:gd name="T43" fmla="*/ 151 h 209"/>
                  <a:gd name="T44" fmla="*/ 42 w 319"/>
                  <a:gd name="T45" fmla="*/ 139 h 209"/>
                  <a:gd name="T46" fmla="*/ 16 w 319"/>
                  <a:gd name="T47" fmla="*/ 130 h 209"/>
                  <a:gd name="T48" fmla="*/ 4 w 319"/>
                  <a:gd name="T49" fmla="*/ 115 h 209"/>
                  <a:gd name="T50" fmla="*/ 3 w 319"/>
                  <a:gd name="T51" fmla="*/ 96 h 209"/>
                  <a:gd name="T52" fmla="*/ 8 w 319"/>
                  <a:gd name="T53" fmla="*/ 77 h 209"/>
                  <a:gd name="T54" fmla="*/ 1 w 319"/>
                  <a:gd name="T55" fmla="*/ 69 h 209"/>
                  <a:gd name="T56" fmla="*/ 4 w 319"/>
                  <a:gd name="T57" fmla="*/ 45 h 209"/>
                  <a:gd name="T58" fmla="*/ 16 w 319"/>
                  <a:gd name="T59" fmla="*/ 35 h 209"/>
                  <a:gd name="T60" fmla="*/ 20 w 319"/>
                  <a:gd name="T61" fmla="*/ 35 h 209"/>
                  <a:gd name="T62" fmla="*/ 30 w 319"/>
                  <a:gd name="T63" fmla="*/ 27 h 209"/>
                  <a:gd name="T64" fmla="*/ 34 w 319"/>
                  <a:gd name="T65" fmla="*/ 28 h 209"/>
                  <a:gd name="T66" fmla="*/ 33 w 319"/>
                  <a:gd name="T67" fmla="*/ 11 h 209"/>
                  <a:gd name="T68" fmla="*/ 48 w 319"/>
                  <a:gd name="T69" fmla="*/ 4 h 209"/>
                  <a:gd name="T70" fmla="*/ 54 w 319"/>
                  <a:gd name="T71" fmla="*/ 10 h 209"/>
                  <a:gd name="T72" fmla="*/ 66 w 319"/>
                  <a:gd name="T73" fmla="*/ 23 h 209"/>
                  <a:gd name="T74" fmla="*/ 71 w 319"/>
                  <a:gd name="T75" fmla="*/ 27 h 209"/>
                  <a:gd name="T76" fmla="*/ 81 w 319"/>
                  <a:gd name="T77" fmla="*/ 19 h 209"/>
                  <a:gd name="T78" fmla="*/ 91 w 319"/>
                  <a:gd name="T79" fmla="*/ 15 h 209"/>
                  <a:gd name="T80" fmla="*/ 103 w 319"/>
                  <a:gd name="T81" fmla="*/ 16 h 209"/>
                  <a:gd name="T82" fmla="*/ 112 w 319"/>
                  <a:gd name="T83" fmla="*/ 23 h 209"/>
                  <a:gd name="T84" fmla="*/ 130 w 319"/>
                  <a:gd name="T85" fmla="*/ 36 h 209"/>
                  <a:gd name="T86" fmla="*/ 140 w 319"/>
                  <a:gd name="T87" fmla="*/ 49 h 209"/>
                  <a:gd name="T88" fmla="*/ 160 w 319"/>
                  <a:gd name="T89" fmla="*/ 59 h 209"/>
                  <a:gd name="T90" fmla="*/ 169 w 319"/>
                  <a:gd name="T91" fmla="*/ 64 h 209"/>
                  <a:gd name="T92" fmla="*/ 177 w 319"/>
                  <a:gd name="T93" fmla="*/ 53 h 209"/>
                  <a:gd name="T94" fmla="*/ 194 w 319"/>
                  <a:gd name="T95" fmla="*/ 65 h 209"/>
                  <a:gd name="T96" fmla="*/ 215 w 319"/>
                  <a:gd name="T97" fmla="*/ 69 h 209"/>
                  <a:gd name="T98" fmla="*/ 231 w 319"/>
                  <a:gd name="T99" fmla="*/ 89 h 209"/>
                  <a:gd name="T100" fmla="*/ 251 w 319"/>
                  <a:gd name="T101" fmla="*/ 76 h 209"/>
                  <a:gd name="T102" fmla="*/ 280 w 319"/>
                  <a:gd name="T103" fmla="*/ 52 h 209"/>
                  <a:gd name="T104" fmla="*/ 291 w 319"/>
                  <a:gd name="T105" fmla="*/ 47 h 209"/>
                  <a:gd name="T106" fmla="*/ 300 w 319"/>
                  <a:gd name="T107" fmla="*/ 66 h 209"/>
                  <a:gd name="T108" fmla="*/ 319 w 319"/>
                  <a:gd name="T109" fmla="*/ 93 h 209"/>
                  <a:gd name="T110" fmla="*/ 304 w 319"/>
                  <a:gd name="T111" fmla="*/ 111 h 209"/>
                  <a:gd name="T112" fmla="*/ 291 w 319"/>
                  <a:gd name="T113" fmla="*/ 121 h 209"/>
                  <a:gd name="T114" fmla="*/ 291 w 319"/>
                  <a:gd name="T115" fmla="*/ 130 h 209"/>
                  <a:gd name="T116" fmla="*/ 299 w 319"/>
                  <a:gd name="T117" fmla="*/ 151 h 209"/>
                  <a:gd name="T118" fmla="*/ 295 w 319"/>
                  <a:gd name="T119" fmla="*/ 160 h 209"/>
                  <a:gd name="T120" fmla="*/ 311 w 319"/>
                  <a:gd name="T121" fmla="*/ 180 h 209"/>
                  <a:gd name="T122" fmla="*/ 307 w 319"/>
                  <a:gd name="T123"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209">
                    <a:moveTo>
                      <a:pt x="291" y="209"/>
                    </a:moveTo>
                    <a:lnTo>
                      <a:pt x="288" y="208"/>
                    </a:lnTo>
                    <a:lnTo>
                      <a:pt x="288" y="208"/>
                    </a:lnTo>
                    <a:lnTo>
                      <a:pt x="284" y="205"/>
                    </a:lnTo>
                    <a:lnTo>
                      <a:pt x="283" y="201"/>
                    </a:lnTo>
                    <a:lnTo>
                      <a:pt x="283" y="201"/>
                    </a:lnTo>
                    <a:lnTo>
                      <a:pt x="282" y="200"/>
                    </a:lnTo>
                    <a:lnTo>
                      <a:pt x="282" y="200"/>
                    </a:lnTo>
                    <a:lnTo>
                      <a:pt x="283" y="201"/>
                    </a:lnTo>
                    <a:lnTo>
                      <a:pt x="279" y="197"/>
                    </a:lnTo>
                    <a:lnTo>
                      <a:pt x="279" y="197"/>
                    </a:lnTo>
                    <a:lnTo>
                      <a:pt x="279" y="197"/>
                    </a:lnTo>
                    <a:lnTo>
                      <a:pt x="279" y="196"/>
                    </a:lnTo>
                    <a:lnTo>
                      <a:pt x="278" y="196"/>
                    </a:lnTo>
                    <a:lnTo>
                      <a:pt x="272" y="192"/>
                    </a:lnTo>
                    <a:lnTo>
                      <a:pt x="272" y="193"/>
                    </a:lnTo>
                    <a:lnTo>
                      <a:pt x="272" y="193"/>
                    </a:lnTo>
                    <a:lnTo>
                      <a:pt x="275" y="195"/>
                    </a:lnTo>
                    <a:lnTo>
                      <a:pt x="274" y="195"/>
                    </a:lnTo>
                    <a:lnTo>
                      <a:pt x="274" y="195"/>
                    </a:lnTo>
                    <a:lnTo>
                      <a:pt x="272" y="195"/>
                    </a:lnTo>
                    <a:lnTo>
                      <a:pt x="271" y="195"/>
                    </a:lnTo>
                    <a:lnTo>
                      <a:pt x="270" y="195"/>
                    </a:lnTo>
                    <a:lnTo>
                      <a:pt x="270" y="195"/>
                    </a:lnTo>
                    <a:lnTo>
                      <a:pt x="267" y="196"/>
                    </a:lnTo>
                    <a:lnTo>
                      <a:pt x="263" y="197"/>
                    </a:lnTo>
                    <a:lnTo>
                      <a:pt x="263" y="197"/>
                    </a:lnTo>
                    <a:lnTo>
                      <a:pt x="263" y="197"/>
                    </a:lnTo>
                    <a:lnTo>
                      <a:pt x="263" y="197"/>
                    </a:lnTo>
                    <a:lnTo>
                      <a:pt x="262" y="197"/>
                    </a:lnTo>
                    <a:lnTo>
                      <a:pt x="259" y="196"/>
                    </a:lnTo>
                    <a:lnTo>
                      <a:pt x="259" y="196"/>
                    </a:lnTo>
                    <a:lnTo>
                      <a:pt x="256" y="193"/>
                    </a:lnTo>
                    <a:lnTo>
                      <a:pt x="256" y="193"/>
                    </a:lnTo>
                    <a:lnTo>
                      <a:pt x="255" y="192"/>
                    </a:lnTo>
                    <a:lnTo>
                      <a:pt x="253" y="193"/>
                    </a:lnTo>
                    <a:lnTo>
                      <a:pt x="251" y="193"/>
                    </a:lnTo>
                    <a:lnTo>
                      <a:pt x="249" y="191"/>
                    </a:lnTo>
                    <a:lnTo>
                      <a:pt x="249" y="191"/>
                    </a:lnTo>
                    <a:lnTo>
                      <a:pt x="245" y="192"/>
                    </a:lnTo>
                    <a:lnTo>
                      <a:pt x="241" y="192"/>
                    </a:lnTo>
                    <a:lnTo>
                      <a:pt x="241" y="192"/>
                    </a:lnTo>
                    <a:lnTo>
                      <a:pt x="238" y="192"/>
                    </a:lnTo>
                    <a:lnTo>
                      <a:pt x="233" y="187"/>
                    </a:lnTo>
                    <a:lnTo>
                      <a:pt x="233" y="187"/>
                    </a:lnTo>
                    <a:lnTo>
                      <a:pt x="233" y="184"/>
                    </a:lnTo>
                    <a:lnTo>
                      <a:pt x="233" y="184"/>
                    </a:lnTo>
                    <a:lnTo>
                      <a:pt x="233" y="184"/>
                    </a:lnTo>
                    <a:lnTo>
                      <a:pt x="233" y="184"/>
                    </a:lnTo>
                    <a:lnTo>
                      <a:pt x="234" y="185"/>
                    </a:lnTo>
                    <a:lnTo>
                      <a:pt x="237" y="187"/>
                    </a:lnTo>
                    <a:lnTo>
                      <a:pt x="231" y="182"/>
                    </a:lnTo>
                    <a:lnTo>
                      <a:pt x="231" y="180"/>
                    </a:lnTo>
                    <a:lnTo>
                      <a:pt x="231" y="180"/>
                    </a:lnTo>
                    <a:lnTo>
                      <a:pt x="230" y="179"/>
                    </a:lnTo>
                    <a:lnTo>
                      <a:pt x="230" y="179"/>
                    </a:lnTo>
                    <a:lnTo>
                      <a:pt x="226" y="176"/>
                    </a:lnTo>
                    <a:lnTo>
                      <a:pt x="225" y="172"/>
                    </a:lnTo>
                    <a:lnTo>
                      <a:pt x="225" y="172"/>
                    </a:lnTo>
                    <a:lnTo>
                      <a:pt x="225" y="172"/>
                    </a:lnTo>
                    <a:lnTo>
                      <a:pt x="222" y="168"/>
                    </a:lnTo>
                    <a:lnTo>
                      <a:pt x="222" y="163"/>
                    </a:lnTo>
                    <a:lnTo>
                      <a:pt x="223" y="155"/>
                    </a:lnTo>
                    <a:lnTo>
                      <a:pt x="223" y="155"/>
                    </a:lnTo>
                    <a:lnTo>
                      <a:pt x="225" y="152"/>
                    </a:lnTo>
                    <a:lnTo>
                      <a:pt x="225" y="150"/>
                    </a:lnTo>
                    <a:lnTo>
                      <a:pt x="225" y="150"/>
                    </a:lnTo>
                    <a:lnTo>
                      <a:pt x="222" y="150"/>
                    </a:lnTo>
                    <a:lnTo>
                      <a:pt x="222" y="150"/>
                    </a:lnTo>
                    <a:lnTo>
                      <a:pt x="223" y="148"/>
                    </a:lnTo>
                    <a:lnTo>
                      <a:pt x="218" y="152"/>
                    </a:lnTo>
                    <a:lnTo>
                      <a:pt x="213" y="152"/>
                    </a:lnTo>
                    <a:lnTo>
                      <a:pt x="212" y="151"/>
                    </a:lnTo>
                    <a:lnTo>
                      <a:pt x="212" y="151"/>
                    </a:lnTo>
                    <a:lnTo>
                      <a:pt x="212" y="152"/>
                    </a:lnTo>
                    <a:lnTo>
                      <a:pt x="212" y="152"/>
                    </a:lnTo>
                    <a:lnTo>
                      <a:pt x="209" y="156"/>
                    </a:lnTo>
                    <a:lnTo>
                      <a:pt x="206" y="159"/>
                    </a:lnTo>
                    <a:lnTo>
                      <a:pt x="205" y="159"/>
                    </a:lnTo>
                    <a:lnTo>
                      <a:pt x="205" y="159"/>
                    </a:lnTo>
                    <a:lnTo>
                      <a:pt x="205" y="159"/>
                    </a:lnTo>
                    <a:lnTo>
                      <a:pt x="204" y="162"/>
                    </a:lnTo>
                    <a:lnTo>
                      <a:pt x="204" y="162"/>
                    </a:lnTo>
                    <a:lnTo>
                      <a:pt x="200" y="164"/>
                    </a:lnTo>
                    <a:lnTo>
                      <a:pt x="196" y="166"/>
                    </a:lnTo>
                    <a:lnTo>
                      <a:pt x="196" y="166"/>
                    </a:lnTo>
                    <a:lnTo>
                      <a:pt x="194" y="166"/>
                    </a:lnTo>
                    <a:lnTo>
                      <a:pt x="193" y="166"/>
                    </a:lnTo>
                    <a:lnTo>
                      <a:pt x="193" y="166"/>
                    </a:lnTo>
                    <a:lnTo>
                      <a:pt x="193" y="166"/>
                    </a:lnTo>
                    <a:lnTo>
                      <a:pt x="192" y="170"/>
                    </a:lnTo>
                    <a:lnTo>
                      <a:pt x="192" y="170"/>
                    </a:lnTo>
                    <a:lnTo>
                      <a:pt x="193" y="167"/>
                    </a:lnTo>
                    <a:lnTo>
                      <a:pt x="186" y="174"/>
                    </a:lnTo>
                    <a:lnTo>
                      <a:pt x="186" y="174"/>
                    </a:lnTo>
                    <a:lnTo>
                      <a:pt x="186" y="174"/>
                    </a:lnTo>
                    <a:lnTo>
                      <a:pt x="186" y="174"/>
                    </a:lnTo>
                    <a:lnTo>
                      <a:pt x="188" y="174"/>
                    </a:lnTo>
                    <a:lnTo>
                      <a:pt x="190" y="172"/>
                    </a:lnTo>
                    <a:lnTo>
                      <a:pt x="192" y="170"/>
                    </a:lnTo>
                    <a:lnTo>
                      <a:pt x="192" y="170"/>
                    </a:lnTo>
                    <a:lnTo>
                      <a:pt x="192" y="170"/>
                    </a:lnTo>
                    <a:lnTo>
                      <a:pt x="192" y="172"/>
                    </a:lnTo>
                    <a:lnTo>
                      <a:pt x="189" y="176"/>
                    </a:lnTo>
                    <a:lnTo>
                      <a:pt x="189" y="176"/>
                    </a:lnTo>
                    <a:lnTo>
                      <a:pt x="186" y="179"/>
                    </a:lnTo>
                    <a:lnTo>
                      <a:pt x="184" y="179"/>
                    </a:lnTo>
                    <a:lnTo>
                      <a:pt x="184" y="179"/>
                    </a:lnTo>
                    <a:lnTo>
                      <a:pt x="181" y="179"/>
                    </a:lnTo>
                    <a:lnTo>
                      <a:pt x="181" y="179"/>
                    </a:lnTo>
                    <a:lnTo>
                      <a:pt x="181" y="179"/>
                    </a:lnTo>
                    <a:lnTo>
                      <a:pt x="178" y="179"/>
                    </a:lnTo>
                    <a:lnTo>
                      <a:pt x="175" y="184"/>
                    </a:lnTo>
                    <a:lnTo>
                      <a:pt x="175" y="184"/>
                    </a:lnTo>
                    <a:lnTo>
                      <a:pt x="176" y="183"/>
                    </a:lnTo>
                    <a:lnTo>
                      <a:pt x="177" y="182"/>
                    </a:lnTo>
                    <a:lnTo>
                      <a:pt x="177" y="182"/>
                    </a:lnTo>
                    <a:lnTo>
                      <a:pt x="177" y="184"/>
                    </a:lnTo>
                    <a:lnTo>
                      <a:pt x="177" y="184"/>
                    </a:lnTo>
                    <a:lnTo>
                      <a:pt x="177" y="191"/>
                    </a:lnTo>
                    <a:lnTo>
                      <a:pt x="172" y="195"/>
                    </a:lnTo>
                    <a:lnTo>
                      <a:pt x="169" y="195"/>
                    </a:lnTo>
                    <a:lnTo>
                      <a:pt x="169" y="195"/>
                    </a:lnTo>
                    <a:lnTo>
                      <a:pt x="165" y="193"/>
                    </a:lnTo>
                    <a:lnTo>
                      <a:pt x="163" y="192"/>
                    </a:lnTo>
                    <a:lnTo>
                      <a:pt x="160" y="192"/>
                    </a:lnTo>
                    <a:lnTo>
                      <a:pt x="157" y="192"/>
                    </a:lnTo>
                    <a:lnTo>
                      <a:pt x="153" y="189"/>
                    </a:lnTo>
                    <a:lnTo>
                      <a:pt x="153" y="189"/>
                    </a:lnTo>
                    <a:lnTo>
                      <a:pt x="153" y="188"/>
                    </a:lnTo>
                    <a:lnTo>
                      <a:pt x="152" y="188"/>
                    </a:lnTo>
                    <a:lnTo>
                      <a:pt x="152" y="188"/>
                    </a:lnTo>
                    <a:lnTo>
                      <a:pt x="152" y="188"/>
                    </a:lnTo>
                    <a:lnTo>
                      <a:pt x="152" y="189"/>
                    </a:lnTo>
                    <a:lnTo>
                      <a:pt x="148" y="191"/>
                    </a:lnTo>
                    <a:lnTo>
                      <a:pt x="147" y="191"/>
                    </a:lnTo>
                    <a:lnTo>
                      <a:pt x="143" y="188"/>
                    </a:lnTo>
                    <a:lnTo>
                      <a:pt x="143" y="188"/>
                    </a:lnTo>
                    <a:lnTo>
                      <a:pt x="141" y="188"/>
                    </a:lnTo>
                    <a:lnTo>
                      <a:pt x="141" y="188"/>
                    </a:lnTo>
                    <a:lnTo>
                      <a:pt x="139" y="187"/>
                    </a:lnTo>
                    <a:lnTo>
                      <a:pt x="139" y="185"/>
                    </a:lnTo>
                    <a:lnTo>
                      <a:pt x="135" y="184"/>
                    </a:lnTo>
                    <a:lnTo>
                      <a:pt x="135" y="184"/>
                    </a:lnTo>
                    <a:lnTo>
                      <a:pt x="137" y="185"/>
                    </a:lnTo>
                    <a:lnTo>
                      <a:pt x="139" y="185"/>
                    </a:lnTo>
                    <a:lnTo>
                      <a:pt x="139" y="185"/>
                    </a:lnTo>
                    <a:lnTo>
                      <a:pt x="136" y="187"/>
                    </a:lnTo>
                    <a:lnTo>
                      <a:pt x="132" y="188"/>
                    </a:lnTo>
                    <a:lnTo>
                      <a:pt x="130" y="188"/>
                    </a:lnTo>
                    <a:lnTo>
                      <a:pt x="127" y="185"/>
                    </a:lnTo>
                    <a:lnTo>
                      <a:pt x="127" y="185"/>
                    </a:lnTo>
                    <a:lnTo>
                      <a:pt x="128" y="184"/>
                    </a:lnTo>
                    <a:lnTo>
                      <a:pt x="128" y="182"/>
                    </a:lnTo>
                    <a:lnTo>
                      <a:pt x="126" y="184"/>
                    </a:lnTo>
                    <a:lnTo>
                      <a:pt x="123" y="182"/>
                    </a:lnTo>
                    <a:lnTo>
                      <a:pt x="123" y="182"/>
                    </a:lnTo>
                    <a:lnTo>
                      <a:pt x="124" y="184"/>
                    </a:lnTo>
                    <a:lnTo>
                      <a:pt x="124" y="185"/>
                    </a:lnTo>
                    <a:lnTo>
                      <a:pt x="122" y="188"/>
                    </a:lnTo>
                    <a:lnTo>
                      <a:pt x="120" y="188"/>
                    </a:lnTo>
                    <a:lnTo>
                      <a:pt x="120" y="188"/>
                    </a:lnTo>
                    <a:lnTo>
                      <a:pt x="120" y="188"/>
                    </a:lnTo>
                    <a:lnTo>
                      <a:pt x="120" y="189"/>
                    </a:lnTo>
                    <a:lnTo>
                      <a:pt x="120" y="189"/>
                    </a:lnTo>
                    <a:lnTo>
                      <a:pt x="120" y="188"/>
                    </a:lnTo>
                    <a:lnTo>
                      <a:pt x="120" y="188"/>
                    </a:lnTo>
                    <a:lnTo>
                      <a:pt x="120" y="188"/>
                    </a:lnTo>
                    <a:lnTo>
                      <a:pt x="119" y="189"/>
                    </a:lnTo>
                    <a:lnTo>
                      <a:pt x="119" y="189"/>
                    </a:lnTo>
                    <a:lnTo>
                      <a:pt x="122" y="192"/>
                    </a:lnTo>
                    <a:lnTo>
                      <a:pt x="122" y="193"/>
                    </a:lnTo>
                    <a:lnTo>
                      <a:pt x="119" y="197"/>
                    </a:lnTo>
                    <a:lnTo>
                      <a:pt x="119" y="197"/>
                    </a:lnTo>
                    <a:lnTo>
                      <a:pt x="116" y="199"/>
                    </a:lnTo>
                    <a:lnTo>
                      <a:pt x="112" y="200"/>
                    </a:lnTo>
                    <a:lnTo>
                      <a:pt x="110" y="200"/>
                    </a:lnTo>
                    <a:lnTo>
                      <a:pt x="110" y="200"/>
                    </a:lnTo>
                    <a:lnTo>
                      <a:pt x="106" y="197"/>
                    </a:lnTo>
                    <a:lnTo>
                      <a:pt x="106" y="197"/>
                    </a:lnTo>
                    <a:lnTo>
                      <a:pt x="102" y="196"/>
                    </a:lnTo>
                    <a:lnTo>
                      <a:pt x="102" y="196"/>
                    </a:lnTo>
                    <a:lnTo>
                      <a:pt x="100" y="196"/>
                    </a:lnTo>
                    <a:lnTo>
                      <a:pt x="97" y="200"/>
                    </a:lnTo>
                    <a:lnTo>
                      <a:pt x="94" y="200"/>
                    </a:lnTo>
                    <a:lnTo>
                      <a:pt x="87" y="195"/>
                    </a:lnTo>
                    <a:lnTo>
                      <a:pt x="87" y="195"/>
                    </a:lnTo>
                    <a:lnTo>
                      <a:pt x="89" y="196"/>
                    </a:lnTo>
                    <a:lnTo>
                      <a:pt x="90" y="197"/>
                    </a:lnTo>
                    <a:lnTo>
                      <a:pt x="90" y="197"/>
                    </a:lnTo>
                    <a:lnTo>
                      <a:pt x="89" y="197"/>
                    </a:lnTo>
                    <a:lnTo>
                      <a:pt x="89" y="197"/>
                    </a:lnTo>
                    <a:lnTo>
                      <a:pt x="85" y="197"/>
                    </a:lnTo>
                    <a:lnTo>
                      <a:pt x="82" y="196"/>
                    </a:lnTo>
                    <a:lnTo>
                      <a:pt x="81" y="193"/>
                    </a:lnTo>
                    <a:lnTo>
                      <a:pt x="79" y="191"/>
                    </a:lnTo>
                    <a:lnTo>
                      <a:pt x="79" y="189"/>
                    </a:lnTo>
                    <a:lnTo>
                      <a:pt x="79" y="189"/>
                    </a:lnTo>
                    <a:lnTo>
                      <a:pt x="79" y="189"/>
                    </a:lnTo>
                    <a:lnTo>
                      <a:pt x="79" y="189"/>
                    </a:lnTo>
                    <a:lnTo>
                      <a:pt x="75" y="188"/>
                    </a:lnTo>
                    <a:lnTo>
                      <a:pt x="73" y="184"/>
                    </a:lnTo>
                    <a:lnTo>
                      <a:pt x="73" y="184"/>
                    </a:lnTo>
                    <a:lnTo>
                      <a:pt x="70" y="183"/>
                    </a:lnTo>
                    <a:lnTo>
                      <a:pt x="70" y="183"/>
                    </a:lnTo>
                    <a:lnTo>
                      <a:pt x="71" y="184"/>
                    </a:lnTo>
                    <a:lnTo>
                      <a:pt x="71" y="184"/>
                    </a:lnTo>
                    <a:lnTo>
                      <a:pt x="71" y="184"/>
                    </a:lnTo>
                    <a:lnTo>
                      <a:pt x="71" y="184"/>
                    </a:lnTo>
                    <a:lnTo>
                      <a:pt x="71" y="184"/>
                    </a:lnTo>
                    <a:lnTo>
                      <a:pt x="71" y="184"/>
                    </a:lnTo>
                    <a:lnTo>
                      <a:pt x="71" y="183"/>
                    </a:lnTo>
                    <a:lnTo>
                      <a:pt x="71" y="183"/>
                    </a:lnTo>
                    <a:lnTo>
                      <a:pt x="67" y="180"/>
                    </a:lnTo>
                    <a:lnTo>
                      <a:pt x="67" y="180"/>
                    </a:lnTo>
                    <a:lnTo>
                      <a:pt x="67" y="182"/>
                    </a:lnTo>
                    <a:lnTo>
                      <a:pt x="67" y="182"/>
                    </a:lnTo>
                    <a:lnTo>
                      <a:pt x="66" y="180"/>
                    </a:lnTo>
                    <a:lnTo>
                      <a:pt x="66" y="180"/>
                    </a:lnTo>
                    <a:lnTo>
                      <a:pt x="63" y="180"/>
                    </a:lnTo>
                    <a:lnTo>
                      <a:pt x="59" y="178"/>
                    </a:lnTo>
                    <a:lnTo>
                      <a:pt x="57" y="175"/>
                    </a:lnTo>
                    <a:lnTo>
                      <a:pt x="56" y="170"/>
                    </a:lnTo>
                    <a:lnTo>
                      <a:pt x="63" y="164"/>
                    </a:lnTo>
                    <a:lnTo>
                      <a:pt x="63" y="164"/>
                    </a:lnTo>
                    <a:lnTo>
                      <a:pt x="63" y="164"/>
                    </a:lnTo>
                    <a:lnTo>
                      <a:pt x="65" y="163"/>
                    </a:lnTo>
                    <a:lnTo>
                      <a:pt x="66" y="163"/>
                    </a:lnTo>
                    <a:lnTo>
                      <a:pt x="66" y="163"/>
                    </a:lnTo>
                    <a:lnTo>
                      <a:pt x="67" y="162"/>
                    </a:lnTo>
                    <a:lnTo>
                      <a:pt x="69" y="160"/>
                    </a:lnTo>
                    <a:lnTo>
                      <a:pt x="69" y="156"/>
                    </a:lnTo>
                    <a:lnTo>
                      <a:pt x="69" y="156"/>
                    </a:lnTo>
                    <a:lnTo>
                      <a:pt x="67" y="152"/>
                    </a:lnTo>
                    <a:lnTo>
                      <a:pt x="67" y="152"/>
                    </a:lnTo>
                    <a:lnTo>
                      <a:pt x="65" y="148"/>
                    </a:lnTo>
                    <a:lnTo>
                      <a:pt x="63" y="147"/>
                    </a:lnTo>
                    <a:lnTo>
                      <a:pt x="63" y="147"/>
                    </a:lnTo>
                    <a:lnTo>
                      <a:pt x="63" y="146"/>
                    </a:lnTo>
                    <a:lnTo>
                      <a:pt x="63" y="146"/>
                    </a:lnTo>
                    <a:lnTo>
                      <a:pt x="61" y="148"/>
                    </a:lnTo>
                    <a:lnTo>
                      <a:pt x="56" y="151"/>
                    </a:lnTo>
                    <a:lnTo>
                      <a:pt x="49" y="151"/>
                    </a:lnTo>
                    <a:lnTo>
                      <a:pt x="44" y="144"/>
                    </a:lnTo>
                    <a:lnTo>
                      <a:pt x="44" y="144"/>
                    </a:lnTo>
                    <a:lnTo>
                      <a:pt x="44" y="143"/>
                    </a:lnTo>
                    <a:lnTo>
                      <a:pt x="44" y="143"/>
                    </a:lnTo>
                    <a:lnTo>
                      <a:pt x="44" y="142"/>
                    </a:lnTo>
                    <a:lnTo>
                      <a:pt x="44" y="142"/>
                    </a:lnTo>
                    <a:lnTo>
                      <a:pt x="45" y="144"/>
                    </a:lnTo>
                    <a:lnTo>
                      <a:pt x="48" y="146"/>
                    </a:lnTo>
                    <a:lnTo>
                      <a:pt x="42" y="139"/>
                    </a:lnTo>
                    <a:lnTo>
                      <a:pt x="42" y="139"/>
                    </a:lnTo>
                    <a:lnTo>
                      <a:pt x="42" y="139"/>
                    </a:lnTo>
                    <a:lnTo>
                      <a:pt x="41" y="139"/>
                    </a:lnTo>
                    <a:lnTo>
                      <a:pt x="41" y="139"/>
                    </a:lnTo>
                    <a:lnTo>
                      <a:pt x="34" y="137"/>
                    </a:lnTo>
                    <a:lnTo>
                      <a:pt x="29" y="134"/>
                    </a:lnTo>
                    <a:lnTo>
                      <a:pt x="22" y="137"/>
                    </a:lnTo>
                    <a:lnTo>
                      <a:pt x="22" y="137"/>
                    </a:lnTo>
                    <a:lnTo>
                      <a:pt x="18" y="135"/>
                    </a:lnTo>
                    <a:lnTo>
                      <a:pt x="18" y="135"/>
                    </a:lnTo>
                    <a:lnTo>
                      <a:pt x="21" y="135"/>
                    </a:lnTo>
                    <a:lnTo>
                      <a:pt x="16" y="130"/>
                    </a:lnTo>
                    <a:lnTo>
                      <a:pt x="16" y="130"/>
                    </a:lnTo>
                    <a:lnTo>
                      <a:pt x="16" y="130"/>
                    </a:lnTo>
                    <a:lnTo>
                      <a:pt x="16" y="131"/>
                    </a:lnTo>
                    <a:lnTo>
                      <a:pt x="16" y="131"/>
                    </a:lnTo>
                    <a:lnTo>
                      <a:pt x="12" y="130"/>
                    </a:lnTo>
                    <a:lnTo>
                      <a:pt x="12" y="130"/>
                    </a:lnTo>
                    <a:lnTo>
                      <a:pt x="9" y="130"/>
                    </a:lnTo>
                    <a:lnTo>
                      <a:pt x="3" y="125"/>
                    </a:lnTo>
                    <a:lnTo>
                      <a:pt x="3" y="125"/>
                    </a:lnTo>
                    <a:lnTo>
                      <a:pt x="3" y="118"/>
                    </a:lnTo>
                    <a:lnTo>
                      <a:pt x="4" y="115"/>
                    </a:lnTo>
                    <a:lnTo>
                      <a:pt x="5" y="113"/>
                    </a:lnTo>
                    <a:lnTo>
                      <a:pt x="5" y="113"/>
                    </a:lnTo>
                    <a:lnTo>
                      <a:pt x="8" y="111"/>
                    </a:lnTo>
                    <a:lnTo>
                      <a:pt x="8" y="111"/>
                    </a:lnTo>
                    <a:lnTo>
                      <a:pt x="8" y="111"/>
                    </a:lnTo>
                    <a:lnTo>
                      <a:pt x="7" y="104"/>
                    </a:lnTo>
                    <a:lnTo>
                      <a:pt x="7" y="104"/>
                    </a:lnTo>
                    <a:lnTo>
                      <a:pt x="8" y="101"/>
                    </a:lnTo>
                    <a:lnTo>
                      <a:pt x="5" y="97"/>
                    </a:lnTo>
                    <a:lnTo>
                      <a:pt x="5" y="97"/>
                    </a:lnTo>
                    <a:lnTo>
                      <a:pt x="3" y="96"/>
                    </a:lnTo>
                    <a:lnTo>
                      <a:pt x="1" y="90"/>
                    </a:lnTo>
                    <a:lnTo>
                      <a:pt x="1" y="90"/>
                    </a:lnTo>
                    <a:lnTo>
                      <a:pt x="1" y="90"/>
                    </a:lnTo>
                    <a:lnTo>
                      <a:pt x="1" y="90"/>
                    </a:lnTo>
                    <a:lnTo>
                      <a:pt x="0" y="88"/>
                    </a:lnTo>
                    <a:lnTo>
                      <a:pt x="3" y="81"/>
                    </a:lnTo>
                    <a:lnTo>
                      <a:pt x="3" y="81"/>
                    </a:lnTo>
                    <a:lnTo>
                      <a:pt x="4" y="80"/>
                    </a:lnTo>
                    <a:lnTo>
                      <a:pt x="8" y="77"/>
                    </a:lnTo>
                    <a:lnTo>
                      <a:pt x="8" y="77"/>
                    </a:lnTo>
                    <a:lnTo>
                      <a:pt x="8" y="77"/>
                    </a:lnTo>
                    <a:lnTo>
                      <a:pt x="5" y="78"/>
                    </a:lnTo>
                    <a:lnTo>
                      <a:pt x="5" y="78"/>
                    </a:lnTo>
                    <a:lnTo>
                      <a:pt x="7" y="77"/>
                    </a:lnTo>
                    <a:lnTo>
                      <a:pt x="7" y="77"/>
                    </a:lnTo>
                    <a:lnTo>
                      <a:pt x="7" y="76"/>
                    </a:lnTo>
                    <a:lnTo>
                      <a:pt x="7" y="76"/>
                    </a:lnTo>
                    <a:lnTo>
                      <a:pt x="5" y="74"/>
                    </a:lnTo>
                    <a:lnTo>
                      <a:pt x="4" y="73"/>
                    </a:lnTo>
                    <a:lnTo>
                      <a:pt x="4" y="73"/>
                    </a:lnTo>
                    <a:lnTo>
                      <a:pt x="3" y="72"/>
                    </a:lnTo>
                    <a:lnTo>
                      <a:pt x="1" y="69"/>
                    </a:lnTo>
                    <a:lnTo>
                      <a:pt x="1" y="65"/>
                    </a:lnTo>
                    <a:lnTo>
                      <a:pt x="4" y="60"/>
                    </a:lnTo>
                    <a:lnTo>
                      <a:pt x="4" y="60"/>
                    </a:lnTo>
                    <a:lnTo>
                      <a:pt x="4" y="60"/>
                    </a:lnTo>
                    <a:lnTo>
                      <a:pt x="3" y="57"/>
                    </a:lnTo>
                    <a:lnTo>
                      <a:pt x="3" y="48"/>
                    </a:lnTo>
                    <a:lnTo>
                      <a:pt x="8" y="43"/>
                    </a:lnTo>
                    <a:lnTo>
                      <a:pt x="8" y="43"/>
                    </a:lnTo>
                    <a:lnTo>
                      <a:pt x="5" y="44"/>
                    </a:lnTo>
                    <a:lnTo>
                      <a:pt x="4" y="45"/>
                    </a:lnTo>
                    <a:lnTo>
                      <a:pt x="4" y="45"/>
                    </a:lnTo>
                    <a:lnTo>
                      <a:pt x="4" y="45"/>
                    </a:lnTo>
                    <a:lnTo>
                      <a:pt x="4" y="45"/>
                    </a:lnTo>
                    <a:lnTo>
                      <a:pt x="4" y="43"/>
                    </a:lnTo>
                    <a:lnTo>
                      <a:pt x="11" y="37"/>
                    </a:lnTo>
                    <a:lnTo>
                      <a:pt x="11" y="37"/>
                    </a:lnTo>
                    <a:lnTo>
                      <a:pt x="11" y="37"/>
                    </a:lnTo>
                    <a:lnTo>
                      <a:pt x="11" y="37"/>
                    </a:lnTo>
                    <a:lnTo>
                      <a:pt x="12" y="37"/>
                    </a:lnTo>
                    <a:lnTo>
                      <a:pt x="12" y="37"/>
                    </a:lnTo>
                    <a:lnTo>
                      <a:pt x="12" y="37"/>
                    </a:lnTo>
                    <a:lnTo>
                      <a:pt x="16" y="35"/>
                    </a:lnTo>
                    <a:lnTo>
                      <a:pt x="18" y="35"/>
                    </a:lnTo>
                    <a:lnTo>
                      <a:pt x="18" y="35"/>
                    </a:lnTo>
                    <a:lnTo>
                      <a:pt x="20" y="35"/>
                    </a:lnTo>
                    <a:lnTo>
                      <a:pt x="20" y="35"/>
                    </a:lnTo>
                    <a:lnTo>
                      <a:pt x="18" y="35"/>
                    </a:lnTo>
                    <a:lnTo>
                      <a:pt x="20" y="35"/>
                    </a:lnTo>
                    <a:lnTo>
                      <a:pt x="24" y="31"/>
                    </a:lnTo>
                    <a:lnTo>
                      <a:pt x="24" y="31"/>
                    </a:lnTo>
                    <a:lnTo>
                      <a:pt x="20" y="32"/>
                    </a:lnTo>
                    <a:lnTo>
                      <a:pt x="20" y="35"/>
                    </a:lnTo>
                    <a:lnTo>
                      <a:pt x="20" y="35"/>
                    </a:lnTo>
                    <a:lnTo>
                      <a:pt x="20" y="33"/>
                    </a:lnTo>
                    <a:lnTo>
                      <a:pt x="20" y="33"/>
                    </a:lnTo>
                    <a:lnTo>
                      <a:pt x="20" y="31"/>
                    </a:lnTo>
                    <a:lnTo>
                      <a:pt x="24" y="26"/>
                    </a:lnTo>
                    <a:lnTo>
                      <a:pt x="24" y="26"/>
                    </a:lnTo>
                    <a:lnTo>
                      <a:pt x="26" y="26"/>
                    </a:lnTo>
                    <a:lnTo>
                      <a:pt x="26" y="26"/>
                    </a:lnTo>
                    <a:lnTo>
                      <a:pt x="29" y="26"/>
                    </a:lnTo>
                    <a:lnTo>
                      <a:pt x="30" y="27"/>
                    </a:lnTo>
                    <a:lnTo>
                      <a:pt x="30" y="27"/>
                    </a:lnTo>
                    <a:lnTo>
                      <a:pt x="30" y="27"/>
                    </a:lnTo>
                    <a:lnTo>
                      <a:pt x="32" y="26"/>
                    </a:lnTo>
                    <a:lnTo>
                      <a:pt x="32" y="26"/>
                    </a:lnTo>
                    <a:lnTo>
                      <a:pt x="32" y="26"/>
                    </a:lnTo>
                    <a:lnTo>
                      <a:pt x="32" y="26"/>
                    </a:lnTo>
                    <a:lnTo>
                      <a:pt x="32" y="26"/>
                    </a:lnTo>
                    <a:lnTo>
                      <a:pt x="32" y="26"/>
                    </a:lnTo>
                    <a:lnTo>
                      <a:pt x="33" y="26"/>
                    </a:lnTo>
                    <a:lnTo>
                      <a:pt x="33" y="26"/>
                    </a:lnTo>
                    <a:lnTo>
                      <a:pt x="33" y="26"/>
                    </a:lnTo>
                    <a:lnTo>
                      <a:pt x="33" y="26"/>
                    </a:lnTo>
                    <a:lnTo>
                      <a:pt x="34" y="28"/>
                    </a:lnTo>
                    <a:lnTo>
                      <a:pt x="37" y="28"/>
                    </a:lnTo>
                    <a:lnTo>
                      <a:pt x="37" y="27"/>
                    </a:lnTo>
                    <a:lnTo>
                      <a:pt x="34" y="26"/>
                    </a:lnTo>
                    <a:lnTo>
                      <a:pt x="37" y="24"/>
                    </a:lnTo>
                    <a:lnTo>
                      <a:pt x="37" y="23"/>
                    </a:lnTo>
                    <a:lnTo>
                      <a:pt x="37" y="23"/>
                    </a:lnTo>
                    <a:lnTo>
                      <a:pt x="34" y="24"/>
                    </a:lnTo>
                    <a:lnTo>
                      <a:pt x="33" y="24"/>
                    </a:lnTo>
                    <a:lnTo>
                      <a:pt x="30" y="23"/>
                    </a:lnTo>
                    <a:lnTo>
                      <a:pt x="30" y="15"/>
                    </a:lnTo>
                    <a:lnTo>
                      <a:pt x="33" y="11"/>
                    </a:lnTo>
                    <a:lnTo>
                      <a:pt x="33" y="11"/>
                    </a:lnTo>
                    <a:lnTo>
                      <a:pt x="33" y="10"/>
                    </a:lnTo>
                    <a:lnTo>
                      <a:pt x="33" y="10"/>
                    </a:lnTo>
                    <a:lnTo>
                      <a:pt x="36" y="4"/>
                    </a:lnTo>
                    <a:lnTo>
                      <a:pt x="38" y="2"/>
                    </a:lnTo>
                    <a:lnTo>
                      <a:pt x="42" y="0"/>
                    </a:lnTo>
                    <a:lnTo>
                      <a:pt x="49" y="8"/>
                    </a:lnTo>
                    <a:lnTo>
                      <a:pt x="49" y="8"/>
                    </a:lnTo>
                    <a:lnTo>
                      <a:pt x="49" y="6"/>
                    </a:lnTo>
                    <a:lnTo>
                      <a:pt x="48" y="4"/>
                    </a:lnTo>
                    <a:lnTo>
                      <a:pt x="48" y="4"/>
                    </a:lnTo>
                    <a:lnTo>
                      <a:pt x="46" y="2"/>
                    </a:lnTo>
                    <a:lnTo>
                      <a:pt x="44" y="2"/>
                    </a:lnTo>
                    <a:lnTo>
                      <a:pt x="45" y="2"/>
                    </a:lnTo>
                    <a:lnTo>
                      <a:pt x="45" y="2"/>
                    </a:lnTo>
                    <a:lnTo>
                      <a:pt x="48" y="2"/>
                    </a:lnTo>
                    <a:lnTo>
                      <a:pt x="48" y="2"/>
                    </a:lnTo>
                    <a:lnTo>
                      <a:pt x="52" y="2"/>
                    </a:lnTo>
                    <a:lnTo>
                      <a:pt x="53" y="4"/>
                    </a:lnTo>
                    <a:lnTo>
                      <a:pt x="53" y="4"/>
                    </a:lnTo>
                    <a:lnTo>
                      <a:pt x="54" y="6"/>
                    </a:lnTo>
                    <a:lnTo>
                      <a:pt x="54" y="10"/>
                    </a:lnTo>
                    <a:lnTo>
                      <a:pt x="54" y="10"/>
                    </a:lnTo>
                    <a:lnTo>
                      <a:pt x="53" y="14"/>
                    </a:lnTo>
                    <a:lnTo>
                      <a:pt x="53" y="15"/>
                    </a:lnTo>
                    <a:lnTo>
                      <a:pt x="53" y="15"/>
                    </a:lnTo>
                    <a:lnTo>
                      <a:pt x="56" y="14"/>
                    </a:lnTo>
                    <a:lnTo>
                      <a:pt x="59" y="14"/>
                    </a:lnTo>
                    <a:lnTo>
                      <a:pt x="65" y="18"/>
                    </a:lnTo>
                    <a:lnTo>
                      <a:pt x="65" y="18"/>
                    </a:lnTo>
                    <a:lnTo>
                      <a:pt x="66" y="20"/>
                    </a:lnTo>
                    <a:lnTo>
                      <a:pt x="66" y="23"/>
                    </a:lnTo>
                    <a:lnTo>
                      <a:pt x="66" y="23"/>
                    </a:lnTo>
                    <a:lnTo>
                      <a:pt x="65" y="26"/>
                    </a:lnTo>
                    <a:lnTo>
                      <a:pt x="65" y="26"/>
                    </a:lnTo>
                    <a:lnTo>
                      <a:pt x="65" y="23"/>
                    </a:lnTo>
                    <a:lnTo>
                      <a:pt x="62" y="22"/>
                    </a:lnTo>
                    <a:lnTo>
                      <a:pt x="67" y="28"/>
                    </a:lnTo>
                    <a:lnTo>
                      <a:pt x="67" y="28"/>
                    </a:lnTo>
                    <a:lnTo>
                      <a:pt x="67" y="28"/>
                    </a:lnTo>
                    <a:lnTo>
                      <a:pt x="70" y="28"/>
                    </a:lnTo>
                    <a:lnTo>
                      <a:pt x="70" y="28"/>
                    </a:lnTo>
                    <a:lnTo>
                      <a:pt x="71" y="27"/>
                    </a:lnTo>
                    <a:lnTo>
                      <a:pt x="71" y="27"/>
                    </a:lnTo>
                    <a:lnTo>
                      <a:pt x="73" y="26"/>
                    </a:lnTo>
                    <a:lnTo>
                      <a:pt x="73" y="26"/>
                    </a:lnTo>
                    <a:lnTo>
                      <a:pt x="74" y="23"/>
                    </a:lnTo>
                    <a:lnTo>
                      <a:pt x="74" y="22"/>
                    </a:lnTo>
                    <a:lnTo>
                      <a:pt x="74" y="22"/>
                    </a:lnTo>
                    <a:lnTo>
                      <a:pt x="77" y="19"/>
                    </a:lnTo>
                    <a:lnTo>
                      <a:pt x="78" y="18"/>
                    </a:lnTo>
                    <a:lnTo>
                      <a:pt x="82" y="18"/>
                    </a:lnTo>
                    <a:lnTo>
                      <a:pt x="82" y="18"/>
                    </a:lnTo>
                    <a:lnTo>
                      <a:pt x="82" y="18"/>
                    </a:lnTo>
                    <a:lnTo>
                      <a:pt x="81" y="19"/>
                    </a:lnTo>
                    <a:lnTo>
                      <a:pt x="79" y="22"/>
                    </a:lnTo>
                    <a:lnTo>
                      <a:pt x="83" y="16"/>
                    </a:lnTo>
                    <a:lnTo>
                      <a:pt x="83" y="16"/>
                    </a:lnTo>
                    <a:lnTo>
                      <a:pt x="83" y="16"/>
                    </a:lnTo>
                    <a:lnTo>
                      <a:pt x="85" y="15"/>
                    </a:lnTo>
                    <a:lnTo>
                      <a:pt x="85" y="15"/>
                    </a:lnTo>
                    <a:lnTo>
                      <a:pt x="85" y="15"/>
                    </a:lnTo>
                    <a:lnTo>
                      <a:pt x="85" y="15"/>
                    </a:lnTo>
                    <a:lnTo>
                      <a:pt x="89" y="15"/>
                    </a:lnTo>
                    <a:lnTo>
                      <a:pt x="89" y="15"/>
                    </a:lnTo>
                    <a:lnTo>
                      <a:pt x="91" y="15"/>
                    </a:lnTo>
                    <a:lnTo>
                      <a:pt x="91" y="15"/>
                    </a:lnTo>
                    <a:lnTo>
                      <a:pt x="90" y="15"/>
                    </a:lnTo>
                    <a:lnTo>
                      <a:pt x="90" y="16"/>
                    </a:lnTo>
                    <a:lnTo>
                      <a:pt x="95" y="12"/>
                    </a:lnTo>
                    <a:lnTo>
                      <a:pt x="97" y="12"/>
                    </a:lnTo>
                    <a:lnTo>
                      <a:pt x="102" y="16"/>
                    </a:lnTo>
                    <a:lnTo>
                      <a:pt x="102" y="16"/>
                    </a:lnTo>
                    <a:lnTo>
                      <a:pt x="102" y="15"/>
                    </a:lnTo>
                    <a:lnTo>
                      <a:pt x="102" y="15"/>
                    </a:lnTo>
                    <a:lnTo>
                      <a:pt x="103" y="16"/>
                    </a:lnTo>
                    <a:lnTo>
                      <a:pt x="103" y="16"/>
                    </a:lnTo>
                    <a:lnTo>
                      <a:pt x="107" y="19"/>
                    </a:lnTo>
                    <a:lnTo>
                      <a:pt x="108" y="23"/>
                    </a:lnTo>
                    <a:lnTo>
                      <a:pt x="108" y="24"/>
                    </a:lnTo>
                    <a:lnTo>
                      <a:pt x="108" y="24"/>
                    </a:lnTo>
                    <a:lnTo>
                      <a:pt x="108" y="24"/>
                    </a:lnTo>
                    <a:lnTo>
                      <a:pt x="108" y="24"/>
                    </a:lnTo>
                    <a:lnTo>
                      <a:pt x="110" y="24"/>
                    </a:lnTo>
                    <a:lnTo>
                      <a:pt x="110" y="24"/>
                    </a:lnTo>
                    <a:lnTo>
                      <a:pt x="111" y="26"/>
                    </a:lnTo>
                    <a:lnTo>
                      <a:pt x="112" y="23"/>
                    </a:lnTo>
                    <a:lnTo>
                      <a:pt x="112" y="23"/>
                    </a:lnTo>
                    <a:lnTo>
                      <a:pt x="116" y="26"/>
                    </a:lnTo>
                    <a:lnTo>
                      <a:pt x="116" y="26"/>
                    </a:lnTo>
                    <a:lnTo>
                      <a:pt x="114" y="24"/>
                    </a:lnTo>
                    <a:lnTo>
                      <a:pt x="120" y="29"/>
                    </a:lnTo>
                    <a:lnTo>
                      <a:pt x="120" y="29"/>
                    </a:lnTo>
                    <a:lnTo>
                      <a:pt x="123" y="32"/>
                    </a:lnTo>
                    <a:lnTo>
                      <a:pt x="123" y="32"/>
                    </a:lnTo>
                    <a:lnTo>
                      <a:pt x="124" y="32"/>
                    </a:lnTo>
                    <a:lnTo>
                      <a:pt x="124" y="32"/>
                    </a:lnTo>
                    <a:lnTo>
                      <a:pt x="127" y="33"/>
                    </a:lnTo>
                    <a:lnTo>
                      <a:pt x="130" y="36"/>
                    </a:lnTo>
                    <a:lnTo>
                      <a:pt x="132" y="39"/>
                    </a:lnTo>
                    <a:lnTo>
                      <a:pt x="132" y="41"/>
                    </a:lnTo>
                    <a:lnTo>
                      <a:pt x="132" y="41"/>
                    </a:lnTo>
                    <a:lnTo>
                      <a:pt x="134" y="44"/>
                    </a:lnTo>
                    <a:lnTo>
                      <a:pt x="134" y="44"/>
                    </a:lnTo>
                    <a:lnTo>
                      <a:pt x="135" y="48"/>
                    </a:lnTo>
                    <a:lnTo>
                      <a:pt x="136" y="48"/>
                    </a:lnTo>
                    <a:lnTo>
                      <a:pt x="139" y="49"/>
                    </a:lnTo>
                    <a:lnTo>
                      <a:pt x="139" y="49"/>
                    </a:lnTo>
                    <a:lnTo>
                      <a:pt x="140" y="49"/>
                    </a:lnTo>
                    <a:lnTo>
                      <a:pt x="140" y="49"/>
                    </a:lnTo>
                    <a:lnTo>
                      <a:pt x="141" y="49"/>
                    </a:lnTo>
                    <a:lnTo>
                      <a:pt x="144" y="44"/>
                    </a:lnTo>
                    <a:lnTo>
                      <a:pt x="151" y="41"/>
                    </a:lnTo>
                    <a:lnTo>
                      <a:pt x="151" y="41"/>
                    </a:lnTo>
                    <a:lnTo>
                      <a:pt x="153" y="41"/>
                    </a:lnTo>
                    <a:lnTo>
                      <a:pt x="156" y="44"/>
                    </a:lnTo>
                    <a:lnTo>
                      <a:pt x="159" y="48"/>
                    </a:lnTo>
                    <a:lnTo>
                      <a:pt x="159" y="53"/>
                    </a:lnTo>
                    <a:lnTo>
                      <a:pt x="159" y="53"/>
                    </a:lnTo>
                    <a:lnTo>
                      <a:pt x="157" y="56"/>
                    </a:lnTo>
                    <a:lnTo>
                      <a:pt x="160" y="59"/>
                    </a:lnTo>
                    <a:lnTo>
                      <a:pt x="160" y="59"/>
                    </a:lnTo>
                    <a:lnTo>
                      <a:pt x="164" y="61"/>
                    </a:lnTo>
                    <a:lnTo>
                      <a:pt x="165" y="61"/>
                    </a:lnTo>
                    <a:lnTo>
                      <a:pt x="171" y="68"/>
                    </a:lnTo>
                    <a:lnTo>
                      <a:pt x="171" y="68"/>
                    </a:lnTo>
                    <a:lnTo>
                      <a:pt x="171" y="66"/>
                    </a:lnTo>
                    <a:lnTo>
                      <a:pt x="171" y="65"/>
                    </a:lnTo>
                    <a:lnTo>
                      <a:pt x="171" y="65"/>
                    </a:lnTo>
                    <a:lnTo>
                      <a:pt x="169" y="64"/>
                    </a:lnTo>
                    <a:lnTo>
                      <a:pt x="169" y="64"/>
                    </a:lnTo>
                    <a:lnTo>
                      <a:pt x="169" y="64"/>
                    </a:lnTo>
                    <a:lnTo>
                      <a:pt x="169" y="64"/>
                    </a:lnTo>
                    <a:lnTo>
                      <a:pt x="169" y="64"/>
                    </a:lnTo>
                    <a:lnTo>
                      <a:pt x="169" y="64"/>
                    </a:lnTo>
                    <a:lnTo>
                      <a:pt x="168" y="63"/>
                    </a:lnTo>
                    <a:lnTo>
                      <a:pt x="169" y="64"/>
                    </a:lnTo>
                    <a:lnTo>
                      <a:pt x="169" y="64"/>
                    </a:lnTo>
                    <a:lnTo>
                      <a:pt x="172" y="59"/>
                    </a:lnTo>
                    <a:lnTo>
                      <a:pt x="177" y="53"/>
                    </a:lnTo>
                    <a:lnTo>
                      <a:pt x="177" y="53"/>
                    </a:lnTo>
                    <a:lnTo>
                      <a:pt x="177" y="53"/>
                    </a:lnTo>
                    <a:lnTo>
                      <a:pt x="177" y="53"/>
                    </a:lnTo>
                    <a:lnTo>
                      <a:pt x="177" y="53"/>
                    </a:lnTo>
                    <a:lnTo>
                      <a:pt x="178" y="53"/>
                    </a:lnTo>
                    <a:lnTo>
                      <a:pt x="178" y="53"/>
                    </a:lnTo>
                    <a:lnTo>
                      <a:pt x="181" y="53"/>
                    </a:lnTo>
                    <a:lnTo>
                      <a:pt x="181" y="53"/>
                    </a:lnTo>
                    <a:lnTo>
                      <a:pt x="184" y="55"/>
                    </a:lnTo>
                    <a:lnTo>
                      <a:pt x="186" y="56"/>
                    </a:lnTo>
                    <a:lnTo>
                      <a:pt x="189" y="60"/>
                    </a:lnTo>
                    <a:lnTo>
                      <a:pt x="192" y="60"/>
                    </a:lnTo>
                    <a:lnTo>
                      <a:pt x="192" y="60"/>
                    </a:lnTo>
                    <a:lnTo>
                      <a:pt x="194" y="65"/>
                    </a:lnTo>
                    <a:lnTo>
                      <a:pt x="194" y="65"/>
                    </a:lnTo>
                    <a:lnTo>
                      <a:pt x="196" y="65"/>
                    </a:lnTo>
                    <a:lnTo>
                      <a:pt x="196" y="65"/>
                    </a:lnTo>
                    <a:lnTo>
                      <a:pt x="205" y="63"/>
                    </a:lnTo>
                    <a:lnTo>
                      <a:pt x="205" y="63"/>
                    </a:lnTo>
                    <a:lnTo>
                      <a:pt x="206" y="63"/>
                    </a:lnTo>
                    <a:lnTo>
                      <a:pt x="206" y="63"/>
                    </a:lnTo>
                    <a:lnTo>
                      <a:pt x="213" y="65"/>
                    </a:lnTo>
                    <a:lnTo>
                      <a:pt x="213" y="65"/>
                    </a:lnTo>
                    <a:lnTo>
                      <a:pt x="215" y="69"/>
                    </a:lnTo>
                    <a:lnTo>
                      <a:pt x="215" y="69"/>
                    </a:lnTo>
                    <a:lnTo>
                      <a:pt x="221" y="73"/>
                    </a:lnTo>
                    <a:lnTo>
                      <a:pt x="221" y="73"/>
                    </a:lnTo>
                    <a:lnTo>
                      <a:pt x="222" y="78"/>
                    </a:lnTo>
                    <a:lnTo>
                      <a:pt x="223" y="84"/>
                    </a:lnTo>
                    <a:lnTo>
                      <a:pt x="223" y="84"/>
                    </a:lnTo>
                    <a:lnTo>
                      <a:pt x="225" y="86"/>
                    </a:lnTo>
                    <a:lnTo>
                      <a:pt x="229" y="90"/>
                    </a:lnTo>
                    <a:lnTo>
                      <a:pt x="229" y="90"/>
                    </a:lnTo>
                    <a:lnTo>
                      <a:pt x="229" y="90"/>
                    </a:lnTo>
                    <a:lnTo>
                      <a:pt x="229" y="90"/>
                    </a:lnTo>
                    <a:lnTo>
                      <a:pt x="231" y="89"/>
                    </a:lnTo>
                    <a:lnTo>
                      <a:pt x="235" y="88"/>
                    </a:lnTo>
                    <a:lnTo>
                      <a:pt x="239" y="92"/>
                    </a:lnTo>
                    <a:lnTo>
                      <a:pt x="239" y="92"/>
                    </a:lnTo>
                    <a:lnTo>
                      <a:pt x="243" y="88"/>
                    </a:lnTo>
                    <a:lnTo>
                      <a:pt x="246" y="82"/>
                    </a:lnTo>
                    <a:lnTo>
                      <a:pt x="247" y="81"/>
                    </a:lnTo>
                    <a:lnTo>
                      <a:pt x="247" y="81"/>
                    </a:lnTo>
                    <a:lnTo>
                      <a:pt x="251" y="77"/>
                    </a:lnTo>
                    <a:lnTo>
                      <a:pt x="251" y="77"/>
                    </a:lnTo>
                    <a:lnTo>
                      <a:pt x="251" y="76"/>
                    </a:lnTo>
                    <a:lnTo>
                      <a:pt x="251" y="76"/>
                    </a:lnTo>
                    <a:lnTo>
                      <a:pt x="253" y="74"/>
                    </a:lnTo>
                    <a:lnTo>
                      <a:pt x="253" y="74"/>
                    </a:lnTo>
                    <a:lnTo>
                      <a:pt x="251" y="72"/>
                    </a:lnTo>
                    <a:lnTo>
                      <a:pt x="250" y="66"/>
                    </a:lnTo>
                    <a:lnTo>
                      <a:pt x="253" y="63"/>
                    </a:lnTo>
                    <a:lnTo>
                      <a:pt x="253" y="63"/>
                    </a:lnTo>
                    <a:lnTo>
                      <a:pt x="258" y="57"/>
                    </a:lnTo>
                    <a:lnTo>
                      <a:pt x="262" y="52"/>
                    </a:lnTo>
                    <a:lnTo>
                      <a:pt x="267" y="48"/>
                    </a:lnTo>
                    <a:lnTo>
                      <a:pt x="276" y="48"/>
                    </a:lnTo>
                    <a:lnTo>
                      <a:pt x="280" y="52"/>
                    </a:lnTo>
                    <a:lnTo>
                      <a:pt x="280" y="52"/>
                    </a:lnTo>
                    <a:lnTo>
                      <a:pt x="279" y="55"/>
                    </a:lnTo>
                    <a:lnTo>
                      <a:pt x="282" y="52"/>
                    </a:lnTo>
                    <a:lnTo>
                      <a:pt x="283" y="55"/>
                    </a:lnTo>
                    <a:lnTo>
                      <a:pt x="283" y="55"/>
                    </a:lnTo>
                    <a:lnTo>
                      <a:pt x="282" y="52"/>
                    </a:lnTo>
                    <a:lnTo>
                      <a:pt x="284" y="51"/>
                    </a:lnTo>
                    <a:lnTo>
                      <a:pt x="283" y="49"/>
                    </a:lnTo>
                    <a:lnTo>
                      <a:pt x="283" y="49"/>
                    </a:lnTo>
                    <a:lnTo>
                      <a:pt x="286" y="48"/>
                    </a:lnTo>
                    <a:lnTo>
                      <a:pt x="291" y="47"/>
                    </a:lnTo>
                    <a:lnTo>
                      <a:pt x="294" y="48"/>
                    </a:lnTo>
                    <a:lnTo>
                      <a:pt x="294" y="48"/>
                    </a:lnTo>
                    <a:lnTo>
                      <a:pt x="296" y="51"/>
                    </a:lnTo>
                    <a:lnTo>
                      <a:pt x="297" y="53"/>
                    </a:lnTo>
                    <a:lnTo>
                      <a:pt x="297" y="60"/>
                    </a:lnTo>
                    <a:lnTo>
                      <a:pt x="297" y="60"/>
                    </a:lnTo>
                    <a:lnTo>
                      <a:pt x="297" y="61"/>
                    </a:lnTo>
                    <a:lnTo>
                      <a:pt x="299" y="63"/>
                    </a:lnTo>
                    <a:lnTo>
                      <a:pt x="299" y="63"/>
                    </a:lnTo>
                    <a:lnTo>
                      <a:pt x="299" y="63"/>
                    </a:lnTo>
                    <a:lnTo>
                      <a:pt x="300" y="66"/>
                    </a:lnTo>
                    <a:lnTo>
                      <a:pt x="301" y="72"/>
                    </a:lnTo>
                    <a:lnTo>
                      <a:pt x="301" y="72"/>
                    </a:lnTo>
                    <a:lnTo>
                      <a:pt x="301" y="74"/>
                    </a:lnTo>
                    <a:lnTo>
                      <a:pt x="301" y="74"/>
                    </a:lnTo>
                    <a:lnTo>
                      <a:pt x="301" y="74"/>
                    </a:lnTo>
                    <a:lnTo>
                      <a:pt x="307" y="76"/>
                    </a:lnTo>
                    <a:lnTo>
                      <a:pt x="309" y="77"/>
                    </a:lnTo>
                    <a:lnTo>
                      <a:pt x="316" y="81"/>
                    </a:lnTo>
                    <a:lnTo>
                      <a:pt x="316" y="81"/>
                    </a:lnTo>
                    <a:lnTo>
                      <a:pt x="319" y="84"/>
                    </a:lnTo>
                    <a:lnTo>
                      <a:pt x="319" y="93"/>
                    </a:lnTo>
                    <a:lnTo>
                      <a:pt x="319" y="93"/>
                    </a:lnTo>
                    <a:lnTo>
                      <a:pt x="316" y="96"/>
                    </a:lnTo>
                    <a:lnTo>
                      <a:pt x="316" y="96"/>
                    </a:lnTo>
                    <a:lnTo>
                      <a:pt x="312" y="98"/>
                    </a:lnTo>
                    <a:lnTo>
                      <a:pt x="312" y="98"/>
                    </a:lnTo>
                    <a:lnTo>
                      <a:pt x="313" y="101"/>
                    </a:lnTo>
                    <a:lnTo>
                      <a:pt x="313" y="104"/>
                    </a:lnTo>
                    <a:lnTo>
                      <a:pt x="313" y="106"/>
                    </a:lnTo>
                    <a:lnTo>
                      <a:pt x="307" y="111"/>
                    </a:lnTo>
                    <a:lnTo>
                      <a:pt x="304" y="111"/>
                    </a:lnTo>
                    <a:lnTo>
                      <a:pt x="304" y="111"/>
                    </a:lnTo>
                    <a:lnTo>
                      <a:pt x="303" y="113"/>
                    </a:lnTo>
                    <a:lnTo>
                      <a:pt x="301" y="114"/>
                    </a:lnTo>
                    <a:lnTo>
                      <a:pt x="300" y="118"/>
                    </a:lnTo>
                    <a:lnTo>
                      <a:pt x="300" y="118"/>
                    </a:lnTo>
                    <a:lnTo>
                      <a:pt x="296" y="119"/>
                    </a:lnTo>
                    <a:lnTo>
                      <a:pt x="292" y="121"/>
                    </a:lnTo>
                    <a:lnTo>
                      <a:pt x="292" y="121"/>
                    </a:lnTo>
                    <a:lnTo>
                      <a:pt x="292" y="121"/>
                    </a:lnTo>
                    <a:lnTo>
                      <a:pt x="292" y="121"/>
                    </a:lnTo>
                    <a:lnTo>
                      <a:pt x="291" y="121"/>
                    </a:lnTo>
                    <a:lnTo>
                      <a:pt x="291" y="121"/>
                    </a:lnTo>
                    <a:lnTo>
                      <a:pt x="291" y="122"/>
                    </a:lnTo>
                    <a:lnTo>
                      <a:pt x="291" y="122"/>
                    </a:lnTo>
                    <a:lnTo>
                      <a:pt x="291" y="121"/>
                    </a:lnTo>
                    <a:lnTo>
                      <a:pt x="291" y="121"/>
                    </a:lnTo>
                    <a:lnTo>
                      <a:pt x="291" y="122"/>
                    </a:lnTo>
                    <a:lnTo>
                      <a:pt x="291" y="122"/>
                    </a:lnTo>
                    <a:lnTo>
                      <a:pt x="292" y="125"/>
                    </a:lnTo>
                    <a:lnTo>
                      <a:pt x="292" y="127"/>
                    </a:lnTo>
                    <a:lnTo>
                      <a:pt x="290" y="129"/>
                    </a:lnTo>
                    <a:lnTo>
                      <a:pt x="290" y="129"/>
                    </a:lnTo>
                    <a:lnTo>
                      <a:pt x="291" y="130"/>
                    </a:lnTo>
                    <a:lnTo>
                      <a:pt x="290" y="131"/>
                    </a:lnTo>
                    <a:lnTo>
                      <a:pt x="290" y="131"/>
                    </a:lnTo>
                    <a:lnTo>
                      <a:pt x="291" y="130"/>
                    </a:lnTo>
                    <a:lnTo>
                      <a:pt x="291" y="130"/>
                    </a:lnTo>
                    <a:lnTo>
                      <a:pt x="294" y="134"/>
                    </a:lnTo>
                    <a:lnTo>
                      <a:pt x="294" y="138"/>
                    </a:lnTo>
                    <a:lnTo>
                      <a:pt x="294" y="139"/>
                    </a:lnTo>
                    <a:lnTo>
                      <a:pt x="296" y="139"/>
                    </a:lnTo>
                    <a:lnTo>
                      <a:pt x="301" y="147"/>
                    </a:lnTo>
                    <a:lnTo>
                      <a:pt x="301" y="147"/>
                    </a:lnTo>
                    <a:lnTo>
                      <a:pt x="299" y="151"/>
                    </a:lnTo>
                    <a:lnTo>
                      <a:pt x="299" y="151"/>
                    </a:lnTo>
                    <a:lnTo>
                      <a:pt x="297" y="155"/>
                    </a:lnTo>
                    <a:lnTo>
                      <a:pt x="295" y="158"/>
                    </a:lnTo>
                    <a:lnTo>
                      <a:pt x="295" y="158"/>
                    </a:lnTo>
                    <a:lnTo>
                      <a:pt x="296" y="156"/>
                    </a:lnTo>
                    <a:lnTo>
                      <a:pt x="296" y="156"/>
                    </a:lnTo>
                    <a:lnTo>
                      <a:pt x="296" y="158"/>
                    </a:lnTo>
                    <a:lnTo>
                      <a:pt x="296" y="158"/>
                    </a:lnTo>
                    <a:lnTo>
                      <a:pt x="295" y="159"/>
                    </a:lnTo>
                    <a:lnTo>
                      <a:pt x="295" y="160"/>
                    </a:lnTo>
                    <a:lnTo>
                      <a:pt x="295" y="160"/>
                    </a:lnTo>
                    <a:lnTo>
                      <a:pt x="295" y="160"/>
                    </a:lnTo>
                    <a:lnTo>
                      <a:pt x="295" y="160"/>
                    </a:lnTo>
                    <a:lnTo>
                      <a:pt x="296" y="160"/>
                    </a:lnTo>
                    <a:lnTo>
                      <a:pt x="296" y="160"/>
                    </a:lnTo>
                    <a:lnTo>
                      <a:pt x="299" y="164"/>
                    </a:lnTo>
                    <a:lnTo>
                      <a:pt x="300" y="167"/>
                    </a:lnTo>
                    <a:lnTo>
                      <a:pt x="300" y="171"/>
                    </a:lnTo>
                    <a:lnTo>
                      <a:pt x="300" y="172"/>
                    </a:lnTo>
                    <a:lnTo>
                      <a:pt x="300" y="172"/>
                    </a:lnTo>
                    <a:lnTo>
                      <a:pt x="303" y="172"/>
                    </a:lnTo>
                    <a:lnTo>
                      <a:pt x="311" y="180"/>
                    </a:lnTo>
                    <a:lnTo>
                      <a:pt x="311" y="180"/>
                    </a:lnTo>
                    <a:lnTo>
                      <a:pt x="307" y="184"/>
                    </a:lnTo>
                    <a:lnTo>
                      <a:pt x="303" y="187"/>
                    </a:lnTo>
                    <a:lnTo>
                      <a:pt x="303" y="187"/>
                    </a:lnTo>
                    <a:lnTo>
                      <a:pt x="301" y="188"/>
                    </a:lnTo>
                    <a:lnTo>
                      <a:pt x="301" y="189"/>
                    </a:lnTo>
                    <a:lnTo>
                      <a:pt x="301" y="189"/>
                    </a:lnTo>
                    <a:lnTo>
                      <a:pt x="303" y="191"/>
                    </a:lnTo>
                    <a:lnTo>
                      <a:pt x="303" y="191"/>
                    </a:lnTo>
                    <a:lnTo>
                      <a:pt x="305" y="195"/>
                    </a:lnTo>
                    <a:lnTo>
                      <a:pt x="307" y="199"/>
                    </a:lnTo>
                    <a:lnTo>
                      <a:pt x="305" y="201"/>
                    </a:lnTo>
                    <a:lnTo>
                      <a:pt x="304" y="204"/>
                    </a:lnTo>
                    <a:lnTo>
                      <a:pt x="303" y="207"/>
                    </a:lnTo>
                    <a:lnTo>
                      <a:pt x="303" y="207"/>
                    </a:lnTo>
                    <a:lnTo>
                      <a:pt x="300" y="208"/>
                    </a:lnTo>
                    <a:lnTo>
                      <a:pt x="296" y="209"/>
                    </a:lnTo>
                    <a:lnTo>
                      <a:pt x="291" y="209"/>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4" name="Freeform 39">
                <a:extLst>
                  <a:ext uri="{FF2B5EF4-FFF2-40B4-BE49-F238E27FC236}">
                    <a16:creationId xmlns:a16="http://schemas.microsoft.com/office/drawing/2014/main" xmlns="" id="{A018B0CF-CCD2-40C6-ADFC-FA1A3C8952E5}"/>
                  </a:ext>
                </a:extLst>
              </p:cNvPr>
              <p:cNvSpPr>
                <a:spLocks/>
              </p:cNvSpPr>
              <p:nvPr/>
            </p:nvSpPr>
            <p:spPr bwMode="auto">
              <a:xfrm>
                <a:off x="4406599" y="3755904"/>
                <a:ext cx="1274466" cy="882724"/>
              </a:xfrm>
              <a:custGeom>
                <a:avLst/>
                <a:gdLst>
                  <a:gd name="T0" fmla="*/ 555 w 732"/>
                  <a:gd name="T1" fmla="*/ 505 h 507"/>
                  <a:gd name="T2" fmla="*/ 526 w 732"/>
                  <a:gd name="T3" fmla="*/ 502 h 507"/>
                  <a:gd name="T4" fmla="*/ 502 w 732"/>
                  <a:gd name="T5" fmla="*/ 475 h 507"/>
                  <a:gd name="T6" fmla="*/ 457 w 732"/>
                  <a:gd name="T7" fmla="*/ 470 h 507"/>
                  <a:gd name="T8" fmla="*/ 430 w 732"/>
                  <a:gd name="T9" fmla="*/ 454 h 507"/>
                  <a:gd name="T10" fmla="*/ 408 w 732"/>
                  <a:gd name="T11" fmla="*/ 462 h 507"/>
                  <a:gd name="T12" fmla="*/ 390 w 732"/>
                  <a:gd name="T13" fmla="*/ 466 h 507"/>
                  <a:gd name="T14" fmla="*/ 365 w 732"/>
                  <a:gd name="T15" fmla="*/ 485 h 507"/>
                  <a:gd name="T16" fmla="*/ 344 w 732"/>
                  <a:gd name="T17" fmla="*/ 503 h 507"/>
                  <a:gd name="T18" fmla="*/ 318 w 732"/>
                  <a:gd name="T19" fmla="*/ 493 h 507"/>
                  <a:gd name="T20" fmla="*/ 316 w 732"/>
                  <a:gd name="T21" fmla="*/ 495 h 507"/>
                  <a:gd name="T22" fmla="*/ 289 w 732"/>
                  <a:gd name="T23" fmla="*/ 485 h 507"/>
                  <a:gd name="T24" fmla="*/ 259 w 732"/>
                  <a:gd name="T25" fmla="*/ 478 h 507"/>
                  <a:gd name="T26" fmla="*/ 226 w 732"/>
                  <a:gd name="T27" fmla="*/ 471 h 507"/>
                  <a:gd name="T28" fmla="*/ 194 w 732"/>
                  <a:gd name="T29" fmla="*/ 440 h 507"/>
                  <a:gd name="T30" fmla="*/ 165 w 732"/>
                  <a:gd name="T31" fmla="*/ 405 h 507"/>
                  <a:gd name="T32" fmla="*/ 164 w 732"/>
                  <a:gd name="T33" fmla="*/ 393 h 507"/>
                  <a:gd name="T34" fmla="*/ 145 w 732"/>
                  <a:gd name="T35" fmla="*/ 378 h 507"/>
                  <a:gd name="T36" fmla="*/ 136 w 732"/>
                  <a:gd name="T37" fmla="*/ 370 h 507"/>
                  <a:gd name="T38" fmla="*/ 120 w 732"/>
                  <a:gd name="T39" fmla="*/ 349 h 507"/>
                  <a:gd name="T40" fmla="*/ 100 w 732"/>
                  <a:gd name="T41" fmla="*/ 313 h 507"/>
                  <a:gd name="T42" fmla="*/ 78 w 732"/>
                  <a:gd name="T43" fmla="*/ 289 h 507"/>
                  <a:gd name="T44" fmla="*/ 37 w 732"/>
                  <a:gd name="T45" fmla="*/ 265 h 507"/>
                  <a:gd name="T46" fmla="*/ 6 w 732"/>
                  <a:gd name="T47" fmla="*/ 239 h 507"/>
                  <a:gd name="T48" fmla="*/ 13 w 732"/>
                  <a:gd name="T49" fmla="*/ 189 h 507"/>
                  <a:gd name="T50" fmla="*/ 50 w 732"/>
                  <a:gd name="T51" fmla="*/ 116 h 507"/>
                  <a:gd name="T52" fmla="*/ 100 w 732"/>
                  <a:gd name="T53" fmla="*/ 9 h 507"/>
                  <a:gd name="T54" fmla="*/ 139 w 732"/>
                  <a:gd name="T55" fmla="*/ 14 h 507"/>
                  <a:gd name="T56" fmla="*/ 154 w 732"/>
                  <a:gd name="T57" fmla="*/ 19 h 507"/>
                  <a:gd name="T58" fmla="*/ 193 w 732"/>
                  <a:gd name="T59" fmla="*/ 25 h 507"/>
                  <a:gd name="T60" fmla="*/ 223 w 732"/>
                  <a:gd name="T61" fmla="*/ 10 h 507"/>
                  <a:gd name="T62" fmla="*/ 254 w 732"/>
                  <a:gd name="T63" fmla="*/ 15 h 507"/>
                  <a:gd name="T64" fmla="*/ 293 w 732"/>
                  <a:gd name="T65" fmla="*/ 5 h 507"/>
                  <a:gd name="T66" fmla="*/ 322 w 732"/>
                  <a:gd name="T67" fmla="*/ 9 h 507"/>
                  <a:gd name="T68" fmla="*/ 337 w 732"/>
                  <a:gd name="T69" fmla="*/ 42 h 507"/>
                  <a:gd name="T70" fmla="*/ 340 w 732"/>
                  <a:gd name="T71" fmla="*/ 100 h 507"/>
                  <a:gd name="T72" fmla="*/ 367 w 732"/>
                  <a:gd name="T73" fmla="*/ 108 h 507"/>
                  <a:gd name="T74" fmla="*/ 403 w 732"/>
                  <a:gd name="T75" fmla="*/ 122 h 507"/>
                  <a:gd name="T76" fmla="*/ 396 w 732"/>
                  <a:gd name="T77" fmla="*/ 140 h 507"/>
                  <a:gd name="T78" fmla="*/ 414 w 732"/>
                  <a:gd name="T79" fmla="*/ 159 h 507"/>
                  <a:gd name="T80" fmla="*/ 449 w 732"/>
                  <a:gd name="T81" fmla="*/ 163 h 507"/>
                  <a:gd name="T82" fmla="*/ 467 w 732"/>
                  <a:gd name="T83" fmla="*/ 157 h 507"/>
                  <a:gd name="T84" fmla="*/ 506 w 732"/>
                  <a:gd name="T85" fmla="*/ 156 h 507"/>
                  <a:gd name="T86" fmla="*/ 526 w 732"/>
                  <a:gd name="T87" fmla="*/ 137 h 507"/>
                  <a:gd name="T88" fmla="*/ 560 w 732"/>
                  <a:gd name="T89" fmla="*/ 130 h 507"/>
                  <a:gd name="T90" fmla="*/ 586 w 732"/>
                  <a:gd name="T91" fmla="*/ 163 h 507"/>
                  <a:gd name="T92" fmla="*/ 623 w 732"/>
                  <a:gd name="T93" fmla="*/ 177 h 507"/>
                  <a:gd name="T94" fmla="*/ 660 w 732"/>
                  <a:gd name="T95" fmla="*/ 196 h 507"/>
                  <a:gd name="T96" fmla="*/ 657 w 732"/>
                  <a:gd name="T97" fmla="*/ 212 h 507"/>
                  <a:gd name="T98" fmla="*/ 654 w 732"/>
                  <a:gd name="T99" fmla="*/ 235 h 507"/>
                  <a:gd name="T100" fmla="*/ 674 w 732"/>
                  <a:gd name="T101" fmla="*/ 271 h 507"/>
                  <a:gd name="T102" fmla="*/ 683 w 732"/>
                  <a:gd name="T103" fmla="*/ 293 h 507"/>
                  <a:gd name="T104" fmla="*/ 693 w 732"/>
                  <a:gd name="T105" fmla="*/ 315 h 507"/>
                  <a:gd name="T106" fmla="*/ 716 w 732"/>
                  <a:gd name="T107" fmla="*/ 359 h 507"/>
                  <a:gd name="T108" fmla="*/ 720 w 732"/>
                  <a:gd name="T109" fmla="*/ 392 h 507"/>
                  <a:gd name="T110" fmla="*/ 723 w 732"/>
                  <a:gd name="T111" fmla="*/ 411 h 507"/>
                  <a:gd name="T112" fmla="*/ 718 w 732"/>
                  <a:gd name="T113" fmla="*/ 433 h 507"/>
                  <a:gd name="T114" fmla="*/ 690 w 732"/>
                  <a:gd name="T115" fmla="*/ 456 h 507"/>
                  <a:gd name="T116" fmla="*/ 664 w 732"/>
                  <a:gd name="T117" fmla="*/ 471 h 507"/>
                  <a:gd name="T118" fmla="*/ 629 w 732"/>
                  <a:gd name="T119" fmla="*/ 485 h 507"/>
                  <a:gd name="T120" fmla="*/ 605 w 732"/>
                  <a:gd name="T121" fmla="*/ 503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2" h="507">
                    <a:moveTo>
                      <a:pt x="597" y="507"/>
                    </a:moveTo>
                    <a:lnTo>
                      <a:pt x="597" y="507"/>
                    </a:lnTo>
                    <a:lnTo>
                      <a:pt x="595" y="506"/>
                    </a:lnTo>
                    <a:lnTo>
                      <a:pt x="593" y="505"/>
                    </a:lnTo>
                    <a:lnTo>
                      <a:pt x="593" y="505"/>
                    </a:lnTo>
                    <a:lnTo>
                      <a:pt x="593" y="505"/>
                    </a:lnTo>
                    <a:lnTo>
                      <a:pt x="595" y="506"/>
                    </a:lnTo>
                    <a:lnTo>
                      <a:pt x="591" y="503"/>
                    </a:lnTo>
                    <a:lnTo>
                      <a:pt x="591" y="503"/>
                    </a:lnTo>
                    <a:lnTo>
                      <a:pt x="588" y="499"/>
                    </a:lnTo>
                    <a:lnTo>
                      <a:pt x="588" y="499"/>
                    </a:lnTo>
                    <a:lnTo>
                      <a:pt x="587" y="498"/>
                    </a:lnTo>
                    <a:lnTo>
                      <a:pt x="587" y="498"/>
                    </a:lnTo>
                    <a:lnTo>
                      <a:pt x="586" y="498"/>
                    </a:lnTo>
                    <a:lnTo>
                      <a:pt x="586" y="498"/>
                    </a:lnTo>
                    <a:lnTo>
                      <a:pt x="579" y="499"/>
                    </a:lnTo>
                    <a:lnTo>
                      <a:pt x="572" y="503"/>
                    </a:lnTo>
                    <a:lnTo>
                      <a:pt x="572" y="503"/>
                    </a:lnTo>
                    <a:lnTo>
                      <a:pt x="562" y="507"/>
                    </a:lnTo>
                    <a:lnTo>
                      <a:pt x="558" y="505"/>
                    </a:lnTo>
                    <a:lnTo>
                      <a:pt x="558" y="505"/>
                    </a:lnTo>
                    <a:lnTo>
                      <a:pt x="555" y="505"/>
                    </a:lnTo>
                    <a:lnTo>
                      <a:pt x="552" y="506"/>
                    </a:lnTo>
                    <a:lnTo>
                      <a:pt x="552" y="506"/>
                    </a:lnTo>
                    <a:lnTo>
                      <a:pt x="547" y="505"/>
                    </a:lnTo>
                    <a:lnTo>
                      <a:pt x="545" y="503"/>
                    </a:lnTo>
                    <a:lnTo>
                      <a:pt x="545" y="503"/>
                    </a:lnTo>
                    <a:lnTo>
                      <a:pt x="539" y="501"/>
                    </a:lnTo>
                    <a:lnTo>
                      <a:pt x="539" y="501"/>
                    </a:lnTo>
                    <a:lnTo>
                      <a:pt x="537" y="502"/>
                    </a:lnTo>
                    <a:lnTo>
                      <a:pt x="535" y="502"/>
                    </a:lnTo>
                    <a:lnTo>
                      <a:pt x="535" y="502"/>
                    </a:lnTo>
                    <a:lnTo>
                      <a:pt x="538" y="501"/>
                    </a:lnTo>
                    <a:lnTo>
                      <a:pt x="538" y="498"/>
                    </a:lnTo>
                    <a:lnTo>
                      <a:pt x="533" y="502"/>
                    </a:lnTo>
                    <a:lnTo>
                      <a:pt x="533" y="502"/>
                    </a:lnTo>
                    <a:lnTo>
                      <a:pt x="533" y="503"/>
                    </a:lnTo>
                    <a:lnTo>
                      <a:pt x="531" y="505"/>
                    </a:lnTo>
                    <a:lnTo>
                      <a:pt x="531" y="505"/>
                    </a:lnTo>
                    <a:lnTo>
                      <a:pt x="527" y="502"/>
                    </a:lnTo>
                    <a:lnTo>
                      <a:pt x="527" y="502"/>
                    </a:lnTo>
                    <a:lnTo>
                      <a:pt x="530" y="503"/>
                    </a:lnTo>
                    <a:lnTo>
                      <a:pt x="526" y="502"/>
                    </a:lnTo>
                    <a:lnTo>
                      <a:pt x="526" y="502"/>
                    </a:lnTo>
                    <a:lnTo>
                      <a:pt x="522" y="498"/>
                    </a:lnTo>
                    <a:lnTo>
                      <a:pt x="522" y="498"/>
                    </a:lnTo>
                    <a:lnTo>
                      <a:pt x="519" y="495"/>
                    </a:lnTo>
                    <a:lnTo>
                      <a:pt x="519" y="495"/>
                    </a:lnTo>
                    <a:lnTo>
                      <a:pt x="515" y="491"/>
                    </a:lnTo>
                    <a:lnTo>
                      <a:pt x="515" y="491"/>
                    </a:lnTo>
                    <a:lnTo>
                      <a:pt x="515" y="493"/>
                    </a:lnTo>
                    <a:lnTo>
                      <a:pt x="517" y="494"/>
                    </a:lnTo>
                    <a:lnTo>
                      <a:pt x="517" y="494"/>
                    </a:lnTo>
                    <a:lnTo>
                      <a:pt x="515" y="493"/>
                    </a:lnTo>
                    <a:lnTo>
                      <a:pt x="515" y="493"/>
                    </a:lnTo>
                    <a:lnTo>
                      <a:pt x="511" y="491"/>
                    </a:lnTo>
                    <a:lnTo>
                      <a:pt x="510" y="490"/>
                    </a:lnTo>
                    <a:lnTo>
                      <a:pt x="509" y="487"/>
                    </a:lnTo>
                    <a:lnTo>
                      <a:pt x="509" y="486"/>
                    </a:lnTo>
                    <a:lnTo>
                      <a:pt x="509" y="485"/>
                    </a:lnTo>
                    <a:lnTo>
                      <a:pt x="510" y="482"/>
                    </a:lnTo>
                    <a:lnTo>
                      <a:pt x="508" y="481"/>
                    </a:lnTo>
                    <a:lnTo>
                      <a:pt x="508" y="481"/>
                    </a:lnTo>
                    <a:lnTo>
                      <a:pt x="506" y="478"/>
                    </a:lnTo>
                    <a:lnTo>
                      <a:pt x="506" y="478"/>
                    </a:lnTo>
                    <a:lnTo>
                      <a:pt x="502" y="475"/>
                    </a:lnTo>
                    <a:lnTo>
                      <a:pt x="500" y="475"/>
                    </a:lnTo>
                    <a:lnTo>
                      <a:pt x="497" y="475"/>
                    </a:lnTo>
                    <a:lnTo>
                      <a:pt x="497" y="475"/>
                    </a:lnTo>
                    <a:lnTo>
                      <a:pt x="500" y="473"/>
                    </a:lnTo>
                    <a:lnTo>
                      <a:pt x="500" y="471"/>
                    </a:lnTo>
                    <a:lnTo>
                      <a:pt x="494" y="477"/>
                    </a:lnTo>
                    <a:lnTo>
                      <a:pt x="493" y="477"/>
                    </a:lnTo>
                    <a:lnTo>
                      <a:pt x="493" y="477"/>
                    </a:lnTo>
                    <a:lnTo>
                      <a:pt x="492" y="478"/>
                    </a:lnTo>
                    <a:lnTo>
                      <a:pt x="488" y="479"/>
                    </a:lnTo>
                    <a:lnTo>
                      <a:pt x="488" y="479"/>
                    </a:lnTo>
                    <a:lnTo>
                      <a:pt x="480" y="481"/>
                    </a:lnTo>
                    <a:lnTo>
                      <a:pt x="480" y="481"/>
                    </a:lnTo>
                    <a:lnTo>
                      <a:pt x="474" y="479"/>
                    </a:lnTo>
                    <a:lnTo>
                      <a:pt x="474" y="479"/>
                    </a:lnTo>
                    <a:lnTo>
                      <a:pt x="470" y="479"/>
                    </a:lnTo>
                    <a:lnTo>
                      <a:pt x="470" y="479"/>
                    </a:lnTo>
                    <a:lnTo>
                      <a:pt x="467" y="479"/>
                    </a:lnTo>
                    <a:lnTo>
                      <a:pt x="460" y="478"/>
                    </a:lnTo>
                    <a:lnTo>
                      <a:pt x="460" y="478"/>
                    </a:lnTo>
                    <a:lnTo>
                      <a:pt x="459" y="474"/>
                    </a:lnTo>
                    <a:lnTo>
                      <a:pt x="457" y="470"/>
                    </a:lnTo>
                    <a:lnTo>
                      <a:pt x="457" y="470"/>
                    </a:lnTo>
                    <a:lnTo>
                      <a:pt x="456" y="468"/>
                    </a:lnTo>
                    <a:lnTo>
                      <a:pt x="456" y="468"/>
                    </a:lnTo>
                    <a:lnTo>
                      <a:pt x="456" y="468"/>
                    </a:lnTo>
                    <a:lnTo>
                      <a:pt x="453" y="466"/>
                    </a:lnTo>
                    <a:lnTo>
                      <a:pt x="451" y="466"/>
                    </a:lnTo>
                    <a:lnTo>
                      <a:pt x="451" y="466"/>
                    </a:lnTo>
                    <a:lnTo>
                      <a:pt x="451" y="466"/>
                    </a:lnTo>
                    <a:lnTo>
                      <a:pt x="444" y="464"/>
                    </a:lnTo>
                    <a:lnTo>
                      <a:pt x="444" y="464"/>
                    </a:lnTo>
                    <a:lnTo>
                      <a:pt x="444" y="464"/>
                    </a:lnTo>
                    <a:lnTo>
                      <a:pt x="444" y="464"/>
                    </a:lnTo>
                    <a:lnTo>
                      <a:pt x="441" y="461"/>
                    </a:lnTo>
                    <a:lnTo>
                      <a:pt x="440" y="456"/>
                    </a:lnTo>
                    <a:lnTo>
                      <a:pt x="440" y="456"/>
                    </a:lnTo>
                    <a:lnTo>
                      <a:pt x="437" y="453"/>
                    </a:lnTo>
                    <a:lnTo>
                      <a:pt x="433" y="450"/>
                    </a:lnTo>
                    <a:lnTo>
                      <a:pt x="433" y="450"/>
                    </a:lnTo>
                    <a:lnTo>
                      <a:pt x="432" y="452"/>
                    </a:lnTo>
                    <a:lnTo>
                      <a:pt x="430" y="453"/>
                    </a:lnTo>
                    <a:lnTo>
                      <a:pt x="430" y="453"/>
                    </a:lnTo>
                    <a:lnTo>
                      <a:pt x="430" y="454"/>
                    </a:lnTo>
                    <a:lnTo>
                      <a:pt x="422" y="458"/>
                    </a:lnTo>
                    <a:lnTo>
                      <a:pt x="422" y="458"/>
                    </a:lnTo>
                    <a:lnTo>
                      <a:pt x="423" y="456"/>
                    </a:lnTo>
                    <a:lnTo>
                      <a:pt x="418" y="461"/>
                    </a:lnTo>
                    <a:lnTo>
                      <a:pt x="418" y="461"/>
                    </a:lnTo>
                    <a:lnTo>
                      <a:pt x="418" y="461"/>
                    </a:lnTo>
                    <a:lnTo>
                      <a:pt x="416" y="461"/>
                    </a:lnTo>
                    <a:lnTo>
                      <a:pt x="416" y="461"/>
                    </a:lnTo>
                    <a:lnTo>
                      <a:pt x="416" y="461"/>
                    </a:lnTo>
                    <a:lnTo>
                      <a:pt x="416" y="461"/>
                    </a:lnTo>
                    <a:lnTo>
                      <a:pt x="414" y="461"/>
                    </a:lnTo>
                    <a:lnTo>
                      <a:pt x="414" y="461"/>
                    </a:lnTo>
                    <a:lnTo>
                      <a:pt x="411" y="461"/>
                    </a:lnTo>
                    <a:lnTo>
                      <a:pt x="411" y="461"/>
                    </a:lnTo>
                    <a:lnTo>
                      <a:pt x="410" y="461"/>
                    </a:lnTo>
                    <a:lnTo>
                      <a:pt x="410" y="461"/>
                    </a:lnTo>
                    <a:lnTo>
                      <a:pt x="412" y="460"/>
                    </a:lnTo>
                    <a:lnTo>
                      <a:pt x="414" y="457"/>
                    </a:lnTo>
                    <a:lnTo>
                      <a:pt x="408" y="462"/>
                    </a:lnTo>
                    <a:lnTo>
                      <a:pt x="408" y="462"/>
                    </a:lnTo>
                    <a:lnTo>
                      <a:pt x="408" y="462"/>
                    </a:lnTo>
                    <a:lnTo>
                      <a:pt x="408" y="462"/>
                    </a:lnTo>
                    <a:lnTo>
                      <a:pt x="408" y="462"/>
                    </a:lnTo>
                    <a:lnTo>
                      <a:pt x="407" y="462"/>
                    </a:lnTo>
                    <a:lnTo>
                      <a:pt x="407" y="462"/>
                    </a:lnTo>
                    <a:lnTo>
                      <a:pt x="406" y="462"/>
                    </a:lnTo>
                    <a:lnTo>
                      <a:pt x="406" y="462"/>
                    </a:lnTo>
                    <a:lnTo>
                      <a:pt x="404" y="464"/>
                    </a:lnTo>
                    <a:lnTo>
                      <a:pt x="404" y="464"/>
                    </a:lnTo>
                    <a:lnTo>
                      <a:pt x="406" y="462"/>
                    </a:lnTo>
                    <a:lnTo>
                      <a:pt x="400" y="465"/>
                    </a:lnTo>
                    <a:lnTo>
                      <a:pt x="398" y="465"/>
                    </a:lnTo>
                    <a:lnTo>
                      <a:pt x="398" y="465"/>
                    </a:lnTo>
                    <a:lnTo>
                      <a:pt x="396" y="465"/>
                    </a:lnTo>
                    <a:lnTo>
                      <a:pt x="396" y="465"/>
                    </a:lnTo>
                    <a:lnTo>
                      <a:pt x="394" y="465"/>
                    </a:lnTo>
                    <a:lnTo>
                      <a:pt x="394" y="465"/>
                    </a:lnTo>
                    <a:lnTo>
                      <a:pt x="392" y="465"/>
                    </a:lnTo>
                    <a:lnTo>
                      <a:pt x="392" y="465"/>
                    </a:lnTo>
                    <a:lnTo>
                      <a:pt x="395" y="464"/>
                    </a:lnTo>
                    <a:lnTo>
                      <a:pt x="396" y="461"/>
                    </a:lnTo>
                    <a:lnTo>
                      <a:pt x="390" y="466"/>
                    </a:lnTo>
                    <a:lnTo>
                      <a:pt x="390" y="460"/>
                    </a:lnTo>
                    <a:lnTo>
                      <a:pt x="390" y="466"/>
                    </a:lnTo>
                    <a:lnTo>
                      <a:pt x="390" y="466"/>
                    </a:lnTo>
                    <a:lnTo>
                      <a:pt x="387" y="466"/>
                    </a:lnTo>
                    <a:lnTo>
                      <a:pt x="385" y="469"/>
                    </a:lnTo>
                    <a:lnTo>
                      <a:pt x="381" y="473"/>
                    </a:lnTo>
                    <a:lnTo>
                      <a:pt x="381" y="473"/>
                    </a:lnTo>
                    <a:lnTo>
                      <a:pt x="379" y="473"/>
                    </a:lnTo>
                    <a:lnTo>
                      <a:pt x="379" y="473"/>
                    </a:lnTo>
                    <a:lnTo>
                      <a:pt x="377" y="471"/>
                    </a:lnTo>
                    <a:lnTo>
                      <a:pt x="374" y="471"/>
                    </a:lnTo>
                    <a:lnTo>
                      <a:pt x="370" y="466"/>
                    </a:lnTo>
                    <a:lnTo>
                      <a:pt x="370" y="466"/>
                    </a:lnTo>
                    <a:lnTo>
                      <a:pt x="370" y="466"/>
                    </a:lnTo>
                    <a:lnTo>
                      <a:pt x="369" y="468"/>
                    </a:lnTo>
                    <a:lnTo>
                      <a:pt x="369" y="468"/>
                    </a:lnTo>
                    <a:lnTo>
                      <a:pt x="369" y="468"/>
                    </a:lnTo>
                    <a:lnTo>
                      <a:pt x="369" y="468"/>
                    </a:lnTo>
                    <a:lnTo>
                      <a:pt x="369" y="470"/>
                    </a:lnTo>
                    <a:lnTo>
                      <a:pt x="370" y="474"/>
                    </a:lnTo>
                    <a:lnTo>
                      <a:pt x="370" y="474"/>
                    </a:lnTo>
                    <a:lnTo>
                      <a:pt x="371" y="479"/>
                    </a:lnTo>
                    <a:lnTo>
                      <a:pt x="365" y="485"/>
                    </a:lnTo>
                    <a:lnTo>
                      <a:pt x="365" y="485"/>
                    </a:lnTo>
                    <a:lnTo>
                      <a:pt x="363" y="489"/>
                    </a:lnTo>
                    <a:lnTo>
                      <a:pt x="363" y="489"/>
                    </a:lnTo>
                    <a:lnTo>
                      <a:pt x="361" y="490"/>
                    </a:lnTo>
                    <a:lnTo>
                      <a:pt x="357" y="491"/>
                    </a:lnTo>
                    <a:lnTo>
                      <a:pt x="357" y="491"/>
                    </a:lnTo>
                    <a:lnTo>
                      <a:pt x="355" y="491"/>
                    </a:lnTo>
                    <a:lnTo>
                      <a:pt x="355" y="491"/>
                    </a:lnTo>
                    <a:lnTo>
                      <a:pt x="354" y="491"/>
                    </a:lnTo>
                    <a:lnTo>
                      <a:pt x="354" y="491"/>
                    </a:lnTo>
                    <a:lnTo>
                      <a:pt x="351" y="491"/>
                    </a:lnTo>
                    <a:lnTo>
                      <a:pt x="351" y="491"/>
                    </a:lnTo>
                    <a:lnTo>
                      <a:pt x="349" y="491"/>
                    </a:lnTo>
                    <a:lnTo>
                      <a:pt x="349" y="491"/>
                    </a:lnTo>
                    <a:lnTo>
                      <a:pt x="349" y="491"/>
                    </a:lnTo>
                    <a:lnTo>
                      <a:pt x="349" y="493"/>
                    </a:lnTo>
                    <a:lnTo>
                      <a:pt x="349" y="493"/>
                    </a:lnTo>
                    <a:lnTo>
                      <a:pt x="346" y="494"/>
                    </a:lnTo>
                    <a:lnTo>
                      <a:pt x="345" y="495"/>
                    </a:lnTo>
                    <a:lnTo>
                      <a:pt x="345" y="495"/>
                    </a:lnTo>
                    <a:lnTo>
                      <a:pt x="345" y="499"/>
                    </a:lnTo>
                    <a:lnTo>
                      <a:pt x="345" y="501"/>
                    </a:lnTo>
                    <a:lnTo>
                      <a:pt x="344" y="503"/>
                    </a:lnTo>
                    <a:lnTo>
                      <a:pt x="344" y="503"/>
                    </a:lnTo>
                    <a:lnTo>
                      <a:pt x="341" y="505"/>
                    </a:lnTo>
                    <a:lnTo>
                      <a:pt x="338" y="506"/>
                    </a:lnTo>
                    <a:lnTo>
                      <a:pt x="337" y="506"/>
                    </a:lnTo>
                    <a:lnTo>
                      <a:pt x="332" y="502"/>
                    </a:lnTo>
                    <a:lnTo>
                      <a:pt x="332" y="502"/>
                    </a:lnTo>
                    <a:lnTo>
                      <a:pt x="333" y="503"/>
                    </a:lnTo>
                    <a:lnTo>
                      <a:pt x="334" y="505"/>
                    </a:lnTo>
                    <a:lnTo>
                      <a:pt x="334" y="505"/>
                    </a:lnTo>
                    <a:lnTo>
                      <a:pt x="334" y="505"/>
                    </a:lnTo>
                    <a:lnTo>
                      <a:pt x="334" y="505"/>
                    </a:lnTo>
                    <a:lnTo>
                      <a:pt x="332" y="505"/>
                    </a:lnTo>
                    <a:lnTo>
                      <a:pt x="332" y="505"/>
                    </a:lnTo>
                    <a:lnTo>
                      <a:pt x="328" y="505"/>
                    </a:lnTo>
                    <a:lnTo>
                      <a:pt x="328" y="505"/>
                    </a:lnTo>
                    <a:lnTo>
                      <a:pt x="326" y="505"/>
                    </a:lnTo>
                    <a:lnTo>
                      <a:pt x="325" y="505"/>
                    </a:lnTo>
                    <a:lnTo>
                      <a:pt x="322" y="503"/>
                    </a:lnTo>
                    <a:lnTo>
                      <a:pt x="322" y="503"/>
                    </a:lnTo>
                    <a:lnTo>
                      <a:pt x="320" y="501"/>
                    </a:lnTo>
                    <a:lnTo>
                      <a:pt x="318" y="498"/>
                    </a:lnTo>
                    <a:lnTo>
                      <a:pt x="318" y="493"/>
                    </a:lnTo>
                    <a:lnTo>
                      <a:pt x="318" y="493"/>
                    </a:lnTo>
                    <a:lnTo>
                      <a:pt x="318" y="493"/>
                    </a:lnTo>
                    <a:lnTo>
                      <a:pt x="318" y="493"/>
                    </a:lnTo>
                    <a:lnTo>
                      <a:pt x="318" y="493"/>
                    </a:lnTo>
                    <a:lnTo>
                      <a:pt x="318" y="493"/>
                    </a:lnTo>
                    <a:lnTo>
                      <a:pt x="318" y="493"/>
                    </a:lnTo>
                    <a:lnTo>
                      <a:pt x="318" y="491"/>
                    </a:lnTo>
                    <a:lnTo>
                      <a:pt x="318" y="491"/>
                    </a:lnTo>
                    <a:lnTo>
                      <a:pt x="318" y="493"/>
                    </a:lnTo>
                    <a:lnTo>
                      <a:pt x="318" y="493"/>
                    </a:lnTo>
                    <a:lnTo>
                      <a:pt x="318" y="491"/>
                    </a:lnTo>
                    <a:lnTo>
                      <a:pt x="318" y="491"/>
                    </a:lnTo>
                    <a:lnTo>
                      <a:pt x="320" y="490"/>
                    </a:lnTo>
                    <a:lnTo>
                      <a:pt x="320" y="487"/>
                    </a:lnTo>
                    <a:lnTo>
                      <a:pt x="317" y="491"/>
                    </a:lnTo>
                    <a:lnTo>
                      <a:pt x="314" y="489"/>
                    </a:lnTo>
                    <a:lnTo>
                      <a:pt x="314" y="489"/>
                    </a:lnTo>
                    <a:lnTo>
                      <a:pt x="316" y="491"/>
                    </a:lnTo>
                    <a:lnTo>
                      <a:pt x="316" y="493"/>
                    </a:lnTo>
                    <a:lnTo>
                      <a:pt x="314" y="495"/>
                    </a:lnTo>
                    <a:lnTo>
                      <a:pt x="314" y="495"/>
                    </a:lnTo>
                    <a:lnTo>
                      <a:pt x="316" y="495"/>
                    </a:lnTo>
                    <a:lnTo>
                      <a:pt x="317" y="494"/>
                    </a:lnTo>
                    <a:lnTo>
                      <a:pt x="317" y="494"/>
                    </a:lnTo>
                    <a:lnTo>
                      <a:pt x="314" y="497"/>
                    </a:lnTo>
                    <a:lnTo>
                      <a:pt x="313" y="498"/>
                    </a:lnTo>
                    <a:lnTo>
                      <a:pt x="311" y="498"/>
                    </a:lnTo>
                    <a:lnTo>
                      <a:pt x="311" y="498"/>
                    </a:lnTo>
                    <a:lnTo>
                      <a:pt x="308" y="498"/>
                    </a:lnTo>
                    <a:lnTo>
                      <a:pt x="304" y="489"/>
                    </a:lnTo>
                    <a:lnTo>
                      <a:pt x="304" y="489"/>
                    </a:lnTo>
                    <a:lnTo>
                      <a:pt x="304" y="486"/>
                    </a:lnTo>
                    <a:lnTo>
                      <a:pt x="304" y="486"/>
                    </a:lnTo>
                    <a:lnTo>
                      <a:pt x="305" y="487"/>
                    </a:lnTo>
                    <a:lnTo>
                      <a:pt x="300" y="482"/>
                    </a:lnTo>
                    <a:lnTo>
                      <a:pt x="300" y="481"/>
                    </a:lnTo>
                    <a:lnTo>
                      <a:pt x="300" y="481"/>
                    </a:lnTo>
                    <a:lnTo>
                      <a:pt x="300" y="479"/>
                    </a:lnTo>
                    <a:lnTo>
                      <a:pt x="299" y="479"/>
                    </a:lnTo>
                    <a:lnTo>
                      <a:pt x="299" y="482"/>
                    </a:lnTo>
                    <a:lnTo>
                      <a:pt x="299" y="482"/>
                    </a:lnTo>
                    <a:lnTo>
                      <a:pt x="296" y="483"/>
                    </a:lnTo>
                    <a:lnTo>
                      <a:pt x="293" y="485"/>
                    </a:lnTo>
                    <a:lnTo>
                      <a:pt x="289" y="485"/>
                    </a:lnTo>
                    <a:lnTo>
                      <a:pt x="289" y="485"/>
                    </a:lnTo>
                    <a:lnTo>
                      <a:pt x="285" y="485"/>
                    </a:lnTo>
                    <a:lnTo>
                      <a:pt x="285" y="485"/>
                    </a:lnTo>
                    <a:lnTo>
                      <a:pt x="284" y="485"/>
                    </a:lnTo>
                    <a:lnTo>
                      <a:pt x="284" y="485"/>
                    </a:lnTo>
                    <a:lnTo>
                      <a:pt x="283" y="485"/>
                    </a:lnTo>
                    <a:lnTo>
                      <a:pt x="283" y="485"/>
                    </a:lnTo>
                    <a:lnTo>
                      <a:pt x="284" y="485"/>
                    </a:lnTo>
                    <a:lnTo>
                      <a:pt x="284" y="482"/>
                    </a:lnTo>
                    <a:lnTo>
                      <a:pt x="280" y="486"/>
                    </a:lnTo>
                    <a:lnTo>
                      <a:pt x="280" y="487"/>
                    </a:lnTo>
                    <a:lnTo>
                      <a:pt x="280" y="487"/>
                    </a:lnTo>
                    <a:lnTo>
                      <a:pt x="279" y="487"/>
                    </a:lnTo>
                    <a:lnTo>
                      <a:pt x="279" y="487"/>
                    </a:lnTo>
                    <a:lnTo>
                      <a:pt x="279" y="487"/>
                    </a:lnTo>
                    <a:lnTo>
                      <a:pt x="273" y="489"/>
                    </a:lnTo>
                    <a:lnTo>
                      <a:pt x="273" y="489"/>
                    </a:lnTo>
                    <a:lnTo>
                      <a:pt x="270" y="487"/>
                    </a:lnTo>
                    <a:lnTo>
                      <a:pt x="267" y="486"/>
                    </a:lnTo>
                    <a:lnTo>
                      <a:pt x="263" y="482"/>
                    </a:lnTo>
                    <a:lnTo>
                      <a:pt x="263" y="482"/>
                    </a:lnTo>
                    <a:lnTo>
                      <a:pt x="259" y="478"/>
                    </a:lnTo>
                    <a:lnTo>
                      <a:pt x="255" y="475"/>
                    </a:lnTo>
                    <a:lnTo>
                      <a:pt x="255" y="475"/>
                    </a:lnTo>
                    <a:lnTo>
                      <a:pt x="255" y="475"/>
                    </a:lnTo>
                    <a:lnTo>
                      <a:pt x="254" y="474"/>
                    </a:lnTo>
                    <a:lnTo>
                      <a:pt x="254" y="474"/>
                    </a:lnTo>
                    <a:lnTo>
                      <a:pt x="251" y="473"/>
                    </a:lnTo>
                    <a:lnTo>
                      <a:pt x="251" y="473"/>
                    </a:lnTo>
                    <a:lnTo>
                      <a:pt x="254" y="474"/>
                    </a:lnTo>
                    <a:lnTo>
                      <a:pt x="247" y="470"/>
                    </a:lnTo>
                    <a:lnTo>
                      <a:pt x="247" y="470"/>
                    </a:lnTo>
                    <a:lnTo>
                      <a:pt x="248" y="470"/>
                    </a:lnTo>
                    <a:lnTo>
                      <a:pt x="248" y="470"/>
                    </a:lnTo>
                    <a:lnTo>
                      <a:pt x="246" y="470"/>
                    </a:lnTo>
                    <a:lnTo>
                      <a:pt x="238" y="470"/>
                    </a:lnTo>
                    <a:lnTo>
                      <a:pt x="238" y="470"/>
                    </a:lnTo>
                    <a:lnTo>
                      <a:pt x="236" y="471"/>
                    </a:lnTo>
                    <a:lnTo>
                      <a:pt x="233" y="474"/>
                    </a:lnTo>
                    <a:lnTo>
                      <a:pt x="233" y="474"/>
                    </a:lnTo>
                    <a:lnTo>
                      <a:pt x="231" y="474"/>
                    </a:lnTo>
                    <a:lnTo>
                      <a:pt x="231" y="474"/>
                    </a:lnTo>
                    <a:lnTo>
                      <a:pt x="227" y="473"/>
                    </a:lnTo>
                    <a:lnTo>
                      <a:pt x="226" y="471"/>
                    </a:lnTo>
                    <a:lnTo>
                      <a:pt x="226" y="471"/>
                    </a:lnTo>
                    <a:lnTo>
                      <a:pt x="226" y="471"/>
                    </a:lnTo>
                    <a:lnTo>
                      <a:pt x="226" y="471"/>
                    </a:lnTo>
                    <a:lnTo>
                      <a:pt x="227" y="473"/>
                    </a:lnTo>
                    <a:lnTo>
                      <a:pt x="222" y="466"/>
                    </a:lnTo>
                    <a:lnTo>
                      <a:pt x="222" y="464"/>
                    </a:lnTo>
                    <a:lnTo>
                      <a:pt x="222" y="464"/>
                    </a:lnTo>
                    <a:lnTo>
                      <a:pt x="218" y="460"/>
                    </a:lnTo>
                    <a:lnTo>
                      <a:pt x="218" y="460"/>
                    </a:lnTo>
                    <a:lnTo>
                      <a:pt x="213" y="453"/>
                    </a:lnTo>
                    <a:lnTo>
                      <a:pt x="211" y="454"/>
                    </a:lnTo>
                    <a:lnTo>
                      <a:pt x="207" y="454"/>
                    </a:lnTo>
                    <a:lnTo>
                      <a:pt x="202" y="452"/>
                    </a:lnTo>
                    <a:lnTo>
                      <a:pt x="202" y="452"/>
                    </a:lnTo>
                    <a:lnTo>
                      <a:pt x="202" y="450"/>
                    </a:lnTo>
                    <a:lnTo>
                      <a:pt x="202" y="450"/>
                    </a:lnTo>
                    <a:lnTo>
                      <a:pt x="203" y="452"/>
                    </a:lnTo>
                    <a:lnTo>
                      <a:pt x="201" y="448"/>
                    </a:lnTo>
                    <a:lnTo>
                      <a:pt x="199" y="448"/>
                    </a:lnTo>
                    <a:lnTo>
                      <a:pt x="199" y="448"/>
                    </a:lnTo>
                    <a:lnTo>
                      <a:pt x="194" y="440"/>
                    </a:lnTo>
                    <a:lnTo>
                      <a:pt x="194" y="440"/>
                    </a:lnTo>
                    <a:lnTo>
                      <a:pt x="189" y="432"/>
                    </a:lnTo>
                    <a:lnTo>
                      <a:pt x="186" y="428"/>
                    </a:lnTo>
                    <a:lnTo>
                      <a:pt x="182" y="427"/>
                    </a:lnTo>
                    <a:lnTo>
                      <a:pt x="180" y="421"/>
                    </a:lnTo>
                    <a:lnTo>
                      <a:pt x="180" y="420"/>
                    </a:lnTo>
                    <a:lnTo>
                      <a:pt x="180" y="419"/>
                    </a:lnTo>
                    <a:lnTo>
                      <a:pt x="180" y="419"/>
                    </a:lnTo>
                    <a:lnTo>
                      <a:pt x="178" y="417"/>
                    </a:lnTo>
                    <a:lnTo>
                      <a:pt x="178" y="417"/>
                    </a:lnTo>
                    <a:lnTo>
                      <a:pt x="177" y="416"/>
                    </a:lnTo>
                    <a:lnTo>
                      <a:pt x="177" y="416"/>
                    </a:lnTo>
                    <a:lnTo>
                      <a:pt x="174" y="415"/>
                    </a:lnTo>
                    <a:lnTo>
                      <a:pt x="174" y="415"/>
                    </a:lnTo>
                    <a:lnTo>
                      <a:pt x="174" y="413"/>
                    </a:lnTo>
                    <a:lnTo>
                      <a:pt x="174" y="413"/>
                    </a:lnTo>
                    <a:lnTo>
                      <a:pt x="173" y="415"/>
                    </a:lnTo>
                    <a:lnTo>
                      <a:pt x="173" y="415"/>
                    </a:lnTo>
                    <a:lnTo>
                      <a:pt x="170" y="413"/>
                    </a:lnTo>
                    <a:lnTo>
                      <a:pt x="168" y="412"/>
                    </a:lnTo>
                    <a:lnTo>
                      <a:pt x="166" y="411"/>
                    </a:lnTo>
                    <a:lnTo>
                      <a:pt x="165" y="408"/>
                    </a:lnTo>
                    <a:lnTo>
                      <a:pt x="165" y="405"/>
                    </a:lnTo>
                    <a:lnTo>
                      <a:pt x="165" y="405"/>
                    </a:lnTo>
                    <a:lnTo>
                      <a:pt x="166" y="401"/>
                    </a:lnTo>
                    <a:lnTo>
                      <a:pt x="166" y="401"/>
                    </a:lnTo>
                    <a:lnTo>
                      <a:pt x="166" y="404"/>
                    </a:lnTo>
                    <a:lnTo>
                      <a:pt x="168" y="403"/>
                    </a:lnTo>
                    <a:lnTo>
                      <a:pt x="168" y="403"/>
                    </a:lnTo>
                    <a:lnTo>
                      <a:pt x="170" y="403"/>
                    </a:lnTo>
                    <a:lnTo>
                      <a:pt x="172" y="404"/>
                    </a:lnTo>
                    <a:lnTo>
                      <a:pt x="172" y="403"/>
                    </a:lnTo>
                    <a:lnTo>
                      <a:pt x="170" y="401"/>
                    </a:lnTo>
                    <a:lnTo>
                      <a:pt x="172" y="400"/>
                    </a:lnTo>
                    <a:lnTo>
                      <a:pt x="172" y="399"/>
                    </a:lnTo>
                    <a:lnTo>
                      <a:pt x="172" y="399"/>
                    </a:lnTo>
                    <a:lnTo>
                      <a:pt x="170" y="399"/>
                    </a:lnTo>
                    <a:lnTo>
                      <a:pt x="168" y="400"/>
                    </a:lnTo>
                    <a:lnTo>
                      <a:pt x="166" y="397"/>
                    </a:lnTo>
                    <a:lnTo>
                      <a:pt x="166" y="397"/>
                    </a:lnTo>
                    <a:lnTo>
                      <a:pt x="166" y="397"/>
                    </a:lnTo>
                    <a:lnTo>
                      <a:pt x="165" y="393"/>
                    </a:lnTo>
                    <a:lnTo>
                      <a:pt x="165" y="393"/>
                    </a:lnTo>
                    <a:lnTo>
                      <a:pt x="164" y="393"/>
                    </a:lnTo>
                    <a:lnTo>
                      <a:pt x="164" y="393"/>
                    </a:lnTo>
                    <a:lnTo>
                      <a:pt x="161" y="395"/>
                    </a:lnTo>
                    <a:lnTo>
                      <a:pt x="158" y="396"/>
                    </a:lnTo>
                    <a:lnTo>
                      <a:pt x="158" y="396"/>
                    </a:lnTo>
                    <a:lnTo>
                      <a:pt x="156" y="396"/>
                    </a:lnTo>
                    <a:lnTo>
                      <a:pt x="154" y="395"/>
                    </a:lnTo>
                    <a:lnTo>
                      <a:pt x="152" y="391"/>
                    </a:lnTo>
                    <a:lnTo>
                      <a:pt x="152" y="391"/>
                    </a:lnTo>
                    <a:lnTo>
                      <a:pt x="148" y="390"/>
                    </a:lnTo>
                    <a:lnTo>
                      <a:pt x="147" y="387"/>
                    </a:lnTo>
                    <a:lnTo>
                      <a:pt x="147" y="387"/>
                    </a:lnTo>
                    <a:lnTo>
                      <a:pt x="147" y="388"/>
                    </a:lnTo>
                    <a:lnTo>
                      <a:pt x="149" y="388"/>
                    </a:lnTo>
                    <a:lnTo>
                      <a:pt x="143" y="382"/>
                    </a:lnTo>
                    <a:lnTo>
                      <a:pt x="143" y="382"/>
                    </a:lnTo>
                    <a:lnTo>
                      <a:pt x="145" y="378"/>
                    </a:lnTo>
                    <a:lnTo>
                      <a:pt x="145" y="378"/>
                    </a:lnTo>
                    <a:lnTo>
                      <a:pt x="145" y="378"/>
                    </a:lnTo>
                    <a:lnTo>
                      <a:pt x="144" y="378"/>
                    </a:lnTo>
                    <a:lnTo>
                      <a:pt x="144" y="378"/>
                    </a:lnTo>
                    <a:lnTo>
                      <a:pt x="145" y="378"/>
                    </a:lnTo>
                    <a:lnTo>
                      <a:pt x="145" y="378"/>
                    </a:lnTo>
                    <a:lnTo>
                      <a:pt x="145" y="378"/>
                    </a:lnTo>
                    <a:lnTo>
                      <a:pt x="144" y="380"/>
                    </a:lnTo>
                    <a:lnTo>
                      <a:pt x="147" y="379"/>
                    </a:lnTo>
                    <a:lnTo>
                      <a:pt x="147" y="379"/>
                    </a:lnTo>
                    <a:lnTo>
                      <a:pt x="148" y="380"/>
                    </a:lnTo>
                    <a:lnTo>
                      <a:pt x="151" y="380"/>
                    </a:lnTo>
                    <a:lnTo>
                      <a:pt x="151" y="380"/>
                    </a:lnTo>
                    <a:lnTo>
                      <a:pt x="151" y="380"/>
                    </a:lnTo>
                    <a:lnTo>
                      <a:pt x="151" y="380"/>
                    </a:lnTo>
                    <a:lnTo>
                      <a:pt x="151" y="380"/>
                    </a:lnTo>
                    <a:lnTo>
                      <a:pt x="147" y="379"/>
                    </a:lnTo>
                    <a:lnTo>
                      <a:pt x="151" y="376"/>
                    </a:lnTo>
                    <a:lnTo>
                      <a:pt x="151" y="374"/>
                    </a:lnTo>
                    <a:lnTo>
                      <a:pt x="151" y="374"/>
                    </a:lnTo>
                    <a:lnTo>
                      <a:pt x="148" y="375"/>
                    </a:lnTo>
                    <a:lnTo>
                      <a:pt x="147" y="375"/>
                    </a:lnTo>
                    <a:lnTo>
                      <a:pt x="145" y="378"/>
                    </a:lnTo>
                    <a:lnTo>
                      <a:pt x="145" y="378"/>
                    </a:lnTo>
                    <a:lnTo>
                      <a:pt x="145" y="378"/>
                    </a:lnTo>
                    <a:lnTo>
                      <a:pt x="143" y="375"/>
                    </a:lnTo>
                    <a:lnTo>
                      <a:pt x="143" y="375"/>
                    </a:lnTo>
                    <a:lnTo>
                      <a:pt x="140" y="371"/>
                    </a:lnTo>
                    <a:lnTo>
                      <a:pt x="136" y="370"/>
                    </a:lnTo>
                    <a:lnTo>
                      <a:pt x="133" y="367"/>
                    </a:lnTo>
                    <a:lnTo>
                      <a:pt x="133" y="367"/>
                    </a:lnTo>
                    <a:lnTo>
                      <a:pt x="133" y="367"/>
                    </a:lnTo>
                    <a:lnTo>
                      <a:pt x="131" y="366"/>
                    </a:lnTo>
                    <a:lnTo>
                      <a:pt x="129" y="364"/>
                    </a:lnTo>
                    <a:lnTo>
                      <a:pt x="128" y="360"/>
                    </a:lnTo>
                    <a:lnTo>
                      <a:pt x="128" y="360"/>
                    </a:lnTo>
                    <a:lnTo>
                      <a:pt x="128" y="359"/>
                    </a:lnTo>
                    <a:lnTo>
                      <a:pt x="128" y="359"/>
                    </a:lnTo>
                    <a:lnTo>
                      <a:pt x="128" y="359"/>
                    </a:lnTo>
                    <a:lnTo>
                      <a:pt x="127" y="356"/>
                    </a:lnTo>
                    <a:lnTo>
                      <a:pt x="127" y="356"/>
                    </a:lnTo>
                    <a:lnTo>
                      <a:pt x="127" y="358"/>
                    </a:lnTo>
                    <a:lnTo>
                      <a:pt x="127" y="358"/>
                    </a:lnTo>
                    <a:lnTo>
                      <a:pt x="125" y="355"/>
                    </a:lnTo>
                    <a:lnTo>
                      <a:pt x="125" y="353"/>
                    </a:lnTo>
                    <a:lnTo>
                      <a:pt x="125" y="353"/>
                    </a:lnTo>
                    <a:lnTo>
                      <a:pt x="124" y="351"/>
                    </a:lnTo>
                    <a:lnTo>
                      <a:pt x="124" y="351"/>
                    </a:lnTo>
                    <a:lnTo>
                      <a:pt x="123" y="351"/>
                    </a:lnTo>
                    <a:lnTo>
                      <a:pt x="123" y="351"/>
                    </a:lnTo>
                    <a:lnTo>
                      <a:pt x="120" y="349"/>
                    </a:lnTo>
                    <a:lnTo>
                      <a:pt x="119" y="346"/>
                    </a:lnTo>
                    <a:lnTo>
                      <a:pt x="117" y="341"/>
                    </a:lnTo>
                    <a:lnTo>
                      <a:pt x="117" y="341"/>
                    </a:lnTo>
                    <a:lnTo>
                      <a:pt x="117" y="341"/>
                    </a:lnTo>
                    <a:lnTo>
                      <a:pt x="117" y="341"/>
                    </a:lnTo>
                    <a:lnTo>
                      <a:pt x="111" y="333"/>
                    </a:lnTo>
                    <a:lnTo>
                      <a:pt x="111" y="333"/>
                    </a:lnTo>
                    <a:lnTo>
                      <a:pt x="112" y="334"/>
                    </a:lnTo>
                    <a:lnTo>
                      <a:pt x="112" y="334"/>
                    </a:lnTo>
                    <a:lnTo>
                      <a:pt x="111" y="334"/>
                    </a:lnTo>
                    <a:lnTo>
                      <a:pt x="111" y="334"/>
                    </a:lnTo>
                    <a:lnTo>
                      <a:pt x="108" y="330"/>
                    </a:lnTo>
                    <a:lnTo>
                      <a:pt x="107" y="327"/>
                    </a:lnTo>
                    <a:lnTo>
                      <a:pt x="107" y="323"/>
                    </a:lnTo>
                    <a:lnTo>
                      <a:pt x="110" y="319"/>
                    </a:lnTo>
                    <a:lnTo>
                      <a:pt x="110" y="319"/>
                    </a:lnTo>
                    <a:lnTo>
                      <a:pt x="110" y="317"/>
                    </a:lnTo>
                    <a:lnTo>
                      <a:pt x="108" y="315"/>
                    </a:lnTo>
                    <a:lnTo>
                      <a:pt x="107" y="315"/>
                    </a:lnTo>
                    <a:lnTo>
                      <a:pt x="104" y="314"/>
                    </a:lnTo>
                    <a:lnTo>
                      <a:pt x="104" y="314"/>
                    </a:lnTo>
                    <a:lnTo>
                      <a:pt x="100" y="313"/>
                    </a:lnTo>
                    <a:lnTo>
                      <a:pt x="95" y="313"/>
                    </a:lnTo>
                    <a:lnTo>
                      <a:pt x="95" y="313"/>
                    </a:lnTo>
                    <a:lnTo>
                      <a:pt x="87" y="312"/>
                    </a:lnTo>
                    <a:lnTo>
                      <a:pt x="82" y="309"/>
                    </a:lnTo>
                    <a:lnTo>
                      <a:pt x="79" y="308"/>
                    </a:lnTo>
                    <a:lnTo>
                      <a:pt x="76" y="301"/>
                    </a:lnTo>
                    <a:lnTo>
                      <a:pt x="76" y="301"/>
                    </a:lnTo>
                    <a:lnTo>
                      <a:pt x="78" y="302"/>
                    </a:lnTo>
                    <a:lnTo>
                      <a:pt x="78" y="302"/>
                    </a:lnTo>
                    <a:lnTo>
                      <a:pt x="76" y="300"/>
                    </a:lnTo>
                    <a:lnTo>
                      <a:pt x="75" y="294"/>
                    </a:lnTo>
                    <a:lnTo>
                      <a:pt x="75" y="294"/>
                    </a:lnTo>
                    <a:lnTo>
                      <a:pt x="79" y="292"/>
                    </a:lnTo>
                    <a:lnTo>
                      <a:pt x="79" y="292"/>
                    </a:lnTo>
                    <a:lnTo>
                      <a:pt x="82" y="292"/>
                    </a:lnTo>
                    <a:lnTo>
                      <a:pt x="79" y="290"/>
                    </a:lnTo>
                    <a:lnTo>
                      <a:pt x="82" y="288"/>
                    </a:lnTo>
                    <a:lnTo>
                      <a:pt x="82" y="288"/>
                    </a:lnTo>
                    <a:lnTo>
                      <a:pt x="82" y="288"/>
                    </a:lnTo>
                    <a:lnTo>
                      <a:pt x="82" y="288"/>
                    </a:lnTo>
                    <a:lnTo>
                      <a:pt x="79" y="288"/>
                    </a:lnTo>
                    <a:lnTo>
                      <a:pt x="78" y="289"/>
                    </a:lnTo>
                    <a:lnTo>
                      <a:pt x="76" y="288"/>
                    </a:lnTo>
                    <a:lnTo>
                      <a:pt x="76" y="288"/>
                    </a:lnTo>
                    <a:lnTo>
                      <a:pt x="76" y="288"/>
                    </a:lnTo>
                    <a:lnTo>
                      <a:pt x="76" y="288"/>
                    </a:lnTo>
                    <a:lnTo>
                      <a:pt x="76" y="288"/>
                    </a:lnTo>
                    <a:lnTo>
                      <a:pt x="76" y="288"/>
                    </a:lnTo>
                    <a:lnTo>
                      <a:pt x="76" y="288"/>
                    </a:lnTo>
                    <a:lnTo>
                      <a:pt x="71" y="290"/>
                    </a:lnTo>
                    <a:lnTo>
                      <a:pt x="67" y="290"/>
                    </a:lnTo>
                    <a:lnTo>
                      <a:pt x="67" y="290"/>
                    </a:lnTo>
                    <a:lnTo>
                      <a:pt x="67" y="290"/>
                    </a:lnTo>
                    <a:lnTo>
                      <a:pt x="67" y="290"/>
                    </a:lnTo>
                    <a:lnTo>
                      <a:pt x="62" y="289"/>
                    </a:lnTo>
                    <a:lnTo>
                      <a:pt x="57" y="286"/>
                    </a:lnTo>
                    <a:lnTo>
                      <a:pt x="54" y="281"/>
                    </a:lnTo>
                    <a:lnTo>
                      <a:pt x="50" y="277"/>
                    </a:lnTo>
                    <a:lnTo>
                      <a:pt x="50" y="277"/>
                    </a:lnTo>
                    <a:lnTo>
                      <a:pt x="49" y="273"/>
                    </a:lnTo>
                    <a:lnTo>
                      <a:pt x="42" y="273"/>
                    </a:lnTo>
                    <a:lnTo>
                      <a:pt x="37" y="267"/>
                    </a:lnTo>
                    <a:lnTo>
                      <a:pt x="37" y="265"/>
                    </a:lnTo>
                    <a:lnTo>
                      <a:pt x="37" y="265"/>
                    </a:lnTo>
                    <a:lnTo>
                      <a:pt x="37" y="265"/>
                    </a:lnTo>
                    <a:lnTo>
                      <a:pt x="36" y="265"/>
                    </a:lnTo>
                    <a:lnTo>
                      <a:pt x="36" y="264"/>
                    </a:lnTo>
                    <a:lnTo>
                      <a:pt x="36" y="264"/>
                    </a:lnTo>
                    <a:lnTo>
                      <a:pt x="33" y="264"/>
                    </a:lnTo>
                    <a:lnTo>
                      <a:pt x="33" y="264"/>
                    </a:lnTo>
                    <a:lnTo>
                      <a:pt x="30" y="264"/>
                    </a:lnTo>
                    <a:lnTo>
                      <a:pt x="30" y="264"/>
                    </a:lnTo>
                    <a:lnTo>
                      <a:pt x="25" y="264"/>
                    </a:lnTo>
                    <a:lnTo>
                      <a:pt x="21" y="263"/>
                    </a:lnTo>
                    <a:lnTo>
                      <a:pt x="17" y="260"/>
                    </a:lnTo>
                    <a:lnTo>
                      <a:pt x="17" y="259"/>
                    </a:lnTo>
                    <a:lnTo>
                      <a:pt x="17" y="259"/>
                    </a:lnTo>
                    <a:lnTo>
                      <a:pt x="14" y="255"/>
                    </a:lnTo>
                    <a:lnTo>
                      <a:pt x="14" y="255"/>
                    </a:lnTo>
                    <a:lnTo>
                      <a:pt x="13" y="251"/>
                    </a:lnTo>
                    <a:lnTo>
                      <a:pt x="10" y="247"/>
                    </a:lnTo>
                    <a:lnTo>
                      <a:pt x="8" y="243"/>
                    </a:lnTo>
                    <a:lnTo>
                      <a:pt x="8" y="241"/>
                    </a:lnTo>
                    <a:lnTo>
                      <a:pt x="8" y="241"/>
                    </a:lnTo>
                    <a:lnTo>
                      <a:pt x="6" y="239"/>
                    </a:lnTo>
                    <a:lnTo>
                      <a:pt x="6" y="239"/>
                    </a:lnTo>
                    <a:lnTo>
                      <a:pt x="2" y="235"/>
                    </a:lnTo>
                    <a:lnTo>
                      <a:pt x="1" y="231"/>
                    </a:lnTo>
                    <a:lnTo>
                      <a:pt x="1" y="226"/>
                    </a:lnTo>
                    <a:lnTo>
                      <a:pt x="1" y="226"/>
                    </a:lnTo>
                    <a:lnTo>
                      <a:pt x="1" y="222"/>
                    </a:lnTo>
                    <a:lnTo>
                      <a:pt x="1" y="222"/>
                    </a:lnTo>
                    <a:lnTo>
                      <a:pt x="1" y="220"/>
                    </a:lnTo>
                    <a:lnTo>
                      <a:pt x="1" y="220"/>
                    </a:lnTo>
                    <a:lnTo>
                      <a:pt x="2" y="223"/>
                    </a:lnTo>
                    <a:lnTo>
                      <a:pt x="2" y="223"/>
                    </a:lnTo>
                    <a:lnTo>
                      <a:pt x="5" y="224"/>
                    </a:lnTo>
                    <a:lnTo>
                      <a:pt x="0" y="218"/>
                    </a:lnTo>
                    <a:lnTo>
                      <a:pt x="0" y="218"/>
                    </a:lnTo>
                    <a:lnTo>
                      <a:pt x="1" y="214"/>
                    </a:lnTo>
                    <a:lnTo>
                      <a:pt x="2" y="212"/>
                    </a:lnTo>
                    <a:lnTo>
                      <a:pt x="2" y="212"/>
                    </a:lnTo>
                    <a:lnTo>
                      <a:pt x="6" y="206"/>
                    </a:lnTo>
                    <a:lnTo>
                      <a:pt x="10" y="196"/>
                    </a:lnTo>
                    <a:lnTo>
                      <a:pt x="10" y="196"/>
                    </a:lnTo>
                    <a:lnTo>
                      <a:pt x="12" y="193"/>
                    </a:lnTo>
                    <a:lnTo>
                      <a:pt x="13" y="189"/>
                    </a:lnTo>
                    <a:lnTo>
                      <a:pt x="13" y="189"/>
                    </a:lnTo>
                    <a:lnTo>
                      <a:pt x="16" y="185"/>
                    </a:lnTo>
                    <a:lnTo>
                      <a:pt x="16" y="183"/>
                    </a:lnTo>
                    <a:lnTo>
                      <a:pt x="16" y="183"/>
                    </a:lnTo>
                    <a:lnTo>
                      <a:pt x="20" y="177"/>
                    </a:lnTo>
                    <a:lnTo>
                      <a:pt x="24" y="167"/>
                    </a:lnTo>
                    <a:lnTo>
                      <a:pt x="24" y="167"/>
                    </a:lnTo>
                    <a:lnTo>
                      <a:pt x="26" y="162"/>
                    </a:lnTo>
                    <a:lnTo>
                      <a:pt x="28" y="158"/>
                    </a:lnTo>
                    <a:lnTo>
                      <a:pt x="28" y="158"/>
                    </a:lnTo>
                    <a:lnTo>
                      <a:pt x="30" y="153"/>
                    </a:lnTo>
                    <a:lnTo>
                      <a:pt x="32" y="152"/>
                    </a:lnTo>
                    <a:lnTo>
                      <a:pt x="32" y="152"/>
                    </a:lnTo>
                    <a:lnTo>
                      <a:pt x="36" y="145"/>
                    </a:lnTo>
                    <a:lnTo>
                      <a:pt x="39" y="136"/>
                    </a:lnTo>
                    <a:lnTo>
                      <a:pt x="39" y="136"/>
                    </a:lnTo>
                    <a:lnTo>
                      <a:pt x="41" y="132"/>
                    </a:lnTo>
                    <a:lnTo>
                      <a:pt x="42" y="128"/>
                    </a:lnTo>
                    <a:lnTo>
                      <a:pt x="42" y="128"/>
                    </a:lnTo>
                    <a:lnTo>
                      <a:pt x="45" y="124"/>
                    </a:lnTo>
                    <a:lnTo>
                      <a:pt x="45" y="122"/>
                    </a:lnTo>
                    <a:lnTo>
                      <a:pt x="45" y="122"/>
                    </a:lnTo>
                    <a:lnTo>
                      <a:pt x="50" y="116"/>
                    </a:lnTo>
                    <a:lnTo>
                      <a:pt x="53" y="107"/>
                    </a:lnTo>
                    <a:lnTo>
                      <a:pt x="53" y="107"/>
                    </a:lnTo>
                    <a:lnTo>
                      <a:pt x="55" y="101"/>
                    </a:lnTo>
                    <a:lnTo>
                      <a:pt x="57" y="97"/>
                    </a:lnTo>
                    <a:lnTo>
                      <a:pt x="57" y="97"/>
                    </a:lnTo>
                    <a:lnTo>
                      <a:pt x="59" y="92"/>
                    </a:lnTo>
                    <a:lnTo>
                      <a:pt x="61" y="91"/>
                    </a:lnTo>
                    <a:lnTo>
                      <a:pt x="61" y="91"/>
                    </a:lnTo>
                    <a:lnTo>
                      <a:pt x="65" y="85"/>
                    </a:lnTo>
                    <a:lnTo>
                      <a:pt x="67" y="78"/>
                    </a:lnTo>
                    <a:lnTo>
                      <a:pt x="67" y="78"/>
                    </a:lnTo>
                    <a:lnTo>
                      <a:pt x="69" y="74"/>
                    </a:lnTo>
                    <a:lnTo>
                      <a:pt x="70" y="70"/>
                    </a:lnTo>
                    <a:lnTo>
                      <a:pt x="70" y="70"/>
                    </a:lnTo>
                    <a:lnTo>
                      <a:pt x="73" y="66"/>
                    </a:lnTo>
                    <a:lnTo>
                      <a:pt x="73" y="64"/>
                    </a:lnTo>
                    <a:lnTo>
                      <a:pt x="73" y="64"/>
                    </a:lnTo>
                    <a:lnTo>
                      <a:pt x="84" y="43"/>
                    </a:lnTo>
                    <a:lnTo>
                      <a:pt x="95" y="19"/>
                    </a:lnTo>
                    <a:lnTo>
                      <a:pt x="96" y="18"/>
                    </a:lnTo>
                    <a:lnTo>
                      <a:pt x="96" y="18"/>
                    </a:lnTo>
                    <a:lnTo>
                      <a:pt x="100" y="9"/>
                    </a:lnTo>
                    <a:lnTo>
                      <a:pt x="102" y="5"/>
                    </a:lnTo>
                    <a:lnTo>
                      <a:pt x="106" y="1"/>
                    </a:lnTo>
                    <a:lnTo>
                      <a:pt x="116" y="6"/>
                    </a:lnTo>
                    <a:lnTo>
                      <a:pt x="116" y="10"/>
                    </a:lnTo>
                    <a:lnTo>
                      <a:pt x="115" y="11"/>
                    </a:lnTo>
                    <a:lnTo>
                      <a:pt x="115" y="11"/>
                    </a:lnTo>
                    <a:lnTo>
                      <a:pt x="116" y="11"/>
                    </a:lnTo>
                    <a:lnTo>
                      <a:pt x="116" y="11"/>
                    </a:lnTo>
                    <a:lnTo>
                      <a:pt x="116" y="13"/>
                    </a:lnTo>
                    <a:lnTo>
                      <a:pt x="117" y="11"/>
                    </a:lnTo>
                    <a:lnTo>
                      <a:pt x="119" y="11"/>
                    </a:lnTo>
                    <a:lnTo>
                      <a:pt x="119" y="11"/>
                    </a:lnTo>
                    <a:lnTo>
                      <a:pt x="120" y="10"/>
                    </a:lnTo>
                    <a:lnTo>
                      <a:pt x="120" y="10"/>
                    </a:lnTo>
                    <a:lnTo>
                      <a:pt x="124" y="9"/>
                    </a:lnTo>
                    <a:lnTo>
                      <a:pt x="128" y="9"/>
                    </a:lnTo>
                    <a:lnTo>
                      <a:pt x="128" y="9"/>
                    </a:lnTo>
                    <a:lnTo>
                      <a:pt x="129" y="9"/>
                    </a:lnTo>
                    <a:lnTo>
                      <a:pt x="129" y="9"/>
                    </a:lnTo>
                    <a:lnTo>
                      <a:pt x="135" y="10"/>
                    </a:lnTo>
                    <a:lnTo>
                      <a:pt x="135" y="10"/>
                    </a:lnTo>
                    <a:lnTo>
                      <a:pt x="139" y="14"/>
                    </a:lnTo>
                    <a:lnTo>
                      <a:pt x="143" y="17"/>
                    </a:lnTo>
                    <a:lnTo>
                      <a:pt x="143" y="17"/>
                    </a:lnTo>
                    <a:lnTo>
                      <a:pt x="145" y="18"/>
                    </a:lnTo>
                    <a:lnTo>
                      <a:pt x="145" y="18"/>
                    </a:lnTo>
                    <a:lnTo>
                      <a:pt x="149" y="22"/>
                    </a:lnTo>
                    <a:lnTo>
                      <a:pt x="149" y="22"/>
                    </a:lnTo>
                    <a:lnTo>
                      <a:pt x="149" y="21"/>
                    </a:lnTo>
                    <a:lnTo>
                      <a:pt x="149" y="21"/>
                    </a:lnTo>
                    <a:lnTo>
                      <a:pt x="151" y="21"/>
                    </a:lnTo>
                    <a:lnTo>
                      <a:pt x="153" y="21"/>
                    </a:lnTo>
                    <a:lnTo>
                      <a:pt x="153" y="21"/>
                    </a:lnTo>
                    <a:lnTo>
                      <a:pt x="154" y="19"/>
                    </a:lnTo>
                    <a:lnTo>
                      <a:pt x="154" y="19"/>
                    </a:lnTo>
                    <a:lnTo>
                      <a:pt x="153" y="21"/>
                    </a:lnTo>
                    <a:lnTo>
                      <a:pt x="153" y="21"/>
                    </a:lnTo>
                    <a:lnTo>
                      <a:pt x="154" y="21"/>
                    </a:lnTo>
                    <a:lnTo>
                      <a:pt x="158" y="17"/>
                    </a:lnTo>
                    <a:lnTo>
                      <a:pt x="158" y="17"/>
                    </a:lnTo>
                    <a:lnTo>
                      <a:pt x="156" y="18"/>
                    </a:lnTo>
                    <a:lnTo>
                      <a:pt x="154" y="19"/>
                    </a:lnTo>
                    <a:lnTo>
                      <a:pt x="154" y="19"/>
                    </a:lnTo>
                    <a:lnTo>
                      <a:pt x="154" y="19"/>
                    </a:lnTo>
                    <a:lnTo>
                      <a:pt x="156" y="15"/>
                    </a:lnTo>
                    <a:lnTo>
                      <a:pt x="157" y="13"/>
                    </a:lnTo>
                    <a:lnTo>
                      <a:pt x="160" y="11"/>
                    </a:lnTo>
                    <a:lnTo>
                      <a:pt x="161" y="11"/>
                    </a:lnTo>
                    <a:lnTo>
                      <a:pt x="178" y="11"/>
                    </a:lnTo>
                    <a:lnTo>
                      <a:pt x="182" y="13"/>
                    </a:lnTo>
                    <a:lnTo>
                      <a:pt x="182" y="13"/>
                    </a:lnTo>
                    <a:lnTo>
                      <a:pt x="184" y="15"/>
                    </a:lnTo>
                    <a:lnTo>
                      <a:pt x="185" y="17"/>
                    </a:lnTo>
                    <a:lnTo>
                      <a:pt x="185" y="17"/>
                    </a:lnTo>
                    <a:lnTo>
                      <a:pt x="184" y="15"/>
                    </a:lnTo>
                    <a:lnTo>
                      <a:pt x="182" y="15"/>
                    </a:lnTo>
                    <a:lnTo>
                      <a:pt x="186" y="21"/>
                    </a:lnTo>
                    <a:lnTo>
                      <a:pt x="186" y="22"/>
                    </a:lnTo>
                    <a:lnTo>
                      <a:pt x="186" y="22"/>
                    </a:lnTo>
                    <a:lnTo>
                      <a:pt x="186" y="23"/>
                    </a:lnTo>
                    <a:lnTo>
                      <a:pt x="186" y="23"/>
                    </a:lnTo>
                    <a:lnTo>
                      <a:pt x="186" y="22"/>
                    </a:lnTo>
                    <a:lnTo>
                      <a:pt x="189" y="26"/>
                    </a:lnTo>
                    <a:lnTo>
                      <a:pt x="190" y="26"/>
                    </a:lnTo>
                    <a:lnTo>
                      <a:pt x="190" y="26"/>
                    </a:lnTo>
                    <a:lnTo>
                      <a:pt x="193" y="25"/>
                    </a:lnTo>
                    <a:lnTo>
                      <a:pt x="197" y="23"/>
                    </a:lnTo>
                    <a:lnTo>
                      <a:pt x="197" y="23"/>
                    </a:lnTo>
                    <a:lnTo>
                      <a:pt x="199" y="22"/>
                    </a:lnTo>
                    <a:lnTo>
                      <a:pt x="202" y="22"/>
                    </a:lnTo>
                    <a:lnTo>
                      <a:pt x="202" y="22"/>
                    </a:lnTo>
                    <a:lnTo>
                      <a:pt x="205" y="19"/>
                    </a:lnTo>
                    <a:lnTo>
                      <a:pt x="206" y="18"/>
                    </a:lnTo>
                    <a:lnTo>
                      <a:pt x="206" y="17"/>
                    </a:lnTo>
                    <a:lnTo>
                      <a:pt x="207" y="14"/>
                    </a:lnTo>
                    <a:lnTo>
                      <a:pt x="207" y="14"/>
                    </a:lnTo>
                    <a:lnTo>
                      <a:pt x="210" y="11"/>
                    </a:lnTo>
                    <a:lnTo>
                      <a:pt x="214" y="10"/>
                    </a:lnTo>
                    <a:lnTo>
                      <a:pt x="214" y="10"/>
                    </a:lnTo>
                    <a:lnTo>
                      <a:pt x="218" y="11"/>
                    </a:lnTo>
                    <a:lnTo>
                      <a:pt x="218" y="11"/>
                    </a:lnTo>
                    <a:lnTo>
                      <a:pt x="219" y="11"/>
                    </a:lnTo>
                    <a:lnTo>
                      <a:pt x="219" y="11"/>
                    </a:lnTo>
                    <a:lnTo>
                      <a:pt x="219" y="11"/>
                    </a:lnTo>
                    <a:lnTo>
                      <a:pt x="218" y="11"/>
                    </a:lnTo>
                    <a:lnTo>
                      <a:pt x="217" y="13"/>
                    </a:lnTo>
                    <a:lnTo>
                      <a:pt x="222" y="10"/>
                    </a:lnTo>
                    <a:lnTo>
                      <a:pt x="223" y="10"/>
                    </a:lnTo>
                    <a:lnTo>
                      <a:pt x="223" y="10"/>
                    </a:lnTo>
                    <a:lnTo>
                      <a:pt x="226" y="10"/>
                    </a:lnTo>
                    <a:lnTo>
                      <a:pt x="226" y="10"/>
                    </a:lnTo>
                    <a:lnTo>
                      <a:pt x="229" y="10"/>
                    </a:lnTo>
                    <a:lnTo>
                      <a:pt x="229" y="10"/>
                    </a:lnTo>
                    <a:lnTo>
                      <a:pt x="231" y="10"/>
                    </a:lnTo>
                    <a:lnTo>
                      <a:pt x="231" y="10"/>
                    </a:lnTo>
                    <a:lnTo>
                      <a:pt x="230" y="11"/>
                    </a:lnTo>
                    <a:lnTo>
                      <a:pt x="235" y="9"/>
                    </a:lnTo>
                    <a:lnTo>
                      <a:pt x="243" y="9"/>
                    </a:lnTo>
                    <a:lnTo>
                      <a:pt x="244" y="9"/>
                    </a:lnTo>
                    <a:lnTo>
                      <a:pt x="244" y="9"/>
                    </a:lnTo>
                    <a:lnTo>
                      <a:pt x="247" y="10"/>
                    </a:lnTo>
                    <a:lnTo>
                      <a:pt x="248" y="11"/>
                    </a:lnTo>
                    <a:lnTo>
                      <a:pt x="248" y="11"/>
                    </a:lnTo>
                    <a:lnTo>
                      <a:pt x="248" y="11"/>
                    </a:lnTo>
                    <a:lnTo>
                      <a:pt x="247" y="11"/>
                    </a:lnTo>
                    <a:lnTo>
                      <a:pt x="251" y="13"/>
                    </a:lnTo>
                    <a:lnTo>
                      <a:pt x="251" y="13"/>
                    </a:lnTo>
                    <a:lnTo>
                      <a:pt x="255" y="15"/>
                    </a:lnTo>
                    <a:lnTo>
                      <a:pt x="255" y="15"/>
                    </a:lnTo>
                    <a:lnTo>
                      <a:pt x="254" y="15"/>
                    </a:lnTo>
                    <a:lnTo>
                      <a:pt x="255" y="15"/>
                    </a:lnTo>
                    <a:lnTo>
                      <a:pt x="255" y="15"/>
                    </a:lnTo>
                    <a:lnTo>
                      <a:pt x="254" y="18"/>
                    </a:lnTo>
                    <a:lnTo>
                      <a:pt x="258" y="14"/>
                    </a:lnTo>
                    <a:lnTo>
                      <a:pt x="259" y="14"/>
                    </a:lnTo>
                    <a:lnTo>
                      <a:pt x="259" y="14"/>
                    </a:lnTo>
                    <a:lnTo>
                      <a:pt x="259" y="14"/>
                    </a:lnTo>
                    <a:lnTo>
                      <a:pt x="258" y="14"/>
                    </a:lnTo>
                    <a:lnTo>
                      <a:pt x="259" y="13"/>
                    </a:lnTo>
                    <a:lnTo>
                      <a:pt x="259" y="13"/>
                    </a:lnTo>
                    <a:lnTo>
                      <a:pt x="258" y="14"/>
                    </a:lnTo>
                    <a:lnTo>
                      <a:pt x="258" y="14"/>
                    </a:lnTo>
                    <a:lnTo>
                      <a:pt x="258" y="13"/>
                    </a:lnTo>
                    <a:lnTo>
                      <a:pt x="263" y="10"/>
                    </a:lnTo>
                    <a:lnTo>
                      <a:pt x="264" y="10"/>
                    </a:lnTo>
                    <a:lnTo>
                      <a:pt x="264" y="10"/>
                    </a:lnTo>
                    <a:lnTo>
                      <a:pt x="271" y="9"/>
                    </a:lnTo>
                    <a:lnTo>
                      <a:pt x="276" y="5"/>
                    </a:lnTo>
                    <a:lnTo>
                      <a:pt x="276" y="5"/>
                    </a:lnTo>
                    <a:lnTo>
                      <a:pt x="281" y="2"/>
                    </a:lnTo>
                    <a:lnTo>
                      <a:pt x="287" y="0"/>
                    </a:lnTo>
                    <a:lnTo>
                      <a:pt x="293" y="5"/>
                    </a:lnTo>
                    <a:lnTo>
                      <a:pt x="293" y="5"/>
                    </a:lnTo>
                    <a:lnTo>
                      <a:pt x="293" y="5"/>
                    </a:lnTo>
                    <a:lnTo>
                      <a:pt x="293" y="5"/>
                    </a:lnTo>
                    <a:lnTo>
                      <a:pt x="293" y="5"/>
                    </a:lnTo>
                    <a:lnTo>
                      <a:pt x="297" y="5"/>
                    </a:lnTo>
                    <a:lnTo>
                      <a:pt x="297" y="5"/>
                    </a:lnTo>
                    <a:lnTo>
                      <a:pt x="301" y="5"/>
                    </a:lnTo>
                    <a:lnTo>
                      <a:pt x="303" y="5"/>
                    </a:lnTo>
                    <a:lnTo>
                      <a:pt x="305" y="5"/>
                    </a:lnTo>
                    <a:lnTo>
                      <a:pt x="305" y="5"/>
                    </a:lnTo>
                    <a:lnTo>
                      <a:pt x="308" y="7"/>
                    </a:lnTo>
                    <a:lnTo>
                      <a:pt x="308" y="7"/>
                    </a:lnTo>
                    <a:lnTo>
                      <a:pt x="312" y="9"/>
                    </a:lnTo>
                    <a:lnTo>
                      <a:pt x="312" y="9"/>
                    </a:lnTo>
                    <a:lnTo>
                      <a:pt x="314" y="7"/>
                    </a:lnTo>
                    <a:lnTo>
                      <a:pt x="316" y="7"/>
                    </a:lnTo>
                    <a:lnTo>
                      <a:pt x="316" y="7"/>
                    </a:lnTo>
                    <a:lnTo>
                      <a:pt x="317" y="7"/>
                    </a:lnTo>
                    <a:lnTo>
                      <a:pt x="317" y="7"/>
                    </a:lnTo>
                    <a:lnTo>
                      <a:pt x="320" y="7"/>
                    </a:lnTo>
                    <a:lnTo>
                      <a:pt x="322" y="9"/>
                    </a:lnTo>
                    <a:lnTo>
                      <a:pt x="322" y="9"/>
                    </a:lnTo>
                    <a:lnTo>
                      <a:pt x="322" y="9"/>
                    </a:lnTo>
                    <a:lnTo>
                      <a:pt x="321" y="9"/>
                    </a:lnTo>
                    <a:lnTo>
                      <a:pt x="325" y="11"/>
                    </a:lnTo>
                    <a:lnTo>
                      <a:pt x="325" y="11"/>
                    </a:lnTo>
                    <a:lnTo>
                      <a:pt x="325" y="11"/>
                    </a:lnTo>
                    <a:lnTo>
                      <a:pt x="325" y="11"/>
                    </a:lnTo>
                    <a:lnTo>
                      <a:pt x="329" y="11"/>
                    </a:lnTo>
                    <a:lnTo>
                      <a:pt x="329" y="11"/>
                    </a:lnTo>
                    <a:lnTo>
                      <a:pt x="336" y="13"/>
                    </a:lnTo>
                    <a:lnTo>
                      <a:pt x="338" y="15"/>
                    </a:lnTo>
                    <a:lnTo>
                      <a:pt x="341" y="18"/>
                    </a:lnTo>
                    <a:lnTo>
                      <a:pt x="341" y="21"/>
                    </a:lnTo>
                    <a:lnTo>
                      <a:pt x="341" y="23"/>
                    </a:lnTo>
                    <a:lnTo>
                      <a:pt x="341" y="25"/>
                    </a:lnTo>
                    <a:lnTo>
                      <a:pt x="341" y="25"/>
                    </a:lnTo>
                    <a:lnTo>
                      <a:pt x="341" y="30"/>
                    </a:lnTo>
                    <a:lnTo>
                      <a:pt x="341" y="34"/>
                    </a:lnTo>
                    <a:lnTo>
                      <a:pt x="338" y="40"/>
                    </a:lnTo>
                    <a:lnTo>
                      <a:pt x="338" y="40"/>
                    </a:lnTo>
                    <a:lnTo>
                      <a:pt x="337" y="42"/>
                    </a:lnTo>
                    <a:lnTo>
                      <a:pt x="337" y="42"/>
                    </a:lnTo>
                    <a:lnTo>
                      <a:pt x="337" y="42"/>
                    </a:lnTo>
                    <a:lnTo>
                      <a:pt x="337" y="42"/>
                    </a:lnTo>
                    <a:lnTo>
                      <a:pt x="341" y="43"/>
                    </a:lnTo>
                    <a:lnTo>
                      <a:pt x="344" y="47"/>
                    </a:lnTo>
                    <a:lnTo>
                      <a:pt x="342" y="54"/>
                    </a:lnTo>
                    <a:lnTo>
                      <a:pt x="342" y="54"/>
                    </a:lnTo>
                    <a:lnTo>
                      <a:pt x="340" y="59"/>
                    </a:lnTo>
                    <a:lnTo>
                      <a:pt x="338" y="63"/>
                    </a:lnTo>
                    <a:lnTo>
                      <a:pt x="338" y="67"/>
                    </a:lnTo>
                    <a:lnTo>
                      <a:pt x="340" y="68"/>
                    </a:lnTo>
                    <a:lnTo>
                      <a:pt x="340" y="70"/>
                    </a:lnTo>
                    <a:lnTo>
                      <a:pt x="340" y="70"/>
                    </a:lnTo>
                    <a:lnTo>
                      <a:pt x="341" y="76"/>
                    </a:lnTo>
                    <a:lnTo>
                      <a:pt x="341" y="76"/>
                    </a:lnTo>
                    <a:lnTo>
                      <a:pt x="342" y="83"/>
                    </a:lnTo>
                    <a:lnTo>
                      <a:pt x="342" y="87"/>
                    </a:lnTo>
                    <a:lnTo>
                      <a:pt x="341" y="91"/>
                    </a:lnTo>
                    <a:lnTo>
                      <a:pt x="340" y="93"/>
                    </a:lnTo>
                    <a:lnTo>
                      <a:pt x="340" y="93"/>
                    </a:lnTo>
                    <a:lnTo>
                      <a:pt x="341" y="93"/>
                    </a:lnTo>
                    <a:lnTo>
                      <a:pt x="341" y="93"/>
                    </a:lnTo>
                    <a:lnTo>
                      <a:pt x="340" y="100"/>
                    </a:lnTo>
                    <a:lnTo>
                      <a:pt x="340" y="100"/>
                    </a:lnTo>
                    <a:lnTo>
                      <a:pt x="341" y="100"/>
                    </a:lnTo>
                    <a:lnTo>
                      <a:pt x="341" y="100"/>
                    </a:lnTo>
                    <a:lnTo>
                      <a:pt x="344" y="100"/>
                    </a:lnTo>
                    <a:lnTo>
                      <a:pt x="344" y="100"/>
                    </a:lnTo>
                    <a:lnTo>
                      <a:pt x="345" y="100"/>
                    </a:lnTo>
                    <a:lnTo>
                      <a:pt x="345" y="100"/>
                    </a:lnTo>
                    <a:lnTo>
                      <a:pt x="348" y="100"/>
                    </a:lnTo>
                    <a:lnTo>
                      <a:pt x="353" y="107"/>
                    </a:lnTo>
                    <a:lnTo>
                      <a:pt x="353" y="107"/>
                    </a:lnTo>
                    <a:lnTo>
                      <a:pt x="353" y="109"/>
                    </a:lnTo>
                    <a:lnTo>
                      <a:pt x="354" y="109"/>
                    </a:lnTo>
                    <a:lnTo>
                      <a:pt x="354" y="109"/>
                    </a:lnTo>
                    <a:lnTo>
                      <a:pt x="357" y="107"/>
                    </a:lnTo>
                    <a:lnTo>
                      <a:pt x="361" y="105"/>
                    </a:lnTo>
                    <a:lnTo>
                      <a:pt x="361" y="105"/>
                    </a:lnTo>
                    <a:lnTo>
                      <a:pt x="361" y="105"/>
                    </a:lnTo>
                    <a:lnTo>
                      <a:pt x="361" y="105"/>
                    </a:lnTo>
                    <a:lnTo>
                      <a:pt x="365" y="105"/>
                    </a:lnTo>
                    <a:lnTo>
                      <a:pt x="367" y="108"/>
                    </a:lnTo>
                    <a:lnTo>
                      <a:pt x="367" y="108"/>
                    </a:lnTo>
                    <a:lnTo>
                      <a:pt x="367" y="108"/>
                    </a:lnTo>
                    <a:lnTo>
                      <a:pt x="367" y="108"/>
                    </a:lnTo>
                    <a:lnTo>
                      <a:pt x="371" y="107"/>
                    </a:lnTo>
                    <a:lnTo>
                      <a:pt x="371" y="107"/>
                    </a:lnTo>
                    <a:lnTo>
                      <a:pt x="374" y="108"/>
                    </a:lnTo>
                    <a:lnTo>
                      <a:pt x="377" y="109"/>
                    </a:lnTo>
                    <a:lnTo>
                      <a:pt x="379" y="112"/>
                    </a:lnTo>
                    <a:lnTo>
                      <a:pt x="381" y="117"/>
                    </a:lnTo>
                    <a:lnTo>
                      <a:pt x="381" y="120"/>
                    </a:lnTo>
                    <a:lnTo>
                      <a:pt x="381" y="120"/>
                    </a:lnTo>
                    <a:lnTo>
                      <a:pt x="381" y="121"/>
                    </a:lnTo>
                    <a:lnTo>
                      <a:pt x="381" y="121"/>
                    </a:lnTo>
                    <a:lnTo>
                      <a:pt x="381" y="121"/>
                    </a:lnTo>
                    <a:lnTo>
                      <a:pt x="385" y="121"/>
                    </a:lnTo>
                    <a:lnTo>
                      <a:pt x="389" y="118"/>
                    </a:lnTo>
                    <a:lnTo>
                      <a:pt x="390" y="118"/>
                    </a:lnTo>
                    <a:lnTo>
                      <a:pt x="390" y="118"/>
                    </a:lnTo>
                    <a:lnTo>
                      <a:pt x="391" y="118"/>
                    </a:lnTo>
                    <a:lnTo>
                      <a:pt x="391" y="118"/>
                    </a:lnTo>
                    <a:lnTo>
                      <a:pt x="390" y="120"/>
                    </a:lnTo>
                    <a:lnTo>
                      <a:pt x="390" y="121"/>
                    </a:lnTo>
                    <a:lnTo>
                      <a:pt x="395" y="116"/>
                    </a:lnTo>
                    <a:lnTo>
                      <a:pt x="398" y="116"/>
                    </a:lnTo>
                    <a:lnTo>
                      <a:pt x="403" y="122"/>
                    </a:lnTo>
                    <a:lnTo>
                      <a:pt x="403" y="124"/>
                    </a:lnTo>
                    <a:lnTo>
                      <a:pt x="403" y="124"/>
                    </a:lnTo>
                    <a:lnTo>
                      <a:pt x="406" y="126"/>
                    </a:lnTo>
                    <a:lnTo>
                      <a:pt x="406" y="129"/>
                    </a:lnTo>
                    <a:lnTo>
                      <a:pt x="406" y="129"/>
                    </a:lnTo>
                    <a:lnTo>
                      <a:pt x="407" y="133"/>
                    </a:lnTo>
                    <a:lnTo>
                      <a:pt x="406" y="136"/>
                    </a:lnTo>
                    <a:lnTo>
                      <a:pt x="403" y="138"/>
                    </a:lnTo>
                    <a:lnTo>
                      <a:pt x="403" y="138"/>
                    </a:lnTo>
                    <a:lnTo>
                      <a:pt x="403" y="138"/>
                    </a:lnTo>
                    <a:lnTo>
                      <a:pt x="403" y="138"/>
                    </a:lnTo>
                    <a:lnTo>
                      <a:pt x="403" y="138"/>
                    </a:lnTo>
                    <a:lnTo>
                      <a:pt x="398" y="142"/>
                    </a:lnTo>
                    <a:lnTo>
                      <a:pt x="398" y="138"/>
                    </a:lnTo>
                    <a:lnTo>
                      <a:pt x="398" y="138"/>
                    </a:lnTo>
                    <a:lnTo>
                      <a:pt x="398" y="138"/>
                    </a:lnTo>
                    <a:lnTo>
                      <a:pt x="398" y="138"/>
                    </a:lnTo>
                    <a:lnTo>
                      <a:pt x="396" y="137"/>
                    </a:lnTo>
                    <a:lnTo>
                      <a:pt x="396" y="138"/>
                    </a:lnTo>
                    <a:lnTo>
                      <a:pt x="394" y="142"/>
                    </a:lnTo>
                    <a:lnTo>
                      <a:pt x="394" y="142"/>
                    </a:lnTo>
                    <a:lnTo>
                      <a:pt x="396" y="140"/>
                    </a:lnTo>
                    <a:lnTo>
                      <a:pt x="396" y="142"/>
                    </a:lnTo>
                    <a:lnTo>
                      <a:pt x="394" y="142"/>
                    </a:lnTo>
                    <a:lnTo>
                      <a:pt x="394" y="144"/>
                    </a:lnTo>
                    <a:lnTo>
                      <a:pt x="394" y="144"/>
                    </a:lnTo>
                    <a:lnTo>
                      <a:pt x="394" y="144"/>
                    </a:lnTo>
                    <a:lnTo>
                      <a:pt x="394" y="144"/>
                    </a:lnTo>
                    <a:lnTo>
                      <a:pt x="394" y="145"/>
                    </a:lnTo>
                    <a:lnTo>
                      <a:pt x="394" y="145"/>
                    </a:lnTo>
                    <a:lnTo>
                      <a:pt x="394" y="146"/>
                    </a:lnTo>
                    <a:lnTo>
                      <a:pt x="395" y="148"/>
                    </a:lnTo>
                    <a:lnTo>
                      <a:pt x="398" y="149"/>
                    </a:lnTo>
                    <a:lnTo>
                      <a:pt x="400" y="150"/>
                    </a:lnTo>
                    <a:lnTo>
                      <a:pt x="402" y="150"/>
                    </a:lnTo>
                    <a:lnTo>
                      <a:pt x="403" y="152"/>
                    </a:lnTo>
                    <a:lnTo>
                      <a:pt x="403" y="152"/>
                    </a:lnTo>
                    <a:lnTo>
                      <a:pt x="406" y="153"/>
                    </a:lnTo>
                    <a:lnTo>
                      <a:pt x="408" y="154"/>
                    </a:lnTo>
                    <a:lnTo>
                      <a:pt x="410" y="159"/>
                    </a:lnTo>
                    <a:lnTo>
                      <a:pt x="411" y="159"/>
                    </a:lnTo>
                    <a:lnTo>
                      <a:pt x="410" y="161"/>
                    </a:lnTo>
                    <a:lnTo>
                      <a:pt x="414" y="159"/>
                    </a:lnTo>
                    <a:lnTo>
                      <a:pt x="414" y="159"/>
                    </a:lnTo>
                    <a:lnTo>
                      <a:pt x="416" y="161"/>
                    </a:lnTo>
                    <a:lnTo>
                      <a:pt x="418" y="163"/>
                    </a:lnTo>
                    <a:lnTo>
                      <a:pt x="419" y="166"/>
                    </a:lnTo>
                    <a:lnTo>
                      <a:pt x="419" y="167"/>
                    </a:lnTo>
                    <a:lnTo>
                      <a:pt x="419" y="169"/>
                    </a:lnTo>
                    <a:lnTo>
                      <a:pt x="419" y="169"/>
                    </a:lnTo>
                    <a:lnTo>
                      <a:pt x="424" y="170"/>
                    </a:lnTo>
                    <a:lnTo>
                      <a:pt x="424" y="170"/>
                    </a:lnTo>
                    <a:lnTo>
                      <a:pt x="430" y="169"/>
                    </a:lnTo>
                    <a:lnTo>
                      <a:pt x="431" y="169"/>
                    </a:lnTo>
                    <a:lnTo>
                      <a:pt x="431" y="169"/>
                    </a:lnTo>
                    <a:lnTo>
                      <a:pt x="435" y="167"/>
                    </a:lnTo>
                    <a:lnTo>
                      <a:pt x="437" y="167"/>
                    </a:lnTo>
                    <a:lnTo>
                      <a:pt x="437" y="167"/>
                    </a:lnTo>
                    <a:lnTo>
                      <a:pt x="437" y="167"/>
                    </a:lnTo>
                    <a:lnTo>
                      <a:pt x="440" y="167"/>
                    </a:lnTo>
                    <a:lnTo>
                      <a:pt x="440" y="167"/>
                    </a:lnTo>
                    <a:lnTo>
                      <a:pt x="444" y="167"/>
                    </a:lnTo>
                    <a:lnTo>
                      <a:pt x="448" y="169"/>
                    </a:lnTo>
                    <a:lnTo>
                      <a:pt x="449" y="169"/>
                    </a:lnTo>
                    <a:lnTo>
                      <a:pt x="449" y="169"/>
                    </a:lnTo>
                    <a:lnTo>
                      <a:pt x="449" y="163"/>
                    </a:lnTo>
                    <a:lnTo>
                      <a:pt x="451" y="159"/>
                    </a:lnTo>
                    <a:lnTo>
                      <a:pt x="453" y="158"/>
                    </a:lnTo>
                    <a:lnTo>
                      <a:pt x="453" y="158"/>
                    </a:lnTo>
                    <a:lnTo>
                      <a:pt x="453" y="161"/>
                    </a:lnTo>
                    <a:lnTo>
                      <a:pt x="457" y="157"/>
                    </a:lnTo>
                    <a:lnTo>
                      <a:pt x="457" y="157"/>
                    </a:lnTo>
                    <a:lnTo>
                      <a:pt x="457" y="157"/>
                    </a:lnTo>
                    <a:lnTo>
                      <a:pt x="457" y="157"/>
                    </a:lnTo>
                    <a:lnTo>
                      <a:pt x="459" y="156"/>
                    </a:lnTo>
                    <a:lnTo>
                      <a:pt x="460" y="156"/>
                    </a:lnTo>
                    <a:lnTo>
                      <a:pt x="467" y="162"/>
                    </a:lnTo>
                    <a:lnTo>
                      <a:pt x="467" y="162"/>
                    </a:lnTo>
                    <a:lnTo>
                      <a:pt x="465" y="158"/>
                    </a:lnTo>
                    <a:lnTo>
                      <a:pt x="465" y="158"/>
                    </a:lnTo>
                    <a:lnTo>
                      <a:pt x="463" y="158"/>
                    </a:lnTo>
                    <a:lnTo>
                      <a:pt x="461" y="157"/>
                    </a:lnTo>
                    <a:lnTo>
                      <a:pt x="461" y="157"/>
                    </a:lnTo>
                    <a:lnTo>
                      <a:pt x="463" y="157"/>
                    </a:lnTo>
                    <a:lnTo>
                      <a:pt x="463" y="157"/>
                    </a:lnTo>
                    <a:lnTo>
                      <a:pt x="465" y="157"/>
                    </a:lnTo>
                    <a:lnTo>
                      <a:pt x="465" y="157"/>
                    </a:lnTo>
                    <a:lnTo>
                      <a:pt x="467" y="157"/>
                    </a:lnTo>
                    <a:lnTo>
                      <a:pt x="467" y="157"/>
                    </a:lnTo>
                    <a:lnTo>
                      <a:pt x="468" y="157"/>
                    </a:lnTo>
                    <a:lnTo>
                      <a:pt x="468" y="157"/>
                    </a:lnTo>
                    <a:lnTo>
                      <a:pt x="474" y="158"/>
                    </a:lnTo>
                    <a:lnTo>
                      <a:pt x="478" y="159"/>
                    </a:lnTo>
                    <a:lnTo>
                      <a:pt x="478" y="159"/>
                    </a:lnTo>
                    <a:lnTo>
                      <a:pt x="480" y="161"/>
                    </a:lnTo>
                    <a:lnTo>
                      <a:pt x="480" y="161"/>
                    </a:lnTo>
                    <a:lnTo>
                      <a:pt x="484" y="158"/>
                    </a:lnTo>
                    <a:lnTo>
                      <a:pt x="490" y="161"/>
                    </a:lnTo>
                    <a:lnTo>
                      <a:pt x="490" y="161"/>
                    </a:lnTo>
                    <a:lnTo>
                      <a:pt x="492" y="161"/>
                    </a:lnTo>
                    <a:lnTo>
                      <a:pt x="492" y="161"/>
                    </a:lnTo>
                    <a:lnTo>
                      <a:pt x="494" y="162"/>
                    </a:lnTo>
                    <a:lnTo>
                      <a:pt x="494" y="162"/>
                    </a:lnTo>
                    <a:lnTo>
                      <a:pt x="498" y="163"/>
                    </a:lnTo>
                    <a:lnTo>
                      <a:pt x="501" y="165"/>
                    </a:lnTo>
                    <a:lnTo>
                      <a:pt x="501" y="165"/>
                    </a:lnTo>
                    <a:lnTo>
                      <a:pt x="502" y="165"/>
                    </a:lnTo>
                    <a:lnTo>
                      <a:pt x="506" y="163"/>
                    </a:lnTo>
                    <a:lnTo>
                      <a:pt x="506" y="163"/>
                    </a:lnTo>
                    <a:lnTo>
                      <a:pt x="506" y="156"/>
                    </a:lnTo>
                    <a:lnTo>
                      <a:pt x="506" y="153"/>
                    </a:lnTo>
                    <a:lnTo>
                      <a:pt x="506" y="153"/>
                    </a:lnTo>
                    <a:lnTo>
                      <a:pt x="510" y="149"/>
                    </a:lnTo>
                    <a:lnTo>
                      <a:pt x="514" y="149"/>
                    </a:lnTo>
                    <a:lnTo>
                      <a:pt x="514" y="149"/>
                    </a:lnTo>
                    <a:lnTo>
                      <a:pt x="518" y="149"/>
                    </a:lnTo>
                    <a:lnTo>
                      <a:pt x="518" y="149"/>
                    </a:lnTo>
                    <a:lnTo>
                      <a:pt x="518" y="149"/>
                    </a:lnTo>
                    <a:lnTo>
                      <a:pt x="518" y="149"/>
                    </a:lnTo>
                    <a:lnTo>
                      <a:pt x="518" y="149"/>
                    </a:lnTo>
                    <a:lnTo>
                      <a:pt x="518" y="148"/>
                    </a:lnTo>
                    <a:lnTo>
                      <a:pt x="523" y="142"/>
                    </a:lnTo>
                    <a:lnTo>
                      <a:pt x="523" y="142"/>
                    </a:lnTo>
                    <a:lnTo>
                      <a:pt x="521" y="144"/>
                    </a:lnTo>
                    <a:lnTo>
                      <a:pt x="519" y="145"/>
                    </a:lnTo>
                    <a:lnTo>
                      <a:pt x="519" y="145"/>
                    </a:lnTo>
                    <a:lnTo>
                      <a:pt x="519" y="145"/>
                    </a:lnTo>
                    <a:lnTo>
                      <a:pt x="519" y="145"/>
                    </a:lnTo>
                    <a:lnTo>
                      <a:pt x="519" y="142"/>
                    </a:lnTo>
                    <a:lnTo>
                      <a:pt x="527" y="137"/>
                    </a:lnTo>
                    <a:lnTo>
                      <a:pt x="527" y="137"/>
                    </a:lnTo>
                    <a:lnTo>
                      <a:pt x="526" y="137"/>
                    </a:lnTo>
                    <a:lnTo>
                      <a:pt x="527" y="136"/>
                    </a:lnTo>
                    <a:lnTo>
                      <a:pt x="527" y="136"/>
                    </a:lnTo>
                    <a:lnTo>
                      <a:pt x="527" y="136"/>
                    </a:lnTo>
                    <a:lnTo>
                      <a:pt x="529" y="136"/>
                    </a:lnTo>
                    <a:lnTo>
                      <a:pt x="529" y="136"/>
                    </a:lnTo>
                    <a:lnTo>
                      <a:pt x="529" y="136"/>
                    </a:lnTo>
                    <a:lnTo>
                      <a:pt x="529" y="136"/>
                    </a:lnTo>
                    <a:lnTo>
                      <a:pt x="533" y="132"/>
                    </a:lnTo>
                    <a:lnTo>
                      <a:pt x="533" y="132"/>
                    </a:lnTo>
                    <a:lnTo>
                      <a:pt x="538" y="128"/>
                    </a:lnTo>
                    <a:lnTo>
                      <a:pt x="539" y="126"/>
                    </a:lnTo>
                    <a:lnTo>
                      <a:pt x="539" y="126"/>
                    </a:lnTo>
                    <a:lnTo>
                      <a:pt x="541" y="126"/>
                    </a:lnTo>
                    <a:lnTo>
                      <a:pt x="541" y="126"/>
                    </a:lnTo>
                    <a:lnTo>
                      <a:pt x="545" y="122"/>
                    </a:lnTo>
                    <a:lnTo>
                      <a:pt x="550" y="120"/>
                    </a:lnTo>
                    <a:lnTo>
                      <a:pt x="551" y="120"/>
                    </a:lnTo>
                    <a:lnTo>
                      <a:pt x="554" y="120"/>
                    </a:lnTo>
                    <a:lnTo>
                      <a:pt x="559" y="122"/>
                    </a:lnTo>
                    <a:lnTo>
                      <a:pt x="559" y="122"/>
                    </a:lnTo>
                    <a:lnTo>
                      <a:pt x="560" y="126"/>
                    </a:lnTo>
                    <a:lnTo>
                      <a:pt x="560" y="130"/>
                    </a:lnTo>
                    <a:lnTo>
                      <a:pt x="558" y="136"/>
                    </a:lnTo>
                    <a:lnTo>
                      <a:pt x="558" y="136"/>
                    </a:lnTo>
                    <a:lnTo>
                      <a:pt x="558" y="137"/>
                    </a:lnTo>
                    <a:lnTo>
                      <a:pt x="558" y="137"/>
                    </a:lnTo>
                    <a:lnTo>
                      <a:pt x="560" y="140"/>
                    </a:lnTo>
                    <a:lnTo>
                      <a:pt x="562" y="142"/>
                    </a:lnTo>
                    <a:lnTo>
                      <a:pt x="562" y="145"/>
                    </a:lnTo>
                    <a:lnTo>
                      <a:pt x="562" y="145"/>
                    </a:lnTo>
                    <a:lnTo>
                      <a:pt x="563" y="148"/>
                    </a:lnTo>
                    <a:lnTo>
                      <a:pt x="563" y="148"/>
                    </a:lnTo>
                    <a:lnTo>
                      <a:pt x="568" y="153"/>
                    </a:lnTo>
                    <a:lnTo>
                      <a:pt x="570" y="157"/>
                    </a:lnTo>
                    <a:lnTo>
                      <a:pt x="571" y="161"/>
                    </a:lnTo>
                    <a:lnTo>
                      <a:pt x="571" y="161"/>
                    </a:lnTo>
                    <a:lnTo>
                      <a:pt x="572" y="161"/>
                    </a:lnTo>
                    <a:lnTo>
                      <a:pt x="572" y="161"/>
                    </a:lnTo>
                    <a:lnTo>
                      <a:pt x="575" y="161"/>
                    </a:lnTo>
                    <a:lnTo>
                      <a:pt x="576" y="161"/>
                    </a:lnTo>
                    <a:lnTo>
                      <a:pt x="576" y="161"/>
                    </a:lnTo>
                    <a:lnTo>
                      <a:pt x="582" y="162"/>
                    </a:lnTo>
                    <a:lnTo>
                      <a:pt x="586" y="163"/>
                    </a:lnTo>
                    <a:lnTo>
                      <a:pt x="586" y="163"/>
                    </a:lnTo>
                    <a:lnTo>
                      <a:pt x="589" y="165"/>
                    </a:lnTo>
                    <a:lnTo>
                      <a:pt x="593" y="166"/>
                    </a:lnTo>
                    <a:lnTo>
                      <a:pt x="593" y="166"/>
                    </a:lnTo>
                    <a:lnTo>
                      <a:pt x="593" y="166"/>
                    </a:lnTo>
                    <a:lnTo>
                      <a:pt x="597" y="166"/>
                    </a:lnTo>
                    <a:lnTo>
                      <a:pt x="599" y="166"/>
                    </a:lnTo>
                    <a:lnTo>
                      <a:pt x="599" y="166"/>
                    </a:lnTo>
                    <a:lnTo>
                      <a:pt x="601" y="165"/>
                    </a:lnTo>
                    <a:lnTo>
                      <a:pt x="605" y="163"/>
                    </a:lnTo>
                    <a:lnTo>
                      <a:pt x="605" y="163"/>
                    </a:lnTo>
                    <a:lnTo>
                      <a:pt x="608" y="163"/>
                    </a:lnTo>
                    <a:lnTo>
                      <a:pt x="609" y="163"/>
                    </a:lnTo>
                    <a:lnTo>
                      <a:pt x="615" y="166"/>
                    </a:lnTo>
                    <a:lnTo>
                      <a:pt x="615" y="166"/>
                    </a:lnTo>
                    <a:lnTo>
                      <a:pt x="617" y="169"/>
                    </a:lnTo>
                    <a:lnTo>
                      <a:pt x="621" y="174"/>
                    </a:lnTo>
                    <a:lnTo>
                      <a:pt x="621" y="175"/>
                    </a:lnTo>
                    <a:lnTo>
                      <a:pt x="621" y="175"/>
                    </a:lnTo>
                    <a:lnTo>
                      <a:pt x="621" y="175"/>
                    </a:lnTo>
                    <a:lnTo>
                      <a:pt x="625" y="177"/>
                    </a:lnTo>
                    <a:lnTo>
                      <a:pt x="625" y="177"/>
                    </a:lnTo>
                    <a:lnTo>
                      <a:pt x="623" y="177"/>
                    </a:lnTo>
                    <a:lnTo>
                      <a:pt x="628" y="181"/>
                    </a:lnTo>
                    <a:lnTo>
                      <a:pt x="628" y="181"/>
                    </a:lnTo>
                    <a:lnTo>
                      <a:pt x="627" y="178"/>
                    </a:lnTo>
                    <a:lnTo>
                      <a:pt x="625" y="177"/>
                    </a:lnTo>
                    <a:lnTo>
                      <a:pt x="625" y="177"/>
                    </a:lnTo>
                    <a:lnTo>
                      <a:pt x="625" y="177"/>
                    </a:lnTo>
                    <a:lnTo>
                      <a:pt x="627" y="178"/>
                    </a:lnTo>
                    <a:lnTo>
                      <a:pt x="632" y="185"/>
                    </a:lnTo>
                    <a:lnTo>
                      <a:pt x="632" y="185"/>
                    </a:lnTo>
                    <a:lnTo>
                      <a:pt x="632" y="187"/>
                    </a:lnTo>
                    <a:lnTo>
                      <a:pt x="633" y="186"/>
                    </a:lnTo>
                    <a:lnTo>
                      <a:pt x="636" y="186"/>
                    </a:lnTo>
                    <a:lnTo>
                      <a:pt x="637" y="186"/>
                    </a:lnTo>
                    <a:lnTo>
                      <a:pt x="637" y="186"/>
                    </a:lnTo>
                    <a:lnTo>
                      <a:pt x="644" y="187"/>
                    </a:lnTo>
                    <a:lnTo>
                      <a:pt x="644" y="187"/>
                    </a:lnTo>
                    <a:lnTo>
                      <a:pt x="649" y="187"/>
                    </a:lnTo>
                    <a:lnTo>
                      <a:pt x="656" y="190"/>
                    </a:lnTo>
                    <a:lnTo>
                      <a:pt x="658" y="195"/>
                    </a:lnTo>
                    <a:lnTo>
                      <a:pt x="658" y="195"/>
                    </a:lnTo>
                    <a:lnTo>
                      <a:pt x="658" y="195"/>
                    </a:lnTo>
                    <a:lnTo>
                      <a:pt x="660" y="196"/>
                    </a:lnTo>
                    <a:lnTo>
                      <a:pt x="662" y="195"/>
                    </a:lnTo>
                    <a:lnTo>
                      <a:pt x="665" y="195"/>
                    </a:lnTo>
                    <a:lnTo>
                      <a:pt x="670" y="199"/>
                    </a:lnTo>
                    <a:lnTo>
                      <a:pt x="670" y="199"/>
                    </a:lnTo>
                    <a:lnTo>
                      <a:pt x="670" y="203"/>
                    </a:lnTo>
                    <a:lnTo>
                      <a:pt x="669" y="206"/>
                    </a:lnTo>
                    <a:lnTo>
                      <a:pt x="667" y="208"/>
                    </a:lnTo>
                    <a:lnTo>
                      <a:pt x="667" y="208"/>
                    </a:lnTo>
                    <a:lnTo>
                      <a:pt x="667" y="208"/>
                    </a:lnTo>
                    <a:lnTo>
                      <a:pt x="665" y="212"/>
                    </a:lnTo>
                    <a:lnTo>
                      <a:pt x="661" y="214"/>
                    </a:lnTo>
                    <a:lnTo>
                      <a:pt x="661" y="214"/>
                    </a:lnTo>
                    <a:lnTo>
                      <a:pt x="657" y="212"/>
                    </a:lnTo>
                    <a:lnTo>
                      <a:pt x="657" y="212"/>
                    </a:lnTo>
                    <a:lnTo>
                      <a:pt x="657" y="212"/>
                    </a:lnTo>
                    <a:lnTo>
                      <a:pt x="657" y="212"/>
                    </a:lnTo>
                    <a:lnTo>
                      <a:pt x="657" y="212"/>
                    </a:lnTo>
                    <a:lnTo>
                      <a:pt x="657" y="212"/>
                    </a:lnTo>
                    <a:lnTo>
                      <a:pt x="657" y="212"/>
                    </a:lnTo>
                    <a:lnTo>
                      <a:pt x="657" y="212"/>
                    </a:lnTo>
                    <a:lnTo>
                      <a:pt x="657" y="212"/>
                    </a:lnTo>
                    <a:lnTo>
                      <a:pt x="657" y="212"/>
                    </a:lnTo>
                    <a:lnTo>
                      <a:pt x="657" y="212"/>
                    </a:lnTo>
                    <a:lnTo>
                      <a:pt x="657" y="212"/>
                    </a:lnTo>
                    <a:lnTo>
                      <a:pt x="656" y="212"/>
                    </a:lnTo>
                    <a:lnTo>
                      <a:pt x="654" y="214"/>
                    </a:lnTo>
                    <a:lnTo>
                      <a:pt x="654" y="214"/>
                    </a:lnTo>
                    <a:lnTo>
                      <a:pt x="654" y="214"/>
                    </a:lnTo>
                    <a:lnTo>
                      <a:pt x="653" y="215"/>
                    </a:lnTo>
                    <a:lnTo>
                      <a:pt x="653" y="215"/>
                    </a:lnTo>
                    <a:lnTo>
                      <a:pt x="652" y="216"/>
                    </a:lnTo>
                    <a:lnTo>
                      <a:pt x="652" y="215"/>
                    </a:lnTo>
                    <a:lnTo>
                      <a:pt x="649" y="216"/>
                    </a:lnTo>
                    <a:lnTo>
                      <a:pt x="649" y="216"/>
                    </a:lnTo>
                    <a:lnTo>
                      <a:pt x="646" y="216"/>
                    </a:lnTo>
                    <a:lnTo>
                      <a:pt x="646" y="216"/>
                    </a:lnTo>
                    <a:lnTo>
                      <a:pt x="645" y="218"/>
                    </a:lnTo>
                    <a:lnTo>
                      <a:pt x="645" y="222"/>
                    </a:lnTo>
                    <a:lnTo>
                      <a:pt x="645" y="223"/>
                    </a:lnTo>
                    <a:lnTo>
                      <a:pt x="645" y="223"/>
                    </a:lnTo>
                    <a:lnTo>
                      <a:pt x="646" y="226"/>
                    </a:lnTo>
                    <a:lnTo>
                      <a:pt x="648" y="228"/>
                    </a:lnTo>
                    <a:lnTo>
                      <a:pt x="654" y="235"/>
                    </a:lnTo>
                    <a:lnTo>
                      <a:pt x="654" y="235"/>
                    </a:lnTo>
                    <a:lnTo>
                      <a:pt x="662" y="243"/>
                    </a:lnTo>
                    <a:lnTo>
                      <a:pt x="665" y="247"/>
                    </a:lnTo>
                    <a:lnTo>
                      <a:pt x="667" y="252"/>
                    </a:lnTo>
                    <a:lnTo>
                      <a:pt x="667" y="255"/>
                    </a:lnTo>
                    <a:lnTo>
                      <a:pt x="667" y="256"/>
                    </a:lnTo>
                    <a:lnTo>
                      <a:pt x="667" y="256"/>
                    </a:lnTo>
                    <a:lnTo>
                      <a:pt x="667" y="256"/>
                    </a:lnTo>
                    <a:lnTo>
                      <a:pt x="667" y="256"/>
                    </a:lnTo>
                    <a:lnTo>
                      <a:pt x="667" y="256"/>
                    </a:lnTo>
                    <a:lnTo>
                      <a:pt x="670" y="260"/>
                    </a:lnTo>
                    <a:lnTo>
                      <a:pt x="670" y="260"/>
                    </a:lnTo>
                    <a:lnTo>
                      <a:pt x="669" y="257"/>
                    </a:lnTo>
                    <a:lnTo>
                      <a:pt x="669" y="257"/>
                    </a:lnTo>
                    <a:lnTo>
                      <a:pt x="670" y="260"/>
                    </a:lnTo>
                    <a:lnTo>
                      <a:pt x="671" y="264"/>
                    </a:lnTo>
                    <a:lnTo>
                      <a:pt x="671" y="265"/>
                    </a:lnTo>
                    <a:lnTo>
                      <a:pt x="671" y="265"/>
                    </a:lnTo>
                    <a:lnTo>
                      <a:pt x="671" y="267"/>
                    </a:lnTo>
                    <a:lnTo>
                      <a:pt x="671" y="267"/>
                    </a:lnTo>
                    <a:lnTo>
                      <a:pt x="670" y="265"/>
                    </a:lnTo>
                    <a:lnTo>
                      <a:pt x="674" y="271"/>
                    </a:lnTo>
                    <a:lnTo>
                      <a:pt x="674" y="271"/>
                    </a:lnTo>
                    <a:lnTo>
                      <a:pt x="674" y="271"/>
                    </a:lnTo>
                    <a:lnTo>
                      <a:pt x="674" y="271"/>
                    </a:lnTo>
                    <a:lnTo>
                      <a:pt x="674" y="271"/>
                    </a:lnTo>
                    <a:lnTo>
                      <a:pt x="674" y="272"/>
                    </a:lnTo>
                    <a:lnTo>
                      <a:pt x="674" y="272"/>
                    </a:lnTo>
                    <a:lnTo>
                      <a:pt x="674" y="273"/>
                    </a:lnTo>
                    <a:lnTo>
                      <a:pt x="674" y="273"/>
                    </a:lnTo>
                    <a:lnTo>
                      <a:pt x="675" y="276"/>
                    </a:lnTo>
                    <a:lnTo>
                      <a:pt x="678" y="281"/>
                    </a:lnTo>
                    <a:lnTo>
                      <a:pt x="678" y="282"/>
                    </a:lnTo>
                    <a:lnTo>
                      <a:pt x="678" y="282"/>
                    </a:lnTo>
                    <a:lnTo>
                      <a:pt x="678" y="282"/>
                    </a:lnTo>
                    <a:lnTo>
                      <a:pt x="678" y="282"/>
                    </a:lnTo>
                    <a:lnTo>
                      <a:pt x="677" y="282"/>
                    </a:lnTo>
                    <a:lnTo>
                      <a:pt x="681" y="288"/>
                    </a:lnTo>
                    <a:lnTo>
                      <a:pt x="681" y="289"/>
                    </a:lnTo>
                    <a:lnTo>
                      <a:pt x="681" y="289"/>
                    </a:lnTo>
                    <a:lnTo>
                      <a:pt x="681" y="289"/>
                    </a:lnTo>
                    <a:lnTo>
                      <a:pt x="681" y="289"/>
                    </a:lnTo>
                    <a:lnTo>
                      <a:pt x="679" y="288"/>
                    </a:lnTo>
                    <a:lnTo>
                      <a:pt x="683" y="293"/>
                    </a:lnTo>
                    <a:lnTo>
                      <a:pt x="683" y="293"/>
                    </a:lnTo>
                    <a:lnTo>
                      <a:pt x="682" y="290"/>
                    </a:lnTo>
                    <a:lnTo>
                      <a:pt x="682" y="290"/>
                    </a:lnTo>
                    <a:lnTo>
                      <a:pt x="683" y="293"/>
                    </a:lnTo>
                    <a:lnTo>
                      <a:pt x="685" y="297"/>
                    </a:lnTo>
                    <a:lnTo>
                      <a:pt x="685" y="298"/>
                    </a:lnTo>
                    <a:lnTo>
                      <a:pt x="685" y="298"/>
                    </a:lnTo>
                    <a:lnTo>
                      <a:pt x="685" y="300"/>
                    </a:lnTo>
                    <a:lnTo>
                      <a:pt x="685" y="300"/>
                    </a:lnTo>
                    <a:lnTo>
                      <a:pt x="683" y="298"/>
                    </a:lnTo>
                    <a:lnTo>
                      <a:pt x="687" y="304"/>
                    </a:lnTo>
                    <a:lnTo>
                      <a:pt x="687" y="305"/>
                    </a:lnTo>
                    <a:lnTo>
                      <a:pt x="687" y="305"/>
                    </a:lnTo>
                    <a:lnTo>
                      <a:pt x="687" y="306"/>
                    </a:lnTo>
                    <a:lnTo>
                      <a:pt x="687" y="306"/>
                    </a:lnTo>
                    <a:lnTo>
                      <a:pt x="686" y="305"/>
                    </a:lnTo>
                    <a:lnTo>
                      <a:pt x="689" y="310"/>
                    </a:lnTo>
                    <a:lnTo>
                      <a:pt x="689" y="312"/>
                    </a:lnTo>
                    <a:lnTo>
                      <a:pt x="689" y="312"/>
                    </a:lnTo>
                    <a:lnTo>
                      <a:pt x="690" y="312"/>
                    </a:lnTo>
                    <a:lnTo>
                      <a:pt x="690" y="313"/>
                    </a:lnTo>
                    <a:lnTo>
                      <a:pt x="690" y="313"/>
                    </a:lnTo>
                    <a:lnTo>
                      <a:pt x="693" y="315"/>
                    </a:lnTo>
                    <a:lnTo>
                      <a:pt x="693" y="319"/>
                    </a:lnTo>
                    <a:lnTo>
                      <a:pt x="693" y="319"/>
                    </a:lnTo>
                    <a:lnTo>
                      <a:pt x="694" y="321"/>
                    </a:lnTo>
                    <a:lnTo>
                      <a:pt x="694" y="321"/>
                    </a:lnTo>
                    <a:lnTo>
                      <a:pt x="697" y="323"/>
                    </a:lnTo>
                    <a:lnTo>
                      <a:pt x="697" y="323"/>
                    </a:lnTo>
                    <a:lnTo>
                      <a:pt x="701" y="326"/>
                    </a:lnTo>
                    <a:lnTo>
                      <a:pt x="702" y="330"/>
                    </a:lnTo>
                    <a:lnTo>
                      <a:pt x="702" y="330"/>
                    </a:lnTo>
                    <a:lnTo>
                      <a:pt x="702" y="330"/>
                    </a:lnTo>
                    <a:lnTo>
                      <a:pt x="703" y="331"/>
                    </a:lnTo>
                    <a:lnTo>
                      <a:pt x="705" y="331"/>
                    </a:lnTo>
                    <a:lnTo>
                      <a:pt x="711" y="335"/>
                    </a:lnTo>
                    <a:lnTo>
                      <a:pt x="711" y="335"/>
                    </a:lnTo>
                    <a:lnTo>
                      <a:pt x="715" y="355"/>
                    </a:lnTo>
                    <a:lnTo>
                      <a:pt x="716" y="358"/>
                    </a:lnTo>
                    <a:lnTo>
                      <a:pt x="716" y="358"/>
                    </a:lnTo>
                    <a:lnTo>
                      <a:pt x="716" y="359"/>
                    </a:lnTo>
                    <a:lnTo>
                      <a:pt x="716" y="359"/>
                    </a:lnTo>
                    <a:lnTo>
                      <a:pt x="716" y="359"/>
                    </a:lnTo>
                    <a:lnTo>
                      <a:pt x="716" y="359"/>
                    </a:lnTo>
                    <a:lnTo>
                      <a:pt x="716" y="359"/>
                    </a:lnTo>
                    <a:lnTo>
                      <a:pt x="719" y="359"/>
                    </a:lnTo>
                    <a:lnTo>
                      <a:pt x="719" y="359"/>
                    </a:lnTo>
                    <a:lnTo>
                      <a:pt x="720" y="359"/>
                    </a:lnTo>
                    <a:lnTo>
                      <a:pt x="720" y="359"/>
                    </a:lnTo>
                    <a:lnTo>
                      <a:pt x="724" y="359"/>
                    </a:lnTo>
                    <a:lnTo>
                      <a:pt x="724" y="359"/>
                    </a:lnTo>
                    <a:lnTo>
                      <a:pt x="727" y="359"/>
                    </a:lnTo>
                    <a:lnTo>
                      <a:pt x="730" y="360"/>
                    </a:lnTo>
                    <a:lnTo>
                      <a:pt x="731" y="363"/>
                    </a:lnTo>
                    <a:lnTo>
                      <a:pt x="732" y="364"/>
                    </a:lnTo>
                    <a:lnTo>
                      <a:pt x="732" y="366"/>
                    </a:lnTo>
                    <a:lnTo>
                      <a:pt x="732" y="367"/>
                    </a:lnTo>
                    <a:lnTo>
                      <a:pt x="730" y="372"/>
                    </a:lnTo>
                    <a:lnTo>
                      <a:pt x="728" y="374"/>
                    </a:lnTo>
                    <a:lnTo>
                      <a:pt x="728" y="374"/>
                    </a:lnTo>
                    <a:lnTo>
                      <a:pt x="726" y="375"/>
                    </a:lnTo>
                    <a:lnTo>
                      <a:pt x="726" y="378"/>
                    </a:lnTo>
                    <a:lnTo>
                      <a:pt x="726" y="379"/>
                    </a:lnTo>
                    <a:lnTo>
                      <a:pt x="726" y="391"/>
                    </a:lnTo>
                    <a:lnTo>
                      <a:pt x="723" y="393"/>
                    </a:lnTo>
                    <a:lnTo>
                      <a:pt x="723" y="393"/>
                    </a:lnTo>
                    <a:lnTo>
                      <a:pt x="720" y="392"/>
                    </a:lnTo>
                    <a:lnTo>
                      <a:pt x="722" y="393"/>
                    </a:lnTo>
                    <a:lnTo>
                      <a:pt x="719" y="396"/>
                    </a:lnTo>
                    <a:lnTo>
                      <a:pt x="719" y="396"/>
                    </a:lnTo>
                    <a:lnTo>
                      <a:pt x="719" y="396"/>
                    </a:lnTo>
                    <a:lnTo>
                      <a:pt x="719" y="396"/>
                    </a:lnTo>
                    <a:lnTo>
                      <a:pt x="723" y="395"/>
                    </a:lnTo>
                    <a:lnTo>
                      <a:pt x="726" y="397"/>
                    </a:lnTo>
                    <a:lnTo>
                      <a:pt x="726" y="397"/>
                    </a:lnTo>
                    <a:lnTo>
                      <a:pt x="724" y="396"/>
                    </a:lnTo>
                    <a:lnTo>
                      <a:pt x="724" y="396"/>
                    </a:lnTo>
                    <a:lnTo>
                      <a:pt x="728" y="400"/>
                    </a:lnTo>
                    <a:lnTo>
                      <a:pt x="728" y="404"/>
                    </a:lnTo>
                    <a:lnTo>
                      <a:pt x="728" y="404"/>
                    </a:lnTo>
                    <a:lnTo>
                      <a:pt x="728" y="407"/>
                    </a:lnTo>
                    <a:lnTo>
                      <a:pt x="728" y="409"/>
                    </a:lnTo>
                    <a:lnTo>
                      <a:pt x="728" y="409"/>
                    </a:lnTo>
                    <a:lnTo>
                      <a:pt x="726" y="412"/>
                    </a:lnTo>
                    <a:lnTo>
                      <a:pt x="722" y="412"/>
                    </a:lnTo>
                    <a:lnTo>
                      <a:pt x="720" y="412"/>
                    </a:lnTo>
                    <a:lnTo>
                      <a:pt x="720" y="412"/>
                    </a:lnTo>
                    <a:lnTo>
                      <a:pt x="722" y="412"/>
                    </a:lnTo>
                    <a:lnTo>
                      <a:pt x="723" y="411"/>
                    </a:lnTo>
                    <a:lnTo>
                      <a:pt x="723" y="411"/>
                    </a:lnTo>
                    <a:lnTo>
                      <a:pt x="724" y="409"/>
                    </a:lnTo>
                    <a:lnTo>
                      <a:pt x="724" y="407"/>
                    </a:lnTo>
                    <a:lnTo>
                      <a:pt x="720" y="412"/>
                    </a:lnTo>
                    <a:lnTo>
                      <a:pt x="720" y="412"/>
                    </a:lnTo>
                    <a:lnTo>
                      <a:pt x="719" y="411"/>
                    </a:lnTo>
                    <a:lnTo>
                      <a:pt x="718" y="409"/>
                    </a:lnTo>
                    <a:lnTo>
                      <a:pt x="718" y="409"/>
                    </a:lnTo>
                    <a:lnTo>
                      <a:pt x="720" y="412"/>
                    </a:lnTo>
                    <a:lnTo>
                      <a:pt x="719" y="413"/>
                    </a:lnTo>
                    <a:lnTo>
                      <a:pt x="719" y="413"/>
                    </a:lnTo>
                    <a:lnTo>
                      <a:pt x="720" y="413"/>
                    </a:lnTo>
                    <a:lnTo>
                      <a:pt x="723" y="416"/>
                    </a:lnTo>
                    <a:lnTo>
                      <a:pt x="723" y="416"/>
                    </a:lnTo>
                    <a:lnTo>
                      <a:pt x="724" y="421"/>
                    </a:lnTo>
                    <a:lnTo>
                      <a:pt x="726" y="425"/>
                    </a:lnTo>
                    <a:lnTo>
                      <a:pt x="722" y="434"/>
                    </a:lnTo>
                    <a:lnTo>
                      <a:pt x="720" y="434"/>
                    </a:lnTo>
                    <a:lnTo>
                      <a:pt x="718" y="433"/>
                    </a:lnTo>
                    <a:lnTo>
                      <a:pt x="718" y="433"/>
                    </a:lnTo>
                    <a:lnTo>
                      <a:pt x="718" y="433"/>
                    </a:lnTo>
                    <a:lnTo>
                      <a:pt x="718" y="433"/>
                    </a:lnTo>
                    <a:lnTo>
                      <a:pt x="718" y="433"/>
                    </a:lnTo>
                    <a:lnTo>
                      <a:pt x="718" y="433"/>
                    </a:lnTo>
                    <a:lnTo>
                      <a:pt x="718" y="433"/>
                    </a:lnTo>
                    <a:lnTo>
                      <a:pt x="711" y="440"/>
                    </a:lnTo>
                    <a:lnTo>
                      <a:pt x="707" y="446"/>
                    </a:lnTo>
                    <a:lnTo>
                      <a:pt x="707" y="446"/>
                    </a:lnTo>
                    <a:lnTo>
                      <a:pt x="707" y="446"/>
                    </a:lnTo>
                    <a:lnTo>
                      <a:pt x="707" y="448"/>
                    </a:lnTo>
                    <a:lnTo>
                      <a:pt x="707" y="448"/>
                    </a:lnTo>
                    <a:lnTo>
                      <a:pt x="710" y="452"/>
                    </a:lnTo>
                    <a:lnTo>
                      <a:pt x="710" y="454"/>
                    </a:lnTo>
                    <a:lnTo>
                      <a:pt x="708" y="457"/>
                    </a:lnTo>
                    <a:lnTo>
                      <a:pt x="706" y="460"/>
                    </a:lnTo>
                    <a:lnTo>
                      <a:pt x="703" y="461"/>
                    </a:lnTo>
                    <a:lnTo>
                      <a:pt x="703" y="461"/>
                    </a:lnTo>
                    <a:lnTo>
                      <a:pt x="701" y="461"/>
                    </a:lnTo>
                    <a:lnTo>
                      <a:pt x="701" y="461"/>
                    </a:lnTo>
                    <a:lnTo>
                      <a:pt x="697" y="461"/>
                    </a:lnTo>
                    <a:lnTo>
                      <a:pt x="693" y="458"/>
                    </a:lnTo>
                    <a:lnTo>
                      <a:pt x="690" y="456"/>
                    </a:lnTo>
                    <a:lnTo>
                      <a:pt x="690" y="456"/>
                    </a:lnTo>
                    <a:lnTo>
                      <a:pt x="690" y="456"/>
                    </a:lnTo>
                    <a:lnTo>
                      <a:pt x="690" y="456"/>
                    </a:lnTo>
                    <a:lnTo>
                      <a:pt x="690" y="456"/>
                    </a:lnTo>
                    <a:lnTo>
                      <a:pt x="686" y="457"/>
                    </a:lnTo>
                    <a:lnTo>
                      <a:pt x="685" y="460"/>
                    </a:lnTo>
                    <a:lnTo>
                      <a:pt x="685" y="460"/>
                    </a:lnTo>
                    <a:lnTo>
                      <a:pt x="683" y="461"/>
                    </a:lnTo>
                    <a:lnTo>
                      <a:pt x="678" y="465"/>
                    </a:lnTo>
                    <a:lnTo>
                      <a:pt x="675" y="465"/>
                    </a:lnTo>
                    <a:lnTo>
                      <a:pt x="670" y="461"/>
                    </a:lnTo>
                    <a:lnTo>
                      <a:pt x="670" y="462"/>
                    </a:lnTo>
                    <a:lnTo>
                      <a:pt x="670" y="462"/>
                    </a:lnTo>
                    <a:lnTo>
                      <a:pt x="673" y="464"/>
                    </a:lnTo>
                    <a:lnTo>
                      <a:pt x="671" y="464"/>
                    </a:lnTo>
                    <a:lnTo>
                      <a:pt x="671" y="464"/>
                    </a:lnTo>
                    <a:lnTo>
                      <a:pt x="670" y="464"/>
                    </a:lnTo>
                    <a:lnTo>
                      <a:pt x="669" y="464"/>
                    </a:lnTo>
                    <a:lnTo>
                      <a:pt x="666" y="461"/>
                    </a:lnTo>
                    <a:lnTo>
                      <a:pt x="666" y="462"/>
                    </a:lnTo>
                    <a:lnTo>
                      <a:pt x="666" y="462"/>
                    </a:lnTo>
                    <a:lnTo>
                      <a:pt x="667" y="466"/>
                    </a:lnTo>
                    <a:lnTo>
                      <a:pt x="666" y="469"/>
                    </a:lnTo>
                    <a:lnTo>
                      <a:pt x="664" y="471"/>
                    </a:lnTo>
                    <a:lnTo>
                      <a:pt x="654" y="469"/>
                    </a:lnTo>
                    <a:lnTo>
                      <a:pt x="654" y="469"/>
                    </a:lnTo>
                    <a:lnTo>
                      <a:pt x="653" y="468"/>
                    </a:lnTo>
                    <a:lnTo>
                      <a:pt x="650" y="468"/>
                    </a:lnTo>
                    <a:lnTo>
                      <a:pt x="650" y="468"/>
                    </a:lnTo>
                    <a:lnTo>
                      <a:pt x="644" y="468"/>
                    </a:lnTo>
                    <a:lnTo>
                      <a:pt x="637" y="469"/>
                    </a:lnTo>
                    <a:lnTo>
                      <a:pt x="636" y="470"/>
                    </a:lnTo>
                    <a:lnTo>
                      <a:pt x="636" y="470"/>
                    </a:lnTo>
                    <a:lnTo>
                      <a:pt x="636" y="470"/>
                    </a:lnTo>
                    <a:lnTo>
                      <a:pt x="636" y="470"/>
                    </a:lnTo>
                    <a:lnTo>
                      <a:pt x="636" y="470"/>
                    </a:lnTo>
                    <a:lnTo>
                      <a:pt x="637" y="471"/>
                    </a:lnTo>
                    <a:lnTo>
                      <a:pt x="637" y="471"/>
                    </a:lnTo>
                    <a:lnTo>
                      <a:pt x="640" y="473"/>
                    </a:lnTo>
                    <a:lnTo>
                      <a:pt x="642" y="478"/>
                    </a:lnTo>
                    <a:lnTo>
                      <a:pt x="642" y="479"/>
                    </a:lnTo>
                    <a:lnTo>
                      <a:pt x="636" y="485"/>
                    </a:lnTo>
                    <a:lnTo>
                      <a:pt x="636" y="485"/>
                    </a:lnTo>
                    <a:lnTo>
                      <a:pt x="633" y="485"/>
                    </a:lnTo>
                    <a:lnTo>
                      <a:pt x="633" y="485"/>
                    </a:lnTo>
                    <a:lnTo>
                      <a:pt x="629" y="485"/>
                    </a:lnTo>
                    <a:lnTo>
                      <a:pt x="627" y="486"/>
                    </a:lnTo>
                    <a:lnTo>
                      <a:pt x="620" y="490"/>
                    </a:lnTo>
                    <a:lnTo>
                      <a:pt x="620" y="490"/>
                    </a:lnTo>
                    <a:lnTo>
                      <a:pt x="620" y="490"/>
                    </a:lnTo>
                    <a:lnTo>
                      <a:pt x="620" y="491"/>
                    </a:lnTo>
                    <a:lnTo>
                      <a:pt x="620" y="491"/>
                    </a:lnTo>
                    <a:lnTo>
                      <a:pt x="620" y="493"/>
                    </a:lnTo>
                    <a:lnTo>
                      <a:pt x="620" y="493"/>
                    </a:lnTo>
                    <a:lnTo>
                      <a:pt x="619" y="491"/>
                    </a:lnTo>
                    <a:lnTo>
                      <a:pt x="621" y="498"/>
                    </a:lnTo>
                    <a:lnTo>
                      <a:pt x="621" y="498"/>
                    </a:lnTo>
                    <a:lnTo>
                      <a:pt x="620" y="502"/>
                    </a:lnTo>
                    <a:lnTo>
                      <a:pt x="617" y="503"/>
                    </a:lnTo>
                    <a:lnTo>
                      <a:pt x="613" y="505"/>
                    </a:lnTo>
                    <a:lnTo>
                      <a:pt x="613" y="505"/>
                    </a:lnTo>
                    <a:lnTo>
                      <a:pt x="609" y="505"/>
                    </a:lnTo>
                    <a:lnTo>
                      <a:pt x="605" y="503"/>
                    </a:lnTo>
                    <a:lnTo>
                      <a:pt x="605" y="503"/>
                    </a:lnTo>
                    <a:lnTo>
                      <a:pt x="605" y="503"/>
                    </a:lnTo>
                    <a:lnTo>
                      <a:pt x="605" y="503"/>
                    </a:lnTo>
                    <a:lnTo>
                      <a:pt x="605" y="503"/>
                    </a:lnTo>
                    <a:lnTo>
                      <a:pt x="605" y="503"/>
                    </a:lnTo>
                    <a:lnTo>
                      <a:pt x="604" y="503"/>
                    </a:lnTo>
                    <a:lnTo>
                      <a:pt x="597" y="507"/>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3" name="Group 22">
              <a:extLst>
                <a:ext uri="{FF2B5EF4-FFF2-40B4-BE49-F238E27FC236}">
                  <a16:creationId xmlns:a16="http://schemas.microsoft.com/office/drawing/2014/main" xmlns="" id="{40B9BBD8-4C6E-4235-8FC1-B2B31DAB6E27}"/>
                </a:ext>
              </a:extLst>
            </p:cNvPr>
            <p:cNvGrpSpPr/>
            <p:nvPr/>
          </p:nvGrpSpPr>
          <p:grpSpPr>
            <a:xfrm>
              <a:off x="7674568" y="3621525"/>
              <a:ext cx="1335036" cy="1496770"/>
              <a:chOff x="6321780" y="2873183"/>
              <a:chExt cx="1746297" cy="2000491"/>
            </a:xfrm>
            <a:solidFill>
              <a:srgbClr val="50575F">
                <a:alpha val="20000"/>
              </a:srgbClr>
            </a:solidFill>
          </p:grpSpPr>
          <p:sp>
            <p:nvSpPr>
              <p:cNvPr id="59" name="Freeform 27">
                <a:extLst>
                  <a:ext uri="{FF2B5EF4-FFF2-40B4-BE49-F238E27FC236}">
                    <a16:creationId xmlns:a16="http://schemas.microsoft.com/office/drawing/2014/main" xmlns="" id="{2FA015D1-B29A-4388-9AC0-3BD87D8E19ED}"/>
                  </a:ext>
                </a:extLst>
              </p:cNvPr>
              <p:cNvSpPr>
                <a:spLocks/>
              </p:cNvSpPr>
              <p:nvPr/>
            </p:nvSpPr>
            <p:spPr bwMode="auto">
              <a:xfrm>
                <a:off x="7516156" y="2873183"/>
                <a:ext cx="551921" cy="828752"/>
              </a:xfrm>
              <a:custGeom>
                <a:avLst/>
                <a:gdLst>
                  <a:gd name="T0" fmla="*/ 127 w 317"/>
                  <a:gd name="T1" fmla="*/ 459 h 476"/>
                  <a:gd name="T2" fmla="*/ 107 w 317"/>
                  <a:gd name="T3" fmla="*/ 448 h 476"/>
                  <a:gd name="T4" fmla="*/ 101 w 317"/>
                  <a:gd name="T5" fmla="*/ 452 h 476"/>
                  <a:gd name="T6" fmla="*/ 73 w 317"/>
                  <a:gd name="T7" fmla="*/ 429 h 476"/>
                  <a:gd name="T8" fmla="*/ 56 w 317"/>
                  <a:gd name="T9" fmla="*/ 443 h 476"/>
                  <a:gd name="T10" fmla="*/ 41 w 317"/>
                  <a:gd name="T11" fmla="*/ 443 h 476"/>
                  <a:gd name="T12" fmla="*/ 28 w 317"/>
                  <a:gd name="T13" fmla="*/ 446 h 476"/>
                  <a:gd name="T14" fmla="*/ 3 w 317"/>
                  <a:gd name="T15" fmla="*/ 432 h 476"/>
                  <a:gd name="T16" fmla="*/ 1 w 317"/>
                  <a:gd name="T17" fmla="*/ 403 h 476"/>
                  <a:gd name="T18" fmla="*/ 25 w 317"/>
                  <a:gd name="T19" fmla="*/ 373 h 476"/>
                  <a:gd name="T20" fmla="*/ 30 w 317"/>
                  <a:gd name="T21" fmla="*/ 356 h 476"/>
                  <a:gd name="T22" fmla="*/ 33 w 317"/>
                  <a:gd name="T23" fmla="*/ 341 h 476"/>
                  <a:gd name="T24" fmla="*/ 64 w 317"/>
                  <a:gd name="T25" fmla="*/ 333 h 476"/>
                  <a:gd name="T26" fmla="*/ 64 w 317"/>
                  <a:gd name="T27" fmla="*/ 329 h 476"/>
                  <a:gd name="T28" fmla="*/ 82 w 317"/>
                  <a:gd name="T29" fmla="*/ 307 h 476"/>
                  <a:gd name="T30" fmla="*/ 77 w 317"/>
                  <a:gd name="T31" fmla="*/ 274 h 476"/>
                  <a:gd name="T32" fmla="*/ 74 w 317"/>
                  <a:gd name="T33" fmla="*/ 251 h 476"/>
                  <a:gd name="T34" fmla="*/ 75 w 317"/>
                  <a:gd name="T35" fmla="*/ 217 h 476"/>
                  <a:gd name="T36" fmla="*/ 99 w 317"/>
                  <a:gd name="T37" fmla="*/ 216 h 476"/>
                  <a:gd name="T38" fmla="*/ 95 w 317"/>
                  <a:gd name="T39" fmla="*/ 206 h 476"/>
                  <a:gd name="T40" fmla="*/ 90 w 317"/>
                  <a:gd name="T41" fmla="*/ 176 h 476"/>
                  <a:gd name="T42" fmla="*/ 91 w 317"/>
                  <a:gd name="T43" fmla="*/ 164 h 476"/>
                  <a:gd name="T44" fmla="*/ 87 w 317"/>
                  <a:gd name="T45" fmla="*/ 148 h 476"/>
                  <a:gd name="T46" fmla="*/ 85 w 317"/>
                  <a:gd name="T47" fmla="*/ 128 h 476"/>
                  <a:gd name="T48" fmla="*/ 87 w 317"/>
                  <a:gd name="T49" fmla="*/ 87 h 476"/>
                  <a:gd name="T50" fmla="*/ 95 w 317"/>
                  <a:gd name="T51" fmla="*/ 69 h 476"/>
                  <a:gd name="T52" fmla="*/ 91 w 317"/>
                  <a:gd name="T53" fmla="*/ 64 h 476"/>
                  <a:gd name="T54" fmla="*/ 99 w 317"/>
                  <a:gd name="T55" fmla="*/ 33 h 476"/>
                  <a:gd name="T56" fmla="*/ 99 w 317"/>
                  <a:gd name="T57" fmla="*/ 15 h 476"/>
                  <a:gd name="T58" fmla="*/ 115 w 317"/>
                  <a:gd name="T59" fmla="*/ 3 h 476"/>
                  <a:gd name="T60" fmla="*/ 143 w 317"/>
                  <a:gd name="T61" fmla="*/ 16 h 476"/>
                  <a:gd name="T62" fmla="*/ 164 w 317"/>
                  <a:gd name="T63" fmla="*/ 15 h 476"/>
                  <a:gd name="T64" fmla="*/ 179 w 317"/>
                  <a:gd name="T65" fmla="*/ 19 h 476"/>
                  <a:gd name="T66" fmla="*/ 189 w 317"/>
                  <a:gd name="T67" fmla="*/ 20 h 476"/>
                  <a:gd name="T68" fmla="*/ 218 w 317"/>
                  <a:gd name="T69" fmla="*/ 24 h 476"/>
                  <a:gd name="T70" fmla="*/ 234 w 317"/>
                  <a:gd name="T71" fmla="*/ 24 h 476"/>
                  <a:gd name="T72" fmla="*/ 250 w 317"/>
                  <a:gd name="T73" fmla="*/ 25 h 476"/>
                  <a:gd name="T74" fmla="*/ 267 w 317"/>
                  <a:gd name="T75" fmla="*/ 27 h 476"/>
                  <a:gd name="T76" fmla="*/ 279 w 317"/>
                  <a:gd name="T77" fmla="*/ 31 h 476"/>
                  <a:gd name="T78" fmla="*/ 303 w 317"/>
                  <a:gd name="T79" fmla="*/ 28 h 476"/>
                  <a:gd name="T80" fmla="*/ 311 w 317"/>
                  <a:gd name="T81" fmla="*/ 50 h 476"/>
                  <a:gd name="T82" fmla="*/ 312 w 317"/>
                  <a:gd name="T83" fmla="*/ 60 h 476"/>
                  <a:gd name="T84" fmla="*/ 312 w 317"/>
                  <a:gd name="T85" fmla="*/ 68 h 476"/>
                  <a:gd name="T86" fmla="*/ 308 w 317"/>
                  <a:gd name="T87" fmla="*/ 79 h 476"/>
                  <a:gd name="T88" fmla="*/ 305 w 317"/>
                  <a:gd name="T89" fmla="*/ 89 h 476"/>
                  <a:gd name="T90" fmla="*/ 294 w 317"/>
                  <a:gd name="T91" fmla="*/ 119 h 476"/>
                  <a:gd name="T92" fmla="*/ 278 w 317"/>
                  <a:gd name="T93" fmla="*/ 154 h 476"/>
                  <a:gd name="T94" fmla="*/ 271 w 317"/>
                  <a:gd name="T95" fmla="*/ 173 h 476"/>
                  <a:gd name="T96" fmla="*/ 259 w 317"/>
                  <a:gd name="T97" fmla="*/ 197 h 476"/>
                  <a:gd name="T98" fmla="*/ 253 w 317"/>
                  <a:gd name="T99" fmla="*/ 225 h 476"/>
                  <a:gd name="T100" fmla="*/ 249 w 317"/>
                  <a:gd name="T101" fmla="*/ 234 h 476"/>
                  <a:gd name="T102" fmla="*/ 241 w 317"/>
                  <a:gd name="T103" fmla="*/ 259 h 476"/>
                  <a:gd name="T104" fmla="*/ 231 w 317"/>
                  <a:gd name="T105" fmla="*/ 294 h 476"/>
                  <a:gd name="T106" fmla="*/ 229 w 317"/>
                  <a:gd name="T107" fmla="*/ 307 h 476"/>
                  <a:gd name="T108" fmla="*/ 226 w 317"/>
                  <a:gd name="T109" fmla="*/ 327 h 476"/>
                  <a:gd name="T110" fmla="*/ 220 w 317"/>
                  <a:gd name="T111" fmla="*/ 354 h 476"/>
                  <a:gd name="T112" fmla="*/ 216 w 317"/>
                  <a:gd name="T113" fmla="*/ 377 h 476"/>
                  <a:gd name="T114" fmla="*/ 200 w 317"/>
                  <a:gd name="T115" fmla="*/ 405 h 476"/>
                  <a:gd name="T116" fmla="*/ 179 w 317"/>
                  <a:gd name="T117" fmla="*/ 440 h 476"/>
                  <a:gd name="T118" fmla="*/ 177 w 317"/>
                  <a:gd name="T119" fmla="*/ 447 h 476"/>
                  <a:gd name="T120" fmla="*/ 169 w 317"/>
                  <a:gd name="T121" fmla="*/ 466 h 476"/>
                  <a:gd name="T122" fmla="*/ 160 w 317"/>
                  <a:gd name="T123" fmla="*/ 469 h 476"/>
                  <a:gd name="T124" fmla="*/ 144 w 317"/>
                  <a:gd name="T125"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476">
                    <a:moveTo>
                      <a:pt x="144" y="476"/>
                    </a:moveTo>
                    <a:lnTo>
                      <a:pt x="144" y="476"/>
                    </a:lnTo>
                    <a:lnTo>
                      <a:pt x="142" y="476"/>
                    </a:lnTo>
                    <a:lnTo>
                      <a:pt x="139" y="475"/>
                    </a:lnTo>
                    <a:lnTo>
                      <a:pt x="139" y="475"/>
                    </a:lnTo>
                    <a:lnTo>
                      <a:pt x="136" y="473"/>
                    </a:lnTo>
                    <a:lnTo>
                      <a:pt x="132" y="469"/>
                    </a:lnTo>
                    <a:lnTo>
                      <a:pt x="132" y="469"/>
                    </a:lnTo>
                    <a:lnTo>
                      <a:pt x="132" y="469"/>
                    </a:lnTo>
                    <a:lnTo>
                      <a:pt x="127" y="466"/>
                    </a:lnTo>
                    <a:lnTo>
                      <a:pt x="127" y="466"/>
                    </a:lnTo>
                    <a:lnTo>
                      <a:pt x="126" y="463"/>
                    </a:lnTo>
                    <a:lnTo>
                      <a:pt x="127" y="460"/>
                    </a:lnTo>
                    <a:lnTo>
                      <a:pt x="127" y="460"/>
                    </a:lnTo>
                    <a:lnTo>
                      <a:pt x="127" y="459"/>
                    </a:lnTo>
                    <a:lnTo>
                      <a:pt x="127" y="459"/>
                    </a:lnTo>
                    <a:lnTo>
                      <a:pt x="120" y="459"/>
                    </a:lnTo>
                    <a:lnTo>
                      <a:pt x="116" y="458"/>
                    </a:lnTo>
                    <a:lnTo>
                      <a:pt x="116" y="458"/>
                    </a:lnTo>
                    <a:lnTo>
                      <a:pt x="114" y="456"/>
                    </a:lnTo>
                    <a:lnTo>
                      <a:pt x="114" y="456"/>
                    </a:lnTo>
                    <a:lnTo>
                      <a:pt x="112" y="455"/>
                    </a:lnTo>
                    <a:lnTo>
                      <a:pt x="112" y="455"/>
                    </a:lnTo>
                    <a:lnTo>
                      <a:pt x="114" y="452"/>
                    </a:lnTo>
                    <a:lnTo>
                      <a:pt x="114" y="452"/>
                    </a:lnTo>
                    <a:lnTo>
                      <a:pt x="114" y="451"/>
                    </a:lnTo>
                    <a:lnTo>
                      <a:pt x="114" y="448"/>
                    </a:lnTo>
                    <a:lnTo>
                      <a:pt x="111" y="452"/>
                    </a:lnTo>
                    <a:lnTo>
                      <a:pt x="107" y="448"/>
                    </a:lnTo>
                    <a:lnTo>
                      <a:pt x="107" y="448"/>
                    </a:lnTo>
                    <a:lnTo>
                      <a:pt x="107" y="451"/>
                    </a:lnTo>
                    <a:lnTo>
                      <a:pt x="108" y="452"/>
                    </a:lnTo>
                    <a:lnTo>
                      <a:pt x="108" y="452"/>
                    </a:lnTo>
                    <a:lnTo>
                      <a:pt x="110" y="455"/>
                    </a:lnTo>
                    <a:lnTo>
                      <a:pt x="108" y="456"/>
                    </a:lnTo>
                    <a:lnTo>
                      <a:pt x="107" y="456"/>
                    </a:lnTo>
                    <a:lnTo>
                      <a:pt x="103" y="455"/>
                    </a:lnTo>
                    <a:lnTo>
                      <a:pt x="103" y="455"/>
                    </a:lnTo>
                    <a:lnTo>
                      <a:pt x="102" y="454"/>
                    </a:lnTo>
                    <a:lnTo>
                      <a:pt x="102" y="454"/>
                    </a:lnTo>
                    <a:lnTo>
                      <a:pt x="101" y="452"/>
                    </a:lnTo>
                    <a:lnTo>
                      <a:pt x="101" y="452"/>
                    </a:lnTo>
                    <a:lnTo>
                      <a:pt x="99" y="452"/>
                    </a:lnTo>
                    <a:lnTo>
                      <a:pt x="99" y="452"/>
                    </a:lnTo>
                    <a:lnTo>
                      <a:pt x="101" y="452"/>
                    </a:lnTo>
                    <a:lnTo>
                      <a:pt x="102" y="450"/>
                    </a:lnTo>
                    <a:lnTo>
                      <a:pt x="95" y="455"/>
                    </a:lnTo>
                    <a:lnTo>
                      <a:pt x="89" y="455"/>
                    </a:lnTo>
                    <a:lnTo>
                      <a:pt x="83" y="450"/>
                    </a:lnTo>
                    <a:lnTo>
                      <a:pt x="83" y="448"/>
                    </a:lnTo>
                    <a:lnTo>
                      <a:pt x="86" y="444"/>
                    </a:lnTo>
                    <a:lnTo>
                      <a:pt x="83" y="443"/>
                    </a:lnTo>
                    <a:lnTo>
                      <a:pt x="83" y="443"/>
                    </a:lnTo>
                    <a:lnTo>
                      <a:pt x="81" y="440"/>
                    </a:lnTo>
                    <a:lnTo>
                      <a:pt x="82" y="440"/>
                    </a:lnTo>
                    <a:lnTo>
                      <a:pt x="77" y="435"/>
                    </a:lnTo>
                    <a:lnTo>
                      <a:pt x="77" y="435"/>
                    </a:lnTo>
                    <a:lnTo>
                      <a:pt x="77" y="432"/>
                    </a:lnTo>
                    <a:lnTo>
                      <a:pt x="75" y="430"/>
                    </a:lnTo>
                    <a:lnTo>
                      <a:pt x="73" y="429"/>
                    </a:lnTo>
                    <a:lnTo>
                      <a:pt x="73" y="429"/>
                    </a:lnTo>
                    <a:lnTo>
                      <a:pt x="70" y="429"/>
                    </a:lnTo>
                    <a:lnTo>
                      <a:pt x="70" y="429"/>
                    </a:lnTo>
                    <a:lnTo>
                      <a:pt x="69" y="434"/>
                    </a:lnTo>
                    <a:lnTo>
                      <a:pt x="69" y="434"/>
                    </a:lnTo>
                    <a:lnTo>
                      <a:pt x="67" y="436"/>
                    </a:lnTo>
                    <a:lnTo>
                      <a:pt x="66" y="439"/>
                    </a:lnTo>
                    <a:lnTo>
                      <a:pt x="66" y="439"/>
                    </a:lnTo>
                    <a:lnTo>
                      <a:pt x="65" y="442"/>
                    </a:lnTo>
                    <a:lnTo>
                      <a:pt x="62" y="442"/>
                    </a:lnTo>
                    <a:lnTo>
                      <a:pt x="58" y="443"/>
                    </a:lnTo>
                    <a:lnTo>
                      <a:pt x="58" y="443"/>
                    </a:lnTo>
                    <a:lnTo>
                      <a:pt x="57" y="443"/>
                    </a:lnTo>
                    <a:lnTo>
                      <a:pt x="57" y="443"/>
                    </a:lnTo>
                    <a:lnTo>
                      <a:pt x="56" y="443"/>
                    </a:lnTo>
                    <a:lnTo>
                      <a:pt x="56" y="443"/>
                    </a:lnTo>
                    <a:lnTo>
                      <a:pt x="52" y="443"/>
                    </a:lnTo>
                    <a:lnTo>
                      <a:pt x="52" y="443"/>
                    </a:lnTo>
                    <a:lnTo>
                      <a:pt x="50" y="442"/>
                    </a:lnTo>
                    <a:lnTo>
                      <a:pt x="50" y="442"/>
                    </a:lnTo>
                    <a:lnTo>
                      <a:pt x="53" y="442"/>
                    </a:lnTo>
                    <a:lnTo>
                      <a:pt x="54" y="438"/>
                    </a:lnTo>
                    <a:lnTo>
                      <a:pt x="49" y="444"/>
                    </a:lnTo>
                    <a:lnTo>
                      <a:pt x="46" y="444"/>
                    </a:lnTo>
                    <a:lnTo>
                      <a:pt x="46" y="444"/>
                    </a:lnTo>
                    <a:lnTo>
                      <a:pt x="45" y="444"/>
                    </a:lnTo>
                    <a:lnTo>
                      <a:pt x="45" y="444"/>
                    </a:lnTo>
                    <a:lnTo>
                      <a:pt x="42" y="444"/>
                    </a:lnTo>
                    <a:lnTo>
                      <a:pt x="42" y="444"/>
                    </a:lnTo>
                    <a:lnTo>
                      <a:pt x="41" y="443"/>
                    </a:lnTo>
                    <a:lnTo>
                      <a:pt x="41" y="443"/>
                    </a:lnTo>
                    <a:lnTo>
                      <a:pt x="42" y="442"/>
                    </a:lnTo>
                    <a:lnTo>
                      <a:pt x="45" y="439"/>
                    </a:lnTo>
                    <a:lnTo>
                      <a:pt x="38" y="446"/>
                    </a:lnTo>
                    <a:lnTo>
                      <a:pt x="37" y="446"/>
                    </a:lnTo>
                    <a:lnTo>
                      <a:pt x="37" y="446"/>
                    </a:lnTo>
                    <a:lnTo>
                      <a:pt x="34" y="446"/>
                    </a:lnTo>
                    <a:lnTo>
                      <a:pt x="34" y="446"/>
                    </a:lnTo>
                    <a:lnTo>
                      <a:pt x="32" y="444"/>
                    </a:lnTo>
                    <a:lnTo>
                      <a:pt x="32" y="444"/>
                    </a:lnTo>
                    <a:lnTo>
                      <a:pt x="30" y="444"/>
                    </a:lnTo>
                    <a:lnTo>
                      <a:pt x="30" y="444"/>
                    </a:lnTo>
                    <a:lnTo>
                      <a:pt x="33" y="443"/>
                    </a:lnTo>
                    <a:lnTo>
                      <a:pt x="34" y="440"/>
                    </a:lnTo>
                    <a:lnTo>
                      <a:pt x="28" y="446"/>
                    </a:lnTo>
                    <a:lnTo>
                      <a:pt x="20" y="446"/>
                    </a:lnTo>
                    <a:lnTo>
                      <a:pt x="13" y="442"/>
                    </a:lnTo>
                    <a:lnTo>
                      <a:pt x="13" y="442"/>
                    </a:lnTo>
                    <a:lnTo>
                      <a:pt x="15" y="444"/>
                    </a:lnTo>
                    <a:lnTo>
                      <a:pt x="17" y="446"/>
                    </a:lnTo>
                    <a:lnTo>
                      <a:pt x="16" y="446"/>
                    </a:lnTo>
                    <a:lnTo>
                      <a:pt x="16" y="446"/>
                    </a:lnTo>
                    <a:lnTo>
                      <a:pt x="13" y="444"/>
                    </a:lnTo>
                    <a:lnTo>
                      <a:pt x="8" y="439"/>
                    </a:lnTo>
                    <a:lnTo>
                      <a:pt x="8" y="439"/>
                    </a:lnTo>
                    <a:lnTo>
                      <a:pt x="8" y="439"/>
                    </a:lnTo>
                    <a:lnTo>
                      <a:pt x="8" y="439"/>
                    </a:lnTo>
                    <a:lnTo>
                      <a:pt x="7" y="438"/>
                    </a:lnTo>
                    <a:lnTo>
                      <a:pt x="4" y="435"/>
                    </a:lnTo>
                    <a:lnTo>
                      <a:pt x="3" y="432"/>
                    </a:lnTo>
                    <a:lnTo>
                      <a:pt x="1" y="427"/>
                    </a:lnTo>
                    <a:lnTo>
                      <a:pt x="1" y="426"/>
                    </a:lnTo>
                    <a:lnTo>
                      <a:pt x="1" y="426"/>
                    </a:lnTo>
                    <a:lnTo>
                      <a:pt x="0" y="422"/>
                    </a:lnTo>
                    <a:lnTo>
                      <a:pt x="0" y="418"/>
                    </a:lnTo>
                    <a:lnTo>
                      <a:pt x="3" y="411"/>
                    </a:lnTo>
                    <a:lnTo>
                      <a:pt x="3" y="411"/>
                    </a:lnTo>
                    <a:lnTo>
                      <a:pt x="4" y="409"/>
                    </a:lnTo>
                    <a:lnTo>
                      <a:pt x="3" y="406"/>
                    </a:lnTo>
                    <a:lnTo>
                      <a:pt x="3" y="406"/>
                    </a:lnTo>
                    <a:lnTo>
                      <a:pt x="3" y="406"/>
                    </a:lnTo>
                    <a:lnTo>
                      <a:pt x="3" y="406"/>
                    </a:lnTo>
                    <a:lnTo>
                      <a:pt x="3" y="406"/>
                    </a:lnTo>
                    <a:lnTo>
                      <a:pt x="3" y="406"/>
                    </a:lnTo>
                    <a:lnTo>
                      <a:pt x="1" y="403"/>
                    </a:lnTo>
                    <a:lnTo>
                      <a:pt x="0" y="398"/>
                    </a:lnTo>
                    <a:lnTo>
                      <a:pt x="0" y="390"/>
                    </a:lnTo>
                    <a:lnTo>
                      <a:pt x="9" y="385"/>
                    </a:lnTo>
                    <a:lnTo>
                      <a:pt x="9" y="385"/>
                    </a:lnTo>
                    <a:lnTo>
                      <a:pt x="12" y="385"/>
                    </a:lnTo>
                    <a:lnTo>
                      <a:pt x="12" y="385"/>
                    </a:lnTo>
                    <a:lnTo>
                      <a:pt x="16" y="385"/>
                    </a:lnTo>
                    <a:lnTo>
                      <a:pt x="16" y="385"/>
                    </a:lnTo>
                    <a:lnTo>
                      <a:pt x="23" y="382"/>
                    </a:lnTo>
                    <a:lnTo>
                      <a:pt x="23" y="382"/>
                    </a:lnTo>
                    <a:lnTo>
                      <a:pt x="29" y="382"/>
                    </a:lnTo>
                    <a:lnTo>
                      <a:pt x="29" y="382"/>
                    </a:lnTo>
                    <a:lnTo>
                      <a:pt x="26" y="378"/>
                    </a:lnTo>
                    <a:lnTo>
                      <a:pt x="25" y="374"/>
                    </a:lnTo>
                    <a:lnTo>
                      <a:pt x="25" y="373"/>
                    </a:lnTo>
                    <a:lnTo>
                      <a:pt x="25" y="372"/>
                    </a:lnTo>
                    <a:lnTo>
                      <a:pt x="25" y="372"/>
                    </a:lnTo>
                    <a:lnTo>
                      <a:pt x="26" y="366"/>
                    </a:lnTo>
                    <a:lnTo>
                      <a:pt x="26" y="366"/>
                    </a:lnTo>
                    <a:lnTo>
                      <a:pt x="28" y="361"/>
                    </a:lnTo>
                    <a:lnTo>
                      <a:pt x="28" y="360"/>
                    </a:lnTo>
                    <a:lnTo>
                      <a:pt x="28" y="360"/>
                    </a:lnTo>
                    <a:lnTo>
                      <a:pt x="28" y="360"/>
                    </a:lnTo>
                    <a:lnTo>
                      <a:pt x="28" y="360"/>
                    </a:lnTo>
                    <a:lnTo>
                      <a:pt x="28" y="360"/>
                    </a:lnTo>
                    <a:lnTo>
                      <a:pt x="32" y="354"/>
                    </a:lnTo>
                    <a:lnTo>
                      <a:pt x="32" y="354"/>
                    </a:lnTo>
                    <a:lnTo>
                      <a:pt x="30" y="356"/>
                    </a:lnTo>
                    <a:lnTo>
                      <a:pt x="30" y="356"/>
                    </a:lnTo>
                    <a:lnTo>
                      <a:pt x="30" y="356"/>
                    </a:lnTo>
                    <a:lnTo>
                      <a:pt x="30" y="354"/>
                    </a:lnTo>
                    <a:lnTo>
                      <a:pt x="30" y="354"/>
                    </a:lnTo>
                    <a:lnTo>
                      <a:pt x="30" y="350"/>
                    </a:lnTo>
                    <a:lnTo>
                      <a:pt x="30" y="350"/>
                    </a:lnTo>
                    <a:lnTo>
                      <a:pt x="32" y="347"/>
                    </a:lnTo>
                    <a:lnTo>
                      <a:pt x="33" y="344"/>
                    </a:lnTo>
                    <a:lnTo>
                      <a:pt x="33" y="344"/>
                    </a:lnTo>
                    <a:lnTo>
                      <a:pt x="33" y="347"/>
                    </a:lnTo>
                    <a:lnTo>
                      <a:pt x="38" y="339"/>
                    </a:lnTo>
                    <a:lnTo>
                      <a:pt x="38" y="339"/>
                    </a:lnTo>
                    <a:lnTo>
                      <a:pt x="34" y="340"/>
                    </a:lnTo>
                    <a:lnTo>
                      <a:pt x="34" y="343"/>
                    </a:lnTo>
                    <a:lnTo>
                      <a:pt x="34" y="343"/>
                    </a:lnTo>
                    <a:lnTo>
                      <a:pt x="33" y="341"/>
                    </a:lnTo>
                    <a:lnTo>
                      <a:pt x="33" y="341"/>
                    </a:lnTo>
                    <a:lnTo>
                      <a:pt x="33" y="339"/>
                    </a:lnTo>
                    <a:lnTo>
                      <a:pt x="34" y="336"/>
                    </a:lnTo>
                    <a:lnTo>
                      <a:pt x="38" y="332"/>
                    </a:lnTo>
                    <a:lnTo>
                      <a:pt x="38" y="332"/>
                    </a:lnTo>
                    <a:lnTo>
                      <a:pt x="41" y="331"/>
                    </a:lnTo>
                    <a:lnTo>
                      <a:pt x="41" y="331"/>
                    </a:lnTo>
                    <a:lnTo>
                      <a:pt x="44" y="332"/>
                    </a:lnTo>
                    <a:lnTo>
                      <a:pt x="46" y="333"/>
                    </a:lnTo>
                    <a:lnTo>
                      <a:pt x="52" y="333"/>
                    </a:lnTo>
                    <a:lnTo>
                      <a:pt x="52" y="333"/>
                    </a:lnTo>
                    <a:lnTo>
                      <a:pt x="52" y="333"/>
                    </a:lnTo>
                    <a:lnTo>
                      <a:pt x="58" y="335"/>
                    </a:lnTo>
                    <a:lnTo>
                      <a:pt x="62" y="336"/>
                    </a:lnTo>
                    <a:lnTo>
                      <a:pt x="62" y="336"/>
                    </a:lnTo>
                    <a:lnTo>
                      <a:pt x="64" y="333"/>
                    </a:lnTo>
                    <a:lnTo>
                      <a:pt x="64" y="333"/>
                    </a:lnTo>
                    <a:lnTo>
                      <a:pt x="62" y="336"/>
                    </a:lnTo>
                    <a:lnTo>
                      <a:pt x="69" y="331"/>
                    </a:lnTo>
                    <a:lnTo>
                      <a:pt x="69" y="331"/>
                    </a:lnTo>
                    <a:lnTo>
                      <a:pt x="69" y="331"/>
                    </a:lnTo>
                    <a:lnTo>
                      <a:pt x="69" y="331"/>
                    </a:lnTo>
                    <a:lnTo>
                      <a:pt x="67" y="331"/>
                    </a:lnTo>
                    <a:lnTo>
                      <a:pt x="66" y="332"/>
                    </a:lnTo>
                    <a:lnTo>
                      <a:pt x="66" y="332"/>
                    </a:lnTo>
                    <a:lnTo>
                      <a:pt x="65" y="335"/>
                    </a:lnTo>
                    <a:lnTo>
                      <a:pt x="65" y="335"/>
                    </a:lnTo>
                    <a:lnTo>
                      <a:pt x="64" y="333"/>
                    </a:lnTo>
                    <a:lnTo>
                      <a:pt x="64" y="333"/>
                    </a:lnTo>
                    <a:lnTo>
                      <a:pt x="64" y="329"/>
                    </a:lnTo>
                    <a:lnTo>
                      <a:pt x="64" y="329"/>
                    </a:lnTo>
                    <a:lnTo>
                      <a:pt x="64" y="327"/>
                    </a:lnTo>
                    <a:lnTo>
                      <a:pt x="62" y="324"/>
                    </a:lnTo>
                    <a:lnTo>
                      <a:pt x="62" y="324"/>
                    </a:lnTo>
                    <a:lnTo>
                      <a:pt x="64" y="320"/>
                    </a:lnTo>
                    <a:lnTo>
                      <a:pt x="66" y="316"/>
                    </a:lnTo>
                    <a:lnTo>
                      <a:pt x="67" y="312"/>
                    </a:lnTo>
                    <a:lnTo>
                      <a:pt x="67" y="312"/>
                    </a:lnTo>
                    <a:lnTo>
                      <a:pt x="69" y="311"/>
                    </a:lnTo>
                    <a:lnTo>
                      <a:pt x="74" y="307"/>
                    </a:lnTo>
                    <a:lnTo>
                      <a:pt x="75" y="307"/>
                    </a:lnTo>
                    <a:lnTo>
                      <a:pt x="75" y="307"/>
                    </a:lnTo>
                    <a:lnTo>
                      <a:pt x="78" y="307"/>
                    </a:lnTo>
                    <a:lnTo>
                      <a:pt x="78" y="307"/>
                    </a:lnTo>
                    <a:lnTo>
                      <a:pt x="82" y="307"/>
                    </a:lnTo>
                    <a:lnTo>
                      <a:pt x="82" y="307"/>
                    </a:lnTo>
                    <a:lnTo>
                      <a:pt x="85" y="308"/>
                    </a:lnTo>
                    <a:lnTo>
                      <a:pt x="85" y="308"/>
                    </a:lnTo>
                    <a:lnTo>
                      <a:pt x="82" y="304"/>
                    </a:lnTo>
                    <a:lnTo>
                      <a:pt x="81" y="302"/>
                    </a:lnTo>
                    <a:lnTo>
                      <a:pt x="81" y="302"/>
                    </a:lnTo>
                    <a:lnTo>
                      <a:pt x="78" y="296"/>
                    </a:lnTo>
                    <a:lnTo>
                      <a:pt x="78" y="291"/>
                    </a:lnTo>
                    <a:lnTo>
                      <a:pt x="78" y="291"/>
                    </a:lnTo>
                    <a:lnTo>
                      <a:pt x="78" y="287"/>
                    </a:lnTo>
                    <a:lnTo>
                      <a:pt x="77" y="284"/>
                    </a:lnTo>
                    <a:lnTo>
                      <a:pt x="77" y="282"/>
                    </a:lnTo>
                    <a:lnTo>
                      <a:pt x="77" y="282"/>
                    </a:lnTo>
                    <a:lnTo>
                      <a:pt x="77" y="276"/>
                    </a:lnTo>
                    <a:lnTo>
                      <a:pt x="77" y="276"/>
                    </a:lnTo>
                    <a:lnTo>
                      <a:pt x="77" y="274"/>
                    </a:lnTo>
                    <a:lnTo>
                      <a:pt x="77" y="274"/>
                    </a:lnTo>
                    <a:lnTo>
                      <a:pt x="78" y="274"/>
                    </a:lnTo>
                    <a:lnTo>
                      <a:pt x="79" y="275"/>
                    </a:lnTo>
                    <a:lnTo>
                      <a:pt x="75" y="270"/>
                    </a:lnTo>
                    <a:lnTo>
                      <a:pt x="75" y="267"/>
                    </a:lnTo>
                    <a:lnTo>
                      <a:pt x="75" y="267"/>
                    </a:lnTo>
                    <a:lnTo>
                      <a:pt x="75" y="261"/>
                    </a:lnTo>
                    <a:lnTo>
                      <a:pt x="75" y="261"/>
                    </a:lnTo>
                    <a:lnTo>
                      <a:pt x="75" y="258"/>
                    </a:lnTo>
                    <a:lnTo>
                      <a:pt x="75" y="258"/>
                    </a:lnTo>
                    <a:lnTo>
                      <a:pt x="77" y="259"/>
                    </a:lnTo>
                    <a:lnTo>
                      <a:pt x="78" y="261"/>
                    </a:lnTo>
                    <a:lnTo>
                      <a:pt x="74" y="255"/>
                    </a:lnTo>
                    <a:lnTo>
                      <a:pt x="74" y="251"/>
                    </a:lnTo>
                    <a:lnTo>
                      <a:pt x="74" y="251"/>
                    </a:lnTo>
                    <a:lnTo>
                      <a:pt x="74" y="246"/>
                    </a:lnTo>
                    <a:lnTo>
                      <a:pt x="74" y="246"/>
                    </a:lnTo>
                    <a:lnTo>
                      <a:pt x="74" y="243"/>
                    </a:lnTo>
                    <a:lnTo>
                      <a:pt x="74" y="243"/>
                    </a:lnTo>
                    <a:lnTo>
                      <a:pt x="75" y="243"/>
                    </a:lnTo>
                    <a:lnTo>
                      <a:pt x="77" y="245"/>
                    </a:lnTo>
                    <a:lnTo>
                      <a:pt x="73" y="239"/>
                    </a:lnTo>
                    <a:lnTo>
                      <a:pt x="73" y="237"/>
                    </a:lnTo>
                    <a:lnTo>
                      <a:pt x="73" y="237"/>
                    </a:lnTo>
                    <a:lnTo>
                      <a:pt x="73" y="237"/>
                    </a:lnTo>
                    <a:lnTo>
                      <a:pt x="73" y="232"/>
                    </a:lnTo>
                    <a:lnTo>
                      <a:pt x="73" y="232"/>
                    </a:lnTo>
                    <a:lnTo>
                      <a:pt x="73" y="224"/>
                    </a:lnTo>
                    <a:lnTo>
                      <a:pt x="74" y="221"/>
                    </a:lnTo>
                    <a:lnTo>
                      <a:pt x="75" y="217"/>
                    </a:lnTo>
                    <a:lnTo>
                      <a:pt x="79" y="214"/>
                    </a:lnTo>
                    <a:lnTo>
                      <a:pt x="79" y="214"/>
                    </a:lnTo>
                    <a:lnTo>
                      <a:pt x="86" y="214"/>
                    </a:lnTo>
                    <a:lnTo>
                      <a:pt x="86" y="214"/>
                    </a:lnTo>
                    <a:lnTo>
                      <a:pt x="91" y="214"/>
                    </a:lnTo>
                    <a:lnTo>
                      <a:pt x="91" y="214"/>
                    </a:lnTo>
                    <a:lnTo>
                      <a:pt x="91" y="214"/>
                    </a:lnTo>
                    <a:lnTo>
                      <a:pt x="94" y="214"/>
                    </a:lnTo>
                    <a:lnTo>
                      <a:pt x="94" y="214"/>
                    </a:lnTo>
                    <a:lnTo>
                      <a:pt x="97" y="214"/>
                    </a:lnTo>
                    <a:lnTo>
                      <a:pt x="97" y="214"/>
                    </a:lnTo>
                    <a:lnTo>
                      <a:pt x="97" y="216"/>
                    </a:lnTo>
                    <a:lnTo>
                      <a:pt x="98" y="214"/>
                    </a:lnTo>
                    <a:lnTo>
                      <a:pt x="98" y="214"/>
                    </a:lnTo>
                    <a:lnTo>
                      <a:pt x="99" y="216"/>
                    </a:lnTo>
                    <a:lnTo>
                      <a:pt x="102" y="217"/>
                    </a:lnTo>
                    <a:lnTo>
                      <a:pt x="102" y="214"/>
                    </a:lnTo>
                    <a:lnTo>
                      <a:pt x="102" y="216"/>
                    </a:lnTo>
                    <a:lnTo>
                      <a:pt x="102" y="214"/>
                    </a:lnTo>
                    <a:lnTo>
                      <a:pt x="99" y="213"/>
                    </a:lnTo>
                    <a:lnTo>
                      <a:pt x="102" y="212"/>
                    </a:lnTo>
                    <a:lnTo>
                      <a:pt x="102" y="210"/>
                    </a:lnTo>
                    <a:lnTo>
                      <a:pt x="102" y="210"/>
                    </a:lnTo>
                    <a:lnTo>
                      <a:pt x="99" y="210"/>
                    </a:lnTo>
                    <a:lnTo>
                      <a:pt x="98" y="212"/>
                    </a:lnTo>
                    <a:lnTo>
                      <a:pt x="95" y="210"/>
                    </a:lnTo>
                    <a:lnTo>
                      <a:pt x="95" y="208"/>
                    </a:lnTo>
                    <a:lnTo>
                      <a:pt x="95" y="208"/>
                    </a:lnTo>
                    <a:lnTo>
                      <a:pt x="95" y="208"/>
                    </a:lnTo>
                    <a:lnTo>
                      <a:pt x="95" y="206"/>
                    </a:lnTo>
                    <a:lnTo>
                      <a:pt x="95" y="206"/>
                    </a:lnTo>
                    <a:lnTo>
                      <a:pt x="93" y="204"/>
                    </a:lnTo>
                    <a:lnTo>
                      <a:pt x="93" y="200"/>
                    </a:lnTo>
                    <a:lnTo>
                      <a:pt x="93" y="200"/>
                    </a:lnTo>
                    <a:lnTo>
                      <a:pt x="91" y="198"/>
                    </a:lnTo>
                    <a:lnTo>
                      <a:pt x="91" y="198"/>
                    </a:lnTo>
                    <a:lnTo>
                      <a:pt x="91" y="194"/>
                    </a:lnTo>
                    <a:lnTo>
                      <a:pt x="90" y="191"/>
                    </a:lnTo>
                    <a:lnTo>
                      <a:pt x="90" y="181"/>
                    </a:lnTo>
                    <a:lnTo>
                      <a:pt x="90" y="181"/>
                    </a:lnTo>
                    <a:lnTo>
                      <a:pt x="90" y="176"/>
                    </a:lnTo>
                    <a:lnTo>
                      <a:pt x="90" y="176"/>
                    </a:lnTo>
                    <a:lnTo>
                      <a:pt x="90" y="173"/>
                    </a:lnTo>
                    <a:lnTo>
                      <a:pt x="90" y="173"/>
                    </a:lnTo>
                    <a:lnTo>
                      <a:pt x="90" y="176"/>
                    </a:lnTo>
                    <a:lnTo>
                      <a:pt x="93" y="177"/>
                    </a:lnTo>
                    <a:lnTo>
                      <a:pt x="89" y="171"/>
                    </a:lnTo>
                    <a:lnTo>
                      <a:pt x="89" y="168"/>
                    </a:lnTo>
                    <a:lnTo>
                      <a:pt x="90" y="167"/>
                    </a:lnTo>
                    <a:lnTo>
                      <a:pt x="90" y="167"/>
                    </a:lnTo>
                    <a:lnTo>
                      <a:pt x="91" y="169"/>
                    </a:lnTo>
                    <a:lnTo>
                      <a:pt x="94" y="169"/>
                    </a:lnTo>
                    <a:lnTo>
                      <a:pt x="94" y="168"/>
                    </a:lnTo>
                    <a:lnTo>
                      <a:pt x="94" y="168"/>
                    </a:lnTo>
                    <a:lnTo>
                      <a:pt x="94" y="168"/>
                    </a:lnTo>
                    <a:lnTo>
                      <a:pt x="93" y="167"/>
                    </a:lnTo>
                    <a:lnTo>
                      <a:pt x="94" y="164"/>
                    </a:lnTo>
                    <a:lnTo>
                      <a:pt x="94" y="163"/>
                    </a:lnTo>
                    <a:lnTo>
                      <a:pt x="94" y="163"/>
                    </a:lnTo>
                    <a:lnTo>
                      <a:pt x="91" y="164"/>
                    </a:lnTo>
                    <a:lnTo>
                      <a:pt x="90" y="165"/>
                    </a:lnTo>
                    <a:lnTo>
                      <a:pt x="89" y="164"/>
                    </a:lnTo>
                    <a:lnTo>
                      <a:pt x="89" y="163"/>
                    </a:lnTo>
                    <a:lnTo>
                      <a:pt x="89" y="163"/>
                    </a:lnTo>
                    <a:lnTo>
                      <a:pt x="87" y="160"/>
                    </a:lnTo>
                    <a:lnTo>
                      <a:pt x="87" y="160"/>
                    </a:lnTo>
                    <a:lnTo>
                      <a:pt x="86" y="156"/>
                    </a:lnTo>
                    <a:lnTo>
                      <a:pt x="86" y="150"/>
                    </a:lnTo>
                    <a:lnTo>
                      <a:pt x="86" y="150"/>
                    </a:lnTo>
                    <a:lnTo>
                      <a:pt x="86" y="146"/>
                    </a:lnTo>
                    <a:lnTo>
                      <a:pt x="86" y="146"/>
                    </a:lnTo>
                    <a:lnTo>
                      <a:pt x="86" y="146"/>
                    </a:lnTo>
                    <a:lnTo>
                      <a:pt x="86" y="146"/>
                    </a:lnTo>
                    <a:lnTo>
                      <a:pt x="87" y="148"/>
                    </a:lnTo>
                    <a:lnTo>
                      <a:pt x="87" y="148"/>
                    </a:lnTo>
                    <a:lnTo>
                      <a:pt x="89" y="150"/>
                    </a:lnTo>
                    <a:lnTo>
                      <a:pt x="90" y="150"/>
                    </a:lnTo>
                    <a:lnTo>
                      <a:pt x="90" y="150"/>
                    </a:lnTo>
                    <a:lnTo>
                      <a:pt x="90" y="150"/>
                    </a:lnTo>
                    <a:lnTo>
                      <a:pt x="85" y="143"/>
                    </a:lnTo>
                    <a:lnTo>
                      <a:pt x="85" y="142"/>
                    </a:lnTo>
                    <a:lnTo>
                      <a:pt x="85" y="142"/>
                    </a:lnTo>
                    <a:lnTo>
                      <a:pt x="83" y="139"/>
                    </a:lnTo>
                    <a:lnTo>
                      <a:pt x="83" y="134"/>
                    </a:lnTo>
                    <a:lnTo>
                      <a:pt x="86" y="131"/>
                    </a:lnTo>
                    <a:lnTo>
                      <a:pt x="86" y="131"/>
                    </a:lnTo>
                    <a:lnTo>
                      <a:pt x="85" y="132"/>
                    </a:lnTo>
                    <a:lnTo>
                      <a:pt x="85" y="132"/>
                    </a:lnTo>
                    <a:lnTo>
                      <a:pt x="85" y="128"/>
                    </a:lnTo>
                    <a:lnTo>
                      <a:pt x="85" y="128"/>
                    </a:lnTo>
                    <a:lnTo>
                      <a:pt x="85" y="122"/>
                    </a:lnTo>
                    <a:lnTo>
                      <a:pt x="85" y="118"/>
                    </a:lnTo>
                    <a:lnTo>
                      <a:pt x="85" y="115"/>
                    </a:lnTo>
                    <a:lnTo>
                      <a:pt x="85" y="115"/>
                    </a:lnTo>
                    <a:lnTo>
                      <a:pt x="86" y="110"/>
                    </a:lnTo>
                    <a:lnTo>
                      <a:pt x="86" y="103"/>
                    </a:lnTo>
                    <a:lnTo>
                      <a:pt x="86" y="103"/>
                    </a:lnTo>
                    <a:lnTo>
                      <a:pt x="86" y="94"/>
                    </a:lnTo>
                    <a:lnTo>
                      <a:pt x="86" y="93"/>
                    </a:lnTo>
                    <a:lnTo>
                      <a:pt x="90" y="87"/>
                    </a:lnTo>
                    <a:lnTo>
                      <a:pt x="90" y="87"/>
                    </a:lnTo>
                    <a:lnTo>
                      <a:pt x="87" y="89"/>
                    </a:lnTo>
                    <a:lnTo>
                      <a:pt x="87" y="90"/>
                    </a:lnTo>
                    <a:lnTo>
                      <a:pt x="87" y="90"/>
                    </a:lnTo>
                    <a:lnTo>
                      <a:pt x="87" y="87"/>
                    </a:lnTo>
                    <a:lnTo>
                      <a:pt x="87" y="87"/>
                    </a:lnTo>
                    <a:lnTo>
                      <a:pt x="87" y="82"/>
                    </a:lnTo>
                    <a:lnTo>
                      <a:pt x="87" y="81"/>
                    </a:lnTo>
                    <a:lnTo>
                      <a:pt x="91" y="75"/>
                    </a:lnTo>
                    <a:lnTo>
                      <a:pt x="90" y="75"/>
                    </a:lnTo>
                    <a:lnTo>
                      <a:pt x="90" y="75"/>
                    </a:lnTo>
                    <a:lnTo>
                      <a:pt x="89" y="78"/>
                    </a:lnTo>
                    <a:lnTo>
                      <a:pt x="89" y="78"/>
                    </a:lnTo>
                    <a:lnTo>
                      <a:pt x="89" y="78"/>
                    </a:lnTo>
                    <a:lnTo>
                      <a:pt x="89" y="78"/>
                    </a:lnTo>
                    <a:lnTo>
                      <a:pt x="89" y="75"/>
                    </a:lnTo>
                    <a:lnTo>
                      <a:pt x="89" y="74"/>
                    </a:lnTo>
                    <a:lnTo>
                      <a:pt x="95" y="69"/>
                    </a:lnTo>
                    <a:lnTo>
                      <a:pt x="95" y="69"/>
                    </a:lnTo>
                    <a:lnTo>
                      <a:pt x="95" y="69"/>
                    </a:lnTo>
                    <a:lnTo>
                      <a:pt x="95" y="69"/>
                    </a:lnTo>
                    <a:lnTo>
                      <a:pt x="93" y="69"/>
                    </a:lnTo>
                    <a:lnTo>
                      <a:pt x="91" y="70"/>
                    </a:lnTo>
                    <a:lnTo>
                      <a:pt x="91" y="70"/>
                    </a:lnTo>
                    <a:lnTo>
                      <a:pt x="90" y="73"/>
                    </a:lnTo>
                    <a:lnTo>
                      <a:pt x="90" y="73"/>
                    </a:lnTo>
                    <a:lnTo>
                      <a:pt x="90" y="72"/>
                    </a:lnTo>
                    <a:lnTo>
                      <a:pt x="90" y="72"/>
                    </a:lnTo>
                    <a:lnTo>
                      <a:pt x="90" y="68"/>
                    </a:lnTo>
                    <a:lnTo>
                      <a:pt x="90" y="66"/>
                    </a:lnTo>
                    <a:lnTo>
                      <a:pt x="94" y="60"/>
                    </a:lnTo>
                    <a:lnTo>
                      <a:pt x="94" y="60"/>
                    </a:lnTo>
                    <a:lnTo>
                      <a:pt x="91" y="61"/>
                    </a:lnTo>
                    <a:lnTo>
                      <a:pt x="91" y="64"/>
                    </a:lnTo>
                    <a:lnTo>
                      <a:pt x="91" y="64"/>
                    </a:lnTo>
                    <a:lnTo>
                      <a:pt x="91" y="61"/>
                    </a:lnTo>
                    <a:lnTo>
                      <a:pt x="91" y="61"/>
                    </a:lnTo>
                    <a:lnTo>
                      <a:pt x="90" y="58"/>
                    </a:lnTo>
                    <a:lnTo>
                      <a:pt x="90" y="58"/>
                    </a:lnTo>
                    <a:lnTo>
                      <a:pt x="90" y="54"/>
                    </a:lnTo>
                    <a:lnTo>
                      <a:pt x="90" y="52"/>
                    </a:lnTo>
                    <a:lnTo>
                      <a:pt x="93" y="46"/>
                    </a:lnTo>
                    <a:lnTo>
                      <a:pt x="93" y="46"/>
                    </a:lnTo>
                    <a:lnTo>
                      <a:pt x="93" y="44"/>
                    </a:lnTo>
                    <a:lnTo>
                      <a:pt x="94" y="41"/>
                    </a:lnTo>
                    <a:lnTo>
                      <a:pt x="99" y="36"/>
                    </a:lnTo>
                    <a:lnTo>
                      <a:pt x="99" y="35"/>
                    </a:lnTo>
                    <a:lnTo>
                      <a:pt x="99" y="35"/>
                    </a:lnTo>
                    <a:lnTo>
                      <a:pt x="98" y="35"/>
                    </a:lnTo>
                    <a:lnTo>
                      <a:pt x="99" y="33"/>
                    </a:lnTo>
                    <a:lnTo>
                      <a:pt x="99" y="33"/>
                    </a:lnTo>
                    <a:lnTo>
                      <a:pt x="97" y="35"/>
                    </a:lnTo>
                    <a:lnTo>
                      <a:pt x="97" y="36"/>
                    </a:lnTo>
                    <a:lnTo>
                      <a:pt x="97" y="36"/>
                    </a:lnTo>
                    <a:lnTo>
                      <a:pt x="97" y="36"/>
                    </a:lnTo>
                    <a:lnTo>
                      <a:pt x="97" y="36"/>
                    </a:lnTo>
                    <a:lnTo>
                      <a:pt x="95" y="35"/>
                    </a:lnTo>
                    <a:lnTo>
                      <a:pt x="95" y="35"/>
                    </a:lnTo>
                    <a:lnTo>
                      <a:pt x="95" y="28"/>
                    </a:lnTo>
                    <a:lnTo>
                      <a:pt x="95" y="28"/>
                    </a:lnTo>
                    <a:lnTo>
                      <a:pt x="97" y="21"/>
                    </a:lnTo>
                    <a:lnTo>
                      <a:pt x="98" y="16"/>
                    </a:lnTo>
                    <a:lnTo>
                      <a:pt x="99" y="16"/>
                    </a:lnTo>
                    <a:lnTo>
                      <a:pt x="99" y="15"/>
                    </a:lnTo>
                    <a:lnTo>
                      <a:pt x="99" y="15"/>
                    </a:lnTo>
                    <a:lnTo>
                      <a:pt x="99" y="15"/>
                    </a:lnTo>
                    <a:lnTo>
                      <a:pt x="99" y="15"/>
                    </a:lnTo>
                    <a:lnTo>
                      <a:pt x="99" y="12"/>
                    </a:lnTo>
                    <a:lnTo>
                      <a:pt x="99" y="11"/>
                    </a:lnTo>
                    <a:lnTo>
                      <a:pt x="101" y="8"/>
                    </a:lnTo>
                    <a:lnTo>
                      <a:pt x="101" y="7"/>
                    </a:lnTo>
                    <a:lnTo>
                      <a:pt x="101" y="7"/>
                    </a:lnTo>
                    <a:lnTo>
                      <a:pt x="103" y="4"/>
                    </a:lnTo>
                    <a:lnTo>
                      <a:pt x="106" y="3"/>
                    </a:lnTo>
                    <a:lnTo>
                      <a:pt x="108" y="1"/>
                    </a:lnTo>
                    <a:lnTo>
                      <a:pt x="108" y="1"/>
                    </a:lnTo>
                    <a:lnTo>
                      <a:pt x="114" y="3"/>
                    </a:lnTo>
                    <a:lnTo>
                      <a:pt x="114" y="3"/>
                    </a:lnTo>
                    <a:lnTo>
                      <a:pt x="114" y="3"/>
                    </a:lnTo>
                    <a:lnTo>
                      <a:pt x="115" y="3"/>
                    </a:lnTo>
                    <a:lnTo>
                      <a:pt x="115" y="3"/>
                    </a:lnTo>
                    <a:lnTo>
                      <a:pt x="116" y="1"/>
                    </a:lnTo>
                    <a:lnTo>
                      <a:pt x="116" y="1"/>
                    </a:lnTo>
                    <a:lnTo>
                      <a:pt x="115" y="3"/>
                    </a:lnTo>
                    <a:lnTo>
                      <a:pt x="120" y="0"/>
                    </a:lnTo>
                    <a:lnTo>
                      <a:pt x="122" y="0"/>
                    </a:lnTo>
                    <a:lnTo>
                      <a:pt x="128" y="4"/>
                    </a:lnTo>
                    <a:lnTo>
                      <a:pt x="128" y="4"/>
                    </a:lnTo>
                    <a:lnTo>
                      <a:pt x="130" y="8"/>
                    </a:lnTo>
                    <a:lnTo>
                      <a:pt x="132" y="11"/>
                    </a:lnTo>
                    <a:lnTo>
                      <a:pt x="139" y="16"/>
                    </a:lnTo>
                    <a:lnTo>
                      <a:pt x="139" y="16"/>
                    </a:lnTo>
                    <a:lnTo>
                      <a:pt x="139" y="15"/>
                    </a:lnTo>
                    <a:lnTo>
                      <a:pt x="139" y="15"/>
                    </a:lnTo>
                    <a:lnTo>
                      <a:pt x="143" y="16"/>
                    </a:lnTo>
                    <a:lnTo>
                      <a:pt x="145" y="17"/>
                    </a:lnTo>
                    <a:lnTo>
                      <a:pt x="148" y="16"/>
                    </a:lnTo>
                    <a:lnTo>
                      <a:pt x="148" y="16"/>
                    </a:lnTo>
                    <a:lnTo>
                      <a:pt x="148" y="16"/>
                    </a:lnTo>
                    <a:lnTo>
                      <a:pt x="148" y="16"/>
                    </a:lnTo>
                    <a:lnTo>
                      <a:pt x="149" y="13"/>
                    </a:lnTo>
                    <a:lnTo>
                      <a:pt x="152" y="11"/>
                    </a:lnTo>
                    <a:lnTo>
                      <a:pt x="159" y="11"/>
                    </a:lnTo>
                    <a:lnTo>
                      <a:pt x="159" y="11"/>
                    </a:lnTo>
                    <a:lnTo>
                      <a:pt x="160" y="12"/>
                    </a:lnTo>
                    <a:lnTo>
                      <a:pt x="160" y="12"/>
                    </a:lnTo>
                    <a:lnTo>
                      <a:pt x="163" y="15"/>
                    </a:lnTo>
                    <a:lnTo>
                      <a:pt x="163" y="15"/>
                    </a:lnTo>
                    <a:lnTo>
                      <a:pt x="164" y="15"/>
                    </a:lnTo>
                    <a:lnTo>
                      <a:pt x="164" y="15"/>
                    </a:lnTo>
                    <a:lnTo>
                      <a:pt x="168" y="15"/>
                    </a:lnTo>
                    <a:lnTo>
                      <a:pt x="171" y="15"/>
                    </a:lnTo>
                    <a:lnTo>
                      <a:pt x="171" y="15"/>
                    </a:lnTo>
                    <a:lnTo>
                      <a:pt x="171" y="16"/>
                    </a:lnTo>
                    <a:lnTo>
                      <a:pt x="171" y="16"/>
                    </a:lnTo>
                    <a:lnTo>
                      <a:pt x="172" y="16"/>
                    </a:lnTo>
                    <a:lnTo>
                      <a:pt x="179" y="23"/>
                    </a:lnTo>
                    <a:lnTo>
                      <a:pt x="179" y="23"/>
                    </a:lnTo>
                    <a:lnTo>
                      <a:pt x="179" y="21"/>
                    </a:lnTo>
                    <a:lnTo>
                      <a:pt x="177" y="19"/>
                    </a:lnTo>
                    <a:lnTo>
                      <a:pt x="177" y="19"/>
                    </a:lnTo>
                    <a:lnTo>
                      <a:pt x="177" y="19"/>
                    </a:lnTo>
                    <a:lnTo>
                      <a:pt x="180" y="20"/>
                    </a:lnTo>
                    <a:lnTo>
                      <a:pt x="180" y="20"/>
                    </a:lnTo>
                    <a:lnTo>
                      <a:pt x="179" y="19"/>
                    </a:lnTo>
                    <a:lnTo>
                      <a:pt x="179" y="19"/>
                    </a:lnTo>
                    <a:lnTo>
                      <a:pt x="180" y="19"/>
                    </a:lnTo>
                    <a:lnTo>
                      <a:pt x="180" y="19"/>
                    </a:lnTo>
                    <a:lnTo>
                      <a:pt x="181" y="19"/>
                    </a:lnTo>
                    <a:lnTo>
                      <a:pt x="182" y="19"/>
                    </a:lnTo>
                    <a:lnTo>
                      <a:pt x="189" y="25"/>
                    </a:lnTo>
                    <a:lnTo>
                      <a:pt x="189" y="25"/>
                    </a:lnTo>
                    <a:lnTo>
                      <a:pt x="188" y="21"/>
                    </a:lnTo>
                    <a:lnTo>
                      <a:pt x="185" y="21"/>
                    </a:lnTo>
                    <a:lnTo>
                      <a:pt x="185" y="21"/>
                    </a:lnTo>
                    <a:lnTo>
                      <a:pt x="185" y="21"/>
                    </a:lnTo>
                    <a:lnTo>
                      <a:pt x="186" y="20"/>
                    </a:lnTo>
                    <a:lnTo>
                      <a:pt x="186" y="20"/>
                    </a:lnTo>
                    <a:lnTo>
                      <a:pt x="189" y="20"/>
                    </a:lnTo>
                    <a:lnTo>
                      <a:pt x="189" y="20"/>
                    </a:lnTo>
                    <a:lnTo>
                      <a:pt x="192" y="20"/>
                    </a:lnTo>
                    <a:lnTo>
                      <a:pt x="194" y="20"/>
                    </a:lnTo>
                    <a:lnTo>
                      <a:pt x="198" y="23"/>
                    </a:lnTo>
                    <a:lnTo>
                      <a:pt x="198" y="23"/>
                    </a:lnTo>
                    <a:lnTo>
                      <a:pt x="198" y="21"/>
                    </a:lnTo>
                    <a:lnTo>
                      <a:pt x="198" y="21"/>
                    </a:lnTo>
                    <a:lnTo>
                      <a:pt x="200" y="23"/>
                    </a:lnTo>
                    <a:lnTo>
                      <a:pt x="200" y="23"/>
                    </a:lnTo>
                    <a:lnTo>
                      <a:pt x="204" y="21"/>
                    </a:lnTo>
                    <a:lnTo>
                      <a:pt x="204" y="21"/>
                    </a:lnTo>
                    <a:lnTo>
                      <a:pt x="208" y="21"/>
                    </a:lnTo>
                    <a:lnTo>
                      <a:pt x="208" y="21"/>
                    </a:lnTo>
                    <a:lnTo>
                      <a:pt x="210" y="21"/>
                    </a:lnTo>
                    <a:lnTo>
                      <a:pt x="213" y="21"/>
                    </a:lnTo>
                    <a:lnTo>
                      <a:pt x="218" y="24"/>
                    </a:lnTo>
                    <a:lnTo>
                      <a:pt x="218" y="24"/>
                    </a:lnTo>
                    <a:lnTo>
                      <a:pt x="217" y="23"/>
                    </a:lnTo>
                    <a:lnTo>
                      <a:pt x="217" y="23"/>
                    </a:lnTo>
                    <a:lnTo>
                      <a:pt x="218" y="24"/>
                    </a:lnTo>
                    <a:lnTo>
                      <a:pt x="218" y="24"/>
                    </a:lnTo>
                    <a:lnTo>
                      <a:pt x="221" y="23"/>
                    </a:lnTo>
                    <a:lnTo>
                      <a:pt x="221" y="23"/>
                    </a:lnTo>
                    <a:lnTo>
                      <a:pt x="225" y="23"/>
                    </a:lnTo>
                    <a:lnTo>
                      <a:pt x="225" y="23"/>
                    </a:lnTo>
                    <a:lnTo>
                      <a:pt x="227" y="23"/>
                    </a:lnTo>
                    <a:lnTo>
                      <a:pt x="231" y="23"/>
                    </a:lnTo>
                    <a:lnTo>
                      <a:pt x="237" y="27"/>
                    </a:lnTo>
                    <a:lnTo>
                      <a:pt x="237" y="27"/>
                    </a:lnTo>
                    <a:lnTo>
                      <a:pt x="234" y="24"/>
                    </a:lnTo>
                    <a:lnTo>
                      <a:pt x="234" y="24"/>
                    </a:lnTo>
                    <a:lnTo>
                      <a:pt x="235" y="24"/>
                    </a:lnTo>
                    <a:lnTo>
                      <a:pt x="235" y="24"/>
                    </a:lnTo>
                    <a:lnTo>
                      <a:pt x="238" y="24"/>
                    </a:lnTo>
                    <a:lnTo>
                      <a:pt x="238" y="24"/>
                    </a:lnTo>
                    <a:lnTo>
                      <a:pt x="242" y="24"/>
                    </a:lnTo>
                    <a:lnTo>
                      <a:pt x="242" y="24"/>
                    </a:lnTo>
                    <a:lnTo>
                      <a:pt x="245" y="24"/>
                    </a:lnTo>
                    <a:lnTo>
                      <a:pt x="246" y="24"/>
                    </a:lnTo>
                    <a:lnTo>
                      <a:pt x="253" y="28"/>
                    </a:lnTo>
                    <a:lnTo>
                      <a:pt x="253" y="28"/>
                    </a:lnTo>
                    <a:lnTo>
                      <a:pt x="251" y="27"/>
                    </a:lnTo>
                    <a:lnTo>
                      <a:pt x="250" y="25"/>
                    </a:lnTo>
                    <a:lnTo>
                      <a:pt x="250" y="25"/>
                    </a:lnTo>
                    <a:lnTo>
                      <a:pt x="250" y="25"/>
                    </a:lnTo>
                    <a:lnTo>
                      <a:pt x="250" y="25"/>
                    </a:lnTo>
                    <a:lnTo>
                      <a:pt x="251" y="25"/>
                    </a:lnTo>
                    <a:lnTo>
                      <a:pt x="251" y="25"/>
                    </a:lnTo>
                    <a:lnTo>
                      <a:pt x="255" y="25"/>
                    </a:lnTo>
                    <a:lnTo>
                      <a:pt x="255" y="25"/>
                    </a:lnTo>
                    <a:lnTo>
                      <a:pt x="258" y="25"/>
                    </a:lnTo>
                    <a:lnTo>
                      <a:pt x="261" y="25"/>
                    </a:lnTo>
                    <a:lnTo>
                      <a:pt x="267" y="32"/>
                    </a:lnTo>
                    <a:lnTo>
                      <a:pt x="267" y="32"/>
                    </a:lnTo>
                    <a:lnTo>
                      <a:pt x="264" y="28"/>
                    </a:lnTo>
                    <a:lnTo>
                      <a:pt x="263" y="27"/>
                    </a:lnTo>
                    <a:lnTo>
                      <a:pt x="263" y="27"/>
                    </a:lnTo>
                    <a:lnTo>
                      <a:pt x="263" y="27"/>
                    </a:lnTo>
                    <a:lnTo>
                      <a:pt x="264" y="27"/>
                    </a:lnTo>
                    <a:lnTo>
                      <a:pt x="264" y="27"/>
                    </a:lnTo>
                    <a:lnTo>
                      <a:pt x="267" y="27"/>
                    </a:lnTo>
                    <a:lnTo>
                      <a:pt x="267" y="27"/>
                    </a:lnTo>
                    <a:lnTo>
                      <a:pt x="268" y="27"/>
                    </a:lnTo>
                    <a:lnTo>
                      <a:pt x="275" y="27"/>
                    </a:lnTo>
                    <a:lnTo>
                      <a:pt x="276" y="29"/>
                    </a:lnTo>
                    <a:lnTo>
                      <a:pt x="276" y="29"/>
                    </a:lnTo>
                    <a:lnTo>
                      <a:pt x="275" y="31"/>
                    </a:lnTo>
                    <a:lnTo>
                      <a:pt x="275" y="31"/>
                    </a:lnTo>
                    <a:lnTo>
                      <a:pt x="275" y="32"/>
                    </a:lnTo>
                    <a:lnTo>
                      <a:pt x="275" y="35"/>
                    </a:lnTo>
                    <a:lnTo>
                      <a:pt x="278" y="31"/>
                    </a:lnTo>
                    <a:lnTo>
                      <a:pt x="280" y="35"/>
                    </a:lnTo>
                    <a:lnTo>
                      <a:pt x="280" y="35"/>
                    </a:lnTo>
                    <a:lnTo>
                      <a:pt x="280" y="32"/>
                    </a:lnTo>
                    <a:lnTo>
                      <a:pt x="279" y="31"/>
                    </a:lnTo>
                    <a:lnTo>
                      <a:pt x="279" y="31"/>
                    </a:lnTo>
                    <a:lnTo>
                      <a:pt x="279" y="29"/>
                    </a:lnTo>
                    <a:lnTo>
                      <a:pt x="280" y="27"/>
                    </a:lnTo>
                    <a:lnTo>
                      <a:pt x="292" y="27"/>
                    </a:lnTo>
                    <a:lnTo>
                      <a:pt x="298" y="31"/>
                    </a:lnTo>
                    <a:lnTo>
                      <a:pt x="298" y="31"/>
                    </a:lnTo>
                    <a:lnTo>
                      <a:pt x="296" y="29"/>
                    </a:lnTo>
                    <a:lnTo>
                      <a:pt x="295" y="28"/>
                    </a:lnTo>
                    <a:lnTo>
                      <a:pt x="295" y="28"/>
                    </a:lnTo>
                    <a:lnTo>
                      <a:pt x="295" y="28"/>
                    </a:lnTo>
                    <a:lnTo>
                      <a:pt x="295" y="28"/>
                    </a:lnTo>
                    <a:lnTo>
                      <a:pt x="298" y="28"/>
                    </a:lnTo>
                    <a:lnTo>
                      <a:pt x="298" y="28"/>
                    </a:lnTo>
                    <a:lnTo>
                      <a:pt x="300" y="28"/>
                    </a:lnTo>
                    <a:lnTo>
                      <a:pt x="300" y="28"/>
                    </a:lnTo>
                    <a:lnTo>
                      <a:pt x="303" y="28"/>
                    </a:lnTo>
                    <a:lnTo>
                      <a:pt x="308" y="28"/>
                    </a:lnTo>
                    <a:lnTo>
                      <a:pt x="309" y="29"/>
                    </a:lnTo>
                    <a:lnTo>
                      <a:pt x="312" y="29"/>
                    </a:lnTo>
                    <a:lnTo>
                      <a:pt x="315" y="33"/>
                    </a:lnTo>
                    <a:lnTo>
                      <a:pt x="315" y="35"/>
                    </a:lnTo>
                    <a:lnTo>
                      <a:pt x="315" y="35"/>
                    </a:lnTo>
                    <a:lnTo>
                      <a:pt x="317" y="40"/>
                    </a:lnTo>
                    <a:lnTo>
                      <a:pt x="317" y="40"/>
                    </a:lnTo>
                    <a:lnTo>
                      <a:pt x="317" y="38"/>
                    </a:lnTo>
                    <a:lnTo>
                      <a:pt x="317" y="38"/>
                    </a:lnTo>
                    <a:lnTo>
                      <a:pt x="317" y="42"/>
                    </a:lnTo>
                    <a:lnTo>
                      <a:pt x="317" y="44"/>
                    </a:lnTo>
                    <a:lnTo>
                      <a:pt x="311" y="50"/>
                    </a:lnTo>
                    <a:lnTo>
                      <a:pt x="311" y="50"/>
                    </a:lnTo>
                    <a:lnTo>
                      <a:pt x="311" y="50"/>
                    </a:lnTo>
                    <a:lnTo>
                      <a:pt x="311" y="50"/>
                    </a:lnTo>
                    <a:lnTo>
                      <a:pt x="313" y="50"/>
                    </a:lnTo>
                    <a:lnTo>
                      <a:pt x="315" y="49"/>
                    </a:lnTo>
                    <a:lnTo>
                      <a:pt x="315" y="49"/>
                    </a:lnTo>
                    <a:lnTo>
                      <a:pt x="316" y="46"/>
                    </a:lnTo>
                    <a:lnTo>
                      <a:pt x="316" y="46"/>
                    </a:lnTo>
                    <a:lnTo>
                      <a:pt x="316" y="48"/>
                    </a:lnTo>
                    <a:lnTo>
                      <a:pt x="316" y="48"/>
                    </a:lnTo>
                    <a:lnTo>
                      <a:pt x="316" y="52"/>
                    </a:lnTo>
                    <a:lnTo>
                      <a:pt x="316" y="54"/>
                    </a:lnTo>
                    <a:lnTo>
                      <a:pt x="309" y="61"/>
                    </a:lnTo>
                    <a:lnTo>
                      <a:pt x="309" y="61"/>
                    </a:lnTo>
                    <a:lnTo>
                      <a:pt x="309" y="61"/>
                    </a:lnTo>
                    <a:lnTo>
                      <a:pt x="309" y="61"/>
                    </a:lnTo>
                    <a:lnTo>
                      <a:pt x="312" y="60"/>
                    </a:lnTo>
                    <a:lnTo>
                      <a:pt x="313" y="60"/>
                    </a:lnTo>
                    <a:lnTo>
                      <a:pt x="313" y="60"/>
                    </a:lnTo>
                    <a:lnTo>
                      <a:pt x="315" y="56"/>
                    </a:lnTo>
                    <a:lnTo>
                      <a:pt x="315" y="56"/>
                    </a:lnTo>
                    <a:lnTo>
                      <a:pt x="315" y="57"/>
                    </a:lnTo>
                    <a:lnTo>
                      <a:pt x="315" y="57"/>
                    </a:lnTo>
                    <a:lnTo>
                      <a:pt x="315" y="60"/>
                    </a:lnTo>
                    <a:lnTo>
                      <a:pt x="315" y="62"/>
                    </a:lnTo>
                    <a:lnTo>
                      <a:pt x="312" y="66"/>
                    </a:lnTo>
                    <a:lnTo>
                      <a:pt x="312" y="66"/>
                    </a:lnTo>
                    <a:lnTo>
                      <a:pt x="313" y="65"/>
                    </a:lnTo>
                    <a:lnTo>
                      <a:pt x="313" y="65"/>
                    </a:lnTo>
                    <a:lnTo>
                      <a:pt x="312" y="66"/>
                    </a:lnTo>
                    <a:lnTo>
                      <a:pt x="312" y="66"/>
                    </a:lnTo>
                    <a:lnTo>
                      <a:pt x="312" y="68"/>
                    </a:lnTo>
                    <a:lnTo>
                      <a:pt x="312" y="69"/>
                    </a:lnTo>
                    <a:lnTo>
                      <a:pt x="312" y="69"/>
                    </a:lnTo>
                    <a:lnTo>
                      <a:pt x="312" y="69"/>
                    </a:lnTo>
                    <a:lnTo>
                      <a:pt x="312" y="69"/>
                    </a:lnTo>
                    <a:lnTo>
                      <a:pt x="312" y="69"/>
                    </a:lnTo>
                    <a:lnTo>
                      <a:pt x="308" y="73"/>
                    </a:lnTo>
                    <a:lnTo>
                      <a:pt x="309" y="73"/>
                    </a:lnTo>
                    <a:lnTo>
                      <a:pt x="309" y="73"/>
                    </a:lnTo>
                    <a:lnTo>
                      <a:pt x="311" y="70"/>
                    </a:lnTo>
                    <a:lnTo>
                      <a:pt x="311" y="70"/>
                    </a:lnTo>
                    <a:lnTo>
                      <a:pt x="311" y="72"/>
                    </a:lnTo>
                    <a:lnTo>
                      <a:pt x="311" y="72"/>
                    </a:lnTo>
                    <a:lnTo>
                      <a:pt x="311" y="74"/>
                    </a:lnTo>
                    <a:lnTo>
                      <a:pt x="311" y="74"/>
                    </a:lnTo>
                    <a:lnTo>
                      <a:pt x="308" y="79"/>
                    </a:lnTo>
                    <a:lnTo>
                      <a:pt x="308" y="79"/>
                    </a:lnTo>
                    <a:lnTo>
                      <a:pt x="309" y="78"/>
                    </a:lnTo>
                    <a:lnTo>
                      <a:pt x="309" y="78"/>
                    </a:lnTo>
                    <a:lnTo>
                      <a:pt x="308" y="81"/>
                    </a:lnTo>
                    <a:lnTo>
                      <a:pt x="308" y="81"/>
                    </a:lnTo>
                    <a:lnTo>
                      <a:pt x="308" y="82"/>
                    </a:lnTo>
                    <a:lnTo>
                      <a:pt x="308" y="82"/>
                    </a:lnTo>
                    <a:lnTo>
                      <a:pt x="308" y="85"/>
                    </a:lnTo>
                    <a:lnTo>
                      <a:pt x="307" y="87"/>
                    </a:lnTo>
                    <a:lnTo>
                      <a:pt x="307" y="87"/>
                    </a:lnTo>
                    <a:lnTo>
                      <a:pt x="307" y="87"/>
                    </a:lnTo>
                    <a:lnTo>
                      <a:pt x="307" y="85"/>
                    </a:lnTo>
                    <a:lnTo>
                      <a:pt x="304" y="89"/>
                    </a:lnTo>
                    <a:lnTo>
                      <a:pt x="305" y="89"/>
                    </a:lnTo>
                    <a:lnTo>
                      <a:pt x="305" y="89"/>
                    </a:lnTo>
                    <a:lnTo>
                      <a:pt x="305" y="87"/>
                    </a:lnTo>
                    <a:lnTo>
                      <a:pt x="305" y="87"/>
                    </a:lnTo>
                    <a:lnTo>
                      <a:pt x="305" y="89"/>
                    </a:lnTo>
                    <a:lnTo>
                      <a:pt x="305" y="89"/>
                    </a:lnTo>
                    <a:lnTo>
                      <a:pt x="305" y="90"/>
                    </a:lnTo>
                    <a:lnTo>
                      <a:pt x="305" y="90"/>
                    </a:lnTo>
                    <a:lnTo>
                      <a:pt x="305" y="94"/>
                    </a:lnTo>
                    <a:lnTo>
                      <a:pt x="304" y="95"/>
                    </a:lnTo>
                    <a:lnTo>
                      <a:pt x="304" y="97"/>
                    </a:lnTo>
                    <a:lnTo>
                      <a:pt x="304" y="97"/>
                    </a:lnTo>
                    <a:lnTo>
                      <a:pt x="299" y="106"/>
                    </a:lnTo>
                    <a:lnTo>
                      <a:pt x="299" y="106"/>
                    </a:lnTo>
                    <a:lnTo>
                      <a:pt x="295" y="115"/>
                    </a:lnTo>
                    <a:lnTo>
                      <a:pt x="295" y="115"/>
                    </a:lnTo>
                    <a:lnTo>
                      <a:pt x="294" y="119"/>
                    </a:lnTo>
                    <a:lnTo>
                      <a:pt x="294" y="119"/>
                    </a:lnTo>
                    <a:lnTo>
                      <a:pt x="291" y="124"/>
                    </a:lnTo>
                    <a:lnTo>
                      <a:pt x="291" y="124"/>
                    </a:lnTo>
                    <a:lnTo>
                      <a:pt x="291" y="127"/>
                    </a:lnTo>
                    <a:lnTo>
                      <a:pt x="291" y="127"/>
                    </a:lnTo>
                    <a:lnTo>
                      <a:pt x="290" y="130"/>
                    </a:lnTo>
                    <a:lnTo>
                      <a:pt x="290" y="130"/>
                    </a:lnTo>
                    <a:lnTo>
                      <a:pt x="287" y="134"/>
                    </a:lnTo>
                    <a:lnTo>
                      <a:pt x="287" y="134"/>
                    </a:lnTo>
                    <a:lnTo>
                      <a:pt x="284" y="140"/>
                    </a:lnTo>
                    <a:lnTo>
                      <a:pt x="284" y="144"/>
                    </a:lnTo>
                    <a:lnTo>
                      <a:pt x="282" y="150"/>
                    </a:lnTo>
                    <a:lnTo>
                      <a:pt x="282" y="150"/>
                    </a:lnTo>
                    <a:lnTo>
                      <a:pt x="282" y="151"/>
                    </a:lnTo>
                    <a:lnTo>
                      <a:pt x="278" y="154"/>
                    </a:lnTo>
                    <a:lnTo>
                      <a:pt x="278" y="154"/>
                    </a:lnTo>
                    <a:lnTo>
                      <a:pt x="278" y="154"/>
                    </a:lnTo>
                    <a:lnTo>
                      <a:pt x="278" y="154"/>
                    </a:lnTo>
                    <a:lnTo>
                      <a:pt x="278" y="155"/>
                    </a:lnTo>
                    <a:lnTo>
                      <a:pt x="278" y="155"/>
                    </a:lnTo>
                    <a:lnTo>
                      <a:pt x="276" y="160"/>
                    </a:lnTo>
                    <a:lnTo>
                      <a:pt x="275" y="164"/>
                    </a:lnTo>
                    <a:lnTo>
                      <a:pt x="275" y="164"/>
                    </a:lnTo>
                    <a:lnTo>
                      <a:pt x="274" y="167"/>
                    </a:lnTo>
                    <a:lnTo>
                      <a:pt x="274" y="168"/>
                    </a:lnTo>
                    <a:lnTo>
                      <a:pt x="274" y="168"/>
                    </a:lnTo>
                    <a:lnTo>
                      <a:pt x="272" y="171"/>
                    </a:lnTo>
                    <a:lnTo>
                      <a:pt x="272" y="171"/>
                    </a:lnTo>
                    <a:lnTo>
                      <a:pt x="272" y="168"/>
                    </a:lnTo>
                    <a:lnTo>
                      <a:pt x="271" y="173"/>
                    </a:lnTo>
                    <a:lnTo>
                      <a:pt x="271" y="173"/>
                    </a:lnTo>
                    <a:lnTo>
                      <a:pt x="270" y="176"/>
                    </a:lnTo>
                    <a:lnTo>
                      <a:pt x="267" y="180"/>
                    </a:lnTo>
                    <a:lnTo>
                      <a:pt x="267" y="180"/>
                    </a:lnTo>
                    <a:lnTo>
                      <a:pt x="264" y="187"/>
                    </a:lnTo>
                    <a:lnTo>
                      <a:pt x="264" y="187"/>
                    </a:lnTo>
                    <a:lnTo>
                      <a:pt x="261" y="191"/>
                    </a:lnTo>
                    <a:lnTo>
                      <a:pt x="261" y="191"/>
                    </a:lnTo>
                    <a:lnTo>
                      <a:pt x="262" y="191"/>
                    </a:lnTo>
                    <a:lnTo>
                      <a:pt x="262" y="191"/>
                    </a:lnTo>
                    <a:lnTo>
                      <a:pt x="262" y="192"/>
                    </a:lnTo>
                    <a:lnTo>
                      <a:pt x="262" y="192"/>
                    </a:lnTo>
                    <a:lnTo>
                      <a:pt x="261" y="194"/>
                    </a:lnTo>
                    <a:lnTo>
                      <a:pt x="261" y="194"/>
                    </a:lnTo>
                    <a:lnTo>
                      <a:pt x="259" y="197"/>
                    </a:lnTo>
                    <a:lnTo>
                      <a:pt x="258" y="198"/>
                    </a:lnTo>
                    <a:lnTo>
                      <a:pt x="258" y="198"/>
                    </a:lnTo>
                    <a:lnTo>
                      <a:pt x="258" y="198"/>
                    </a:lnTo>
                    <a:lnTo>
                      <a:pt x="259" y="197"/>
                    </a:lnTo>
                    <a:lnTo>
                      <a:pt x="257" y="201"/>
                    </a:lnTo>
                    <a:lnTo>
                      <a:pt x="257" y="201"/>
                    </a:lnTo>
                    <a:lnTo>
                      <a:pt x="255" y="204"/>
                    </a:lnTo>
                    <a:lnTo>
                      <a:pt x="255" y="208"/>
                    </a:lnTo>
                    <a:lnTo>
                      <a:pt x="255" y="213"/>
                    </a:lnTo>
                    <a:lnTo>
                      <a:pt x="255" y="213"/>
                    </a:lnTo>
                    <a:lnTo>
                      <a:pt x="255" y="217"/>
                    </a:lnTo>
                    <a:lnTo>
                      <a:pt x="254" y="220"/>
                    </a:lnTo>
                    <a:lnTo>
                      <a:pt x="254" y="220"/>
                    </a:lnTo>
                    <a:lnTo>
                      <a:pt x="253" y="224"/>
                    </a:lnTo>
                    <a:lnTo>
                      <a:pt x="253" y="225"/>
                    </a:lnTo>
                    <a:lnTo>
                      <a:pt x="253" y="225"/>
                    </a:lnTo>
                    <a:lnTo>
                      <a:pt x="253" y="225"/>
                    </a:lnTo>
                    <a:lnTo>
                      <a:pt x="253" y="224"/>
                    </a:lnTo>
                    <a:lnTo>
                      <a:pt x="250" y="229"/>
                    </a:lnTo>
                    <a:lnTo>
                      <a:pt x="250" y="229"/>
                    </a:lnTo>
                    <a:lnTo>
                      <a:pt x="250" y="228"/>
                    </a:lnTo>
                    <a:lnTo>
                      <a:pt x="250" y="228"/>
                    </a:lnTo>
                    <a:lnTo>
                      <a:pt x="250" y="229"/>
                    </a:lnTo>
                    <a:lnTo>
                      <a:pt x="250" y="232"/>
                    </a:lnTo>
                    <a:lnTo>
                      <a:pt x="246" y="235"/>
                    </a:lnTo>
                    <a:lnTo>
                      <a:pt x="249" y="235"/>
                    </a:lnTo>
                    <a:lnTo>
                      <a:pt x="249" y="235"/>
                    </a:lnTo>
                    <a:lnTo>
                      <a:pt x="249" y="233"/>
                    </a:lnTo>
                    <a:lnTo>
                      <a:pt x="249" y="233"/>
                    </a:lnTo>
                    <a:lnTo>
                      <a:pt x="249" y="234"/>
                    </a:lnTo>
                    <a:lnTo>
                      <a:pt x="249" y="234"/>
                    </a:lnTo>
                    <a:lnTo>
                      <a:pt x="249" y="235"/>
                    </a:lnTo>
                    <a:lnTo>
                      <a:pt x="249" y="235"/>
                    </a:lnTo>
                    <a:lnTo>
                      <a:pt x="249" y="239"/>
                    </a:lnTo>
                    <a:lnTo>
                      <a:pt x="247" y="242"/>
                    </a:lnTo>
                    <a:lnTo>
                      <a:pt x="246" y="245"/>
                    </a:lnTo>
                    <a:lnTo>
                      <a:pt x="246" y="245"/>
                    </a:lnTo>
                    <a:lnTo>
                      <a:pt x="243" y="253"/>
                    </a:lnTo>
                    <a:lnTo>
                      <a:pt x="243" y="253"/>
                    </a:lnTo>
                    <a:lnTo>
                      <a:pt x="241" y="259"/>
                    </a:lnTo>
                    <a:lnTo>
                      <a:pt x="241" y="259"/>
                    </a:lnTo>
                    <a:lnTo>
                      <a:pt x="241" y="259"/>
                    </a:lnTo>
                    <a:lnTo>
                      <a:pt x="241" y="259"/>
                    </a:lnTo>
                    <a:lnTo>
                      <a:pt x="241" y="259"/>
                    </a:lnTo>
                    <a:lnTo>
                      <a:pt x="241" y="259"/>
                    </a:lnTo>
                    <a:lnTo>
                      <a:pt x="238" y="265"/>
                    </a:lnTo>
                    <a:lnTo>
                      <a:pt x="238" y="265"/>
                    </a:lnTo>
                    <a:lnTo>
                      <a:pt x="238" y="263"/>
                    </a:lnTo>
                    <a:lnTo>
                      <a:pt x="238" y="263"/>
                    </a:lnTo>
                    <a:lnTo>
                      <a:pt x="238" y="265"/>
                    </a:lnTo>
                    <a:lnTo>
                      <a:pt x="238" y="266"/>
                    </a:lnTo>
                    <a:lnTo>
                      <a:pt x="238" y="266"/>
                    </a:lnTo>
                    <a:lnTo>
                      <a:pt x="234" y="282"/>
                    </a:lnTo>
                    <a:lnTo>
                      <a:pt x="234" y="282"/>
                    </a:lnTo>
                    <a:lnTo>
                      <a:pt x="231" y="290"/>
                    </a:lnTo>
                    <a:lnTo>
                      <a:pt x="231" y="291"/>
                    </a:lnTo>
                    <a:lnTo>
                      <a:pt x="231" y="291"/>
                    </a:lnTo>
                    <a:lnTo>
                      <a:pt x="231" y="291"/>
                    </a:lnTo>
                    <a:lnTo>
                      <a:pt x="231" y="291"/>
                    </a:lnTo>
                    <a:lnTo>
                      <a:pt x="231" y="294"/>
                    </a:lnTo>
                    <a:lnTo>
                      <a:pt x="231" y="295"/>
                    </a:lnTo>
                    <a:lnTo>
                      <a:pt x="227" y="299"/>
                    </a:lnTo>
                    <a:lnTo>
                      <a:pt x="227" y="299"/>
                    </a:lnTo>
                    <a:lnTo>
                      <a:pt x="227" y="299"/>
                    </a:lnTo>
                    <a:lnTo>
                      <a:pt x="230" y="296"/>
                    </a:lnTo>
                    <a:lnTo>
                      <a:pt x="230" y="296"/>
                    </a:lnTo>
                    <a:lnTo>
                      <a:pt x="230" y="298"/>
                    </a:lnTo>
                    <a:lnTo>
                      <a:pt x="230" y="298"/>
                    </a:lnTo>
                    <a:lnTo>
                      <a:pt x="230" y="300"/>
                    </a:lnTo>
                    <a:lnTo>
                      <a:pt x="230" y="304"/>
                    </a:lnTo>
                    <a:lnTo>
                      <a:pt x="223" y="311"/>
                    </a:lnTo>
                    <a:lnTo>
                      <a:pt x="223" y="311"/>
                    </a:lnTo>
                    <a:lnTo>
                      <a:pt x="227" y="310"/>
                    </a:lnTo>
                    <a:lnTo>
                      <a:pt x="229" y="307"/>
                    </a:lnTo>
                    <a:lnTo>
                      <a:pt x="229" y="307"/>
                    </a:lnTo>
                    <a:lnTo>
                      <a:pt x="229" y="308"/>
                    </a:lnTo>
                    <a:lnTo>
                      <a:pt x="226" y="312"/>
                    </a:lnTo>
                    <a:lnTo>
                      <a:pt x="226" y="312"/>
                    </a:lnTo>
                    <a:lnTo>
                      <a:pt x="227" y="311"/>
                    </a:lnTo>
                    <a:lnTo>
                      <a:pt x="227" y="311"/>
                    </a:lnTo>
                    <a:lnTo>
                      <a:pt x="227" y="316"/>
                    </a:lnTo>
                    <a:lnTo>
                      <a:pt x="227" y="316"/>
                    </a:lnTo>
                    <a:lnTo>
                      <a:pt x="227" y="323"/>
                    </a:lnTo>
                    <a:lnTo>
                      <a:pt x="227" y="324"/>
                    </a:lnTo>
                    <a:lnTo>
                      <a:pt x="222" y="329"/>
                    </a:lnTo>
                    <a:lnTo>
                      <a:pt x="222" y="329"/>
                    </a:lnTo>
                    <a:lnTo>
                      <a:pt x="225" y="328"/>
                    </a:lnTo>
                    <a:lnTo>
                      <a:pt x="226" y="325"/>
                    </a:lnTo>
                    <a:lnTo>
                      <a:pt x="226" y="325"/>
                    </a:lnTo>
                    <a:lnTo>
                      <a:pt x="226" y="327"/>
                    </a:lnTo>
                    <a:lnTo>
                      <a:pt x="226" y="327"/>
                    </a:lnTo>
                    <a:lnTo>
                      <a:pt x="226" y="329"/>
                    </a:lnTo>
                    <a:lnTo>
                      <a:pt x="226" y="329"/>
                    </a:lnTo>
                    <a:lnTo>
                      <a:pt x="225" y="336"/>
                    </a:lnTo>
                    <a:lnTo>
                      <a:pt x="223" y="340"/>
                    </a:lnTo>
                    <a:lnTo>
                      <a:pt x="223" y="340"/>
                    </a:lnTo>
                    <a:lnTo>
                      <a:pt x="222" y="344"/>
                    </a:lnTo>
                    <a:lnTo>
                      <a:pt x="221" y="344"/>
                    </a:lnTo>
                    <a:lnTo>
                      <a:pt x="221" y="344"/>
                    </a:lnTo>
                    <a:lnTo>
                      <a:pt x="221" y="345"/>
                    </a:lnTo>
                    <a:lnTo>
                      <a:pt x="221" y="345"/>
                    </a:lnTo>
                    <a:lnTo>
                      <a:pt x="221" y="347"/>
                    </a:lnTo>
                    <a:lnTo>
                      <a:pt x="221" y="347"/>
                    </a:lnTo>
                    <a:lnTo>
                      <a:pt x="221" y="352"/>
                    </a:lnTo>
                    <a:lnTo>
                      <a:pt x="220" y="354"/>
                    </a:lnTo>
                    <a:lnTo>
                      <a:pt x="220" y="354"/>
                    </a:lnTo>
                    <a:lnTo>
                      <a:pt x="218" y="360"/>
                    </a:lnTo>
                    <a:lnTo>
                      <a:pt x="213" y="366"/>
                    </a:lnTo>
                    <a:lnTo>
                      <a:pt x="213" y="366"/>
                    </a:lnTo>
                    <a:lnTo>
                      <a:pt x="216" y="365"/>
                    </a:lnTo>
                    <a:lnTo>
                      <a:pt x="217" y="362"/>
                    </a:lnTo>
                    <a:lnTo>
                      <a:pt x="217" y="362"/>
                    </a:lnTo>
                    <a:lnTo>
                      <a:pt x="217" y="365"/>
                    </a:lnTo>
                    <a:lnTo>
                      <a:pt x="216" y="366"/>
                    </a:lnTo>
                    <a:lnTo>
                      <a:pt x="216" y="366"/>
                    </a:lnTo>
                    <a:lnTo>
                      <a:pt x="216" y="368"/>
                    </a:lnTo>
                    <a:lnTo>
                      <a:pt x="216" y="368"/>
                    </a:lnTo>
                    <a:lnTo>
                      <a:pt x="216" y="373"/>
                    </a:lnTo>
                    <a:lnTo>
                      <a:pt x="216" y="373"/>
                    </a:lnTo>
                    <a:lnTo>
                      <a:pt x="216" y="377"/>
                    </a:lnTo>
                    <a:lnTo>
                      <a:pt x="214" y="380"/>
                    </a:lnTo>
                    <a:lnTo>
                      <a:pt x="213" y="382"/>
                    </a:lnTo>
                    <a:lnTo>
                      <a:pt x="213" y="382"/>
                    </a:lnTo>
                    <a:lnTo>
                      <a:pt x="210" y="388"/>
                    </a:lnTo>
                    <a:lnTo>
                      <a:pt x="210" y="388"/>
                    </a:lnTo>
                    <a:lnTo>
                      <a:pt x="208" y="391"/>
                    </a:lnTo>
                    <a:lnTo>
                      <a:pt x="208" y="391"/>
                    </a:lnTo>
                    <a:lnTo>
                      <a:pt x="208" y="394"/>
                    </a:lnTo>
                    <a:lnTo>
                      <a:pt x="206" y="395"/>
                    </a:lnTo>
                    <a:lnTo>
                      <a:pt x="206" y="395"/>
                    </a:lnTo>
                    <a:lnTo>
                      <a:pt x="206" y="395"/>
                    </a:lnTo>
                    <a:lnTo>
                      <a:pt x="206" y="394"/>
                    </a:lnTo>
                    <a:lnTo>
                      <a:pt x="205" y="398"/>
                    </a:lnTo>
                    <a:lnTo>
                      <a:pt x="205" y="398"/>
                    </a:lnTo>
                    <a:lnTo>
                      <a:pt x="200" y="405"/>
                    </a:lnTo>
                    <a:lnTo>
                      <a:pt x="196" y="413"/>
                    </a:lnTo>
                    <a:lnTo>
                      <a:pt x="196" y="413"/>
                    </a:lnTo>
                    <a:lnTo>
                      <a:pt x="194" y="417"/>
                    </a:lnTo>
                    <a:lnTo>
                      <a:pt x="194" y="417"/>
                    </a:lnTo>
                    <a:lnTo>
                      <a:pt x="188" y="423"/>
                    </a:lnTo>
                    <a:lnTo>
                      <a:pt x="184" y="431"/>
                    </a:lnTo>
                    <a:lnTo>
                      <a:pt x="184" y="431"/>
                    </a:lnTo>
                    <a:lnTo>
                      <a:pt x="181" y="435"/>
                    </a:lnTo>
                    <a:lnTo>
                      <a:pt x="181" y="435"/>
                    </a:lnTo>
                    <a:lnTo>
                      <a:pt x="180" y="438"/>
                    </a:lnTo>
                    <a:lnTo>
                      <a:pt x="180" y="439"/>
                    </a:lnTo>
                    <a:lnTo>
                      <a:pt x="180" y="439"/>
                    </a:lnTo>
                    <a:lnTo>
                      <a:pt x="179" y="443"/>
                    </a:lnTo>
                    <a:lnTo>
                      <a:pt x="179" y="443"/>
                    </a:lnTo>
                    <a:lnTo>
                      <a:pt x="179" y="440"/>
                    </a:lnTo>
                    <a:lnTo>
                      <a:pt x="176" y="444"/>
                    </a:lnTo>
                    <a:lnTo>
                      <a:pt x="176" y="444"/>
                    </a:lnTo>
                    <a:lnTo>
                      <a:pt x="176" y="443"/>
                    </a:lnTo>
                    <a:lnTo>
                      <a:pt x="176" y="443"/>
                    </a:lnTo>
                    <a:lnTo>
                      <a:pt x="173" y="440"/>
                    </a:lnTo>
                    <a:lnTo>
                      <a:pt x="176" y="444"/>
                    </a:lnTo>
                    <a:lnTo>
                      <a:pt x="175" y="446"/>
                    </a:lnTo>
                    <a:lnTo>
                      <a:pt x="175" y="446"/>
                    </a:lnTo>
                    <a:lnTo>
                      <a:pt x="176" y="446"/>
                    </a:lnTo>
                    <a:lnTo>
                      <a:pt x="176" y="446"/>
                    </a:lnTo>
                    <a:lnTo>
                      <a:pt x="176" y="446"/>
                    </a:lnTo>
                    <a:lnTo>
                      <a:pt x="176" y="446"/>
                    </a:lnTo>
                    <a:lnTo>
                      <a:pt x="176" y="444"/>
                    </a:lnTo>
                    <a:lnTo>
                      <a:pt x="177" y="447"/>
                    </a:lnTo>
                    <a:lnTo>
                      <a:pt x="177" y="447"/>
                    </a:lnTo>
                    <a:lnTo>
                      <a:pt x="177" y="447"/>
                    </a:lnTo>
                    <a:lnTo>
                      <a:pt x="177" y="452"/>
                    </a:lnTo>
                    <a:lnTo>
                      <a:pt x="176" y="455"/>
                    </a:lnTo>
                    <a:lnTo>
                      <a:pt x="176" y="455"/>
                    </a:lnTo>
                    <a:lnTo>
                      <a:pt x="176" y="456"/>
                    </a:lnTo>
                    <a:lnTo>
                      <a:pt x="176" y="456"/>
                    </a:lnTo>
                    <a:lnTo>
                      <a:pt x="176" y="458"/>
                    </a:lnTo>
                    <a:lnTo>
                      <a:pt x="171" y="463"/>
                    </a:lnTo>
                    <a:lnTo>
                      <a:pt x="171" y="463"/>
                    </a:lnTo>
                    <a:lnTo>
                      <a:pt x="171" y="463"/>
                    </a:lnTo>
                    <a:lnTo>
                      <a:pt x="169" y="464"/>
                    </a:lnTo>
                    <a:lnTo>
                      <a:pt x="169" y="464"/>
                    </a:lnTo>
                    <a:lnTo>
                      <a:pt x="168" y="467"/>
                    </a:lnTo>
                    <a:lnTo>
                      <a:pt x="168" y="467"/>
                    </a:lnTo>
                    <a:lnTo>
                      <a:pt x="169" y="466"/>
                    </a:lnTo>
                    <a:lnTo>
                      <a:pt x="171" y="464"/>
                    </a:lnTo>
                    <a:lnTo>
                      <a:pt x="171" y="464"/>
                    </a:lnTo>
                    <a:lnTo>
                      <a:pt x="173" y="463"/>
                    </a:lnTo>
                    <a:lnTo>
                      <a:pt x="175" y="460"/>
                    </a:lnTo>
                    <a:lnTo>
                      <a:pt x="175" y="460"/>
                    </a:lnTo>
                    <a:lnTo>
                      <a:pt x="175" y="463"/>
                    </a:lnTo>
                    <a:lnTo>
                      <a:pt x="169" y="467"/>
                    </a:lnTo>
                    <a:lnTo>
                      <a:pt x="169" y="467"/>
                    </a:lnTo>
                    <a:lnTo>
                      <a:pt x="168" y="467"/>
                    </a:lnTo>
                    <a:lnTo>
                      <a:pt x="168" y="467"/>
                    </a:lnTo>
                    <a:lnTo>
                      <a:pt x="164" y="468"/>
                    </a:lnTo>
                    <a:lnTo>
                      <a:pt x="161" y="469"/>
                    </a:lnTo>
                    <a:lnTo>
                      <a:pt x="161" y="469"/>
                    </a:lnTo>
                    <a:lnTo>
                      <a:pt x="160" y="469"/>
                    </a:lnTo>
                    <a:lnTo>
                      <a:pt x="160" y="469"/>
                    </a:lnTo>
                    <a:lnTo>
                      <a:pt x="163" y="468"/>
                    </a:lnTo>
                    <a:lnTo>
                      <a:pt x="164" y="466"/>
                    </a:lnTo>
                    <a:lnTo>
                      <a:pt x="157" y="471"/>
                    </a:lnTo>
                    <a:lnTo>
                      <a:pt x="156" y="471"/>
                    </a:lnTo>
                    <a:lnTo>
                      <a:pt x="156" y="471"/>
                    </a:lnTo>
                    <a:lnTo>
                      <a:pt x="156" y="471"/>
                    </a:lnTo>
                    <a:lnTo>
                      <a:pt x="156" y="471"/>
                    </a:lnTo>
                    <a:lnTo>
                      <a:pt x="152" y="472"/>
                    </a:lnTo>
                    <a:lnTo>
                      <a:pt x="152" y="472"/>
                    </a:lnTo>
                    <a:lnTo>
                      <a:pt x="149" y="475"/>
                    </a:lnTo>
                    <a:lnTo>
                      <a:pt x="147" y="476"/>
                    </a:lnTo>
                    <a:lnTo>
                      <a:pt x="144" y="476"/>
                    </a:lnTo>
                    <a:lnTo>
                      <a:pt x="144" y="476"/>
                    </a:lnTo>
                    <a:lnTo>
                      <a:pt x="144" y="476"/>
                    </a:lnTo>
                    <a:lnTo>
                      <a:pt x="144" y="476"/>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0" name="Freeform 30">
                <a:extLst>
                  <a:ext uri="{FF2B5EF4-FFF2-40B4-BE49-F238E27FC236}">
                    <a16:creationId xmlns:a16="http://schemas.microsoft.com/office/drawing/2014/main" xmlns="" id="{9F292D6D-E3C3-4DF4-A48E-8637324D782B}"/>
                  </a:ext>
                </a:extLst>
              </p:cNvPr>
              <p:cNvSpPr>
                <a:spLocks/>
              </p:cNvSpPr>
              <p:nvPr/>
            </p:nvSpPr>
            <p:spPr bwMode="auto">
              <a:xfrm>
                <a:off x="6638656" y="3055997"/>
                <a:ext cx="471832" cy="431787"/>
              </a:xfrm>
              <a:custGeom>
                <a:avLst/>
                <a:gdLst>
                  <a:gd name="T0" fmla="*/ 109 w 271"/>
                  <a:gd name="T1" fmla="*/ 242 h 248"/>
                  <a:gd name="T2" fmla="*/ 99 w 271"/>
                  <a:gd name="T3" fmla="*/ 243 h 248"/>
                  <a:gd name="T4" fmla="*/ 78 w 271"/>
                  <a:gd name="T5" fmla="*/ 235 h 248"/>
                  <a:gd name="T6" fmla="*/ 76 w 271"/>
                  <a:gd name="T7" fmla="*/ 220 h 248"/>
                  <a:gd name="T8" fmla="*/ 58 w 271"/>
                  <a:gd name="T9" fmla="*/ 226 h 248"/>
                  <a:gd name="T10" fmla="*/ 35 w 271"/>
                  <a:gd name="T11" fmla="*/ 236 h 248"/>
                  <a:gd name="T12" fmla="*/ 24 w 271"/>
                  <a:gd name="T13" fmla="*/ 223 h 248"/>
                  <a:gd name="T14" fmla="*/ 16 w 271"/>
                  <a:gd name="T15" fmla="*/ 231 h 248"/>
                  <a:gd name="T16" fmla="*/ 3 w 271"/>
                  <a:gd name="T17" fmla="*/ 211 h 248"/>
                  <a:gd name="T18" fmla="*/ 8 w 271"/>
                  <a:gd name="T19" fmla="*/ 185 h 248"/>
                  <a:gd name="T20" fmla="*/ 20 w 271"/>
                  <a:gd name="T21" fmla="*/ 165 h 248"/>
                  <a:gd name="T22" fmla="*/ 23 w 271"/>
                  <a:gd name="T23" fmla="*/ 146 h 248"/>
                  <a:gd name="T24" fmla="*/ 27 w 271"/>
                  <a:gd name="T25" fmla="*/ 129 h 248"/>
                  <a:gd name="T26" fmla="*/ 21 w 271"/>
                  <a:gd name="T27" fmla="*/ 105 h 248"/>
                  <a:gd name="T28" fmla="*/ 25 w 271"/>
                  <a:gd name="T29" fmla="*/ 93 h 248"/>
                  <a:gd name="T30" fmla="*/ 39 w 271"/>
                  <a:gd name="T31" fmla="*/ 84 h 248"/>
                  <a:gd name="T32" fmla="*/ 45 w 271"/>
                  <a:gd name="T33" fmla="*/ 75 h 248"/>
                  <a:gd name="T34" fmla="*/ 37 w 271"/>
                  <a:gd name="T35" fmla="*/ 64 h 248"/>
                  <a:gd name="T36" fmla="*/ 33 w 271"/>
                  <a:gd name="T37" fmla="*/ 54 h 248"/>
                  <a:gd name="T38" fmla="*/ 47 w 271"/>
                  <a:gd name="T39" fmla="*/ 41 h 248"/>
                  <a:gd name="T40" fmla="*/ 49 w 271"/>
                  <a:gd name="T41" fmla="*/ 49 h 248"/>
                  <a:gd name="T42" fmla="*/ 55 w 271"/>
                  <a:gd name="T43" fmla="*/ 43 h 248"/>
                  <a:gd name="T44" fmla="*/ 61 w 271"/>
                  <a:gd name="T45" fmla="*/ 31 h 248"/>
                  <a:gd name="T46" fmla="*/ 76 w 271"/>
                  <a:gd name="T47" fmla="*/ 29 h 248"/>
                  <a:gd name="T48" fmla="*/ 76 w 271"/>
                  <a:gd name="T49" fmla="*/ 23 h 248"/>
                  <a:gd name="T50" fmla="*/ 95 w 271"/>
                  <a:gd name="T51" fmla="*/ 22 h 248"/>
                  <a:gd name="T52" fmla="*/ 105 w 271"/>
                  <a:gd name="T53" fmla="*/ 27 h 248"/>
                  <a:gd name="T54" fmla="*/ 109 w 271"/>
                  <a:gd name="T55" fmla="*/ 30 h 248"/>
                  <a:gd name="T56" fmla="*/ 109 w 271"/>
                  <a:gd name="T57" fmla="*/ 30 h 248"/>
                  <a:gd name="T58" fmla="*/ 123 w 271"/>
                  <a:gd name="T59" fmla="*/ 22 h 248"/>
                  <a:gd name="T60" fmla="*/ 135 w 271"/>
                  <a:gd name="T61" fmla="*/ 30 h 248"/>
                  <a:gd name="T62" fmla="*/ 156 w 271"/>
                  <a:gd name="T63" fmla="*/ 22 h 248"/>
                  <a:gd name="T64" fmla="*/ 166 w 271"/>
                  <a:gd name="T65" fmla="*/ 27 h 248"/>
                  <a:gd name="T66" fmla="*/ 172 w 271"/>
                  <a:gd name="T67" fmla="*/ 21 h 248"/>
                  <a:gd name="T68" fmla="*/ 181 w 271"/>
                  <a:gd name="T69" fmla="*/ 9 h 248"/>
                  <a:gd name="T70" fmla="*/ 193 w 271"/>
                  <a:gd name="T71" fmla="*/ 10 h 248"/>
                  <a:gd name="T72" fmla="*/ 208 w 271"/>
                  <a:gd name="T73" fmla="*/ 1 h 248"/>
                  <a:gd name="T74" fmla="*/ 211 w 271"/>
                  <a:gd name="T75" fmla="*/ 11 h 248"/>
                  <a:gd name="T76" fmla="*/ 217 w 271"/>
                  <a:gd name="T77" fmla="*/ 22 h 248"/>
                  <a:gd name="T78" fmla="*/ 226 w 271"/>
                  <a:gd name="T79" fmla="*/ 41 h 248"/>
                  <a:gd name="T80" fmla="*/ 232 w 271"/>
                  <a:gd name="T81" fmla="*/ 55 h 248"/>
                  <a:gd name="T82" fmla="*/ 250 w 271"/>
                  <a:gd name="T83" fmla="*/ 74 h 248"/>
                  <a:gd name="T84" fmla="*/ 258 w 271"/>
                  <a:gd name="T85" fmla="*/ 87 h 248"/>
                  <a:gd name="T86" fmla="*/ 263 w 271"/>
                  <a:gd name="T87" fmla="*/ 108 h 248"/>
                  <a:gd name="T88" fmla="*/ 266 w 271"/>
                  <a:gd name="T89" fmla="*/ 117 h 248"/>
                  <a:gd name="T90" fmla="*/ 263 w 271"/>
                  <a:gd name="T91" fmla="*/ 140 h 248"/>
                  <a:gd name="T92" fmla="*/ 254 w 271"/>
                  <a:gd name="T93" fmla="*/ 140 h 248"/>
                  <a:gd name="T94" fmla="*/ 249 w 271"/>
                  <a:gd name="T95" fmla="*/ 158 h 248"/>
                  <a:gd name="T96" fmla="*/ 244 w 271"/>
                  <a:gd name="T97" fmla="*/ 170 h 248"/>
                  <a:gd name="T98" fmla="*/ 244 w 271"/>
                  <a:gd name="T99" fmla="*/ 194 h 248"/>
                  <a:gd name="T100" fmla="*/ 224 w 271"/>
                  <a:gd name="T101" fmla="*/ 206 h 248"/>
                  <a:gd name="T102" fmla="*/ 192 w 271"/>
                  <a:gd name="T103" fmla="*/ 185 h 248"/>
                  <a:gd name="T104" fmla="*/ 172 w 271"/>
                  <a:gd name="T105" fmla="*/ 185 h 248"/>
                  <a:gd name="T106" fmla="*/ 167 w 271"/>
                  <a:gd name="T107" fmla="*/ 189 h 248"/>
                  <a:gd name="T108" fmla="*/ 173 w 271"/>
                  <a:gd name="T109" fmla="*/ 191 h 248"/>
                  <a:gd name="T110" fmla="*/ 160 w 271"/>
                  <a:gd name="T111" fmla="*/ 198 h 248"/>
                  <a:gd name="T112" fmla="*/ 154 w 271"/>
                  <a:gd name="T113" fmla="*/ 199 h 248"/>
                  <a:gd name="T114" fmla="*/ 160 w 271"/>
                  <a:gd name="T115" fmla="*/ 203 h 248"/>
                  <a:gd name="T116" fmla="*/ 140 w 271"/>
                  <a:gd name="T117" fmla="*/ 227 h 248"/>
                  <a:gd name="T118" fmla="*/ 144 w 271"/>
                  <a:gd name="T119" fmla="*/ 231 h 248"/>
                  <a:gd name="T120" fmla="*/ 143 w 271"/>
                  <a:gd name="T121" fmla="*/ 235 h 248"/>
                  <a:gd name="T122" fmla="*/ 129 w 271"/>
                  <a:gd name="T123"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1" h="248">
                    <a:moveTo>
                      <a:pt x="122" y="248"/>
                    </a:moveTo>
                    <a:lnTo>
                      <a:pt x="122" y="248"/>
                    </a:lnTo>
                    <a:lnTo>
                      <a:pt x="119" y="248"/>
                    </a:lnTo>
                    <a:lnTo>
                      <a:pt x="117" y="247"/>
                    </a:lnTo>
                    <a:lnTo>
                      <a:pt x="117" y="247"/>
                    </a:lnTo>
                    <a:lnTo>
                      <a:pt x="117" y="247"/>
                    </a:lnTo>
                    <a:lnTo>
                      <a:pt x="109" y="240"/>
                    </a:lnTo>
                    <a:lnTo>
                      <a:pt x="109" y="240"/>
                    </a:lnTo>
                    <a:lnTo>
                      <a:pt x="109" y="242"/>
                    </a:lnTo>
                    <a:lnTo>
                      <a:pt x="110" y="244"/>
                    </a:lnTo>
                    <a:lnTo>
                      <a:pt x="110" y="244"/>
                    </a:lnTo>
                    <a:lnTo>
                      <a:pt x="111" y="245"/>
                    </a:lnTo>
                    <a:lnTo>
                      <a:pt x="110" y="245"/>
                    </a:lnTo>
                    <a:lnTo>
                      <a:pt x="110" y="245"/>
                    </a:lnTo>
                    <a:lnTo>
                      <a:pt x="106" y="244"/>
                    </a:lnTo>
                    <a:lnTo>
                      <a:pt x="106" y="244"/>
                    </a:lnTo>
                    <a:lnTo>
                      <a:pt x="99" y="243"/>
                    </a:lnTo>
                    <a:lnTo>
                      <a:pt x="99" y="243"/>
                    </a:lnTo>
                    <a:lnTo>
                      <a:pt x="99" y="243"/>
                    </a:lnTo>
                    <a:lnTo>
                      <a:pt x="97" y="247"/>
                    </a:lnTo>
                    <a:lnTo>
                      <a:pt x="97" y="247"/>
                    </a:lnTo>
                    <a:lnTo>
                      <a:pt x="93" y="248"/>
                    </a:lnTo>
                    <a:lnTo>
                      <a:pt x="93" y="248"/>
                    </a:lnTo>
                    <a:lnTo>
                      <a:pt x="88" y="247"/>
                    </a:lnTo>
                    <a:lnTo>
                      <a:pt x="84" y="243"/>
                    </a:lnTo>
                    <a:lnTo>
                      <a:pt x="81" y="239"/>
                    </a:lnTo>
                    <a:lnTo>
                      <a:pt x="78" y="235"/>
                    </a:lnTo>
                    <a:lnTo>
                      <a:pt x="78" y="232"/>
                    </a:lnTo>
                    <a:lnTo>
                      <a:pt x="78" y="228"/>
                    </a:lnTo>
                    <a:lnTo>
                      <a:pt x="78" y="228"/>
                    </a:lnTo>
                    <a:lnTo>
                      <a:pt x="78" y="224"/>
                    </a:lnTo>
                    <a:lnTo>
                      <a:pt x="78" y="224"/>
                    </a:lnTo>
                    <a:lnTo>
                      <a:pt x="78" y="219"/>
                    </a:lnTo>
                    <a:lnTo>
                      <a:pt x="78" y="219"/>
                    </a:lnTo>
                    <a:lnTo>
                      <a:pt x="76" y="220"/>
                    </a:lnTo>
                    <a:lnTo>
                      <a:pt x="76" y="220"/>
                    </a:lnTo>
                    <a:lnTo>
                      <a:pt x="74" y="220"/>
                    </a:lnTo>
                    <a:lnTo>
                      <a:pt x="74" y="220"/>
                    </a:lnTo>
                    <a:lnTo>
                      <a:pt x="72" y="226"/>
                    </a:lnTo>
                    <a:lnTo>
                      <a:pt x="69" y="228"/>
                    </a:lnTo>
                    <a:lnTo>
                      <a:pt x="65" y="230"/>
                    </a:lnTo>
                    <a:lnTo>
                      <a:pt x="65" y="230"/>
                    </a:lnTo>
                    <a:lnTo>
                      <a:pt x="64" y="230"/>
                    </a:lnTo>
                    <a:lnTo>
                      <a:pt x="58" y="226"/>
                    </a:lnTo>
                    <a:lnTo>
                      <a:pt x="58" y="226"/>
                    </a:lnTo>
                    <a:lnTo>
                      <a:pt x="57" y="224"/>
                    </a:lnTo>
                    <a:lnTo>
                      <a:pt x="56" y="224"/>
                    </a:lnTo>
                    <a:lnTo>
                      <a:pt x="45" y="224"/>
                    </a:lnTo>
                    <a:lnTo>
                      <a:pt x="45" y="224"/>
                    </a:lnTo>
                    <a:lnTo>
                      <a:pt x="44" y="228"/>
                    </a:lnTo>
                    <a:lnTo>
                      <a:pt x="44" y="228"/>
                    </a:lnTo>
                    <a:lnTo>
                      <a:pt x="43" y="234"/>
                    </a:lnTo>
                    <a:lnTo>
                      <a:pt x="35" y="236"/>
                    </a:lnTo>
                    <a:lnTo>
                      <a:pt x="35" y="236"/>
                    </a:lnTo>
                    <a:lnTo>
                      <a:pt x="32" y="235"/>
                    </a:lnTo>
                    <a:lnTo>
                      <a:pt x="31" y="232"/>
                    </a:lnTo>
                    <a:lnTo>
                      <a:pt x="28" y="232"/>
                    </a:lnTo>
                    <a:lnTo>
                      <a:pt x="23" y="228"/>
                    </a:lnTo>
                    <a:lnTo>
                      <a:pt x="23" y="228"/>
                    </a:lnTo>
                    <a:lnTo>
                      <a:pt x="23" y="227"/>
                    </a:lnTo>
                    <a:lnTo>
                      <a:pt x="23" y="227"/>
                    </a:lnTo>
                    <a:lnTo>
                      <a:pt x="24" y="226"/>
                    </a:lnTo>
                    <a:lnTo>
                      <a:pt x="24" y="223"/>
                    </a:lnTo>
                    <a:lnTo>
                      <a:pt x="21" y="227"/>
                    </a:lnTo>
                    <a:lnTo>
                      <a:pt x="19" y="223"/>
                    </a:lnTo>
                    <a:lnTo>
                      <a:pt x="19" y="223"/>
                    </a:lnTo>
                    <a:lnTo>
                      <a:pt x="19" y="226"/>
                    </a:lnTo>
                    <a:lnTo>
                      <a:pt x="19" y="227"/>
                    </a:lnTo>
                    <a:lnTo>
                      <a:pt x="19" y="227"/>
                    </a:lnTo>
                    <a:lnTo>
                      <a:pt x="20" y="228"/>
                    </a:lnTo>
                    <a:lnTo>
                      <a:pt x="17" y="231"/>
                    </a:lnTo>
                    <a:lnTo>
                      <a:pt x="16" y="231"/>
                    </a:lnTo>
                    <a:lnTo>
                      <a:pt x="10" y="224"/>
                    </a:lnTo>
                    <a:lnTo>
                      <a:pt x="10" y="224"/>
                    </a:lnTo>
                    <a:lnTo>
                      <a:pt x="10" y="220"/>
                    </a:lnTo>
                    <a:lnTo>
                      <a:pt x="10" y="218"/>
                    </a:lnTo>
                    <a:lnTo>
                      <a:pt x="4" y="214"/>
                    </a:lnTo>
                    <a:lnTo>
                      <a:pt x="4" y="212"/>
                    </a:lnTo>
                    <a:lnTo>
                      <a:pt x="2" y="210"/>
                    </a:lnTo>
                    <a:lnTo>
                      <a:pt x="2" y="210"/>
                    </a:lnTo>
                    <a:lnTo>
                      <a:pt x="3" y="211"/>
                    </a:lnTo>
                    <a:lnTo>
                      <a:pt x="3" y="211"/>
                    </a:lnTo>
                    <a:lnTo>
                      <a:pt x="2" y="210"/>
                    </a:lnTo>
                    <a:lnTo>
                      <a:pt x="0" y="206"/>
                    </a:lnTo>
                    <a:lnTo>
                      <a:pt x="0" y="205"/>
                    </a:lnTo>
                    <a:lnTo>
                      <a:pt x="4" y="199"/>
                    </a:lnTo>
                    <a:lnTo>
                      <a:pt x="4" y="199"/>
                    </a:lnTo>
                    <a:lnTo>
                      <a:pt x="6" y="194"/>
                    </a:lnTo>
                    <a:lnTo>
                      <a:pt x="6" y="194"/>
                    </a:lnTo>
                    <a:lnTo>
                      <a:pt x="8" y="185"/>
                    </a:lnTo>
                    <a:lnTo>
                      <a:pt x="11" y="182"/>
                    </a:lnTo>
                    <a:lnTo>
                      <a:pt x="15" y="179"/>
                    </a:lnTo>
                    <a:lnTo>
                      <a:pt x="15" y="178"/>
                    </a:lnTo>
                    <a:lnTo>
                      <a:pt x="15" y="178"/>
                    </a:lnTo>
                    <a:lnTo>
                      <a:pt x="15" y="175"/>
                    </a:lnTo>
                    <a:lnTo>
                      <a:pt x="15" y="171"/>
                    </a:lnTo>
                    <a:lnTo>
                      <a:pt x="17" y="167"/>
                    </a:lnTo>
                    <a:lnTo>
                      <a:pt x="17" y="167"/>
                    </a:lnTo>
                    <a:lnTo>
                      <a:pt x="20" y="165"/>
                    </a:lnTo>
                    <a:lnTo>
                      <a:pt x="20" y="165"/>
                    </a:lnTo>
                    <a:lnTo>
                      <a:pt x="20" y="165"/>
                    </a:lnTo>
                    <a:lnTo>
                      <a:pt x="20" y="161"/>
                    </a:lnTo>
                    <a:lnTo>
                      <a:pt x="20" y="158"/>
                    </a:lnTo>
                    <a:lnTo>
                      <a:pt x="23" y="153"/>
                    </a:lnTo>
                    <a:lnTo>
                      <a:pt x="23" y="152"/>
                    </a:lnTo>
                    <a:lnTo>
                      <a:pt x="23" y="150"/>
                    </a:lnTo>
                    <a:lnTo>
                      <a:pt x="23" y="150"/>
                    </a:lnTo>
                    <a:lnTo>
                      <a:pt x="23" y="146"/>
                    </a:lnTo>
                    <a:lnTo>
                      <a:pt x="24" y="144"/>
                    </a:lnTo>
                    <a:lnTo>
                      <a:pt x="27" y="142"/>
                    </a:lnTo>
                    <a:lnTo>
                      <a:pt x="27" y="142"/>
                    </a:lnTo>
                    <a:lnTo>
                      <a:pt x="25" y="144"/>
                    </a:lnTo>
                    <a:lnTo>
                      <a:pt x="25" y="146"/>
                    </a:lnTo>
                    <a:lnTo>
                      <a:pt x="31" y="140"/>
                    </a:lnTo>
                    <a:lnTo>
                      <a:pt x="31" y="140"/>
                    </a:lnTo>
                    <a:lnTo>
                      <a:pt x="27" y="133"/>
                    </a:lnTo>
                    <a:lnTo>
                      <a:pt x="27" y="129"/>
                    </a:lnTo>
                    <a:lnTo>
                      <a:pt x="27" y="124"/>
                    </a:lnTo>
                    <a:lnTo>
                      <a:pt x="27" y="124"/>
                    </a:lnTo>
                    <a:lnTo>
                      <a:pt x="27" y="120"/>
                    </a:lnTo>
                    <a:lnTo>
                      <a:pt x="27" y="120"/>
                    </a:lnTo>
                    <a:lnTo>
                      <a:pt x="28" y="117"/>
                    </a:lnTo>
                    <a:lnTo>
                      <a:pt x="28" y="115"/>
                    </a:lnTo>
                    <a:lnTo>
                      <a:pt x="25" y="112"/>
                    </a:lnTo>
                    <a:lnTo>
                      <a:pt x="21" y="105"/>
                    </a:lnTo>
                    <a:lnTo>
                      <a:pt x="21" y="105"/>
                    </a:lnTo>
                    <a:lnTo>
                      <a:pt x="21" y="107"/>
                    </a:lnTo>
                    <a:lnTo>
                      <a:pt x="21" y="107"/>
                    </a:lnTo>
                    <a:lnTo>
                      <a:pt x="20" y="105"/>
                    </a:lnTo>
                    <a:lnTo>
                      <a:pt x="20" y="103"/>
                    </a:lnTo>
                    <a:lnTo>
                      <a:pt x="20" y="103"/>
                    </a:lnTo>
                    <a:lnTo>
                      <a:pt x="20" y="99"/>
                    </a:lnTo>
                    <a:lnTo>
                      <a:pt x="21" y="96"/>
                    </a:lnTo>
                    <a:lnTo>
                      <a:pt x="24" y="93"/>
                    </a:lnTo>
                    <a:lnTo>
                      <a:pt x="25" y="93"/>
                    </a:lnTo>
                    <a:lnTo>
                      <a:pt x="25" y="93"/>
                    </a:lnTo>
                    <a:lnTo>
                      <a:pt x="27" y="92"/>
                    </a:lnTo>
                    <a:lnTo>
                      <a:pt x="29" y="91"/>
                    </a:lnTo>
                    <a:lnTo>
                      <a:pt x="29" y="91"/>
                    </a:lnTo>
                    <a:lnTo>
                      <a:pt x="31" y="89"/>
                    </a:lnTo>
                    <a:lnTo>
                      <a:pt x="31" y="89"/>
                    </a:lnTo>
                    <a:lnTo>
                      <a:pt x="35" y="87"/>
                    </a:lnTo>
                    <a:lnTo>
                      <a:pt x="39" y="84"/>
                    </a:lnTo>
                    <a:lnTo>
                      <a:pt x="39" y="84"/>
                    </a:lnTo>
                    <a:lnTo>
                      <a:pt x="39" y="84"/>
                    </a:lnTo>
                    <a:lnTo>
                      <a:pt x="41" y="83"/>
                    </a:lnTo>
                    <a:lnTo>
                      <a:pt x="45" y="82"/>
                    </a:lnTo>
                    <a:lnTo>
                      <a:pt x="45" y="82"/>
                    </a:lnTo>
                    <a:lnTo>
                      <a:pt x="45" y="82"/>
                    </a:lnTo>
                    <a:lnTo>
                      <a:pt x="45" y="82"/>
                    </a:lnTo>
                    <a:lnTo>
                      <a:pt x="45" y="78"/>
                    </a:lnTo>
                    <a:lnTo>
                      <a:pt x="45" y="78"/>
                    </a:lnTo>
                    <a:lnTo>
                      <a:pt x="45" y="75"/>
                    </a:lnTo>
                    <a:lnTo>
                      <a:pt x="45" y="74"/>
                    </a:lnTo>
                    <a:lnTo>
                      <a:pt x="43" y="70"/>
                    </a:lnTo>
                    <a:lnTo>
                      <a:pt x="43" y="70"/>
                    </a:lnTo>
                    <a:lnTo>
                      <a:pt x="43" y="68"/>
                    </a:lnTo>
                    <a:lnTo>
                      <a:pt x="39" y="66"/>
                    </a:lnTo>
                    <a:lnTo>
                      <a:pt x="39" y="66"/>
                    </a:lnTo>
                    <a:lnTo>
                      <a:pt x="37" y="66"/>
                    </a:lnTo>
                    <a:lnTo>
                      <a:pt x="37" y="64"/>
                    </a:lnTo>
                    <a:lnTo>
                      <a:pt x="37" y="64"/>
                    </a:lnTo>
                    <a:lnTo>
                      <a:pt x="36" y="64"/>
                    </a:lnTo>
                    <a:lnTo>
                      <a:pt x="36" y="63"/>
                    </a:lnTo>
                    <a:lnTo>
                      <a:pt x="36" y="63"/>
                    </a:lnTo>
                    <a:lnTo>
                      <a:pt x="37" y="64"/>
                    </a:lnTo>
                    <a:lnTo>
                      <a:pt x="36" y="62"/>
                    </a:lnTo>
                    <a:lnTo>
                      <a:pt x="35" y="54"/>
                    </a:lnTo>
                    <a:lnTo>
                      <a:pt x="35" y="54"/>
                    </a:lnTo>
                    <a:lnTo>
                      <a:pt x="33" y="54"/>
                    </a:lnTo>
                    <a:lnTo>
                      <a:pt x="33" y="54"/>
                    </a:lnTo>
                    <a:lnTo>
                      <a:pt x="33" y="51"/>
                    </a:lnTo>
                    <a:lnTo>
                      <a:pt x="33" y="51"/>
                    </a:lnTo>
                    <a:lnTo>
                      <a:pt x="33" y="49"/>
                    </a:lnTo>
                    <a:lnTo>
                      <a:pt x="35" y="43"/>
                    </a:lnTo>
                    <a:lnTo>
                      <a:pt x="37" y="42"/>
                    </a:lnTo>
                    <a:lnTo>
                      <a:pt x="37" y="42"/>
                    </a:lnTo>
                    <a:lnTo>
                      <a:pt x="43" y="41"/>
                    </a:lnTo>
                    <a:lnTo>
                      <a:pt x="43" y="41"/>
                    </a:lnTo>
                    <a:lnTo>
                      <a:pt x="47" y="41"/>
                    </a:lnTo>
                    <a:lnTo>
                      <a:pt x="48" y="42"/>
                    </a:lnTo>
                    <a:lnTo>
                      <a:pt x="48" y="42"/>
                    </a:lnTo>
                    <a:lnTo>
                      <a:pt x="49" y="42"/>
                    </a:lnTo>
                    <a:lnTo>
                      <a:pt x="49" y="42"/>
                    </a:lnTo>
                    <a:lnTo>
                      <a:pt x="52" y="45"/>
                    </a:lnTo>
                    <a:lnTo>
                      <a:pt x="52" y="45"/>
                    </a:lnTo>
                    <a:lnTo>
                      <a:pt x="49" y="46"/>
                    </a:lnTo>
                    <a:lnTo>
                      <a:pt x="49" y="46"/>
                    </a:lnTo>
                    <a:lnTo>
                      <a:pt x="49" y="49"/>
                    </a:lnTo>
                    <a:lnTo>
                      <a:pt x="49" y="51"/>
                    </a:lnTo>
                    <a:lnTo>
                      <a:pt x="52" y="46"/>
                    </a:lnTo>
                    <a:lnTo>
                      <a:pt x="56" y="51"/>
                    </a:lnTo>
                    <a:lnTo>
                      <a:pt x="56" y="51"/>
                    </a:lnTo>
                    <a:lnTo>
                      <a:pt x="56" y="49"/>
                    </a:lnTo>
                    <a:lnTo>
                      <a:pt x="55" y="46"/>
                    </a:lnTo>
                    <a:lnTo>
                      <a:pt x="55" y="46"/>
                    </a:lnTo>
                    <a:lnTo>
                      <a:pt x="53" y="45"/>
                    </a:lnTo>
                    <a:lnTo>
                      <a:pt x="55" y="43"/>
                    </a:lnTo>
                    <a:lnTo>
                      <a:pt x="53" y="43"/>
                    </a:lnTo>
                    <a:lnTo>
                      <a:pt x="53" y="43"/>
                    </a:lnTo>
                    <a:lnTo>
                      <a:pt x="56" y="41"/>
                    </a:lnTo>
                    <a:lnTo>
                      <a:pt x="57" y="38"/>
                    </a:lnTo>
                    <a:lnTo>
                      <a:pt x="58" y="37"/>
                    </a:lnTo>
                    <a:lnTo>
                      <a:pt x="58" y="34"/>
                    </a:lnTo>
                    <a:lnTo>
                      <a:pt x="58" y="34"/>
                    </a:lnTo>
                    <a:lnTo>
                      <a:pt x="61" y="31"/>
                    </a:lnTo>
                    <a:lnTo>
                      <a:pt x="61" y="31"/>
                    </a:lnTo>
                    <a:lnTo>
                      <a:pt x="61" y="30"/>
                    </a:lnTo>
                    <a:lnTo>
                      <a:pt x="61" y="30"/>
                    </a:lnTo>
                    <a:lnTo>
                      <a:pt x="62" y="27"/>
                    </a:lnTo>
                    <a:lnTo>
                      <a:pt x="62" y="26"/>
                    </a:lnTo>
                    <a:lnTo>
                      <a:pt x="62" y="26"/>
                    </a:lnTo>
                    <a:lnTo>
                      <a:pt x="66" y="23"/>
                    </a:lnTo>
                    <a:lnTo>
                      <a:pt x="69" y="22"/>
                    </a:lnTo>
                    <a:lnTo>
                      <a:pt x="76" y="29"/>
                    </a:lnTo>
                    <a:lnTo>
                      <a:pt x="76" y="29"/>
                    </a:lnTo>
                    <a:lnTo>
                      <a:pt x="74" y="25"/>
                    </a:lnTo>
                    <a:lnTo>
                      <a:pt x="74" y="25"/>
                    </a:lnTo>
                    <a:lnTo>
                      <a:pt x="73" y="23"/>
                    </a:lnTo>
                    <a:lnTo>
                      <a:pt x="72" y="23"/>
                    </a:lnTo>
                    <a:lnTo>
                      <a:pt x="72" y="23"/>
                    </a:lnTo>
                    <a:lnTo>
                      <a:pt x="73" y="23"/>
                    </a:lnTo>
                    <a:lnTo>
                      <a:pt x="73" y="23"/>
                    </a:lnTo>
                    <a:lnTo>
                      <a:pt x="76" y="23"/>
                    </a:lnTo>
                    <a:lnTo>
                      <a:pt x="76" y="23"/>
                    </a:lnTo>
                    <a:lnTo>
                      <a:pt x="78" y="23"/>
                    </a:lnTo>
                    <a:lnTo>
                      <a:pt x="78" y="23"/>
                    </a:lnTo>
                    <a:lnTo>
                      <a:pt x="80" y="25"/>
                    </a:lnTo>
                    <a:lnTo>
                      <a:pt x="80" y="25"/>
                    </a:lnTo>
                    <a:lnTo>
                      <a:pt x="82" y="21"/>
                    </a:lnTo>
                    <a:lnTo>
                      <a:pt x="85" y="19"/>
                    </a:lnTo>
                    <a:lnTo>
                      <a:pt x="89" y="18"/>
                    </a:lnTo>
                    <a:lnTo>
                      <a:pt x="90" y="18"/>
                    </a:lnTo>
                    <a:lnTo>
                      <a:pt x="95" y="22"/>
                    </a:lnTo>
                    <a:lnTo>
                      <a:pt x="95" y="22"/>
                    </a:lnTo>
                    <a:lnTo>
                      <a:pt x="95" y="21"/>
                    </a:lnTo>
                    <a:lnTo>
                      <a:pt x="95" y="21"/>
                    </a:lnTo>
                    <a:lnTo>
                      <a:pt x="95" y="21"/>
                    </a:lnTo>
                    <a:lnTo>
                      <a:pt x="97" y="21"/>
                    </a:lnTo>
                    <a:lnTo>
                      <a:pt x="102" y="23"/>
                    </a:lnTo>
                    <a:lnTo>
                      <a:pt x="102" y="23"/>
                    </a:lnTo>
                    <a:lnTo>
                      <a:pt x="105" y="27"/>
                    </a:lnTo>
                    <a:lnTo>
                      <a:pt x="105" y="27"/>
                    </a:lnTo>
                    <a:lnTo>
                      <a:pt x="109" y="29"/>
                    </a:lnTo>
                    <a:lnTo>
                      <a:pt x="109" y="29"/>
                    </a:lnTo>
                    <a:lnTo>
                      <a:pt x="109" y="29"/>
                    </a:lnTo>
                    <a:lnTo>
                      <a:pt x="107" y="29"/>
                    </a:lnTo>
                    <a:lnTo>
                      <a:pt x="109" y="30"/>
                    </a:lnTo>
                    <a:lnTo>
                      <a:pt x="109" y="30"/>
                    </a:lnTo>
                    <a:lnTo>
                      <a:pt x="109" y="30"/>
                    </a:lnTo>
                    <a:lnTo>
                      <a:pt x="109" y="30"/>
                    </a:lnTo>
                    <a:lnTo>
                      <a:pt x="109" y="30"/>
                    </a:lnTo>
                    <a:lnTo>
                      <a:pt x="109" y="30"/>
                    </a:lnTo>
                    <a:lnTo>
                      <a:pt x="109" y="30"/>
                    </a:lnTo>
                    <a:lnTo>
                      <a:pt x="109" y="30"/>
                    </a:lnTo>
                    <a:lnTo>
                      <a:pt x="107" y="31"/>
                    </a:lnTo>
                    <a:lnTo>
                      <a:pt x="109" y="30"/>
                    </a:lnTo>
                    <a:lnTo>
                      <a:pt x="113" y="33"/>
                    </a:lnTo>
                    <a:lnTo>
                      <a:pt x="113" y="33"/>
                    </a:lnTo>
                    <a:lnTo>
                      <a:pt x="111" y="31"/>
                    </a:lnTo>
                    <a:lnTo>
                      <a:pt x="109" y="30"/>
                    </a:lnTo>
                    <a:lnTo>
                      <a:pt x="111" y="27"/>
                    </a:lnTo>
                    <a:lnTo>
                      <a:pt x="111" y="27"/>
                    </a:lnTo>
                    <a:lnTo>
                      <a:pt x="110" y="29"/>
                    </a:lnTo>
                    <a:lnTo>
                      <a:pt x="110" y="29"/>
                    </a:lnTo>
                    <a:lnTo>
                      <a:pt x="113" y="27"/>
                    </a:lnTo>
                    <a:lnTo>
                      <a:pt x="115" y="26"/>
                    </a:lnTo>
                    <a:lnTo>
                      <a:pt x="115" y="26"/>
                    </a:lnTo>
                    <a:lnTo>
                      <a:pt x="118" y="23"/>
                    </a:lnTo>
                    <a:lnTo>
                      <a:pt x="123" y="22"/>
                    </a:lnTo>
                    <a:lnTo>
                      <a:pt x="123" y="22"/>
                    </a:lnTo>
                    <a:lnTo>
                      <a:pt x="125" y="22"/>
                    </a:lnTo>
                    <a:lnTo>
                      <a:pt x="129" y="25"/>
                    </a:lnTo>
                    <a:lnTo>
                      <a:pt x="129" y="25"/>
                    </a:lnTo>
                    <a:lnTo>
                      <a:pt x="130" y="26"/>
                    </a:lnTo>
                    <a:lnTo>
                      <a:pt x="130" y="26"/>
                    </a:lnTo>
                    <a:lnTo>
                      <a:pt x="133" y="27"/>
                    </a:lnTo>
                    <a:lnTo>
                      <a:pt x="133" y="27"/>
                    </a:lnTo>
                    <a:lnTo>
                      <a:pt x="135" y="30"/>
                    </a:lnTo>
                    <a:lnTo>
                      <a:pt x="135" y="30"/>
                    </a:lnTo>
                    <a:lnTo>
                      <a:pt x="138" y="34"/>
                    </a:lnTo>
                    <a:lnTo>
                      <a:pt x="140" y="34"/>
                    </a:lnTo>
                    <a:lnTo>
                      <a:pt x="140" y="34"/>
                    </a:lnTo>
                    <a:lnTo>
                      <a:pt x="143" y="31"/>
                    </a:lnTo>
                    <a:lnTo>
                      <a:pt x="143" y="31"/>
                    </a:lnTo>
                    <a:lnTo>
                      <a:pt x="148" y="25"/>
                    </a:lnTo>
                    <a:lnTo>
                      <a:pt x="151" y="23"/>
                    </a:lnTo>
                    <a:lnTo>
                      <a:pt x="156" y="22"/>
                    </a:lnTo>
                    <a:lnTo>
                      <a:pt x="156" y="22"/>
                    </a:lnTo>
                    <a:lnTo>
                      <a:pt x="162" y="25"/>
                    </a:lnTo>
                    <a:lnTo>
                      <a:pt x="162" y="25"/>
                    </a:lnTo>
                    <a:lnTo>
                      <a:pt x="164" y="27"/>
                    </a:lnTo>
                    <a:lnTo>
                      <a:pt x="164" y="27"/>
                    </a:lnTo>
                    <a:lnTo>
                      <a:pt x="166" y="26"/>
                    </a:lnTo>
                    <a:lnTo>
                      <a:pt x="168" y="26"/>
                    </a:lnTo>
                    <a:lnTo>
                      <a:pt x="168" y="26"/>
                    </a:lnTo>
                    <a:lnTo>
                      <a:pt x="166" y="27"/>
                    </a:lnTo>
                    <a:lnTo>
                      <a:pt x="170" y="25"/>
                    </a:lnTo>
                    <a:lnTo>
                      <a:pt x="170" y="25"/>
                    </a:lnTo>
                    <a:lnTo>
                      <a:pt x="170" y="25"/>
                    </a:lnTo>
                    <a:lnTo>
                      <a:pt x="171" y="25"/>
                    </a:lnTo>
                    <a:lnTo>
                      <a:pt x="171" y="25"/>
                    </a:lnTo>
                    <a:lnTo>
                      <a:pt x="171" y="23"/>
                    </a:lnTo>
                    <a:lnTo>
                      <a:pt x="172" y="22"/>
                    </a:lnTo>
                    <a:lnTo>
                      <a:pt x="172" y="22"/>
                    </a:lnTo>
                    <a:lnTo>
                      <a:pt x="172" y="21"/>
                    </a:lnTo>
                    <a:lnTo>
                      <a:pt x="172" y="21"/>
                    </a:lnTo>
                    <a:lnTo>
                      <a:pt x="172" y="18"/>
                    </a:lnTo>
                    <a:lnTo>
                      <a:pt x="172" y="15"/>
                    </a:lnTo>
                    <a:lnTo>
                      <a:pt x="180" y="11"/>
                    </a:lnTo>
                    <a:lnTo>
                      <a:pt x="180" y="11"/>
                    </a:lnTo>
                    <a:lnTo>
                      <a:pt x="177" y="11"/>
                    </a:lnTo>
                    <a:lnTo>
                      <a:pt x="179" y="11"/>
                    </a:lnTo>
                    <a:lnTo>
                      <a:pt x="179" y="11"/>
                    </a:lnTo>
                    <a:lnTo>
                      <a:pt x="181" y="9"/>
                    </a:lnTo>
                    <a:lnTo>
                      <a:pt x="183" y="8"/>
                    </a:lnTo>
                    <a:lnTo>
                      <a:pt x="187" y="8"/>
                    </a:lnTo>
                    <a:lnTo>
                      <a:pt x="187" y="8"/>
                    </a:lnTo>
                    <a:lnTo>
                      <a:pt x="187" y="8"/>
                    </a:lnTo>
                    <a:lnTo>
                      <a:pt x="188" y="8"/>
                    </a:lnTo>
                    <a:lnTo>
                      <a:pt x="193" y="9"/>
                    </a:lnTo>
                    <a:lnTo>
                      <a:pt x="193" y="9"/>
                    </a:lnTo>
                    <a:lnTo>
                      <a:pt x="193" y="10"/>
                    </a:lnTo>
                    <a:lnTo>
                      <a:pt x="193" y="10"/>
                    </a:lnTo>
                    <a:lnTo>
                      <a:pt x="195" y="9"/>
                    </a:lnTo>
                    <a:lnTo>
                      <a:pt x="195" y="6"/>
                    </a:lnTo>
                    <a:lnTo>
                      <a:pt x="201" y="0"/>
                    </a:lnTo>
                    <a:lnTo>
                      <a:pt x="203" y="0"/>
                    </a:lnTo>
                    <a:lnTo>
                      <a:pt x="203" y="0"/>
                    </a:lnTo>
                    <a:lnTo>
                      <a:pt x="203" y="0"/>
                    </a:lnTo>
                    <a:lnTo>
                      <a:pt x="204" y="0"/>
                    </a:lnTo>
                    <a:lnTo>
                      <a:pt x="204" y="0"/>
                    </a:lnTo>
                    <a:lnTo>
                      <a:pt x="208" y="1"/>
                    </a:lnTo>
                    <a:lnTo>
                      <a:pt x="209" y="2"/>
                    </a:lnTo>
                    <a:lnTo>
                      <a:pt x="209" y="2"/>
                    </a:lnTo>
                    <a:lnTo>
                      <a:pt x="212" y="5"/>
                    </a:lnTo>
                    <a:lnTo>
                      <a:pt x="212" y="8"/>
                    </a:lnTo>
                    <a:lnTo>
                      <a:pt x="212" y="11"/>
                    </a:lnTo>
                    <a:lnTo>
                      <a:pt x="212" y="11"/>
                    </a:lnTo>
                    <a:lnTo>
                      <a:pt x="212" y="13"/>
                    </a:lnTo>
                    <a:lnTo>
                      <a:pt x="212" y="13"/>
                    </a:lnTo>
                    <a:lnTo>
                      <a:pt x="211" y="11"/>
                    </a:lnTo>
                    <a:lnTo>
                      <a:pt x="209" y="10"/>
                    </a:lnTo>
                    <a:lnTo>
                      <a:pt x="213" y="15"/>
                    </a:lnTo>
                    <a:lnTo>
                      <a:pt x="213" y="15"/>
                    </a:lnTo>
                    <a:lnTo>
                      <a:pt x="212" y="14"/>
                    </a:lnTo>
                    <a:lnTo>
                      <a:pt x="212" y="14"/>
                    </a:lnTo>
                    <a:lnTo>
                      <a:pt x="214" y="17"/>
                    </a:lnTo>
                    <a:lnTo>
                      <a:pt x="217" y="21"/>
                    </a:lnTo>
                    <a:lnTo>
                      <a:pt x="217" y="22"/>
                    </a:lnTo>
                    <a:lnTo>
                      <a:pt x="217" y="22"/>
                    </a:lnTo>
                    <a:lnTo>
                      <a:pt x="218" y="22"/>
                    </a:lnTo>
                    <a:lnTo>
                      <a:pt x="225" y="29"/>
                    </a:lnTo>
                    <a:lnTo>
                      <a:pt x="225" y="29"/>
                    </a:lnTo>
                    <a:lnTo>
                      <a:pt x="225" y="30"/>
                    </a:lnTo>
                    <a:lnTo>
                      <a:pt x="225" y="30"/>
                    </a:lnTo>
                    <a:lnTo>
                      <a:pt x="226" y="31"/>
                    </a:lnTo>
                    <a:lnTo>
                      <a:pt x="226" y="35"/>
                    </a:lnTo>
                    <a:lnTo>
                      <a:pt x="226" y="41"/>
                    </a:lnTo>
                    <a:lnTo>
                      <a:pt x="226" y="41"/>
                    </a:lnTo>
                    <a:lnTo>
                      <a:pt x="229" y="43"/>
                    </a:lnTo>
                    <a:lnTo>
                      <a:pt x="232" y="45"/>
                    </a:lnTo>
                    <a:lnTo>
                      <a:pt x="232" y="47"/>
                    </a:lnTo>
                    <a:lnTo>
                      <a:pt x="232" y="49"/>
                    </a:lnTo>
                    <a:lnTo>
                      <a:pt x="232" y="50"/>
                    </a:lnTo>
                    <a:lnTo>
                      <a:pt x="232" y="52"/>
                    </a:lnTo>
                    <a:lnTo>
                      <a:pt x="232" y="52"/>
                    </a:lnTo>
                    <a:lnTo>
                      <a:pt x="232" y="54"/>
                    </a:lnTo>
                    <a:lnTo>
                      <a:pt x="232" y="55"/>
                    </a:lnTo>
                    <a:lnTo>
                      <a:pt x="240" y="60"/>
                    </a:lnTo>
                    <a:lnTo>
                      <a:pt x="240" y="60"/>
                    </a:lnTo>
                    <a:lnTo>
                      <a:pt x="240" y="60"/>
                    </a:lnTo>
                    <a:lnTo>
                      <a:pt x="244" y="62"/>
                    </a:lnTo>
                    <a:lnTo>
                      <a:pt x="249" y="66"/>
                    </a:lnTo>
                    <a:lnTo>
                      <a:pt x="249" y="66"/>
                    </a:lnTo>
                    <a:lnTo>
                      <a:pt x="250" y="70"/>
                    </a:lnTo>
                    <a:lnTo>
                      <a:pt x="250" y="74"/>
                    </a:lnTo>
                    <a:lnTo>
                      <a:pt x="250" y="74"/>
                    </a:lnTo>
                    <a:lnTo>
                      <a:pt x="252" y="78"/>
                    </a:lnTo>
                    <a:lnTo>
                      <a:pt x="254" y="82"/>
                    </a:lnTo>
                    <a:lnTo>
                      <a:pt x="254" y="82"/>
                    </a:lnTo>
                    <a:lnTo>
                      <a:pt x="257" y="84"/>
                    </a:lnTo>
                    <a:lnTo>
                      <a:pt x="258" y="87"/>
                    </a:lnTo>
                    <a:lnTo>
                      <a:pt x="258" y="87"/>
                    </a:lnTo>
                    <a:lnTo>
                      <a:pt x="258" y="87"/>
                    </a:lnTo>
                    <a:lnTo>
                      <a:pt x="258" y="87"/>
                    </a:lnTo>
                    <a:lnTo>
                      <a:pt x="258" y="87"/>
                    </a:lnTo>
                    <a:lnTo>
                      <a:pt x="258" y="87"/>
                    </a:lnTo>
                    <a:lnTo>
                      <a:pt x="259" y="89"/>
                    </a:lnTo>
                    <a:lnTo>
                      <a:pt x="261" y="95"/>
                    </a:lnTo>
                    <a:lnTo>
                      <a:pt x="261" y="95"/>
                    </a:lnTo>
                    <a:lnTo>
                      <a:pt x="261" y="95"/>
                    </a:lnTo>
                    <a:lnTo>
                      <a:pt x="259" y="99"/>
                    </a:lnTo>
                    <a:lnTo>
                      <a:pt x="257" y="103"/>
                    </a:lnTo>
                    <a:lnTo>
                      <a:pt x="258" y="103"/>
                    </a:lnTo>
                    <a:lnTo>
                      <a:pt x="263" y="108"/>
                    </a:lnTo>
                    <a:lnTo>
                      <a:pt x="263" y="108"/>
                    </a:lnTo>
                    <a:lnTo>
                      <a:pt x="262" y="105"/>
                    </a:lnTo>
                    <a:lnTo>
                      <a:pt x="261" y="103"/>
                    </a:lnTo>
                    <a:lnTo>
                      <a:pt x="261" y="103"/>
                    </a:lnTo>
                    <a:lnTo>
                      <a:pt x="262" y="104"/>
                    </a:lnTo>
                    <a:lnTo>
                      <a:pt x="266" y="109"/>
                    </a:lnTo>
                    <a:lnTo>
                      <a:pt x="266" y="113"/>
                    </a:lnTo>
                    <a:lnTo>
                      <a:pt x="266" y="117"/>
                    </a:lnTo>
                    <a:lnTo>
                      <a:pt x="266" y="117"/>
                    </a:lnTo>
                    <a:lnTo>
                      <a:pt x="265" y="119"/>
                    </a:lnTo>
                    <a:lnTo>
                      <a:pt x="267" y="123"/>
                    </a:lnTo>
                    <a:lnTo>
                      <a:pt x="267" y="123"/>
                    </a:lnTo>
                    <a:lnTo>
                      <a:pt x="270" y="128"/>
                    </a:lnTo>
                    <a:lnTo>
                      <a:pt x="271" y="132"/>
                    </a:lnTo>
                    <a:lnTo>
                      <a:pt x="270" y="137"/>
                    </a:lnTo>
                    <a:lnTo>
                      <a:pt x="266" y="140"/>
                    </a:lnTo>
                    <a:lnTo>
                      <a:pt x="266" y="140"/>
                    </a:lnTo>
                    <a:lnTo>
                      <a:pt x="263" y="140"/>
                    </a:lnTo>
                    <a:lnTo>
                      <a:pt x="263" y="140"/>
                    </a:lnTo>
                    <a:lnTo>
                      <a:pt x="259" y="140"/>
                    </a:lnTo>
                    <a:lnTo>
                      <a:pt x="258" y="138"/>
                    </a:lnTo>
                    <a:lnTo>
                      <a:pt x="254" y="136"/>
                    </a:lnTo>
                    <a:lnTo>
                      <a:pt x="254" y="136"/>
                    </a:lnTo>
                    <a:lnTo>
                      <a:pt x="253" y="136"/>
                    </a:lnTo>
                    <a:lnTo>
                      <a:pt x="254" y="138"/>
                    </a:lnTo>
                    <a:lnTo>
                      <a:pt x="254" y="140"/>
                    </a:lnTo>
                    <a:lnTo>
                      <a:pt x="254" y="140"/>
                    </a:lnTo>
                    <a:lnTo>
                      <a:pt x="254" y="141"/>
                    </a:lnTo>
                    <a:lnTo>
                      <a:pt x="254" y="141"/>
                    </a:lnTo>
                    <a:lnTo>
                      <a:pt x="253" y="140"/>
                    </a:lnTo>
                    <a:lnTo>
                      <a:pt x="257" y="145"/>
                    </a:lnTo>
                    <a:lnTo>
                      <a:pt x="257" y="149"/>
                    </a:lnTo>
                    <a:lnTo>
                      <a:pt x="255" y="152"/>
                    </a:lnTo>
                    <a:lnTo>
                      <a:pt x="255" y="152"/>
                    </a:lnTo>
                    <a:lnTo>
                      <a:pt x="253" y="156"/>
                    </a:lnTo>
                    <a:lnTo>
                      <a:pt x="249" y="158"/>
                    </a:lnTo>
                    <a:lnTo>
                      <a:pt x="249" y="158"/>
                    </a:lnTo>
                    <a:lnTo>
                      <a:pt x="248" y="160"/>
                    </a:lnTo>
                    <a:lnTo>
                      <a:pt x="248" y="160"/>
                    </a:lnTo>
                    <a:lnTo>
                      <a:pt x="248" y="162"/>
                    </a:lnTo>
                    <a:lnTo>
                      <a:pt x="248" y="162"/>
                    </a:lnTo>
                    <a:lnTo>
                      <a:pt x="246" y="165"/>
                    </a:lnTo>
                    <a:lnTo>
                      <a:pt x="246" y="165"/>
                    </a:lnTo>
                    <a:lnTo>
                      <a:pt x="244" y="170"/>
                    </a:lnTo>
                    <a:lnTo>
                      <a:pt x="244" y="170"/>
                    </a:lnTo>
                    <a:lnTo>
                      <a:pt x="242" y="174"/>
                    </a:lnTo>
                    <a:lnTo>
                      <a:pt x="242" y="174"/>
                    </a:lnTo>
                    <a:lnTo>
                      <a:pt x="242" y="178"/>
                    </a:lnTo>
                    <a:lnTo>
                      <a:pt x="242" y="179"/>
                    </a:lnTo>
                    <a:lnTo>
                      <a:pt x="242" y="183"/>
                    </a:lnTo>
                    <a:lnTo>
                      <a:pt x="242" y="183"/>
                    </a:lnTo>
                    <a:lnTo>
                      <a:pt x="244" y="189"/>
                    </a:lnTo>
                    <a:lnTo>
                      <a:pt x="244" y="194"/>
                    </a:lnTo>
                    <a:lnTo>
                      <a:pt x="244" y="194"/>
                    </a:lnTo>
                    <a:lnTo>
                      <a:pt x="244" y="199"/>
                    </a:lnTo>
                    <a:lnTo>
                      <a:pt x="244" y="199"/>
                    </a:lnTo>
                    <a:lnTo>
                      <a:pt x="241" y="205"/>
                    </a:lnTo>
                    <a:lnTo>
                      <a:pt x="236" y="207"/>
                    </a:lnTo>
                    <a:lnTo>
                      <a:pt x="234" y="208"/>
                    </a:lnTo>
                    <a:lnTo>
                      <a:pt x="230" y="208"/>
                    </a:lnTo>
                    <a:lnTo>
                      <a:pt x="228" y="207"/>
                    </a:lnTo>
                    <a:lnTo>
                      <a:pt x="228" y="207"/>
                    </a:lnTo>
                    <a:lnTo>
                      <a:pt x="224" y="206"/>
                    </a:lnTo>
                    <a:lnTo>
                      <a:pt x="224" y="206"/>
                    </a:lnTo>
                    <a:lnTo>
                      <a:pt x="216" y="202"/>
                    </a:lnTo>
                    <a:lnTo>
                      <a:pt x="214" y="202"/>
                    </a:lnTo>
                    <a:lnTo>
                      <a:pt x="214" y="202"/>
                    </a:lnTo>
                    <a:lnTo>
                      <a:pt x="214" y="202"/>
                    </a:lnTo>
                    <a:lnTo>
                      <a:pt x="207" y="199"/>
                    </a:lnTo>
                    <a:lnTo>
                      <a:pt x="200" y="195"/>
                    </a:lnTo>
                    <a:lnTo>
                      <a:pt x="196" y="190"/>
                    </a:lnTo>
                    <a:lnTo>
                      <a:pt x="192" y="185"/>
                    </a:lnTo>
                    <a:lnTo>
                      <a:pt x="177" y="185"/>
                    </a:lnTo>
                    <a:lnTo>
                      <a:pt x="173" y="183"/>
                    </a:lnTo>
                    <a:lnTo>
                      <a:pt x="173" y="183"/>
                    </a:lnTo>
                    <a:lnTo>
                      <a:pt x="175" y="183"/>
                    </a:lnTo>
                    <a:lnTo>
                      <a:pt x="175" y="183"/>
                    </a:lnTo>
                    <a:lnTo>
                      <a:pt x="173" y="183"/>
                    </a:lnTo>
                    <a:lnTo>
                      <a:pt x="173" y="183"/>
                    </a:lnTo>
                    <a:lnTo>
                      <a:pt x="172" y="185"/>
                    </a:lnTo>
                    <a:lnTo>
                      <a:pt x="172" y="185"/>
                    </a:lnTo>
                    <a:lnTo>
                      <a:pt x="172" y="183"/>
                    </a:lnTo>
                    <a:lnTo>
                      <a:pt x="170" y="185"/>
                    </a:lnTo>
                    <a:lnTo>
                      <a:pt x="170" y="185"/>
                    </a:lnTo>
                    <a:lnTo>
                      <a:pt x="168" y="183"/>
                    </a:lnTo>
                    <a:lnTo>
                      <a:pt x="167" y="183"/>
                    </a:lnTo>
                    <a:lnTo>
                      <a:pt x="167" y="185"/>
                    </a:lnTo>
                    <a:lnTo>
                      <a:pt x="170" y="186"/>
                    </a:lnTo>
                    <a:lnTo>
                      <a:pt x="167" y="187"/>
                    </a:lnTo>
                    <a:lnTo>
                      <a:pt x="167" y="189"/>
                    </a:lnTo>
                    <a:lnTo>
                      <a:pt x="167" y="189"/>
                    </a:lnTo>
                    <a:lnTo>
                      <a:pt x="170" y="189"/>
                    </a:lnTo>
                    <a:lnTo>
                      <a:pt x="171" y="187"/>
                    </a:lnTo>
                    <a:lnTo>
                      <a:pt x="172" y="187"/>
                    </a:lnTo>
                    <a:lnTo>
                      <a:pt x="172" y="187"/>
                    </a:lnTo>
                    <a:lnTo>
                      <a:pt x="172" y="186"/>
                    </a:lnTo>
                    <a:lnTo>
                      <a:pt x="172" y="186"/>
                    </a:lnTo>
                    <a:lnTo>
                      <a:pt x="173" y="189"/>
                    </a:lnTo>
                    <a:lnTo>
                      <a:pt x="173" y="191"/>
                    </a:lnTo>
                    <a:lnTo>
                      <a:pt x="168" y="198"/>
                    </a:lnTo>
                    <a:lnTo>
                      <a:pt x="164" y="198"/>
                    </a:lnTo>
                    <a:lnTo>
                      <a:pt x="162" y="197"/>
                    </a:lnTo>
                    <a:lnTo>
                      <a:pt x="162" y="197"/>
                    </a:lnTo>
                    <a:lnTo>
                      <a:pt x="159" y="201"/>
                    </a:lnTo>
                    <a:lnTo>
                      <a:pt x="159" y="201"/>
                    </a:lnTo>
                    <a:lnTo>
                      <a:pt x="159" y="201"/>
                    </a:lnTo>
                    <a:lnTo>
                      <a:pt x="159" y="201"/>
                    </a:lnTo>
                    <a:lnTo>
                      <a:pt x="160" y="198"/>
                    </a:lnTo>
                    <a:lnTo>
                      <a:pt x="158" y="199"/>
                    </a:lnTo>
                    <a:lnTo>
                      <a:pt x="158" y="199"/>
                    </a:lnTo>
                    <a:lnTo>
                      <a:pt x="158" y="199"/>
                    </a:lnTo>
                    <a:lnTo>
                      <a:pt x="158" y="199"/>
                    </a:lnTo>
                    <a:lnTo>
                      <a:pt x="156" y="198"/>
                    </a:lnTo>
                    <a:lnTo>
                      <a:pt x="154" y="198"/>
                    </a:lnTo>
                    <a:lnTo>
                      <a:pt x="154" y="199"/>
                    </a:lnTo>
                    <a:lnTo>
                      <a:pt x="154" y="198"/>
                    </a:lnTo>
                    <a:lnTo>
                      <a:pt x="154" y="199"/>
                    </a:lnTo>
                    <a:lnTo>
                      <a:pt x="155" y="201"/>
                    </a:lnTo>
                    <a:lnTo>
                      <a:pt x="154" y="202"/>
                    </a:lnTo>
                    <a:lnTo>
                      <a:pt x="154" y="205"/>
                    </a:lnTo>
                    <a:lnTo>
                      <a:pt x="154" y="205"/>
                    </a:lnTo>
                    <a:lnTo>
                      <a:pt x="156" y="203"/>
                    </a:lnTo>
                    <a:lnTo>
                      <a:pt x="158" y="203"/>
                    </a:lnTo>
                    <a:lnTo>
                      <a:pt x="160" y="205"/>
                    </a:lnTo>
                    <a:lnTo>
                      <a:pt x="160" y="205"/>
                    </a:lnTo>
                    <a:lnTo>
                      <a:pt x="160" y="203"/>
                    </a:lnTo>
                    <a:lnTo>
                      <a:pt x="162" y="205"/>
                    </a:lnTo>
                    <a:lnTo>
                      <a:pt x="162" y="208"/>
                    </a:lnTo>
                    <a:lnTo>
                      <a:pt x="162" y="208"/>
                    </a:lnTo>
                    <a:lnTo>
                      <a:pt x="163" y="211"/>
                    </a:lnTo>
                    <a:lnTo>
                      <a:pt x="164" y="214"/>
                    </a:lnTo>
                    <a:lnTo>
                      <a:pt x="163" y="218"/>
                    </a:lnTo>
                    <a:lnTo>
                      <a:pt x="158" y="222"/>
                    </a:lnTo>
                    <a:lnTo>
                      <a:pt x="146" y="222"/>
                    </a:lnTo>
                    <a:lnTo>
                      <a:pt x="140" y="227"/>
                    </a:lnTo>
                    <a:lnTo>
                      <a:pt x="140" y="227"/>
                    </a:lnTo>
                    <a:lnTo>
                      <a:pt x="143" y="226"/>
                    </a:lnTo>
                    <a:lnTo>
                      <a:pt x="144" y="223"/>
                    </a:lnTo>
                    <a:lnTo>
                      <a:pt x="144" y="223"/>
                    </a:lnTo>
                    <a:lnTo>
                      <a:pt x="144" y="224"/>
                    </a:lnTo>
                    <a:lnTo>
                      <a:pt x="144" y="224"/>
                    </a:lnTo>
                    <a:lnTo>
                      <a:pt x="144" y="230"/>
                    </a:lnTo>
                    <a:lnTo>
                      <a:pt x="144" y="230"/>
                    </a:lnTo>
                    <a:lnTo>
                      <a:pt x="144" y="231"/>
                    </a:lnTo>
                    <a:lnTo>
                      <a:pt x="144" y="231"/>
                    </a:lnTo>
                    <a:lnTo>
                      <a:pt x="144" y="231"/>
                    </a:lnTo>
                    <a:lnTo>
                      <a:pt x="144" y="231"/>
                    </a:lnTo>
                    <a:lnTo>
                      <a:pt x="142" y="235"/>
                    </a:lnTo>
                    <a:lnTo>
                      <a:pt x="142" y="235"/>
                    </a:lnTo>
                    <a:lnTo>
                      <a:pt x="143" y="234"/>
                    </a:lnTo>
                    <a:lnTo>
                      <a:pt x="143" y="234"/>
                    </a:lnTo>
                    <a:lnTo>
                      <a:pt x="143" y="235"/>
                    </a:lnTo>
                    <a:lnTo>
                      <a:pt x="143" y="235"/>
                    </a:lnTo>
                    <a:lnTo>
                      <a:pt x="142" y="238"/>
                    </a:lnTo>
                    <a:lnTo>
                      <a:pt x="135" y="243"/>
                    </a:lnTo>
                    <a:lnTo>
                      <a:pt x="135" y="243"/>
                    </a:lnTo>
                    <a:lnTo>
                      <a:pt x="131" y="240"/>
                    </a:lnTo>
                    <a:lnTo>
                      <a:pt x="129" y="239"/>
                    </a:lnTo>
                    <a:lnTo>
                      <a:pt x="129" y="239"/>
                    </a:lnTo>
                    <a:lnTo>
                      <a:pt x="127" y="239"/>
                    </a:lnTo>
                    <a:lnTo>
                      <a:pt x="127" y="239"/>
                    </a:lnTo>
                    <a:lnTo>
                      <a:pt x="129" y="240"/>
                    </a:lnTo>
                    <a:lnTo>
                      <a:pt x="129" y="243"/>
                    </a:lnTo>
                    <a:lnTo>
                      <a:pt x="122" y="248"/>
                    </a:lnTo>
                    <a:lnTo>
                      <a:pt x="122" y="248"/>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1" name="Freeform 31">
                <a:extLst>
                  <a:ext uri="{FF2B5EF4-FFF2-40B4-BE49-F238E27FC236}">
                    <a16:creationId xmlns:a16="http://schemas.microsoft.com/office/drawing/2014/main" xmlns="" id="{A2ADF799-E59C-4B1B-9B7E-5146172CE67E}"/>
                  </a:ext>
                </a:extLst>
              </p:cNvPr>
              <p:cNvSpPr>
                <a:spLocks/>
              </p:cNvSpPr>
              <p:nvPr/>
            </p:nvSpPr>
            <p:spPr bwMode="auto">
              <a:xfrm>
                <a:off x="7019917" y="3065791"/>
                <a:ext cx="672057" cy="623303"/>
              </a:xfrm>
              <a:custGeom>
                <a:avLst/>
                <a:gdLst>
                  <a:gd name="T0" fmla="*/ 133 w 386"/>
                  <a:gd name="T1" fmla="*/ 344 h 358"/>
                  <a:gd name="T2" fmla="*/ 116 w 386"/>
                  <a:gd name="T3" fmla="*/ 322 h 358"/>
                  <a:gd name="T4" fmla="*/ 103 w 386"/>
                  <a:gd name="T5" fmla="*/ 300 h 358"/>
                  <a:gd name="T6" fmla="*/ 125 w 386"/>
                  <a:gd name="T7" fmla="*/ 259 h 358"/>
                  <a:gd name="T8" fmla="*/ 113 w 386"/>
                  <a:gd name="T9" fmla="*/ 250 h 358"/>
                  <a:gd name="T10" fmla="*/ 90 w 386"/>
                  <a:gd name="T11" fmla="*/ 246 h 358"/>
                  <a:gd name="T12" fmla="*/ 78 w 386"/>
                  <a:gd name="T13" fmla="*/ 237 h 358"/>
                  <a:gd name="T14" fmla="*/ 70 w 386"/>
                  <a:gd name="T15" fmla="*/ 240 h 358"/>
                  <a:gd name="T16" fmla="*/ 47 w 386"/>
                  <a:gd name="T17" fmla="*/ 239 h 358"/>
                  <a:gd name="T18" fmla="*/ 28 w 386"/>
                  <a:gd name="T19" fmla="*/ 215 h 358"/>
                  <a:gd name="T20" fmla="*/ 41 w 386"/>
                  <a:gd name="T21" fmla="*/ 192 h 358"/>
                  <a:gd name="T22" fmla="*/ 28 w 386"/>
                  <a:gd name="T23" fmla="*/ 178 h 358"/>
                  <a:gd name="T24" fmla="*/ 24 w 386"/>
                  <a:gd name="T25" fmla="*/ 182 h 358"/>
                  <a:gd name="T26" fmla="*/ 21 w 386"/>
                  <a:gd name="T27" fmla="*/ 157 h 358"/>
                  <a:gd name="T28" fmla="*/ 35 w 386"/>
                  <a:gd name="T29" fmla="*/ 145 h 358"/>
                  <a:gd name="T30" fmla="*/ 47 w 386"/>
                  <a:gd name="T31" fmla="*/ 124 h 358"/>
                  <a:gd name="T32" fmla="*/ 38 w 386"/>
                  <a:gd name="T33" fmla="*/ 104 h 358"/>
                  <a:gd name="T34" fmla="*/ 30 w 386"/>
                  <a:gd name="T35" fmla="*/ 79 h 358"/>
                  <a:gd name="T36" fmla="*/ 18 w 386"/>
                  <a:gd name="T37" fmla="*/ 59 h 358"/>
                  <a:gd name="T38" fmla="*/ 2 w 386"/>
                  <a:gd name="T39" fmla="*/ 33 h 358"/>
                  <a:gd name="T40" fmla="*/ 20 w 386"/>
                  <a:gd name="T41" fmla="*/ 9 h 358"/>
                  <a:gd name="T42" fmla="*/ 25 w 386"/>
                  <a:gd name="T43" fmla="*/ 14 h 358"/>
                  <a:gd name="T44" fmla="*/ 54 w 386"/>
                  <a:gd name="T45" fmla="*/ 1 h 358"/>
                  <a:gd name="T46" fmla="*/ 87 w 386"/>
                  <a:gd name="T47" fmla="*/ 20 h 358"/>
                  <a:gd name="T48" fmla="*/ 113 w 386"/>
                  <a:gd name="T49" fmla="*/ 17 h 358"/>
                  <a:gd name="T50" fmla="*/ 151 w 386"/>
                  <a:gd name="T51" fmla="*/ 22 h 358"/>
                  <a:gd name="T52" fmla="*/ 174 w 386"/>
                  <a:gd name="T53" fmla="*/ 25 h 358"/>
                  <a:gd name="T54" fmla="*/ 206 w 386"/>
                  <a:gd name="T55" fmla="*/ 0 h 358"/>
                  <a:gd name="T56" fmla="*/ 223 w 386"/>
                  <a:gd name="T57" fmla="*/ 8 h 358"/>
                  <a:gd name="T58" fmla="*/ 243 w 386"/>
                  <a:gd name="T59" fmla="*/ 17 h 358"/>
                  <a:gd name="T60" fmla="*/ 264 w 386"/>
                  <a:gd name="T61" fmla="*/ 22 h 358"/>
                  <a:gd name="T62" fmla="*/ 287 w 386"/>
                  <a:gd name="T63" fmla="*/ 24 h 358"/>
                  <a:gd name="T64" fmla="*/ 310 w 386"/>
                  <a:gd name="T65" fmla="*/ 25 h 358"/>
                  <a:gd name="T66" fmla="*/ 337 w 386"/>
                  <a:gd name="T67" fmla="*/ 26 h 358"/>
                  <a:gd name="T68" fmla="*/ 362 w 386"/>
                  <a:gd name="T69" fmla="*/ 30 h 358"/>
                  <a:gd name="T70" fmla="*/ 375 w 386"/>
                  <a:gd name="T71" fmla="*/ 37 h 358"/>
                  <a:gd name="T72" fmla="*/ 374 w 386"/>
                  <a:gd name="T73" fmla="*/ 46 h 358"/>
                  <a:gd name="T74" fmla="*/ 379 w 386"/>
                  <a:gd name="T75" fmla="*/ 81 h 358"/>
                  <a:gd name="T76" fmla="*/ 382 w 386"/>
                  <a:gd name="T77" fmla="*/ 107 h 358"/>
                  <a:gd name="T78" fmla="*/ 359 w 386"/>
                  <a:gd name="T79" fmla="*/ 114 h 358"/>
                  <a:gd name="T80" fmla="*/ 362 w 386"/>
                  <a:gd name="T81" fmla="*/ 129 h 358"/>
                  <a:gd name="T82" fmla="*/ 363 w 386"/>
                  <a:gd name="T83" fmla="*/ 156 h 358"/>
                  <a:gd name="T84" fmla="*/ 366 w 386"/>
                  <a:gd name="T85" fmla="*/ 176 h 358"/>
                  <a:gd name="T86" fmla="*/ 365 w 386"/>
                  <a:gd name="T87" fmla="*/ 201 h 358"/>
                  <a:gd name="T88" fmla="*/ 346 w 386"/>
                  <a:gd name="T89" fmla="*/ 229 h 358"/>
                  <a:gd name="T90" fmla="*/ 322 w 386"/>
                  <a:gd name="T91" fmla="*/ 234 h 358"/>
                  <a:gd name="T92" fmla="*/ 317 w 386"/>
                  <a:gd name="T93" fmla="*/ 250 h 358"/>
                  <a:gd name="T94" fmla="*/ 307 w 386"/>
                  <a:gd name="T95" fmla="*/ 275 h 358"/>
                  <a:gd name="T96" fmla="*/ 292 w 386"/>
                  <a:gd name="T97" fmla="*/ 270 h 358"/>
                  <a:gd name="T98" fmla="*/ 292 w 386"/>
                  <a:gd name="T99" fmla="*/ 299 h 358"/>
                  <a:gd name="T100" fmla="*/ 287 w 386"/>
                  <a:gd name="T101" fmla="*/ 312 h 358"/>
                  <a:gd name="T102" fmla="*/ 260 w 386"/>
                  <a:gd name="T103" fmla="*/ 317 h 358"/>
                  <a:gd name="T104" fmla="*/ 248 w 386"/>
                  <a:gd name="T105" fmla="*/ 319 h 358"/>
                  <a:gd name="T106" fmla="*/ 242 w 386"/>
                  <a:gd name="T107" fmla="*/ 330 h 358"/>
                  <a:gd name="T108" fmla="*/ 230 w 386"/>
                  <a:gd name="T109" fmla="*/ 341 h 358"/>
                  <a:gd name="T110" fmla="*/ 211 w 386"/>
                  <a:gd name="T111" fmla="*/ 336 h 358"/>
                  <a:gd name="T112" fmla="*/ 197 w 386"/>
                  <a:gd name="T113" fmla="*/ 325 h 358"/>
                  <a:gd name="T114" fmla="*/ 185 w 386"/>
                  <a:gd name="T115" fmla="*/ 338 h 358"/>
                  <a:gd name="T116" fmla="*/ 166 w 386"/>
                  <a:gd name="T117" fmla="*/ 34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358">
                    <a:moveTo>
                      <a:pt x="153" y="358"/>
                    </a:moveTo>
                    <a:lnTo>
                      <a:pt x="153" y="358"/>
                    </a:lnTo>
                    <a:lnTo>
                      <a:pt x="149" y="358"/>
                    </a:lnTo>
                    <a:lnTo>
                      <a:pt x="148" y="357"/>
                    </a:lnTo>
                    <a:lnTo>
                      <a:pt x="147" y="357"/>
                    </a:lnTo>
                    <a:lnTo>
                      <a:pt x="147" y="357"/>
                    </a:lnTo>
                    <a:lnTo>
                      <a:pt x="145" y="357"/>
                    </a:lnTo>
                    <a:lnTo>
                      <a:pt x="145" y="357"/>
                    </a:lnTo>
                    <a:lnTo>
                      <a:pt x="139" y="350"/>
                    </a:lnTo>
                    <a:lnTo>
                      <a:pt x="139" y="350"/>
                    </a:lnTo>
                    <a:lnTo>
                      <a:pt x="139" y="346"/>
                    </a:lnTo>
                    <a:lnTo>
                      <a:pt x="139" y="346"/>
                    </a:lnTo>
                    <a:lnTo>
                      <a:pt x="133" y="344"/>
                    </a:lnTo>
                    <a:lnTo>
                      <a:pt x="133" y="344"/>
                    </a:lnTo>
                    <a:lnTo>
                      <a:pt x="132" y="344"/>
                    </a:lnTo>
                    <a:lnTo>
                      <a:pt x="132" y="344"/>
                    </a:lnTo>
                    <a:lnTo>
                      <a:pt x="127" y="338"/>
                    </a:lnTo>
                    <a:lnTo>
                      <a:pt x="127" y="338"/>
                    </a:lnTo>
                    <a:lnTo>
                      <a:pt x="127" y="336"/>
                    </a:lnTo>
                    <a:lnTo>
                      <a:pt x="125" y="334"/>
                    </a:lnTo>
                    <a:lnTo>
                      <a:pt x="120" y="330"/>
                    </a:lnTo>
                    <a:lnTo>
                      <a:pt x="117" y="326"/>
                    </a:lnTo>
                    <a:lnTo>
                      <a:pt x="117" y="326"/>
                    </a:lnTo>
                    <a:lnTo>
                      <a:pt x="117" y="328"/>
                    </a:lnTo>
                    <a:lnTo>
                      <a:pt x="117" y="328"/>
                    </a:lnTo>
                    <a:lnTo>
                      <a:pt x="116" y="326"/>
                    </a:lnTo>
                    <a:lnTo>
                      <a:pt x="116" y="322"/>
                    </a:lnTo>
                    <a:lnTo>
                      <a:pt x="116" y="322"/>
                    </a:lnTo>
                    <a:lnTo>
                      <a:pt x="116" y="322"/>
                    </a:lnTo>
                    <a:lnTo>
                      <a:pt x="112" y="320"/>
                    </a:lnTo>
                    <a:lnTo>
                      <a:pt x="110" y="315"/>
                    </a:lnTo>
                    <a:lnTo>
                      <a:pt x="110" y="315"/>
                    </a:lnTo>
                    <a:lnTo>
                      <a:pt x="103" y="311"/>
                    </a:lnTo>
                    <a:lnTo>
                      <a:pt x="103" y="311"/>
                    </a:lnTo>
                    <a:lnTo>
                      <a:pt x="103" y="304"/>
                    </a:lnTo>
                    <a:lnTo>
                      <a:pt x="103" y="304"/>
                    </a:lnTo>
                    <a:lnTo>
                      <a:pt x="103" y="301"/>
                    </a:lnTo>
                    <a:lnTo>
                      <a:pt x="103" y="301"/>
                    </a:lnTo>
                    <a:lnTo>
                      <a:pt x="104" y="303"/>
                    </a:lnTo>
                    <a:lnTo>
                      <a:pt x="106" y="304"/>
                    </a:lnTo>
                    <a:lnTo>
                      <a:pt x="103" y="300"/>
                    </a:lnTo>
                    <a:lnTo>
                      <a:pt x="103" y="300"/>
                    </a:lnTo>
                    <a:lnTo>
                      <a:pt x="104" y="301"/>
                    </a:lnTo>
                    <a:lnTo>
                      <a:pt x="103" y="300"/>
                    </a:lnTo>
                    <a:lnTo>
                      <a:pt x="103" y="300"/>
                    </a:lnTo>
                    <a:lnTo>
                      <a:pt x="102" y="299"/>
                    </a:lnTo>
                    <a:lnTo>
                      <a:pt x="102" y="297"/>
                    </a:lnTo>
                    <a:lnTo>
                      <a:pt x="99" y="293"/>
                    </a:lnTo>
                    <a:lnTo>
                      <a:pt x="99" y="293"/>
                    </a:lnTo>
                    <a:lnTo>
                      <a:pt x="102" y="288"/>
                    </a:lnTo>
                    <a:lnTo>
                      <a:pt x="104" y="284"/>
                    </a:lnTo>
                    <a:lnTo>
                      <a:pt x="113" y="275"/>
                    </a:lnTo>
                    <a:lnTo>
                      <a:pt x="113" y="275"/>
                    </a:lnTo>
                    <a:lnTo>
                      <a:pt x="121" y="267"/>
                    </a:lnTo>
                    <a:lnTo>
                      <a:pt x="124" y="263"/>
                    </a:lnTo>
                    <a:lnTo>
                      <a:pt x="125" y="259"/>
                    </a:lnTo>
                    <a:lnTo>
                      <a:pt x="125" y="259"/>
                    </a:lnTo>
                    <a:lnTo>
                      <a:pt x="124" y="259"/>
                    </a:lnTo>
                    <a:lnTo>
                      <a:pt x="124" y="259"/>
                    </a:lnTo>
                    <a:lnTo>
                      <a:pt x="123" y="258"/>
                    </a:lnTo>
                    <a:lnTo>
                      <a:pt x="120" y="256"/>
                    </a:lnTo>
                    <a:lnTo>
                      <a:pt x="120" y="256"/>
                    </a:lnTo>
                    <a:lnTo>
                      <a:pt x="117" y="252"/>
                    </a:lnTo>
                    <a:lnTo>
                      <a:pt x="117" y="252"/>
                    </a:lnTo>
                    <a:lnTo>
                      <a:pt x="116" y="250"/>
                    </a:lnTo>
                    <a:lnTo>
                      <a:pt x="115" y="250"/>
                    </a:lnTo>
                    <a:lnTo>
                      <a:pt x="115" y="250"/>
                    </a:lnTo>
                    <a:lnTo>
                      <a:pt x="115" y="250"/>
                    </a:lnTo>
                    <a:lnTo>
                      <a:pt x="113" y="250"/>
                    </a:lnTo>
                    <a:lnTo>
                      <a:pt x="113" y="250"/>
                    </a:lnTo>
                    <a:lnTo>
                      <a:pt x="111" y="250"/>
                    </a:lnTo>
                    <a:lnTo>
                      <a:pt x="108" y="248"/>
                    </a:lnTo>
                    <a:lnTo>
                      <a:pt x="106" y="246"/>
                    </a:lnTo>
                    <a:lnTo>
                      <a:pt x="106" y="246"/>
                    </a:lnTo>
                    <a:lnTo>
                      <a:pt x="103" y="250"/>
                    </a:lnTo>
                    <a:lnTo>
                      <a:pt x="100" y="251"/>
                    </a:lnTo>
                    <a:lnTo>
                      <a:pt x="96" y="251"/>
                    </a:lnTo>
                    <a:lnTo>
                      <a:pt x="96" y="251"/>
                    </a:lnTo>
                    <a:lnTo>
                      <a:pt x="91" y="244"/>
                    </a:lnTo>
                    <a:lnTo>
                      <a:pt x="91" y="244"/>
                    </a:lnTo>
                    <a:lnTo>
                      <a:pt x="91" y="246"/>
                    </a:lnTo>
                    <a:lnTo>
                      <a:pt x="91" y="246"/>
                    </a:lnTo>
                    <a:lnTo>
                      <a:pt x="90" y="246"/>
                    </a:lnTo>
                    <a:lnTo>
                      <a:pt x="90" y="246"/>
                    </a:lnTo>
                    <a:lnTo>
                      <a:pt x="90" y="244"/>
                    </a:lnTo>
                    <a:lnTo>
                      <a:pt x="90" y="244"/>
                    </a:lnTo>
                    <a:lnTo>
                      <a:pt x="91" y="244"/>
                    </a:lnTo>
                    <a:lnTo>
                      <a:pt x="88" y="242"/>
                    </a:lnTo>
                    <a:lnTo>
                      <a:pt x="87" y="239"/>
                    </a:lnTo>
                    <a:lnTo>
                      <a:pt x="87" y="239"/>
                    </a:lnTo>
                    <a:lnTo>
                      <a:pt x="87" y="240"/>
                    </a:lnTo>
                    <a:lnTo>
                      <a:pt x="86" y="239"/>
                    </a:lnTo>
                    <a:lnTo>
                      <a:pt x="86" y="238"/>
                    </a:lnTo>
                    <a:lnTo>
                      <a:pt x="82" y="240"/>
                    </a:lnTo>
                    <a:lnTo>
                      <a:pt x="78" y="240"/>
                    </a:lnTo>
                    <a:lnTo>
                      <a:pt x="76" y="238"/>
                    </a:lnTo>
                    <a:lnTo>
                      <a:pt x="76" y="238"/>
                    </a:lnTo>
                    <a:lnTo>
                      <a:pt x="78" y="237"/>
                    </a:lnTo>
                    <a:lnTo>
                      <a:pt x="78" y="237"/>
                    </a:lnTo>
                    <a:lnTo>
                      <a:pt x="78" y="234"/>
                    </a:lnTo>
                    <a:lnTo>
                      <a:pt x="78" y="231"/>
                    </a:lnTo>
                    <a:lnTo>
                      <a:pt x="75" y="237"/>
                    </a:lnTo>
                    <a:lnTo>
                      <a:pt x="72" y="231"/>
                    </a:lnTo>
                    <a:lnTo>
                      <a:pt x="72" y="231"/>
                    </a:lnTo>
                    <a:lnTo>
                      <a:pt x="71" y="234"/>
                    </a:lnTo>
                    <a:lnTo>
                      <a:pt x="72" y="237"/>
                    </a:lnTo>
                    <a:lnTo>
                      <a:pt x="72" y="237"/>
                    </a:lnTo>
                    <a:lnTo>
                      <a:pt x="74" y="238"/>
                    </a:lnTo>
                    <a:lnTo>
                      <a:pt x="72" y="240"/>
                    </a:lnTo>
                    <a:lnTo>
                      <a:pt x="71" y="240"/>
                    </a:lnTo>
                    <a:lnTo>
                      <a:pt x="71" y="240"/>
                    </a:lnTo>
                    <a:lnTo>
                      <a:pt x="70" y="240"/>
                    </a:lnTo>
                    <a:lnTo>
                      <a:pt x="70" y="240"/>
                    </a:lnTo>
                    <a:lnTo>
                      <a:pt x="65" y="242"/>
                    </a:lnTo>
                    <a:lnTo>
                      <a:pt x="65" y="242"/>
                    </a:lnTo>
                    <a:lnTo>
                      <a:pt x="62" y="240"/>
                    </a:lnTo>
                    <a:lnTo>
                      <a:pt x="61" y="240"/>
                    </a:lnTo>
                    <a:lnTo>
                      <a:pt x="57" y="239"/>
                    </a:lnTo>
                    <a:lnTo>
                      <a:pt x="57" y="239"/>
                    </a:lnTo>
                    <a:lnTo>
                      <a:pt x="54" y="238"/>
                    </a:lnTo>
                    <a:lnTo>
                      <a:pt x="54" y="238"/>
                    </a:lnTo>
                    <a:lnTo>
                      <a:pt x="54" y="238"/>
                    </a:lnTo>
                    <a:lnTo>
                      <a:pt x="50" y="239"/>
                    </a:lnTo>
                    <a:lnTo>
                      <a:pt x="50" y="239"/>
                    </a:lnTo>
                    <a:lnTo>
                      <a:pt x="47" y="239"/>
                    </a:lnTo>
                    <a:lnTo>
                      <a:pt x="47" y="239"/>
                    </a:lnTo>
                    <a:lnTo>
                      <a:pt x="45" y="238"/>
                    </a:lnTo>
                    <a:lnTo>
                      <a:pt x="45" y="238"/>
                    </a:lnTo>
                    <a:lnTo>
                      <a:pt x="46" y="238"/>
                    </a:lnTo>
                    <a:lnTo>
                      <a:pt x="47" y="235"/>
                    </a:lnTo>
                    <a:lnTo>
                      <a:pt x="42" y="240"/>
                    </a:lnTo>
                    <a:lnTo>
                      <a:pt x="38" y="240"/>
                    </a:lnTo>
                    <a:lnTo>
                      <a:pt x="33" y="230"/>
                    </a:lnTo>
                    <a:lnTo>
                      <a:pt x="33" y="230"/>
                    </a:lnTo>
                    <a:lnTo>
                      <a:pt x="34" y="229"/>
                    </a:lnTo>
                    <a:lnTo>
                      <a:pt x="34" y="227"/>
                    </a:lnTo>
                    <a:lnTo>
                      <a:pt x="32" y="222"/>
                    </a:lnTo>
                    <a:lnTo>
                      <a:pt x="32" y="222"/>
                    </a:lnTo>
                    <a:lnTo>
                      <a:pt x="28" y="218"/>
                    </a:lnTo>
                    <a:lnTo>
                      <a:pt x="28" y="215"/>
                    </a:lnTo>
                    <a:lnTo>
                      <a:pt x="28" y="214"/>
                    </a:lnTo>
                    <a:lnTo>
                      <a:pt x="28" y="214"/>
                    </a:lnTo>
                    <a:lnTo>
                      <a:pt x="26" y="213"/>
                    </a:lnTo>
                    <a:lnTo>
                      <a:pt x="26" y="213"/>
                    </a:lnTo>
                    <a:lnTo>
                      <a:pt x="26" y="207"/>
                    </a:lnTo>
                    <a:lnTo>
                      <a:pt x="26" y="205"/>
                    </a:lnTo>
                    <a:lnTo>
                      <a:pt x="29" y="202"/>
                    </a:lnTo>
                    <a:lnTo>
                      <a:pt x="32" y="201"/>
                    </a:lnTo>
                    <a:lnTo>
                      <a:pt x="32" y="201"/>
                    </a:lnTo>
                    <a:lnTo>
                      <a:pt x="34" y="198"/>
                    </a:lnTo>
                    <a:lnTo>
                      <a:pt x="34" y="198"/>
                    </a:lnTo>
                    <a:lnTo>
                      <a:pt x="37" y="196"/>
                    </a:lnTo>
                    <a:lnTo>
                      <a:pt x="41" y="194"/>
                    </a:lnTo>
                    <a:lnTo>
                      <a:pt x="41" y="192"/>
                    </a:lnTo>
                    <a:lnTo>
                      <a:pt x="41" y="192"/>
                    </a:lnTo>
                    <a:lnTo>
                      <a:pt x="39" y="189"/>
                    </a:lnTo>
                    <a:lnTo>
                      <a:pt x="37" y="188"/>
                    </a:lnTo>
                    <a:lnTo>
                      <a:pt x="37" y="188"/>
                    </a:lnTo>
                    <a:lnTo>
                      <a:pt x="35" y="186"/>
                    </a:lnTo>
                    <a:lnTo>
                      <a:pt x="35" y="186"/>
                    </a:lnTo>
                    <a:lnTo>
                      <a:pt x="34" y="186"/>
                    </a:lnTo>
                    <a:lnTo>
                      <a:pt x="32" y="185"/>
                    </a:lnTo>
                    <a:lnTo>
                      <a:pt x="30" y="182"/>
                    </a:lnTo>
                    <a:lnTo>
                      <a:pt x="30" y="182"/>
                    </a:lnTo>
                    <a:lnTo>
                      <a:pt x="32" y="184"/>
                    </a:lnTo>
                    <a:lnTo>
                      <a:pt x="33" y="184"/>
                    </a:lnTo>
                    <a:lnTo>
                      <a:pt x="28" y="178"/>
                    </a:lnTo>
                    <a:lnTo>
                      <a:pt x="28" y="178"/>
                    </a:lnTo>
                    <a:lnTo>
                      <a:pt x="29" y="181"/>
                    </a:lnTo>
                    <a:lnTo>
                      <a:pt x="30" y="182"/>
                    </a:lnTo>
                    <a:lnTo>
                      <a:pt x="30" y="182"/>
                    </a:lnTo>
                    <a:lnTo>
                      <a:pt x="30" y="182"/>
                    </a:lnTo>
                    <a:lnTo>
                      <a:pt x="29" y="182"/>
                    </a:lnTo>
                    <a:lnTo>
                      <a:pt x="29" y="182"/>
                    </a:lnTo>
                    <a:lnTo>
                      <a:pt x="26" y="182"/>
                    </a:lnTo>
                    <a:lnTo>
                      <a:pt x="26" y="182"/>
                    </a:lnTo>
                    <a:lnTo>
                      <a:pt x="25" y="182"/>
                    </a:lnTo>
                    <a:lnTo>
                      <a:pt x="24" y="182"/>
                    </a:lnTo>
                    <a:lnTo>
                      <a:pt x="24" y="182"/>
                    </a:lnTo>
                    <a:lnTo>
                      <a:pt x="24" y="182"/>
                    </a:lnTo>
                    <a:lnTo>
                      <a:pt x="24" y="182"/>
                    </a:lnTo>
                    <a:lnTo>
                      <a:pt x="24" y="182"/>
                    </a:lnTo>
                    <a:lnTo>
                      <a:pt x="18" y="178"/>
                    </a:lnTo>
                    <a:lnTo>
                      <a:pt x="18" y="178"/>
                    </a:lnTo>
                    <a:lnTo>
                      <a:pt x="18" y="173"/>
                    </a:lnTo>
                    <a:lnTo>
                      <a:pt x="18" y="169"/>
                    </a:lnTo>
                    <a:lnTo>
                      <a:pt x="18" y="169"/>
                    </a:lnTo>
                    <a:lnTo>
                      <a:pt x="20" y="168"/>
                    </a:lnTo>
                    <a:lnTo>
                      <a:pt x="20" y="162"/>
                    </a:lnTo>
                    <a:lnTo>
                      <a:pt x="20" y="162"/>
                    </a:lnTo>
                    <a:lnTo>
                      <a:pt x="20" y="157"/>
                    </a:lnTo>
                    <a:lnTo>
                      <a:pt x="21" y="156"/>
                    </a:lnTo>
                    <a:lnTo>
                      <a:pt x="21" y="156"/>
                    </a:lnTo>
                    <a:lnTo>
                      <a:pt x="21" y="156"/>
                    </a:lnTo>
                    <a:lnTo>
                      <a:pt x="21" y="156"/>
                    </a:lnTo>
                    <a:lnTo>
                      <a:pt x="21" y="157"/>
                    </a:lnTo>
                    <a:lnTo>
                      <a:pt x="22" y="153"/>
                    </a:lnTo>
                    <a:lnTo>
                      <a:pt x="22" y="153"/>
                    </a:lnTo>
                    <a:lnTo>
                      <a:pt x="26" y="149"/>
                    </a:lnTo>
                    <a:lnTo>
                      <a:pt x="26" y="149"/>
                    </a:lnTo>
                    <a:lnTo>
                      <a:pt x="29" y="148"/>
                    </a:lnTo>
                    <a:lnTo>
                      <a:pt x="30" y="145"/>
                    </a:lnTo>
                    <a:lnTo>
                      <a:pt x="30" y="145"/>
                    </a:lnTo>
                    <a:lnTo>
                      <a:pt x="30" y="141"/>
                    </a:lnTo>
                    <a:lnTo>
                      <a:pt x="30" y="141"/>
                    </a:lnTo>
                    <a:lnTo>
                      <a:pt x="32" y="140"/>
                    </a:lnTo>
                    <a:lnTo>
                      <a:pt x="32" y="140"/>
                    </a:lnTo>
                    <a:lnTo>
                      <a:pt x="33" y="143"/>
                    </a:lnTo>
                    <a:lnTo>
                      <a:pt x="33" y="143"/>
                    </a:lnTo>
                    <a:lnTo>
                      <a:pt x="35" y="145"/>
                    </a:lnTo>
                    <a:lnTo>
                      <a:pt x="29" y="139"/>
                    </a:lnTo>
                    <a:lnTo>
                      <a:pt x="29" y="135"/>
                    </a:lnTo>
                    <a:lnTo>
                      <a:pt x="30" y="132"/>
                    </a:lnTo>
                    <a:lnTo>
                      <a:pt x="30" y="132"/>
                    </a:lnTo>
                    <a:lnTo>
                      <a:pt x="33" y="129"/>
                    </a:lnTo>
                    <a:lnTo>
                      <a:pt x="37" y="128"/>
                    </a:lnTo>
                    <a:lnTo>
                      <a:pt x="37" y="128"/>
                    </a:lnTo>
                    <a:lnTo>
                      <a:pt x="41" y="129"/>
                    </a:lnTo>
                    <a:lnTo>
                      <a:pt x="47" y="129"/>
                    </a:lnTo>
                    <a:lnTo>
                      <a:pt x="47" y="129"/>
                    </a:lnTo>
                    <a:lnTo>
                      <a:pt x="47" y="125"/>
                    </a:lnTo>
                    <a:lnTo>
                      <a:pt x="47" y="125"/>
                    </a:lnTo>
                    <a:lnTo>
                      <a:pt x="47" y="124"/>
                    </a:lnTo>
                    <a:lnTo>
                      <a:pt x="47" y="124"/>
                    </a:lnTo>
                    <a:lnTo>
                      <a:pt x="49" y="127"/>
                    </a:lnTo>
                    <a:lnTo>
                      <a:pt x="51" y="128"/>
                    </a:lnTo>
                    <a:lnTo>
                      <a:pt x="47" y="123"/>
                    </a:lnTo>
                    <a:lnTo>
                      <a:pt x="46" y="123"/>
                    </a:lnTo>
                    <a:lnTo>
                      <a:pt x="46" y="123"/>
                    </a:lnTo>
                    <a:lnTo>
                      <a:pt x="45" y="122"/>
                    </a:lnTo>
                    <a:lnTo>
                      <a:pt x="45" y="122"/>
                    </a:lnTo>
                    <a:lnTo>
                      <a:pt x="42" y="116"/>
                    </a:lnTo>
                    <a:lnTo>
                      <a:pt x="41" y="114"/>
                    </a:lnTo>
                    <a:lnTo>
                      <a:pt x="41" y="110"/>
                    </a:lnTo>
                    <a:lnTo>
                      <a:pt x="41" y="107"/>
                    </a:lnTo>
                    <a:lnTo>
                      <a:pt x="42" y="104"/>
                    </a:lnTo>
                    <a:lnTo>
                      <a:pt x="41" y="104"/>
                    </a:lnTo>
                    <a:lnTo>
                      <a:pt x="38" y="104"/>
                    </a:lnTo>
                    <a:lnTo>
                      <a:pt x="33" y="99"/>
                    </a:lnTo>
                    <a:lnTo>
                      <a:pt x="33" y="99"/>
                    </a:lnTo>
                    <a:lnTo>
                      <a:pt x="32" y="95"/>
                    </a:lnTo>
                    <a:lnTo>
                      <a:pt x="33" y="92"/>
                    </a:lnTo>
                    <a:lnTo>
                      <a:pt x="35" y="90"/>
                    </a:lnTo>
                    <a:lnTo>
                      <a:pt x="35" y="90"/>
                    </a:lnTo>
                    <a:lnTo>
                      <a:pt x="35" y="90"/>
                    </a:lnTo>
                    <a:lnTo>
                      <a:pt x="35" y="88"/>
                    </a:lnTo>
                    <a:lnTo>
                      <a:pt x="34" y="87"/>
                    </a:lnTo>
                    <a:lnTo>
                      <a:pt x="33" y="83"/>
                    </a:lnTo>
                    <a:lnTo>
                      <a:pt x="33" y="83"/>
                    </a:lnTo>
                    <a:lnTo>
                      <a:pt x="30" y="79"/>
                    </a:lnTo>
                    <a:lnTo>
                      <a:pt x="30" y="79"/>
                    </a:lnTo>
                    <a:lnTo>
                      <a:pt x="30" y="79"/>
                    </a:lnTo>
                    <a:lnTo>
                      <a:pt x="29" y="77"/>
                    </a:lnTo>
                    <a:lnTo>
                      <a:pt x="28" y="74"/>
                    </a:lnTo>
                    <a:lnTo>
                      <a:pt x="28" y="74"/>
                    </a:lnTo>
                    <a:lnTo>
                      <a:pt x="28" y="74"/>
                    </a:lnTo>
                    <a:lnTo>
                      <a:pt x="26" y="70"/>
                    </a:lnTo>
                    <a:lnTo>
                      <a:pt x="26" y="69"/>
                    </a:lnTo>
                    <a:lnTo>
                      <a:pt x="26" y="69"/>
                    </a:lnTo>
                    <a:lnTo>
                      <a:pt x="28" y="71"/>
                    </a:lnTo>
                    <a:lnTo>
                      <a:pt x="29" y="71"/>
                    </a:lnTo>
                    <a:lnTo>
                      <a:pt x="25" y="66"/>
                    </a:lnTo>
                    <a:lnTo>
                      <a:pt x="25" y="65"/>
                    </a:lnTo>
                    <a:lnTo>
                      <a:pt x="25" y="65"/>
                    </a:lnTo>
                    <a:lnTo>
                      <a:pt x="24" y="62"/>
                    </a:lnTo>
                    <a:lnTo>
                      <a:pt x="18" y="59"/>
                    </a:lnTo>
                    <a:lnTo>
                      <a:pt x="18" y="59"/>
                    </a:lnTo>
                    <a:lnTo>
                      <a:pt x="13" y="58"/>
                    </a:lnTo>
                    <a:lnTo>
                      <a:pt x="9" y="54"/>
                    </a:lnTo>
                    <a:lnTo>
                      <a:pt x="8" y="54"/>
                    </a:lnTo>
                    <a:lnTo>
                      <a:pt x="8" y="54"/>
                    </a:lnTo>
                    <a:lnTo>
                      <a:pt x="6" y="50"/>
                    </a:lnTo>
                    <a:lnTo>
                      <a:pt x="5" y="47"/>
                    </a:lnTo>
                    <a:lnTo>
                      <a:pt x="6" y="45"/>
                    </a:lnTo>
                    <a:lnTo>
                      <a:pt x="8" y="42"/>
                    </a:lnTo>
                    <a:lnTo>
                      <a:pt x="8" y="42"/>
                    </a:lnTo>
                    <a:lnTo>
                      <a:pt x="5" y="40"/>
                    </a:lnTo>
                    <a:lnTo>
                      <a:pt x="4" y="38"/>
                    </a:lnTo>
                    <a:lnTo>
                      <a:pt x="2" y="34"/>
                    </a:lnTo>
                    <a:lnTo>
                      <a:pt x="2" y="33"/>
                    </a:lnTo>
                    <a:lnTo>
                      <a:pt x="4" y="30"/>
                    </a:lnTo>
                    <a:lnTo>
                      <a:pt x="4" y="30"/>
                    </a:lnTo>
                    <a:lnTo>
                      <a:pt x="2" y="24"/>
                    </a:lnTo>
                    <a:lnTo>
                      <a:pt x="2" y="24"/>
                    </a:lnTo>
                    <a:lnTo>
                      <a:pt x="0" y="17"/>
                    </a:lnTo>
                    <a:lnTo>
                      <a:pt x="0" y="13"/>
                    </a:lnTo>
                    <a:lnTo>
                      <a:pt x="1" y="10"/>
                    </a:lnTo>
                    <a:lnTo>
                      <a:pt x="6" y="6"/>
                    </a:lnTo>
                    <a:lnTo>
                      <a:pt x="13" y="6"/>
                    </a:lnTo>
                    <a:lnTo>
                      <a:pt x="14" y="8"/>
                    </a:lnTo>
                    <a:lnTo>
                      <a:pt x="14" y="8"/>
                    </a:lnTo>
                    <a:lnTo>
                      <a:pt x="18" y="9"/>
                    </a:lnTo>
                    <a:lnTo>
                      <a:pt x="18" y="9"/>
                    </a:lnTo>
                    <a:lnTo>
                      <a:pt x="20" y="9"/>
                    </a:lnTo>
                    <a:lnTo>
                      <a:pt x="22" y="13"/>
                    </a:lnTo>
                    <a:lnTo>
                      <a:pt x="22" y="13"/>
                    </a:lnTo>
                    <a:lnTo>
                      <a:pt x="21" y="14"/>
                    </a:lnTo>
                    <a:lnTo>
                      <a:pt x="21" y="14"/>
                    </a:lnTo>
                    <a:lnTo>
                      <a:pt x="21" y="16"/>
                    </a:lnTo>
                    <a:lnTo>
                      <a:pt x="21" y="18"/>
                    </a:lnTo>
                    <a:lnTo>
                      <a:pt x="24" y="16"/>
                    </a:lnTo>
                    <a:lnTo>
                      <a:pt x="25" y="17"/>
                    </a:lnTo>
                    <a:lnTo>
                      <a:pt x="25" y="17"/>
                    </a:lnTo>
                    <a:lnTo>
                      <a:pt x="25" y="17"/>
                    </a:lnTo>
                    <a:lnTo>
                      <a:pt x="26" y="18"/>
                    </a:lnTo>
                    <a:lnTo>
                      <a:pt x="26" y="18"/>
                    </a:lnTo>
                    <a:lnTo>
                      <a:pt x="26" y="16"/>
                    </a:lnTo>
                    <a:lnTo>
                      <a:pt x="25" y="14"/>
                    </a:lnTo>
                    <a:lnTo>
                      <a:pt x="25" y="14"/>
                    </a:lnTo>
                    <a:lnTo>
                      <a:pt x="25" y="13"/>
                    </a:lnTo>
                    <a:lnTo>
                      <a:pt x="28" y="10"/>
                    </a:lnTo>
                    <a:lnTo>
                      <a:pt x="28" y="10"/>
                    </a:lnTo>
                    <a:lnTo>
                      <a:pt x="28" y="10"/>
                    </a:lnTo>
                    <a:lnTo>
                      <a:pt x="29" y="9"/>
                    </a:lnTo>
                    <a:lnTo>
                      <a:pt x="32" y="9"/>
                    </a:lnTo>
                    <a:lnTo>
                      <a:pt x="32" y="9"/>
                    </a:lnTo>
                    <a:lnTo>
                      <a:pt x="38" y="6"/>
                    </a:lnTo>
                    <a:lnTo>
                      <a:pt x="45" y="3"/>
                    </a:lnTo>
                    <a:lnTo>
                      <a:pt x="49" y="3"/>
                    </a:lnTo>
                    <a:lnTo>
                      <a:pt x="50" y="3"/>
                    </a:lnTo>
                    <a:lnTo>
                      <a:pt x="50" y="3"/>
                    </a:lnTo>
                    <a:lnTo>
                      <a:pt x="54" y="1"/>
                    </a:lnTo>
                    <a:lnTo>
                      <a:pt x="54" y="1"/>
                    </a:lnTo>
                    <a:lnTo>
                      <a:pt x="58" y="3"/>
                    </a:lnTo>
                    <a:lnTo>
                      <a:pt x="62" y="4"/>
                    </a:lnTo>
                    <a:lnTo>
                      <a:pt x="67" y="6"/>
                    </a:lnTo>
                    <a:lnTo>
                      <a:pt x="67" y="6"/>
                    </a:lnTo>
                    <a:lnTo>
                      <a:pt x="71" y="8"/>
                    </a:lnTo>
                    <a:lnTo>
                      <a:pt x="75" y="13"/>
                    </a:lnTo>
                    <a:lnTo>
                      <a:pt x="75" y="13"/>
                    </a:lnTo>
                    <a:lnTo>
                      <a:pt x="75" y="13"/>
                    </a:lnTo>
                    <a:lnTo>
                      <a:pt x="75" y="13"/>
                    </a:lnTo>
                    <a:lnTo>
                      <a:pt x="78" y="13"/>
                    </a:lnTo>
                    <a:lnTo>
                      <a:pt x="83" y="16"/>
                    </a:lnTo>
                    <a:lnTo>
                      <a:pt x="83" y="16"/>
                    </a:lnTo>
                    <a:lnTo>
                      <a:pt x="87" y="20"/>
                    </a:lnTo>
                    <a:lnTo>
                      <a:pt x="91" y="21"/>
                    </a:lnTo>
                    <a:lnTo>
                      <a:pt x="91" y="21"/>
                    </a:lnTo>
                    <a:lnTo>
                      <a:pt x="92" y="21"/>
                    </a:lnTo>
                    <a:lnTo>
                      <a:pt x="94" y="20"/>
                    </a:lnTo>
                    <a:lnTo>
                      <a:pt x="96" y="16"/>
                    </a:lnTo>
                    <a:lnTo>
                      <a:pt x="96" y="16"/>
                    </a:lnTo>
                    <a:lnTo>
                      <a:pt x="98" y="13"/>
                    </a:lnTo>
                    <a:lnTo>
                      <a:pt x="100" y="13"/>
                    </a:lnTo>
                    <a:lnTo>
                      <a:pt x="100" y="13"/>
                    </a:lnTo>
                    <a:lnTo>
                      <a:pt x="99" y="13"/>
                    </a:lnTo>
                    <a:lnTo>
                      <a:pt x="98" y="16"/>
                    </a:lnTo>
                    <a:lnTo>
                      <a:pt x="104" y="10"/>
                    </a:lnTo>
                    <a:lnTo>
                      <a:pt x="108" y="10"/>
                    </a:lnTo>
                    <a:lnTo>
                      <a:pt x="113" y="17"/>
                    </a:lnTo>
                    <a:lnTo>
                      <a:pt x="113" y="17"/>
                    </a:lnTo>
                    <a:lnTo>
                      <a:pt x="115" y="20"/>
                    </a:lnTo>
                    <a:lnTo>
                      <a:pt x="116" y="22"/>
                    </a:lnTo>
                    <a:lnTo>
                      <a:pt x="117" y="26"/>
                    </a:lnTo>
                    <a:lnTo>
                      <a:pt x="117" y="28"/>
                    </a:lnTo>
                    <a:lnTo>
                      <a:pt x="117" y="28"/>
                    </a:lnTo>
                    <a:lnTo>
                      <a:pt x="132" y="26"/>
                    </a:lnTo>
                    <a:lnTo>
                      <a:pt x="139" y="25"/>
                    </a:lnTo>
                    <a:lnTo>
                      <a:pt x="144" y="22"/>
                    </a:lnTo>
                    <a:lnTo>
                      <a:pt x="147" y="22"/>
                    </a:lnTo>
                    <a:lnTo>
                      <a:pt x="149" y="22"/>
                    </a:lnTo>
                    <a:lnTo>
                      <a:pt x="149" y="22"/>
                    </a:lnTo>
                    <a:lnTo>
                      <a:pt x="151" y="22"/>
                    </a:lnTo>
                    <a:lnTo>
                      <a:pt x="151" y="22"/>
                    </a:lnTo>
                    <a:lnTo>
                      <a:pt x="149" y="22"/>
                    </a:lnTo>
                    <a:lnTo>
                      <a:pt x="149" y="22"/>
                    </a:lnTo>
                    <a:lnTo>
                      <a:pt x="149" y="24"/>
                    </a:lnTo>
                    <a:lnTo>
                      <a:pt x="153" y="21"/>
                    </a:lnTo>
                    <a:lnTo>
                      <a:pt x="153" y="21"/>
                    </a:lnTo>
                    <a:lnTo>
                      <a:pt x="160" y="24"/>
                    </a:lnTo>
                    <a:lnTo>
                      <a:pt x="162" y="28"/>
                    </a:lnTo>
                    <a:lnTo>
                      <a:pt x="162" y="28"/>
                    </a:lnTo>
                    <a:lnTo>
                      <a:pt x="165" y="29"/>
                    </a:lnTo>
                    <a:lnTo>
                      <a:pt x="168" y="30"/>
                    </a:lnTo>
                    <a:lnTo>
                      <a:pt x="170" y="30"/>
                    </a:lnTo>
                    <a:lnTo>
                      <a:pt x="170" y="30"/>
                    </a:lnTo>
                    <a:lnTo>
                      <a:pt x="174" y="25"/>
                    </a:lnTo>
                    <a:lnTo>
                      <a:pt x="174" y="25"/>
                    </a:lnTo>
                    <a:lnTo>
                      <a:pt x="178" y="20"/>
                    </a:lnTo>
                    <a:lnTo>
                      <a:pt x="180" y="17"/>
                    </a:lnTo>
                    <a:lnTo>
                      <a:pt x="180" y="17"/>
                    </a:lnTo>
                    <a:lnTo>
                      <a:pt x="184" y="14"/>
                    </a:lnTo>
                    <a:lnTo>
                      <a:pt x="186" y="10"/>
                    </a:lnTo>
                    <a:lnTo>
                      <a:pt x="186" y="10"/>
                    </a:lnTo>
                    <a:lnTo>
                      <a:pt x="191" y="5"/>
                    </a:lnTo>
                    <a:lnTo>
                      <a:pt x="195" y="3"/>
                    </a:lnTo>
                    <a:lnTo>
                      <a:pt x="199" y="0"/>
                    </a:lnTo>
                    <a:lnTo>
                      <a:pt x="201" y="0"/>
                    </a:lnTo>
                    <a:lnTo>
                      <a:pt x="201" y="0"/>
                    </a:lnTo>
                    <a:lnTo>
                      <a:pt x="202" y="0"/>
                    </a:lnTo>
                    <a:lnTo>
                      <a:pt x="202" y="0"/>
                    </a:lnTo>
                    <a:lnTo>
                      <a:pt x="206" y="0"/>
                    </a:lnTo>
                    <a:lnTo>
                      <a:pt x="207" y="1"/>
                    </a:lnTo>
                    <a:lnTo>
                      <a:pt x="207" y="1"/>
                    </a:lnTo>
                    <a:lnTo>
                      <a:pt x="207" y="1"/>
                    </a:lnTo>
                    <a:lnTo>
                      <a:pt x="206" y="1"/>
                    </a:lnTo>
                    <a:lnTo>
                      <a:pt x="210" y="3"/>
                    </a:lnTo>
                    <a:lnTo>
                      <a:pt x="210" y="3"/>
                    </a:lnTo>
                    <a:lnTo>
                      <a:pt x="214" y="4"/>
                    </a:lnTo>
                    <a:lnTo>
                      <a:pt x="214" y="4"/>
                    </a:lnTo>
                    <a:lnTo>
                      <a:pt x="219" y="6"/>
                    </a:lnTo>
                    <a:lnTo>
                      <a:pt x="219" y="6"/>
                    </a:lnTo>
                    <a:lnTo>
                      <a:pt x="222" y="8"/>
                    </a:lnTo>
                    <a:lnTo>
                      <a:pt x="222" y="8"/>
                    </a:lnTo>
                    <a:lnTo>
                      <a:pt x="223" y="8"/>
                    </a:lnTo>
                    <a:lnTo>
                      <a:pt x="223" y="8"/>
                    </a:lnTo>
                    <a:lnTo>
                      <a:pt x="226" y="9"/>
                    </a:lnTo>
                    <a:lnTo>
                      <a:pt x="229" y="10"/>
                    </a:lnTo>
                    <a:lnTo>
                      <a:pt x="229" y="10"/>
                    </a:lnTo>
                    <a:lnTo>
                      <a:pt x="229" y="10"/>
                    </a:lnTo>
                    <a:lnTo>
                      <a:pt x="229" y="10"/>
                    </a:lnTo>
                    <a:lnTo>
                      <a:pt x="226" y="9"/>
                    </a:lnTo>
                    <a:lnTo>
                      <a:pt x="230" y="12"/>
                    </a:lnTo>
                    <a:lnTo>
                      <a:pt x="230" y="12"/>
                    </a:lnTo>
                    <a:lnTo>
                      <a:pt x="234" y="13"/>
                    </a:lnTo>
                    <a:lnTo>
                      <a:pt x="235" y="13"/>
                    </a:lnTo>
                    <a:lnTo>
                      <a:pt x="239" y="16"/>
                    </a:lnTo>
                    <a:lnTo>
                      <a:pt x="239" y="16"/>
                    </a:lnTo>
                    <a:lnTo>
                      <a:pt x="243" y="17"/>
                    </a:lnTo>
                    <a:lnTo>
                      <a:pt x="243" y="17"/>
                    </a:lnTo>
                    <a:lnTo>
                      <a:pt x="248" y="18"/>
                    </a:lnTo>
                    <a:lnTo>
                      <a:pt x="248" y="18"/>
                    </a:lnTo>
                    <a:lnTo>
                      <a:pt x="250" y="21"/>
                    </a:lnTo>
                    <a:lnTo>
                      <a:pt x="254" y="21"/>
                    </a:lnTo>
                    <a:lnTo>
                      <a:pt x="254" y="21"/>
                    </a:lnTo>
                    <a:lnTo>
                      <a:pt x="255" y="21"/>
                    </a:lnTo>
                    <a:lnTo>
                      <a:pt x="255" y="21"/>
                    </a:lnTo>
                    <a:lnTo>
                      <a:pt x="260" y="21"/>
                    </a:lnTo>
                    <a:lnTo>
                      <a:pt x="266" y="24"/>
                    </a:lnTo>
                    <a:lnTo>
                      <a:pt x="266" y="24"/>
                    </a:lnTo>
                    <a:lnTo>
                      <a:pt x="264" y="22"/>
                    </a:lnTo>
                    <a:lnTo>
                      <a:pt x="264" y="22"/>
                    </a:lnTo>
                    <a:lnTo>
                      <a:pt x="264" y="22"/>
                    </a:lnTo>
                    <a:lnTo>
                      <a:pt x="264" y="22"/>
                    </a:lnTo>
                    <a:lnTo>
                      <a:pt x="268" y="22"/>
                    </a:lnTo>
                    <a:lnTo>
                      <a:pt x="268" y="22"/>
                    </a:lnTo>
                    <a:lnTo>
                      <a:pt x="272" y="22"/>
                    </a:lnTo>
                    <a:lnTo>
                      <a:pt x="272" y="22"/>
                    </a:lnTo>
                    <a:lnTo>
                      <a:pt x="275" y="22"/>
                    </a:lnTo>
                    <a:lnTo>
                      <a:pt x="279" y="22"/>
                    </a:lnTo>
                    <a:lnTo>
                      <a:pt x="284" y="25"/>
                    </a:lnTo>
                    <a:lnTo>
                      <a:pt x="284" y="25"/>
                    </a:lnTo>
                    <a:lnTo>
                      <a:pt x="283" y="24"/>
                    </a:lnTo>
                    <a:lnTo>
                      <a:pt x="283" y="24"/>
                    </a:lnTo>
                    <a:lnTo>
                      <a:pt x="284" y="24"/>
                    </a:lnTo>
                    <a:lnTo>
                      <a:pt x="284" y="24"/>
                    </a:lnTo>
                    <a:lnTo>
                      <a:pt x="287" y="24"/>
                    </a:lnTo>
                    <a:lnTo>
                      <a:pt x="287" y="24"/>
                    </a:lnTo>
                    <a:lnTo>
                      <a:pt x="291" y="24"/>
                    </a:lnTo>
                    <a:lnTo>
                      <a:pt x="291" y="24"/>
                    </a:lnTo>
                    <a:lnTo>
                      <a:pt x="293" y="24"/>
                    </a:lnTo>
                    <a:lnTo>
                      <a:pt x="299" y="24"/>
                    </a:lnTo>
                    <a:lnTo>
                      <a:pt x="303" y="26"/>
                    </a:lnTo>
                    <a:lnTo>
                      <a:pt x="303" y="26"/>
                    </a:lnTo>
                    <a:lnTo>
                      <a:pt x="301" y="25"/>
                    </a:lnTo>
                    <a:lnTo>
                      <a:pt x="301" y="25"/>
                    </a:lnTo>
                    <a:lnTo>
                      <a:pt x="303" y="25"/>
                    </a:lnTo>
                    <a:lnTo>
                      <a:pt x="303" y="25"/>
                    </a:lnTo>
                    <a:lnTo>
                      <a:pt x="307" y="25"/>
                    </a:lnTo>
                    <a:lnTo>
                      <a:pt x="307" y="25"/>
                    </a:lnTo>
                    <a:lnTo>
                      <a:pt x="310" y="25"/>
                    </a:lnTo>
                    <a:lnTo>
                      <a:pt x="310" y="25"/>
                    </a:lnTo>
                    <a:lnTo>
                      <a:pt x="313" y="25"/>
                    </a:lnTo>
                    <a:lnTo>
                      <a:pt x="317" y="25"/>
                    </a:lnTo>
                    <a:lnTo>
                      <a:pt x="322" y="26"/>
                    </a:lnTo>
                    <a:lnTo>
                      <a:pt x="322" y="26"/>
                    </a:lnTo>
                    <a:lnTo>
                      <a:pt x="321" y="26"/>
                    </a:lnTo>
                    <a:lnTo>
                      <a:pt x="321" y="26"/>
                    </a:lnTo>
                    <a:lnTo>
                      <a:pt x="322" y="26"/>
                    </a:lnTo>
                    <a:lnTo>
                      <a:pt x="322" y="26"/>
                    </a:lnTo>
                    <a:lnTo>
                      <a:pt x="326" y="26"/>
                    </a:lnTo>
                    <a:lnTo>
                      <a:pt x="326" y="26"/>
                    </a:lnTo>
                    <a:lnTo>
                      <a:pt x="330" y="26"/>
                    </a:lnTo>
                    <a:lnTo>
                      <a:pt x="330" y="26"/>
                    </a:lnTo>
                    <a:lnTo>
                      <a:pt x="333" y="26"/>
                    </a:lnTo>
                    <a:lnTo>
                      <a:pt x="337" y="26"/>
                    </a:lnTo>
                    <a:lnTo>
                      <a:pt x="341" y="28"/>
                    </a:lnTo>
                    <a:lnTo>
                      <a:pt x="341" y="28"/>
                    </a:lnTo>
                    <a:lnTo>
                      <a:pt x="340" y="28"/>
                    </a:lnTo>
                    <a:lnTo>
                      <a:pt x="340" y="28"/>
                    </a:lnTo>
                    <a:lnTo>
                      <a:pt x="341" y="28"/>
                    </a:lnTo>
                    <a:lnTo>
                      <a:pt x="341" y="28"/>
                    </a:lnTo>
                    <a:lnTo>
                      <a:pt x="345" y="28"/>
                    </a:lnTo>
                    <a:lnTo>
                      <a:pt x="345" y="28"/>
                    </a:lnTo>
                    <a:lnTo>
                      <a:pt x="349" y="28"/>
                    </a:lnTo>
                    <a:lnTo>
                      <a:pt x="349" y="28"/>
                    </a:lnTo>
                    <a:lnTo>
                      <a:pt x="351" y="28"/>
                    </a:lnTo>
                    <a:lnTo>
                      <a:pt x="357" y="28"/>
                    </a:lnTo>
                    <a:lnTo>
                      <a:pt x="362" y="30"/>
                    </a:lnTo>
                    <a:lnTo>
                      <a:pt x="362" y="30"/>
                    </a:lnTo>
                    <a:lnTo>
                      <a:pt x="359" y="29"/>
                    </a:lnTo>
                    <a:lnTo>
                      <a:pt x="359" y="29"/>
                    </a:lnTo>
                    <a:lnTo>
                      <a:pt x="361" y="29"/>
                    </a:lnTo>
                    <a:lnTo>
                      <a:pt x="361" y="29"/>
                    </a:lnTo>
                    <a:lnTo>
                      <a:pt x="361" y="29"/>
                    </a:lnTo>
                    <a:lnTo>
                      <a:pt x="361" y="29"/>
                    </a:lnTo>
                    <a:lnTo>
                      <a:pt x="362" y="29"/>
                    </a:lnTo>
                    <a:lnTo>
                      <a:pt x="362" y="29"/>
                    </a:lnTo>
                    <a:lnTo>
                      <a:pt x="366" y="29"/>
                    </a:lnTo>
                    <a:lnTo>
                      <a:pt x="366" y="29"/>
                    </a:lnTo>
                    <a:lnTo>
                      <a:pt x="371" y="29"/>
                    </a:lnTo>
                    <a:lnTo>
                      <a:pt x="374" y="33"/>
                    </a:lnTo>
                    <a:lnTo>
                      <a:pt x="375" y="36"/>
                    </a:lnTo>
                    <a:lnTo>
                      <a:pt x="375" y="37"/>
                    </a:lnTo>
                    <a:lnTo>
                      <a:pt x="369" y="44"/>
                    </a:lnTo>
                    <a:lnTo>
                      <a:pt x="369" y="44"/>
                    </a:lnTo>
                    <a:lnTo>
                      <a:pt x="369" y="44"/>
                    </a:lnTo>
                    <a:lnTo>
                      <a:pt x="369" y="44"/>
                    </a:lnTo>
                    <a:lnTo>
                      <a:pt x="371" y="42"/>
                    </a:lnTo>
                    <a:lnTo>
                      <a:pt x="373" y="42"/>
                    </a:lnTo>
                    <a:lnTo>
                      <a:pt x="373" y="42"/>
                    </a:lnTo>
                    <a:lnTo>
                      <a:pt x="374" y="38"/>
                    </a:lnTo>
                    <a:lnTo>
                      <a:pt x="374" y="38"/>
                    </a:lnTo>
                    <a:lnTo>
                      <a:pt x="374" y="40"/>
                    </a:lnTo>
                    <a:lnTo>
                      <a:pt x="374" y="40"/>
                    </a:lnTo>
                    <a:lnTo>
                      <a:pt x="374" y="45"/>
                    </a:lnTo>
                    <a:lnTo>
                      <a:pt x="374" y="46"/>
                    </a:lnTo>
                    <a:lnTo>
                      <a:pt x="374" y="46"/>
                    </a:lnTo>
                    <a:lnTo>
                      <a:pt x="375" y="47"/>
                    </a:lnTo>
                    <a:lnTo>
                      <a:pt x="375" y="47"/>
                    </a:lnTo>
                    <a:lnTo>
                      <a:pt x="377" y="50"/>
                    </a:lnTo>
                    <a:lnTo>
                      <a:pt x="378" y="53"/>
                    </a:lnTo>
                    <a:lnTo>
                      <a:pt x="378" y="61"/>
                    </a:lnTo>
                    <a:lnTo>
                      <a:pt x="378" y="61"/>
                    </a:lnTo>
                    <a:lnTo>
                      <a:pt x="378" y="65"/>
                    </a:lnTo>
                    <a:lnTo>
                      <a:pt x="378" y="65"/>
                    </a:lnTo>
                    <a:lnTo>
                      <a:pt x="378" y="71"/>
                    </a:lnTo>
                    <a:lnTo>
                      <a:pt x="378" y="71"/>
                    </a:lnTo>
                    <a:lnTo>
                      <a:pt x="378" y="77"/>
                    </a:lnTo>
                    <a:lnTo>
                      <a:pt x="378" y="77"/>
                    </a:lnTo>
                    <a:lnTo>
                      <a:pt x="377" y="75"/>
                    </a:lnTo>
                    <a:lnTo>
                      <a:pt x="379" y="81"/>
                    </a:lnTo>
                    <a:lnTo>
                      <a:pt x="379" y="82"/>
                    </a:lnTo>
                    <a:lnTo>
                      <a:pt x="379" y="82"/>
                    </a:lnTo>
                    <a:lnTo>
                      <a:pt x="379" y="83"/>
                    </a:lnTo>
                    <a:lnTo>
                      <a:pt x="379" y="83"/>
                    </a:lnTo>
                    <a:lnTo>
                      <a:pt x="379" y="83"/>
                    </a:lnTo>
                    <a:lnTo>
                      <a:pt x="382" y="87"/>
                    </a:lnTo>
                    <a:lnTo>
                      <a:pt x="382" y="92"/>
                    </a:lnTo>
                    <a:lnTo>
                      <a:pt x="382" y="92"/>
                    </a:lnTo>
                    <a:lnTo>
                      <a:pt x="383" y="95"/>
                    </a:lnTo>
                    <a:lnTo>
                      <a:pt x="383" y="95"/>
                    </a:lnTo>
                    <a:lnTo>
                      <a:pt x="385" y="98"/>
                    </a:lnTo>
                    <a:lnTo>
                      <a:pt x="386" y="100"/>
                    </a:lnTo>
                    <a:lnTo>
                      <a:pt x="386" y="102"/>
                    </a:lnTo>
                    <a:lnTo>
                      <a:pt x="382" y="107"/>
                    </a:lnTo>
                    <a:lnTo>
                      <a:pt x="382" y="107"/>
                    </a:lnTo>
                    <a:lnTo>
                      <a:pt x="377" y="108"/>
                    </a:lnTo>
                    <a:lnTo>
                      <a:pt x="377" y="108"/>
                    </a:lnTo>
                    <a:lnTo>
                      <a:pt x="373" y="108"/>
                    </a:lnTo>
                    <a:lnTo>
                      <a:pt x="370" y="107"/>
                    </a:lnTo>
                    <a:lnTo>
                      <a:pt x="370" y="107"/>
                    </a:lnTo>
                    <a:lnTo>
                      <a:pt x="369" y="106"/>
                    </a:lnTo>
                    <a:lnTo>
                      <a:pt x="369" y="106"/>
                    </a:lnTo>
                    <a:lnTo>
                      <a:pt x="363" y="110"/>
                    </a:lnTo>
                    <a:lnTo>
                      <a:pt x="362" y="110"/>
                    </a:lnTo>
                    <a:lnTo>
                      <a:pt x="362" y="110"/>
                    </a:lnTo>
                    <a:lnTo>
                      <a:pt x="357" y="115"/>
                    </a:lnTo>
                    <a:lnTo>
                      <a:pt x="357" y="115"/>
                    </a:lnTo>
                    <a:lnTo>
                      <a:pt x="359" y="114"/>
                    </a:lnTo>
                    <a:lnTo>
                      <a:pt x="361" y="112"/>
                    </a:lnTo>
                    <a:lnTo>
                      <a:pt x="361" y="112"/>
                    </a:lnTo>
                    <a:lnTo>
                      <a:pt x="361" y="114"/>
                    </a:lnTo>
                    <a:lnTo>
                      <a:pt x="361" y="114"/>
                    </a:lnTo>
                    <a:lnTo>
                      <a:pt x="361" y="118"/>
                    </a:lnTo>
                    <a:lnTo>
                      <a:pt x="361" y="118"/>
                    </a:lnTo>
                    <a:lnTo>
                      <a:pt x="361" y="118"/>
                    </a:lnTo>
                    <a:lnTo>
                      <a:pt x="361" y="124"/>
                    </a:lnTo>
                    <a:lnTo>
                      <a:pt x="361" y="124"/>
                    </a:lnTo>
                    <a:lnTo>
                      <a:pt x="361" y="127"/>
                    </a:lnTo>
                    <a:lnTo>
                      <a:pt x="361" y="127"/>
                    </a:lnTo>
                    <a:lnTo>
                      <a:pt x="361" y="125"/>
                    </a:lnTo>
                    <a:lnTo>
                      <a:pt x="359" y="124"/>
                    </a:lnTo>
                    <a:lnTo>
                      <a:pt x="362" y="129"/>
                    </a:lnTo>
                    <a:lnTo>
                      <a:pt x="362" y="133"/>
                    </a:lnTo>
                    <a:lnTo>
                      <a:pt x="362" y="133"/>
                    </a:lnTo>
                    <a:lnTo>
                      <a:pt x="362" y="139"/>
                    </a:lnTo>
                    <a:lnTo>
                      <a:pt x="362" y="139"/>
                    </a:lnTo>
                    <a:lnTo>
                      <a:pt x="362" y="141"/>
                    </a:lnTo>
                    <a:lnTo>
                      <a:pt x="362" y="141"/>
                    </a:lnTo>
                    <a:lnTo>
                      <a:pt x="362" y="140"/>
                    </a:lnTo>
                    <a:lnTo>
                      <a:pt x="359" y="137"/>
                    </a:lnTo>
                    <a:lnTo>
                      <a:pt x="363" y="144"/>
                    </a:lnTo>
                    <a:lnTo>
                      <a:pt x="363" y="147"/>
                    </a:lnTo>
                    <a:lnTo>
                      <a:pt x="363" y="147"/>
                    </a:lnTo>
                    <a:lnTo>
                      <a:pt x="363" y="153"/>
                    </a:lnTo>
                    <a:lnTo>
                      <a:pt x="363" y="153"/>
                    </a:lnTo>
                    <a:lnTo>
                      <a:pt x="363" y="156"/>
                    </a:lnTo>
                    <a:lnTo>
                      <a:pt x="363" y="156"/>
                    </a:lnTo>
                    <a:lnTo>
                      <a:pt x="363" y="155"/>
                    </a:lnTo>
                    <a:lnTo>
                      <a:pt x="362" y="153"/>
                    </a:lnTo>
                    <a:lnTo>
                      <a:pt x="365" y="159"/>
                    </a:lnTo>
                    <a:lnTo>
                      <a:pt x="365" y="161"/>
                    </a:lnTo>
                    <a:lnTo>
                      <a:pt x="365" y="161"/>
                    </a:lnTo>
                    <a:lnTo>
                      <a:pt x="365" y="168"/>
                    </a:lnTo>
                    <a:lnTo>
                      <a:pt x="365" y="168"/>
                    </a:lnTo>
                    <a:lnTo>
                      <a:pt x="365" y="170"/>
                    </a:lnTo>
                    <a:lnTo>
                      <a:pt x="365" y="170"/>
                    </a:lnTo>
                    <a:lnTo>
                      <a:pt x="363" y="169"/>
                    </a:lnTo>
                    <a:lnTo>
                      <a:pt x="366" y="174"/>
                    </a:lnTo>
                    <a:lnTo>
                      <a:pt x="366" y="176"/>
                    </a:lnTo>
                    <a:lnTo>
                      <a:pt x="366" y="176"/>
                    </a:lnTo>
                    <a:lnTo>
                      <a:pt x="366" y="181"/>
                    </a:lnTo>
                    <a:lnTo>
                      <a:pt x="366" y="181"/>
                    </a:lnTo>
                    <a:lnTo>
                      <a:pt x="366" y="184"/>
                    </a:lnTo>
                    <a:lnTo>
                      <a:pt x="366" y="184"/>
                    </a:lnTo>
                    <a:lnTo>
                      <a:pt x="366" y="182"/>
                    </a:lnTo>
                    <a:lnTo>
                      <a:pt x="363" y="181"/>
                    </a:lnTo>
                    <a:lnTo>
                      <a:pt x="367" y="186"/>
                    </a:lnTo>
                    <a:lnTo>
                      <a:pt x="367" y="188"/>
                    </a:lnTo>
                    <a:lnTo>
                      <a:pt x="367" y="188"/>
                    </a:lnTo>
                    <a:lnTo>
                      <a:pt x="370" y="192"/>
                    </a:lnTo>
                    <a:lnTo>
                      <a:pt x="370" y="196"/>
                    </a:lnTo>
                    <a:lnTo>
                      <a:pt x="365" y="200"/>
                    </a:lnTo>
                    <a:lnTo>
                      <a:pt x="365" y="201"/>
                    </a:lnTo>
                    <a:lnTo>
                      <a:pt x="365" y="201"/>
                    </a:lnTo>
                    <a:lnTo>
                      <a:pt x="362" y="202"/>
                    </a:lnTo>
                    <a:lnTo>
                      <a:pt x="359" y="202"/>
                    </a:lnTo>
                    <a:lnTo>
                      <a:pt x="359" y="202"/>
                    </a:lnTo>
                    <a:lnTo>
                      <a:pt x="357" y="202"/>
                    </a:lnTo>
                    <a:lnTo>
                      <a:pt x="357" y="203"/>
                    </a:lnTo>
                    <a:lnTo>
                      <a:pt x="355" y="207"/>
                    </a:lnTo>
                    <a:lnTo>
                      <a:pt x="355" y="207"/>
                    </a:lnTo>
                    <a:lnTo>
                      <a:pt x="353" y="209"/>
                    </a:lnTo>
                    <a:lnTo>
                      <a:pt x="353" y="209"/>
                    </a:lnTo>
                    <a:lnTo>
                      <a:pt x="351" y="211"/>
                    </a:lnTo>
                    <a:lnTo>
                      <a:pt x="353" y="215"/>
                    </a:lnTo>
                    <a:lnTo>
                      <a:pt x="353" y="222"/>
                    </a:lnTo>
                    <a:lnTo>
                      <a:pt x="353" y="222"/>
                    </a:lnTo>
                    <a:lnTo>
                      <a:pt x="346" y="229"/>
                    </a:lnTo>
                    <a:lnTo>
                      <a:pt x="346" y="229"/>
                    </a:lnTo>
                    <a:lnTo>
                      <a:pt x="344" y="229"/>
                    </a:lnTo>
                    <a:lnTo>
                      <a:pt x="341" y="227"/>
                    </a:lnTo>
                    <a:lnTo>
                      <a:pt x="341" y="227"/>
                    </a:lnTo>
                    <a:lnTo>
                      <a:pt x="341" y="227"/>
                    </a:lnTo>
                    <a:lnTo>
                      <a:pt x="341" y="227"/>
                    </a:lnTo>
                    <a:lnTo>
                      <a:pt x="336" y="227"/>
                    </a:lnTo>
                    <a:lnTo>
                      <a:pt x="336" y="227"/>
                    </a:lnTo>
                    <a:lnTo>
                      <a:pt x="329" y="226"/>
                    </a:lnTo>
                    <a:lnTo>
                      <a:pt x="329" y="226"/>
                    </a:lnTo>
                    <a:lnTo>
                      <a:pt x="325" y="226"/>
                    </a:lnTo>
                    <a:lnTo>
                      <a:pt x="322" y="227"/>
                    </a:lnTo>
                    <a:lnTo>
                      <a:pt x="322" y="234"/>
                    </a:lnTo>
                    <a:lnTo>
                      <a:pt x="322" y="234"/>
                    </a:lnTo>
                    <a:lnTo>
                      <a:pt x="322" y="238"/>
                    </a:lnTo>
                    <a:lnTo>
                      <a:pt x="321" y="240"/>
                    </a:lnTo>
                    <a:lnTo>
                      <a:pt x="318" y="243"/>
                    </a:lnTo>
                    <a:lnTo>
                      <a:pt x="318" y="243"/>
                    </a:lnTo>
                    <a:lnTo>
                      <a:pt x="318" y="243"/>
                    </a:lnTo>
                    <a:lnTo>
                      <a:pt x="318" y="243"/>
                    </a:lnTo>
                    <a:lnTo>
                      <a:pt x="318" y="243"/>
                    </a:lnTo>
                    <a:lnTo>
                      <a:pt x="318" y="243"/>
                    </a:lnTo>
                    <a:lnTo>
                      <a:pt x="318" y="243"/>
                    </a:lnTo>
                    <a:lnTo>
                      <a:pt x="318" y="244"/>
                    </a:lnTo>
                    <a:lnTo>
                      <a:pt x="318" y="244"/>
                    </a:lnTo>
                    <a:lnTo>
                      <a:pt x="318" y="247"/>
                    </a:lnTo>
                    <a:lnTo>
                      <a:pt x="317" y="250"/>
                    </a:lnTo>
                    <a:lnTo>
                      <a:pt x="317" y="250"/>
                    </a:lnTo>
                    <a:lnTo>
                      <a:pt x="313" y="256"/>
                    </a:lnTo>
                    <a:lnTo>
                      <a:pt x="313" y="256"/>
                    </a:lnTo>
                    <a:lnTo>
                      <a:pt x="313" y="256"/>
                    </a:lnTo>
                    <a:lnTo>
                      <a:pt x="313" y="256"/>
                    </a:lnTo>
                    <a:lnTo>
                      <a:pt x="313" y="259"/>
                    </a:lnTo>
                    <a:lnTo>
                      <a:pt x="313" y="259"/>
                    </a:lnTo>
                    <a:lnTo>
                      <a:pt x="313" y="260"/>
                    </a:lnTo>
                    <a:lnTo>
                      <a:pt x="313" y="260"/>
                    </a:lnTo>
                    <a:lnTo>
                      <a:pt x="314" y="263"/>
                    </a:lnTo>
                    <a:lnTo>
                      <a:pt x="314" y="267"/>
                    </a:lnTo>
                    <a:lnTo>
                      <a:pt x="314" y="268"/>
                    </a:lnTo>
                    <a:lnTo>
                      <a:pt x="308" y="274"/>
                    </a:lnTo>
                    <a:lnTo>
                      <a:pt x="308" y="274"/>
                    </a:lnTo>
                    <a:lnTo>
                      <a:pt x="307" y="275"/>
                    </a:lnTo>
                    <a:lnTo>
                      <a:pt x="307" y="275"/>
                    </a:lnTo>
                    <a:lnTo>
                      <a:pt x="304" y="276"/>
                    </a:lnTo>
                    <a:lnTo>
                      <a:pt x="299" y="278"/>
                    </a:lnTo>
                    <a:lnTo>
                      <a:pt x="297" y="278"/>
                    </a:lnTo>
                    <a:lnTo>
                      <a:pt x="297" y="278"/>
                    </a:lnTo>
                    <a:lnTo>
                      <a:pt x="296" y="276"/>
                    </a:lnTo>
                    <a:lnTo>
                      <a:pt x="296" y="276"/>
                    </a:lnTo>
                    <a:lnTo>
                      <a:pt x="297" y="275"/>
                    </a:lnTo>
                    <a:lnTo>
                      <a:pt x="297" y="275"/>
                    </a:lnTo>
                    <a:lnTo>
                      <a:pt x="297" y="272"/>
                    </a:lnTo>
                    <a:lnTo>
                      <a:pt x="297" y="270"/>
                    </a:lnTo>
                    <a:lnTo>
                      <a:pt x="295" y="274"/>
                    </a:lnTo>
                    <a:lnTo>
                      <a:pt x="292" y="270"/>
                    </a:lnTo>
                    <a:lnTo>
                      <a:pt x="292" y="270"/>
                    </a:lnTo>
                    <a:lnTo>
                      <a:pt x="291" y="272"/>
                    </a:lnTo>
                    <a:lnTo>
                      <a:pt x="292" y="275"/>
                    </a:lnTo>
                    <a:lnTo>
                      <a:pt x="292" y="275"/>
                    </a:lnTo>
                    <a:lnTo>
                      <a:pt x="293" y="276"/>
                    </a:lnTo>
                    <a:lnTo>
                      <a:pt x="292" y="278"/>
                    </a:lnTo>
                    <a:lnTo>
                      <a:pt x="291" y="278"/>
                    </a:lnTo>
                    <a:lnTo>
                      <a:pt x="291" y="279"/>
                    </a:lnTo>
                    <a:lnTo>
                      <a:pt x="289" y="281"/>
                    </a:lnTo>
                    <a:lnTo>
                      <a:pt x="289" y="281"/>
                    </a:lnTo>
                    <a:lnTo>
                      <a:pt x="288" y="284"/>
                    </a:lnTo>
                    <a:lnTo>
                      <a:pt x="291" y="289"/>
                    </a:lnTo>
                    <a:lnTo>
                      <a:pt x="291" y="289"/>
                    </a:lnTo>
                    <a:lnTo>
                      <a:pt x="292" y="295"/>
                    </a:lnTo>
                    <a:lnTo>
                      <a:pt x="292" y="299"/>
                    </a:lnTo>
                    <a:lnTo>
                      <a:pt x="292" y="301"/>
                    </a:lnTo>
                    <a:lnTo>
                      <a:pt x="292" y="301"/>
                    </a:lnTo>
                    <a:lnTo>
                      <a:pt x="292" y="301"/>
                    </a:lnTo>
                    <a:lnTo>
                      <a:pt x="292" y="301"/>
                    </a:lnTo>
                    <a:lnTo>
                      <a:pt x="291" y="303"/>
                    </a:lnTo>
                    <a:lnTo>
                      <a:pt x="291" y="303"/>
                    </a:lnTo>
                    <a:lnTo>
                      <a:pt x="288" y="307"/>
                    </a:lnTo>
                    <a:lnTo>
                      <a:pt x="288" y="307"/>
                    </a:lnTo>
                    <a:lnTo>
                      <a:pt x="289" y="305"/>
                    </a:lnTo>
                    <a:lnTo>
                      <a:pt x="289" y="305"/>
                    </a:lnTo>
                    <a:lnTo>
                      <a:pt x="289" y="307"/>
                    </a:lnTo>
                    <a:lnTo>
                      <a:pt x="289" y="308"/>
                    </a:lnTo>
                    <a:lnTo>
                      <a:pt x="287" y="312"/>
                    </a:lnTo>
                    <a:lnTo>
                      <a:pt x="287" y="312"/>
                    </a:lnTo>
                    <a:lnTo>
                      <a:pt x="285" y="313"/>
                    </a:lnTo>
                    <a:lnTo>
                      <a:pt x="285" y="313"/>
                    </a:lnTo>
                    <a:lnTo>
                      <a:pt x="283" y="319"/>
                    </a:lnTo>
                    <a:lnTo>
                      <a:pt x="280" y="321"/>
                    </a:lnTo>
                    <a:lnTo>
                      <a:pt x="276" y="322"/>
                    </a:lnTo>
                    <a:lnTo>
                      <a:pt x="275" y="322"/>
                    </a:lnTo>
                    <a:lnTo>
                      <a:pt x="271" y="322"/>
                    </a:lnTo>
                    <a:lnTo>
                      <a:pt x="271" y="322"/>
                    </a:lnTo>
                    <a:lnTo>
                      <a:pt x="268" y="324"/>
                    </a:lnTo>
                    <a:lnTo>
                      <a:pt x="268" y="324"/>
                    </a:lnTo>
                    <a:lnTo>
                      <a:pt x="268" y="324"/>
                    </a:lnTo>
                    <a:lnTo>
                      <a:pt x="264" y="322"/>
                    </a:lnTo>
                    <a:lnTo>
                      <a:pt x="263" y="321"/>
                    </a:lnTo>
                    <a:lnTo>
                      <a:pt x="260" y="317"/>
                    </a:lnTo>
                    <a:lnTo>
                      <a:pt x="260" y="317"/>
                    </a:lnTo>
                    <a:lnTo>
                      <a:pt x="258" y="317"/>
                    </a:lnTo>
                    <a:lnTo>
                      <a:pt x="258" y="317"/>
                    </a:lnTo>
                    <a:lnTo>
                      <a:pt x="255" y="317"/>
                    </a:lnTo>
                    <a:lnTo>
                      <a:pt x="255" y="317"/>
                    </a:lnTo>
                    <a:lnTo>
                      <a:pt x="255" y="317"/>
                    </a:lnTo>
                    <a:lnTo>
                      <a:pt x="255" y="317"/>
                    </a:lnTo>
                    <a:lnTo>
                      <a:pt x="256" y="316"/>
                    </a:lnTo>
                    <a:lnTo>
                      <a:pt x="251" y="319"/>
                    </a:lnTo>
                    <a:lnTo>
                      <a:pt x="251" y="319"/>
                    </a:lnTo>
                    <a:lnTo>
                      <a:pt x="250" y="319"/>
                    </a:lnTo>
                    <a:lnTo>
                      <a:pt x="250" y="319"/>
                    </a:lnTo>
                    <a:lnTo>
                      <a:pt x="248" y="319"/>
                    </a:lnTo>
                    <a:lnTo>
                      <a:pt x="248" y="319"/>
                    </a:lnTo>
                    <a:lnTo>
                      <a:pt x="247" y="320"/>
                    </a:lnTo>
                    <a:lnTo>
                      <a:pt x="247" y="320"/>
                    </a:lnTo>
                    <a:lnTo>
                      <a:pt x="247" y="320"/>
                    </a:lnTo>
                    <a:lnTo>
                      <a:pt x="247" y="320"/>
                    </a:lnTo>
                    <a:lnTo>
                      <a:pt x="247" y="320"/>
                    </a:lnTo>
                    <a:lnTo>
                      <a:pt x="247" y="320"/>
                    </a:lnTo>
                    <a:lnTo>
                      <a:pt x="246" y="319"/>
                    </a:lnTo>
                    <a:lnTo>
                      <a:pt x="244" y="317"/>
                    </a:lnTo>
                    <a:lnTo>
                      <a:pt x="248" y="324"/>
                    </a:lnTo>
                    <a:lnTo>
                      <a:pt x="248" y="324"/>
                    </a:lnTo>
                    <a:lnTo>
                      <a:pt x="247" y="326"/>
                    </a:lnTo>
                    <a:lnTo>
                      <a:pt x="246" y="329"/>
                    </a:lnTo>
                    <a:lnTo>
                      <a:pt x="244" y="329"/>
                    </a:lnTo>
                    <a:lnTo>
                      <a:pt x="242" y="330"/>
                    </a:lnTo>
                    <a:lnTo>
                      <a:pt x="242" y="330"/>
                    </a:lnTo>
                    <a:lnTo>
                      <a:pt x="239" y="329"/>
                    </a:lnTo>
                    <a:lnTo>
                      <a:pt x="239" y="329"/>
                    </a:lnTo>
                    <a:lnTo>
                      <a:pt x="239" y="329"/>
                    </a:lnTo>
                    <a:lnTo>
                      <a:pt x="236" y="330"/>
                    </a:lnTo>
                    <a:lnTo>
                      <a:pt x="236" y="330"/>
                    </a:lnTo>
                    <a:lnTo>
                      <a:pt x="236" y="330"/>
                    </a:lnTo>
                    <a:lnTo>
                      <a:pt x="236" y="333"/>
                    </a:lnTo>
                    <a:lnTo>
                      <a:pt x="236" y="333"/>
                    </a:lnTo>
                    <a:lnTo>
                      <a:pt x="236" y="337"/>
                    </a:lnTo>
                    <a:lnTo>
                      <a:pt x="235" y="338"/>
                    </a:lnTo>
                    <a:lnTo>
                      <a:pt x="235" y="338"/>
                    </a:lnTo>
                    <a:lnTo>
                      <a:pt x="234" y="341"/>
                    </a:lnTo>
                    <a:lnTo>
                      <a:pt x="230" y="341"/>
                    </a:lnTo>
                    <a:lnTo>
                      <a:pt x="230" y="341"/>
                    </a:lnTo>
                    <a:lnTo>
                      <a:pt x="227" y="341"/>
                    </a:lnTo>
                    <a:lnTo>
                      <a:pt x="227" y="341"/>
                    </a:lnTo>
                    <a:lnTo>
                      <a:pt x="226" y="342"/>
                    </a:lnTo>
                    <a:lnTo>
                      <a:pt x="225" y="342"/>
                    </a:lnTo>
                    <a:lnTo>
                      <a:pt x="225" y="342"/>
                    </a:lnTo>
                    <a:lnTo>
                      <a:pt x="223" y="342"/>
                    </a:lnTo>
                    <a:lnTo>
                      <a:pt x="223" y="342"/>
                    </a:lnTo>
                    <a:lnTo>
                      <a:pt x="221" y="342"/>
                    </a:lnTo>
                    <a:lnTo>
                      <a:pt x="218" y="341"/>
                    </a:lnTo>
                    <a:lnTo>
                      <a:pt x="218" y="341"/>
                    </a:lnTo>
                    <a:lnTo>
                      <a:pt x="214" y="340"/>
                    </a:lnTo>
                    <a:lnTo>
                      <a:pt x="214" y="340"/>
                    </a:lnTo>
                    <a:lnTo>
                      <a:pt x="211" y="336"/>
                    </a:lnTo>
                    <a:lnTo>
                      <a:pt x="211" y="336"/>
                    </a:lnTo>
                    <a:lnTo>
                      <a:pt x="209" y="333"/>
                    </a:lnTo>
                    <a:lnTo>
                      <a:pt x="207" y="329"/>
                    </a:lnTo>
                    <a:lnTo>
                      <a:pt x="207" y="329"/>
                    </a:lnTo>
                    <a:lnTo>
                      <a:pt x="207" y="329"/>
                    </a:lnTo>
                    <a:lnTo>
                      <a:pt x="205" y="326"/>
                    </a:lnTo>
                    <a:lnTo>
                      <a:pt x="205" y="326"/>
                    </a:lnTo>
                    <a:lnTo>
                      <a:pt x="201" y="320"/>
                    </a:lnTo>
                    <a:lnTo>
                      <a:pt x="201" y="320"/>
                    </a:lnTo>
                    <a:lnTo>
                      <a:pt x="201" y="320"/>
                    </a:lnTo>
                    <a:lnTo>
                      <a:pt x="198" y="322"/>
                    </a:lnTo>
                    <a:lnTo>
                      <a:pt x="197" y="324"/>
                    </a:lnTo>
                    <a:lnTo>
                      <a:pt x="197" y="324"/>
                    </a:lnTo>
                    <a:lnTo>
                      <a:pt x="197" y="325"/>
                    </a:lnTo>
                    <a:lnTo>
                      <a:pt x="197" y="325"/>
                    </a:lnTo>
                    <a:lnTo>
                      <a:pt x="197" y="328"/>
                    </a:lnTo>
                    <a:lnTo>
                      <a:pt x="197" y="329"/>
                    </a:lnTo>
                    <a:lnTo>
                      <a:pt x="190" y="336"/>
                    </a:lnTo>
                    <a:lnTo>
                      <a:pt x="190" y="336"/>
                    </a:lnTo>
                    <a:lnTo>
                      <a:pt x="194" y="333"/>
                    </a:lnTo>
                    <a:lnTo>
                      <a:pt x="195" y="332"/>
                    </a:lnTo>
                    <a:lnTo>
                      <a:pt x="195" y="332"/>
                    </a:lnTo>
                    <a:lnTo>
                      <a:pt x="195" y="333"/>
                    </a:lnTo>
                    <a:lnTo>
                      <a:pt x="189" y="337"/>
                    </a:lnTo>
                    <a:lnTo>
                      <a:pt x="188" y="337"/>
                    </a:lnTo>
                    <a:lnTo>
                      <a:pt x="188" y="337"/>
                    </a:lnTo>
                    <a:lnTo>
                      <a:pt x="185" y="338"/>
                    </a:lnTo>
                    <a:lnTo>
                      <a:pt x="185" y="338"/>
                    </a:lnTo>
                    <a:lnTo>
                      <a:pt x="180" y="340"/>
                    </a:lnTo>
                    <a:lnTo>
                      <a:pt x="180" y="340"/>
                    </a:lnTo>
                    <a:lnTo>
                      <a:pt x="176" y="338"/>
                    </a:lnTo>
                    <a:lnTo>
                      <a:pt x="173" y="337"/>
                    </a:lnTo>
                    <a:lnTo>
                      <a:pt x="173" y="337"/>
                    </a:lnTo>
                    <a:lnTo>
                      <a:pt x="173" y="337"/>
                    </a:lnTo>
                    <a:lnTo>
                      <a:pt x="170" y="338"/>
                    </a:lnTo>
                    <a:lnTo>
                      <a:pt x="170" y="338"/>
                    </a:lnTo>
                    <a:lnTo>
                      <a:pt x="169" y="340"/>
                    </a:lnTo>
                    <a:lnTo>
                      <a:pt x="169" y="340"/>
                    </a:lnTo>
                    <a:lnTo>
                      <a:pt x="170" y="338"/>
                    </a:lnTo>
                    <a:lnTo>
                      <a:pt x="166" y="341"/>
                    </a:lnTo>
                    <a:lnTo>
                      <a:pt x="166" y="341"/>
                    </a:lnTo>
                    <a:lnTo>
                      <a:pt x="166" y="341"/>
                    </a:lnTo>
                    <a:lnTo>
                      <a:pt x="162" y="344"/>
                    </a:lnTo>
                    <a:lnTo>
                      <a:pt x="161" y="346"/>
                    </a:lnTo>
                    <a:lnTo>
                      <a:pt x="161" y="346"/>
                    </a:lnTo>
                    <a:lnTo>
                      <a:pt x="161" y="352"/>
                    </a:lnTo>
                    <a:lnTo>
                      <a:pt x="160" y="353"/>
                    </a:lnTo>
                    <a:lnTo>
                      <a:pt x="158" y="356"/>
                    </a:lnTo>
                    <a:lnTo>
                      <a:pt x="158" y="356"/>
                    </a:lnTo>
                    <a:lnTo>
                      <a:pt x="156" y="358"/>
                    </a:lnTo>
                    <a:lnTo>
                      <a:pt x="153" y="358"/>
                    </a:lnTo>
                    <a:lnTo>
                      <a:pt x="153" y="358"/>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2" name="Freeform 33">
                <a:extLst>
                  <a:ext uri="{FF2B5EF4-FFF2-40B4-BE49-F238E27FC236}">
                    <a16:creationId xmlns:a16="http://schemas.microsoft.com/office/drawing/2014/main" xmlns="" id="{D29EF452-A693-4D73-A33D-EF967048542A}"/>
                  </a:ext>
                </a:extLst>
              </p:cNvPr>
              <p:cNvSpPr>
                <a:spLocks/>
              </p:cNvSpPr>
              <p:nvPr/>
            </p:nvSpPr>
            <p:spPr bwMode="auto">
              <a:xfrm>
                <a:off x="6788387" y="3367647"/>
                <a:ext cx="461385" cy="663349"/>
              </a:xfrm>
              <a:custGeom>
                <a:avLst/>
                <a:gdLst>
                  <a:gd name="T0" fmla="*/ 205 w 265"/>
                  <a:gd name="T1" fmla="*/ 365 h 381"/>
                  <a:gd name="T2" fmla="*/ 185 w 265"/>
                  <a:gd name="T3" fmla="*/ 361 h 381"/>
                  <a:gd name="T4" fmla="*/ 163 w 265"/>
                  <a:gd name="T5" fmla="*/ 361 h 381"/>
                  <a:gd name="T6" fmla="*/ 140 w 265"/>
                  <a:gd name="T7" fmla="*/ 369 h 381"/>
                  <a:gd name="T8" fmla="*/ 114 w 265"/>
                  <a:gd name="T9" fmla="*/ 363 h 381"/>
                  <a:gd name="T10" fmla="*/ 94 w 265"/>
                  <a:gd name="T11" fmla="*/ 359 h 381"/>
                  <a:gd name="T12" fmla="*/ 82 w 265"/>
                  <a:gd name="T13" fmla="*/ 322 h 381"/>
                  <a:gd name="T14" fmla="*/ 84 w 265"/>
                  <a:gd name="T15" fmla="*/ 291 h 381"/>
                  <a:gd name="T16" fmla="*/ 64 w 265"/>
                  <a:gd name="T17" fmla="*/ 256 h 381"/>
                  <a:gd name="T18" fmla="*/ 65 w 265"/>
                  <a:gd name="T19" fmla="*/ 217 h 381"/>
                  <a:gd name="T20" fmla="*/ 61 w 265"/>
                  <a:gd name="T21" fmla="*/ 199 h 381"/>
                  <a:gd name="T22" fmla="*/ 64 w 265"/>
                  <a:gd name="T23" fmla="*/ 162 h 381"/>
                  <a:gd name="T24" fmla="*/ 80 w 265"/>
                  <a:gd name="T25" fmla="*/ 164 h 381"/>
                  <a:gd name="T26" fmla="*/ 76 w 265"/>
                  <a:gd name="T27" fmla="*/ 148 h 381"/>
                  <a:gd name="T28" fmla="*/ 58 w 265"/>
                  <a:gd name="T29" fmla="*/ 131 h 381"/>
                  <a:gd name="T30" fmla="*/ 45 w 265"/>
                  <a:gd name="T31" fmla="*/ 119 h 381"/>
                  <a:gd name="T32" fmla="*/ 33 w 265"/>
                  <a:gd name="T33" fmla="*/ 121 h 381"/>
                  <a:gd name="T34" fmla="*/ 21 w 265"/>
                  <a:gd name="T35" fmla="*/ 113 h 381"/>
                  <a:gd name="T36" fmla="*/ 20 w 265"/>
                  <a:gd name="T37" fmla="*/ 104 h 381"/>
                  <a:gd name="T38" fmla="*/ 2 w 265"/>
                  <a:gd name="T39" fmla="*/ 78 h 381"/>
                  <a:gd name="T40" fmla="*/ 3 w 265"/>
                  <a:gd name="T41" fmla="*/ 77 h 381"/>
                  <a:gd name="T42" fmla="*/ 20 w 265"/>
                  <a:gd name="T43" fmla="*/ 61 h 381"/>
                  <a:gd name="T44" fmla="*/ 27 w 265"/>
                  <a:gd name="T45" fmla="*/ 61 h 381"/>
                  <a:gd name="T46" fmla="*/ 50 w 265"/>
                  <a:gd name="T47" fmla="*/ 56 h 381"/>
                  <a:gd name="T48" fmla="*/ 70 w 265"/>
                  <a:gd name="T49" fmla="*/ 40 h 381"/>
                  <a:gd name="T50" fmla="*/ 68 w 265"/>
                  <a:gd name="T51" fmla="*/ 27 h 381"/>
                  <a:gd name="T52" fmla="*/ 80 w 265"/>
                  <a:gd name="T53" fmla="*/ 16 h 381"/>
                  <a:gd name="T54" fmla="*/ 85 w 265"/>
                  <a:gd name="T55" fmla="*/ 10 h 381"/>
                  <a:gd name="T56" fmla="*/ 128 w 265"/>
                  <a:gd name="T57" fmla="*/ 18 h 381"/>
                  <a:gd name="T58" fmla="*/ 147 w 265"/>
                  <a:gd name="T59" fmla="*/ 23 h 381"/>
                  <a:gd name="T60" fmla="*/ 163 w 265"/>
                  <a:gd name="T61" fmla="*/ 4 h 381"/>
                  <a:gd name="T62" fmla="*/ 179 w 265"/>
                  <a:gd name="T63" fmla="*/ 20 h 381"/>
                  <a:gd name="T64" fmla="*/ 168 w 265"/>
                  <a:gd name="T65" fmla="*/ 47 h 381"/>
                  <a:gd name="T66" fmla="*/ 180 w 265"/>
                  <a:gd name="T67" fmla="*/ 59 h 381"/>
                  <a:gd name="T68" fmla="*/ 201 w 265"/>
                  <a:gd name="T69" fmla="*/ 63 h 381"/>
                  <a:gd name="T70" fmla="*/ 233 w 265"/>
                  <a:gd name="T71" fmla="*/ 77 h 381"/>
                  <a:gd name="T72" fmla="*/ 237 w 265"/>
                  <a:gd name="T73" fmla="*/ 73 h 381"/>
                  <a:gd name="T74" fmla="*/ 257 w 265"/>
                  <a:gd name="T75" fmla="*/ 80 h 381"/>
                  <a:gd name="T76" fmla="*/ 233 w 265"/>
                  <a:gd name="T77" fmla="*/ 123 h 381"/>
                  <a:gd name="T78" fmla="*/ 236 w 265"/>
                  <a:gd name="T79" fmla="*/ 146 h 381"/>
                  <a:gd name="T80" fmla="*/ 220 w 265"/>
                  <a:gd name="T81" fmla="*/ 151 h 381"/>
                  <a:gd name="T82" fmla="*/ 195 w 265"/>
                  <a:gd name="T83" fmla="*/ 172 h 381"/>
                  <a:gd name="T84" fmla="*/ 201 w 265"/>
                  <a:gd name="T85" fmla="*/ 195 h 381"/>
                  <a:gd name="T86" fmla="*/ 188 w 265"/>
                  <a:gd name="T87" fmla="*/ 200 h 381"/>
                  <a:gd name="T88" fmla="*/ 171 w 265"/>
                  <a:gd name="T89" fmla="*/ 207 h 381"/>
                  <a:gd name="T90" fmla="*/ 156 w 265"/>
                  <a:gd name="T91" fmla="*/ 220 h 381"/>
                  <a:gd name="T92" fmla="*/ 173 w 265"/>
                  <a:gd name="T93" fmla="*/ 238 h 381"/>
                  <a:gd name="T94" fmla="*/ 175 w 265"/>
                  <a:gd name="T95" fmla="*/ 241 h 381"/>
                  <a:gd name="T96" fmla="*/ 193 w 265"/>
                  <a:gd name="T97" fmla="*/ 225 h 381"/>
                  <a:gd name="T98" fmla="*/ 214 w 265"/>
                  <a:gd name="T99" fmla="*/ 237 h 381"/>
                  <a:gd name="T100" fmla="*/ 221 w 265"/>
                  <a:gd name="T101" fmla="*/ 257 h 381"/>
                  <a:gd name="T102" fmla="*/ 237 w 265"/>
                  <a:gd name="T103" fmla="*/ 260 h 381"/>
                  <a:gd name="T104" fmla="*/ 229 w 265"/>
                  <a:gd name="T105" fmla="*/ 275 h 381"/>
                  <a:gd name="T106" fmla="*/ 230 w 265"/>
                  <a:gd name="T107" fmla="*/ 294 h 381"/>
                  <a:gd name="T108" fmla="*/ 240 w 265"/>
                  <a:gd name="T109" fmla="*/ 304 h 381"/>
                  <a:gd name="T110" fmla="*/ 241 w 265"/>
                  <a:gd name="T111" fmla="*/ 315 h 381"/>
                  <a:gd name="T112" fmla="*/ 232 w 265"/>
                  <a:gd name="T113" fmla="*/ 328 h 381"/>
                  <a:gd name="T114" fmla="*/ 216 w 265"/>
                  <a:gd name="T115" fmla="*/ 336 h 381"/>
                  <a:gd name="T116" fmla="*/ 208 w 265"/>
                  <a:gd name="T117" fmla="*/ 344 h 381"/>
                  <a:gd name="T118" fmla="*/ 233 w 265"/>
                  <a:gd name="T119" fmla="*/ 371 h 381"/>
                  <a:gd name="T120" fmla="*/ 217 w 265"/>
                  <a:gd name="T121" fmla="*/ 38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5" h="381">
                    <a:moveTo>
                      <a:pt x="217" y="381"/>
                    </a:moveTo>
                    <a:lnTo>
                      <a:pt x="217" y="381"/>
                    </a:lnTo>
                    <a:lnTo>
                      <a:pt x="212" y="380"/>
                    </a:lnTo>
                    <a:lnTo>
                      <a:pt x="210" y="379"/>
                    </a:lnTo>
                    <a:lnTo>
                      <a:pt x="210" y="379"/>
                    </a:lnTo>
                    <a:lnTo>
                      <a:pt x="209" y="376"/>
                    </a:lnTo>
                    <a:lnTo>
                      <a:pt x="208" y="372"/>
                    </a:lnTo>
                    <a:lnTo>
                      <a:pt x="208" y="369"/>
                    </a:lnTo>
                    <a:lnTo>
                      <a:pt x="205" y="365"/>
                    </a:lnTo>
                    <a:lnTo>
                      <a:pt x="205" y="365"/>
                    </a:lnTo>
                    <a:lnTo>
                      <a:pt x="205" y="367"/>
                    </a:lnTo>
                    <a:lnTo>
                      <a:pt x="205" y="367"/>
                    </a:lnTo>
                    <a:lnTo>
                      <a:pt x="205" y="365"/>
                    </a:lnTo>
                    <a:lnTo>
                      <a:pt x="205" y="365"/>
                    </a:lnTo>
                    <a:lnTo>
                      <a:pt x="203" y="368"/>
                    </a:lnTo>
                    <a:lnTo>
                      <a:pt x="203" y="368"/>
                    </a:lnTo>
                    <a:lnTo>
                      <a:pt x="199" y="373"/>
                    </a:lnTo>
                    <a:lnTo>
                      <a:pt x="193" y="376"/>
                    </a:lnTo>
                    <a:lnTo>
                      <a:pt x="193" y="376"/>
                    </a:lnTo>
                    <a:lnTo>
                      <a:pt x="189" y="375"/>
                    </a:lnTo>
                    <a:lnTo>
                      <a:pt x="188" y="372"/>
                    </a:lnTo>
                    <a:lnTo>
                      <a:pt x="188" y="372"/>
                    </a:lnTo>
                    <a:lnTo>
                      <a:pt x="187" y="368"/>
                    </a:lnTo>
                    <a:lnTo>
                      <a:pt x="187" y="365"/>
                    </a:lnTo>
                    <a:lnTo>
                      <a:pt x="187" y="365"/>
                    </a:lnTo>
                    <a:lnTo>
                      <a:pt x="187" y="365"/>
                    </a:lnTo>
                    <a:lnTo>
                      <a:pt x="185" y="361"/>
                    </a:lnTo>
                    <a:lnTo>
                      <a:pt x="185" y="361"/>
                    </a:lnTo>
                    <a:lnTo>
                      <a:pt x="185" y="360"/>
                    </a:lnTo>
                    <a:lnTo>
                      <a:pt x="184" y="360"/>
                    </a:lnTo>
                    <a:lnTo>
                      <a:pt x="184" y="360"/>
                    </a:lnTo>
                    <a:lnTo>
                      <a:pt x="181" y="357"/>
                    </a:lnTo>
                    <a:lnTo>
                      <a:pt x="180" y="355"/>
                    </a:lnTo>
                    <a:lnTo>
                      <a:pt x="180" y="355"/>
                    </a:lnTo>
                    <a:lnTo>
                      <a:pt x="179" y="357"/>
                    </a:lnTo>
                    <a:lnTo>
                      <a:pt x="176" y="360"/>
                    </a:lnTo>
                    <a:lnTo>
                      <a:pt x="169" y="361"/>
                    </a:lnTo>
                    <a:lnTo>
                      <a:pt x="169" y="361"/>
                    </a:lnTo>
                    <a:lnTo>
                      <a:pt x="166" y="360"/>
                    </a:lnTo>
                    <a:lnTo>
                      <a:pt x="166" y="360"/>
                    </a:lnTo>
                    <a:lnTo>
                      <a:pt x="164" y="361"/>
                    </a:lnTo>
                    <a:lnTo>
                      <a:pt x="163" y="361"/>
                    </a:lnTo>
                    <a:lnTo>
                      <a:pt x="163" y="361"/>
                    </a:lnTo>
                    <a:lnTo>
                      <a:pt x="160" y="363"/>
                    </a:lnTo>
                    <a:lnTo>
                      <a:pt x="156" y="364"/>
                    </a:lnTo>
                    <a:lnTo>
                      <a:pt x="155" y="364"/>
                    </a:lnTo>
                    <a:lnTo>
                      <a:pt x="155" y="364"/>
                    </a:lnTo>
                    <a:lnTo>
                      <a:pt x="152" y="367"/>
                    </a:lnTo>
                    <a:lnTo>
                      <a:pt x="148" y="368"/>
                    </a:lnTo>
                    <a:lnTo>
                      <a:pt x="148" y="368"/>
                    </a:lnTo>
                    <a:lnTo>
                      <a:pt x="146" y="368"/>
                    </a:lnTo>
                    <a:lnTo>
                      <a:pt x="143" y="369"/>
                    </a:lnTo>
                    <a:lnTo>
                      <a:pt x="142" y="369"/>
                    </a:lnTo>
                    <a:lnTo>
                      <a:pt x="140" y="369"/>
                    </a:lnTo>
                    <a:lnTo>
                      <a:pt x="140" y="369"/>
                    </a:lnTo>
                    <a:lnTo>
                      <a:pt x="140" y="369"/>
                    </a:lnTo>
                    <a:lnTo>
                      <a:pt x="140" y="369"/>
                    </a:lnTo>
                    <a:lnTo>
                      <a:pt x="138" y="371"/>
                    </a:lnTo>
                    <a:lnTo>
                      <a:pt x="135" y="371"/>
                    </a:lnTo>
                    <a:lnTo>
                      <a:pt x="135" y="371"/>
                    </a:lnTo>
                    <a:lnTo>
                      <a:pt x="132" y="371"/>
                    </a:lnTo>
                    <a:lnTo>
                      <a:pt x="131" y="371"/>
                    </a:lnTo>
                    <a:lnTo>
                      <a:pt x="126" y="368"/>
                    </a:lnTo>
                    <a:lnTo>
                      <a:pt x="126" y="368"/>
                    </a:lnTo>
                    <a:lnTo>
                      <a:pt x="121" y="361"/>
                    </a:lnTo>
                    <a:lnTo>
                      <a:pt x="119" y="361"/>
                    </a:lnTo>
                    <a:lnTo>
                      <a:pt x="119" y="361"/>
                    </a:lnTo>
                    <a:lnTo>
                      <a:pt x="117" y="363"/>
                    </a:lnTo>
                    <a:lnTo>
                      <a:pt x="114" y="363"/>
                    </a:lnTo>
                    <a:lnTo>
                      <a:pt x="114" y="363"/>
                    </a:lnTo>
                    <a:lnTo>
                      <a:pt x="114" y="363"/>
                    </a:lnTo>
                    <a:lnTo>
                      <a:pt x="114" y="363"/>
                    </a:lnTo>
                    <a:lnTo>
                      <a:pt x="115" y="361"/>
                    </a:lnTo>
                    <a:lnTo>
                      <a:pt x="117" y="359"/>
                    </a:lnTo>
                    <a:lnTo>
                      <a:pt x="111" y="364"/>
                    </a:lnTo>
                    <a:lnTo>
                      <a:pt x="109" y="364"/>
                    </a:lnTo>
                    <a:lnTo>
                      <a:pt x="109" y="364"/>
                    </a:lnTo>
                    <a:lnTo>
                      <a:pt x="109" y="364"/>
                    </a:lnTo>
                    <a:lnTo>
                      <a:pt x="107" y="365"/>
                    </a:lnTo>
                    <a:lnTo>
                      <a:pt x="107" y="365"/>
                    </a:lnTo>
                    <a:lnTo>
                      <a:pt x="105" y="367"/>
                    </a:lnTo>
                    <a:lnTo>
                      <a:pt x="99" y="368"/>
                    </a:lnTo>
                    <a:lnTo>
                      <a:pt x="94" y="361"/>
                    </a:lnTo>
                    <a:lnTo>
                      <a:pt x="94" y="359"/>
                    </a:lnTo>
                    <a:lnTo>
                      <a:pt x="94" y="359"/>
                    </a:lnTo>
                    <a:lnTo>
                      <a:pt x="87" y="352"/>
                    </a:lnTo>
                    <a:lnTo>
                      <a:pt x="81" y="348"/>
                    </a:lnTo>
                    <a:lnTo>
                      <a:pt x="77" y="343"/>
                    </a:lnTo>
                    <a:lnTo>
                      <a:pt x="77" y="341"/>
                    </a:lnTo>
                    <a:lnTo>
                      <a:pt x="77" y="341"/>
                    </a:lnTo>
                    <a:lnTo>
                      <a:pt x="77" y="338"/>
                    </a:lnTo>
                    <a:lnTo>
                      <a:pt x="78" y="335"/>
                    </a:lnTo>
                    <a:lnTo>
                      <a:pt x="81" y="331"/>
                    </a:lnTo>
                    <a:lnTo>
                      <a:pt x="81" y="331"/>
                    </a:lnTo>
                    <a:lnTo>
                      <a:pt x="82" y="330"/>
                    </a:lnTo>
                    <a:lnTo>
                      <a:pt x="82" y="327"/>
                    </a:lnTo>
                    <a:lnTo>
                      <a:pt x="82" y="327"/>
                    </a:lnTo>
                    <a:lnTo>
                      <a:pt x="82" y="322"/>
                    </a:lnTo>
                    <a:lnTo>
                      <a:pt x="85" y="318"/>
                    </a:lnTo>
                    <a:lnTo>
                      <a:pt x="85" y="318"/>
                    </a:lnTo>
                    <a:lnTo>
                      <a:pt x="85" y="311"/>
                    </a:lnTo>
                    <a:lnTo>
                      <a:pt x="84" y="306"/>
                    </a:lnTo>
                    <a:lnTo>
                      <a:pt x="80" y="301"/>
                    </a:lnTo>
                    <a:lnTo>
                      <a:pt x="80" y="299"/>
                    </a:lnTo>
                    <a:lnTo>
                      <a:pt x="84" y="294"/>
                    </a:lnTo>
                    <a:lnTo>
                      <a:pt x="84" y="294"/>
                    </a:lnTo>
                    <a:lnTo>
                      <a:pt x="84" y="294"/>
                    </a:lnTo>
                    <a:lnTo>
                      <a:pt x="84" y="294"/>
                    </a:lnTo>
                    <a:lnTo>
                      <a:pt x="84" y="293"/>
                    </a:lnTo>
                    <a:lnTo>
                      <a:pt x="84" y="291"/>
                    </a:lnTo>
                    <a:lnTo>
                      <a:pt x="84" y="291"/>
                    </a:lnTo>
                    <a:lnTo>
                      <a:pt x="84" y="291"/>
                    </a:lnTo>
                    <a:lnTo>
                      <a:pt x="84" y="291"/>
                    </a:lnTo>
                    <a:lnTo>
                      <a:pt x="80" y="290"/>
                    </a:lnTo>
                    <a:lnTo>
                      <a:pt x="77" y="286"/>
                    </a:lnTo>
                    <a:lnTo>
                      <a:pt x="76" y="283"/>
                    </a:lnTo>
                    <a:lnTo>
                      <a:pt x="76" y="282"/>
                    </a:lnTo>
                    <a:lnTo>
                      <a:pt x="76" y="282"/>
                    </a:lnTo>
                    <a:lnTo>
                      <a:pt x="76" y="281"/>
                    </a:lnTo>
                    <a:lnTo>
                      <a:pt x="73" y="278"/>
                    </a:lnTo>
                    <a:lnTo>
                      <a:pt x="73" y="278"/>
                    </a:lnTo>
                    <a:lnTo>
                      <a:pt x="69" y="275"/>
                    </a:lnTo>
                    <a:lnTo>
                      <a:pt x="69" y="275"/>
                    </a:lnTo>
                    <a:lnTo>
                      <a:pt x="66" y="273"/>
                    </a:lnTo>
                    <a:lnTo>
                      <a:pt x="64" y="267"/>
                    </a:lnTo>
                    <a:lnTo>
                      <a:pt x="64" y="256"/>
                    </a:lnTo>
                    <a:lnTo>
                      <a:pt x="66" y="250"/>
                    </a:lnTo>
                    <a:lnTo>
                      <a:pt x="66" y="250"/>
                    </a:lnTo>
                    <a:lnTo>
                      <a:pt x="65" y="252"/>
                    </a:lnTo>
                    <a:lnTo>
                      <a:pt x="65" y="252"/>
                    </a:lnTo>
                    <a:lnTo>
                      <a:pt x="65" y="250"/>
                    </a:lnTo>
                    <a:lnTo>
                      <a:pt x="65" y="250"/>
                    </a:lnTo>
                    <a:lnTo>
                      <a:pt x="66" y="245"/>
                    </a:lnTo>
                    <a:lnTo>
                      <a:pt x="66" y="242"/>
                    </a:lnTo>
                    <a:lnTo>
                      <a:pt x="66" y="242"/>
                    </a:lnTo>
                    <a:lnTo>
                      <a:pt x="68" y="240"/>
                    </a:lnTo>
                    <a:lnTo>
                      <a:pt x="68" y="236"/>
                    </a:lnTo>
                    <a:lnTo>
                      <a:pt x="66" y="228"/>
                    </a:lnTo>
                    <a:lnTo>
                      <a:pt x="66" y="228"/>
                    </a:lnTo>
                    <a:lnTo>
                      <a:pt x="65" y="217"/>
                    </a:lnTo>
                    <a:lnTo>
                      <a:pt x="66" y="213"/>
                    </a:lnTo>
                    <a:lnTo>
                      <a:pt x="68" y="209"/>
                    </a:lnTo>
                    <a:lnTo>
                      <a:pt x="68" y="209"/>
                    </a:lnTo>
                    <a:lnTo>
                      <a:pt x="66" y="208"/>
                    </a:lnTo>
                    <a:lnTo>
                      <a:pt x="66" y="208"/>
                    </a:lnTo>
                    <a:lnTo>
                      <a:pt x="64" y="203"/>
                    </a:lnTo>
                    <a:lnTo>
                      <a:pt x="64" y="203"/>
                    </a:lnTo>
                    <a:lnTo>
                      <a:pt x="64" y="203"/>
                    </a:lnTo>
                    <a:lnTo>
                      <a:pt x="64" y="203"/>
                    </a:lnTo>
                    <a:lnTo>
                      <a:pt x="64" y="203"/>
                    </a:lnTo>
                    <a:lnTo>
                      <a:pt x="64" y="203"/>
                    </a:lnTo>
                    <a:lnTo>
                      <a:pt x="64" y="203"/>
                    </a:lnTo>
                    <a:lnTo>
                      <a:pt x="64" y="203"/>
                    </a:lnTo>
                    <a:lnTo>
                      <a:pt x="61" y="199"/>
                    </a:lnTo>
                    <a:lnTo>
                      <a:pt x="61" y="195"/>
                    </a:lnTo>
                    <a:lnTo>
                      <a:pt x="61" y="195"/>
                    </a:lnTo>
                    <a:lnTo>
                      <a:pt x="60" y="192"/>
                    </a:lnTo>
                    <a:lnTo>
                      <a:pt x="60" y="192"/>
                    </a:lnTo>
                    <a:lnTo>
                      <a:pt x="58" y="187"/>
                    </a:lnTo>
                    <a:lnTo>
                      <a:pt x="57" y="182"/>
                    </a:lnTo>
                    <a:lnTo>
                      <a:pt x="57" y="175"/>
                    </a:lnTo>
                    <a:lnTo>
                      <a:pt x="58" y="172"/>
                    </a:lnTo>
                    <a:lnTo>
                      <a:pt x="61" y="170"/>
                    </a:lnTo>
                    <a:lnTo>
                      <a:pt x="61" y="170"/>
                    </a:lnTo>
                    <a:lnTo>
                      <a:pt x="61" y="170"/>
                    </a:lnTo>
                    <a:lnTo>
                      <a:pt x="61" y="166"/>
                    </a:lnTo>
                    <a:lnTo>
                      <a:pt x="62" y="163"/>
                    </a:lnTo>
                    <a:lnTo>
                      <a:pt x="64" y="162"/>
                    </a:lnTo>
                    <a:lnTo>
                      <a:pt x="66" y="160"/>
                    </a:lnTo>
                    <a:lnTo>
                      <a:pt x="68" y="160"/>
                    </a:lnTo>
                    <a:lnTo>
                      <a:pt x="69" y="160"/>
                    </a:lnTo>
                    <a:lnTo>
                      <a:pt x="74" y="164"/>
                    </a:lnTo>
                    <a:lnTo>
                      <a:pt x="74" y="164"/>
                    </a:lnTo>
                    <a:lnTo>
                      <a:pt x="74" y="164"/>
                    </a:lnTo>
                    <a:lnTo>
                      <a:pt x="74" y="164"/>
                    </a:lnTo>
                    <a:lnTo>
                      <a:pt x="74" y="163"/>
                    </a:lnTo>
                    <a:lnTo>
                      <a:pt x="74" y="163"/>
                    </a:lnTo>
                    <a:lnTo>
                      <a:pt x="74" y="164"/>
                    </a:lnTo>
                    <a:lnTo>
                      <a:pt x="74" y="164"/>
                    </a:lnTo>
                    <a:lnTo>
                      <a:pt x="76" y="164"/>
                    </a:lnTo>
                    <a:lnTo>
                      <a:pt x="80" y="164"/>
                    </a:lnTo>
                    <a:lnTo>
                      <a:pt x="80" y="164"/>
                    </a:lnTo>
                    <a:lnTo>
                      <a:pt x="80" y="158"/>
                    </a:lnTo>
                    <a:lnTo>
                      <a:pt x="82" y="154"/>
                    </a:lnTo>
                    <a:lnTo>
                      <a:pt x="82" y="154"/>
                    </a:lnTo>
                    <a:lnTo>
                      <a:pt x="82" y="152"/>
                    </a:lnTo>
                    <a:lnTo>
                      <a:pt x="84" y="151"/>
                    </a:lnTo>
                    <a:lnTo>
                      <a:pt x="84" y="151"/>
                    </a:lnTo>
                    <a:lnTo>
                      <a:pt x="84" y="151"/>
                    </a:lnTo>
                    <a:lnTo>
                      <a:pt x="84" y="151"/>
                    </a:lnTo>
                    <a:lnTo>
                      <a:pt x="82" y="151"/>
                    </a:lnTo>
                    <a:lnTo>
                      <a:pt x="82" y="151"/>
                    </a:lnTo>
                    <a:lnTo>
                      <a:pt x="80" y="150"/>
                    </a:lnTo>
                    <a:lnTo>
                      <a:pt x="80" y="150"/>
                    </a:lnTo>
                    <a:lnTo>
                      <a:pt x="77" y="148"/>
                    </a:lnTo>
                    <a:lnTo>
                      <a:pt x="76" y="148"/>
                    </a:lnTo>
                    <a:lnTo>
                      <a:pt x="74" y="146"/>
                    </a:lnTo>
                    <a:lnTo>
                      <a:pt x="74" y="146"/>
                    </a:lnTo>
                    <a:lnTo>
                      <a:pt x="74" y="147"/>
                    </a:lnTo>
                    <a:lnTo>
                      <a:pt x="77" y="147"/>
                    </a:lnTo>
                    <a:lnTo>
                      <a:pt x="72" y="143"/>
                    </a:lnTo>
                    <a:lnTo>
                      <a:pt x="72" y="143"/>
                    </a:lnTo>
                    <a:lnTo>
                      <a:pt x="73" y="145"/>
                    </a:lnTo>
                    <a:lnTo>
                      <a:pt x="73" y="145"/>
                    </a:lnTo>
                    <a:lnTo>
                      <a:pt x="72" y="145"/>
                    </a:lnTo>
                    <a:lnTo>
                      <a:pt x="68" y="141"/>
                    </a:lnTo>
                    <a:lnTo>
                      <a:pt x="66" y="141"/>
                    </a:lnTo>
                    <a:lnTo>
                      <a:pt x="66" y="141"/>
                    </a:lnTo>
                    <a:lnTo>
                      <a:pt x="58" y="131"/>
                    </a:lnTo>
                    <a:lnTo>
                      <a:pt x="58" y="131"/>
                    </a:lnTo>
                    <a:lnTo>
                      <a:pt x="58" y="131"/>
                    </a:lnTo>
                    <a:lnTo>
                      <a:pt x="57" y="134"/>
                    </a:lnTo>
                    <a:lnTo>
                      <a:pt x="49" y="137"/>
                    </a:lnTo>
                    <a:lnTo>
                      <a:pt x="49" y="137"/>
                    </a:lnTo>
                    <a:lnTo>
                      <a:pt x="47" y="134"/>
                    </a:lnTo>
                    <a:lnTo>
                      <a:pt x="45" y="133"/>
                    </a:lnTo>
                    <a:lnTo>
                      <a:pt x="45" y="133"/>
                    </a:lnTo>
                    <a:lnTo>
                      <a:pt x="45" y="129"/>
                    </a:lnTo>
                    <a:lnTo>
                      <a:pt x="45" y="126"/>
                    </a:lnTo>
                    <a:lnTo>
                      <a:pt x="45" y="121"/>
                    </a:lnTo>
                    <a:lnTo>
                      <a:pt x="45" y="121"/>
                    </a:lnTo>
                    <a:lnTo>
                      <a:pt x="45" y="121"/>
                    </a:lnTo>
                    <a:lnTo>
                      <a:pt x="45" y="121"/>
                    </a:lnTo>
                    <a:lnTo>
                      <a:pt x="45" y="119"/>
                    </a:lnTo>
                    <a:lnTo>
                      <a:pt x="45" y="119"/>
                    </a:lnTo>
                    <a:lnTo>
                      <a:pt x="43" y="118"/>
                    </a:lnTo>
                    <a:lnTo>
                      <a:pt x="43" y="115"/>
                    </a:lnTo>
                    <a:lnTo>
                      <a:pt x="43" y="115"/>
                    </a:lnTo>
                    <a:lnTo>
                      <a:pt x="41" y="115"/>
                    </a:lnTo>
                    <a:lnTo>
                      <a:pt x="41" y="115"/>
                    </a:lnTo>
                    <a:lnTo>
                      <a:pt x="41" y="115"/>
                    </a:lnTo>
                    <a:lnTo>
                      <a:pt x="41" y="114"/>
                    </a:lnTo>
                    <a:lnTo>
                      <a:pt x="39" y="117"/>
                    </a:lnTo>
                    <a:lnTo>
                      <a:pt x="39" y="117"/>
                    </a:lnTo>
                    <a:lnTo>
                      <a:pt x="39" y="117"/>
                    </a:lnTo>
                    <a:lnTo>
                      <a:pt x="39" y="117"/>
                    </a:lnTo>
                    <a:lnTo>
                      <a:pt x="36" y="119"/>
                    </a:lnTo>
                    <a:lnTo>
                      <a:pt x="33" y="121"/>
                    </a:lnTo>
                    <a:lnTo>
                      <a:pt x="31" y="121"/>
                    </a:lnTo>
                    <a:lnTo>
                      <a:pt x="31" y="121"/>
                    </a:lnTo>
                    <a:lnTo>
                      <a:pt x="27" y="121"/>
                    </a:lnTo>
                    <a:lnTo>
                      <a:pt x="25" y="118"/>
                    </a:lnTo>
                    <a:lnTo>
                      <a:pt x="25" y="118"/>
                    </a:lnTo>
                    <a:lnTo>
                      <a:pt x="25" y="118"/>
                    </a:lnTo>
                    <a:lnTo>
                      <a:pt x="23" y="114"/>
                    </a:lnTo>
                    <a:lnTo>
                      <a:pt x="23" y="114"/>
                    </a:lnTo>
                    <a:lnTo>
                      <a:pt x="23" y="114"/>
                    </a:lnTo>
                    <a:lnTo>
                      <a:pt x="23" y="114"/>
                    </a:lnTo>
                    <a:lnTo>
                      <a:pt x="21" y="113"/>
                    </a:lnTo>
                    <a:lnTo>
                      <a:pt x="21" y="113"/>
                    </a:lnTo>
                    <a:lnTo>
                      <a:pt x="21" y="113"/>
                    </a:lnTo>
                    <a:lnTo>
                      <a:pt x="21" y="113"/>
                    </a:lnTo>
                    <a:lnTo>
                      <a:pt x="21" y="111"/>
                    </a:lnTo>
                    <a:lnTo>
                      <a:pt x="21" y="111"/>
                    </a:lnTo>
                    <a:lnTo>
                      <a:pt x="21" y="111"/>
                    </a:lnTo>
                    <a:lnTo>
                      <a:pt x="21" y="106"/>
                    </a:lnTo>
                    <a:lnTo>
                      <a:pt x="21" y="106"/>
                    </a:lnTo>
                    <a:lnTo>
                      <a:pt x="21" y="105"/>
                    </a:lnTo>
                    <a:lnTo>
                      <a:pt x="21" y="105"/>
                    </a:lnTo>
                    <a:lnTo>
                      <a:pt x="23" y="107"/>
                    </a:lnTo>
                    <a:lnTo>
                      <a:pt x="25" y="109"/>
                    </a:lnTo>
                    <a:lnTo>
                      <a:pt x="21" y="104"/>
                    </a:lnTo>
                    <a:lnTo>
                      <a:pt x="20" y="104"/>
                    </a:lnTo>
                    <a:lnTo>
                      <a:pt x="20" y="104"/>
                    </a:lnTo>
                    <a:lnTo>
                      <a:pt x="20" y="104"/>
                    </a:lnTo>
                    <a:lnTo>
                      <a:pt x="20" y="104"/>
                    </a:lnTo>
                    <a:lnTo>
                      <a:pt x="16" y="97"/>
                    </a:lnTo>
                    <a:lnTo>
                      <a:pt x="11" y="93"/>
                    </a:lnTo>
                    <a:lnTo>
                      <a:pt x="11" y="93"/>
                    </a:lnTo>
                    <a:lnTo>
                      <a:pt x="7" y="92"/>
                    </a:lnTo>
                    <a:lnTo>
                      <a:pt x="4" y="90"/>
                    </a:lnTo>
                    <a:lnTo>
                      <a:pt x="4" y="90"/>
                    </a:lnTo>
                    <a:lnTo>
                      <a:pt x="4" y="90"/>
                    </a:lnTo>
                    <a:lnTo>
                      <a:pt x="0" y="85"/>
                    </a:lnTo>
                    <a:lnTo>
                      <a:pt x="0" y="85"/>
                    </a:lnTo>
                    <a:lnTo>
                      <a:pt x="0" y="81"/>
                    </a:lnTo>
                    <a:lnTo>
                      <a:pt x="2" y="78"/>
                    </a:lnTo>
                    <a:lnTo>
                      <a:pt x="2" y="78"/>
                    </a:lnTo>
                    <a:lnTo>
                      <a:pt x="2" y="78"/>
                    </a:lnTo>
                    <a:lnTo>
                      <a:pt x="2" y="78"/>
                    </a:lnTo>
                    <a:lnTo>
                      <a:pt x="2" y="80"/>
                    </a:lnTo>
                    <a:lnTo>
                      <a:pt x="3" y="78"/>
                    </a:lnTo>
                    <a:lnTo>
                      <a:pt x="3" y="78"/>
                    </a:lnTo>
                    <a:lnTo>
                      <a:pt x="4" y="80"/>
                    </a:lnTo>
                    <a:lnTo>
                      <a:pt x="7" y="81"/>
                    </a:lnTo>
                    <a:lnTo>
                      <a:pt x="7" y="80"/>
                    </a:lnTo>
                    <a:lnTo>
                      <a:pt x="7" y="80"/>
                    </a:lnTo>
                    <a:lnTo>
                      <a:pt x="7" y="78"/>
                    </a:lnTo>
                    <a:lnTo>
                      <a:pt x="4" y="77"/>
                    </a:lnTo>
                    <a:lnTo>
                      <a:pt x="7" y="76"/>
                    </a:lnTo>
                    <a:lnTo>
                      <a:pt x="7" y="74"/>
                    </a:lnTo>
                    <a:lnTo>
                      <a:pt x="7" y="74"/>
                    </a:lnTo>
                    <a:lnTo>
                      <a:pt x="4" y="74"/>
                    </a:lnTo>
                    <a:lnTo>
                      <a:pt x="3" y="77"/>
                    </a:lnTo>
                    <a:lnTo>
                      <a:pt x="2" y="74"/>
                    </a:lnTo>
                    <a:lnTo>
                      <a:pt x="2" y="74"/>
                    </a:lnTo>
                    <a:lnTo>
                      <a:pt x="4" y="69"/>
                    </a:lnTo>
                    <a:lnTo>
                      <a:pt x="4" y="69"/>
                    </a:lnTo>
                    <a:lnTo>
                      <a:pt x="7" y="66"/>
                    </a:lnTo>
                    <a:lnTo>
                      <a:pt x="9" y="63"/>
                    </a:lnTo>
                    <a:lnTo>
                      <a:pt x="13" y="59"/>
                    </a:lnTo>
                    <a:lnTo>
                      <a:pt x="13" y="59"/>
                    </a:lnTo>
                    <a:lnTo>
                      <a:pt x="15" y="59"/>
                    </a:lnTo>
                    <a:lnTo>
                      <a:pt x="15" y="59"/>
                    </a:lnTo>
                    <a:lnTo>
                      <a:pt x="19" y="60"/>
                    </a:lnTo>
                    <a:lnTo>
                      <a:pt x="20" y="61"/>
                    </a:lnTo>
                    <a:lnTo>
                      <a:pt x="20" y="61"/>
                    </a:lnTo>
                    <a:lnTo>
                      <a:pt x="20" y="61"/>
                    </a:lnTo>
                    <a:lnTo>
                      <a:pt x="20" y="61"/>
                    </a:lnTo>
                    <a:lnTo>
                      <a:pt x="19" y="60"/>
                    </a:lnTo>
                    <a:lnTo>
                      <a:pt x="24" y="66"/>
                    </a:lnTo>
                    <a:lnTo>
                      <a:pt x="24" y="66"/>
                    </a:lnTo>
                    <a:lnTo>
                      <a:pt x="23" y="63"/>
                    </a:lnTo>
                    <a:lnTo>
                      <a:pt x="20" y="61"/>
                    </a:lnTo>
                    <a:lnTo>
                      <a:pt x="20" y="61"/>
                    </a:lnTo>
                    <a:lnTo>
                      <a:pt x="20" y="61"/>
                    </a:lnTo>
                    <a:lnTo>
                      <a:pt x="23" y="61"/>
                    </a:lnTo>
                    <a:lnTo>
                      <a:pt x="23" y="61"/>
                    </a:lnTo>
                    <a:lnTo>
                      <a:pt x="25" y="61"/>
                    </a:lnTo>
                    <a:lnTo>
                      <a:pt x="25" y="61"/>
                    </a:lnTo>
                    <a:lnTo>
                      <a:pt x="27" y="61"/>
                    </a:lnTo>
                    <a:lnTo>
                      <a:pt x="27" y="61"/>
                    </a:lnTo>
                    <a:lnTo>
                      <a:pt x="28" y="61"/>
                    </a:lnTo>
                    <a:lnTo>
                      <a:pt x="28" y="61"/>
                    </a:lnTo>
                    <a:lnTo>
                      <a:pt x="33" y="63"/>
                    </a:lnTo>
                    <a:lnTo>
                      <a:pt x="36" y="64"/>
                    </a:lnTo>
                    <a:lnTo>
                      <a:pt x="36" y="64"/>
                    </a:lnTo>
                    <a:lnTo>
                      <a:pt x="39" y="64"/>
                    </a:lnTo>
                    <a:lnTo>
                      <a:pt x="39" y="64"/>
                    </a:lnTo>
                    <a:lnTo>
                      <a:pt x="45" y="59"/>
                    </a:lnTo>
                    <a:lnTo>
                      <a:pt x="45" y="59"/>
                    </a:lnTo>
                    <a:lnTo>
                      <a:pt x="48" y="60"/>
                    </a:lnTo>
                    <a:lnTo>
                      <a:pt x="48" y="60"/>
                    </a:lnTo>
                    <a:lnTo>
                      <a:pt x="50" y="61"/>
                    </a:lnTo>
                    <a:lnTo>
                      <a:pt x="50" y="61"/>
                    </a:lnTo>
                    <a:lnTo>
                      <a:pt x="50" y="56"/>
                    </a:lnTo>
                    <a:lnTo>
                      <a:pt x="53" y="52"/>
                    </a:lnTo>
                    <a:lnTo>
                      <a:pt x="54" y="51"/>
                    </a:lnTo>
                    <a:lnTo>
                      <a:pt x="54" y="51"/>
                    </a:lnTo>
                    <a:lnTo>
                      <a:pt x="54" y="52"/>
                    </a:lnTo>
                    <a:lnTo>
                      <a:pt x="54" y="52"/>
                    </a:lnTo>
                    <a:lnTo>
                      <a:pt x="54" y="51"/>
                    </a:lnTo>
                    <a:lnTo>
                      <a:pt x="54" y="51"/>
                    </a:lnTo>
                    <a:lnTo>
                      <a:pt x="56" y="48"/>
                    </a:lnTo>
                    <a:lnTo>
                      <a:pt x="56" y="44"/>
                    </a:lnTo>
                    <a:lnTo>
                      <a:pt x="60" y="39"/>
                    </a:lnTo>
                    <a:lnTo>
                      <a:pt x="60" y="39"/>
                    </a:lnTo>
                    <a:lnTo>
                      <a:pt x="64" y="39"/>
                    </a:lnTo>
                    <a:lnTo>
                      <a:pt x="64" y="39"/>
                    </a:lnTo>
                    <a:lnTo>
                      <a:pt x="70" y="40"/>
                    </a:lnTo>
                    <a:lnTo>
                      <a:pt x="70" y="40"/>
                    </a:lnTo>
                    <a:lnTo>
                      <a:pt x="70" y="40"/>
                    </a:lnTo>
                    <a:lnTo>
                      <a:pt x="70" y="40"/>
                    </a:lnTo>
                    <a:lnTo>
                      <a:pt x="74" y="35"/>
                    </a:lnTo>
                    <a:lnTo>
                      <a:pt x="74" y="35"/>
                    </a:lnTo>
                    <a:lnTo>
                      <a:pt x="76" y="35"/>
                    </a:lnTo>
                    <a:lnTo>
                      <a:pt x="74" y="33"/>
                    </a:lnTo>
                    <a:lnTo>
                      <a:pt x="74" y="33"/>
                    </a:lnTo>
                    <a:lnTo>
                      <a:pt x="74" y="35"/>
                    </a:lnTo>
                    <a:lnTo>
                      <a:pt x="74" y="35"/>
                    </a:lnTo>
                    <a:lnTo>
                      <a:pt x="72" y="32"/>
                    </a:lnTo>
                    <a:lnTo>
                      <a:pt x="69" y="31"/>
                    </a:lnTo>
                    <a:lnTo>
                      <a:pt x="69" y="28"/>
                    </a:lnTo>
                    <a:lnTo>
                      <a:pt x="68" y="27"/>
                    </a:lnTo>
                    <a:lnTo>
                      <a:pt x="68" y="26"/>
                    </a:lnTo>
                    <a:lnTo>
                      <a:pt x="68" y="26"/>
                    </a:lnTo>
                    <a:lnTo>
                      <a:pt x="69" y="19"/>
                    </a:lnTo>
                    <a:lnTo>
                      <a:pt x="69" y="16"/>
                    </a:lnTo>
                    <a:lnTo>
                      <a:pt x="72" y="14"/>
                    </a:lnTo>
                    <a:lnTo>
                      <a:pt x="76" y="12"/>
                    </a:lnTo>
                    <a:lnTo>
                      <a:pt x="77" y="12"/>
                    </a:lnTo>
                    <a:lnTo>
                      <a:pt x="78" y="14"/>
                    </a:lnTo>
                    <a:lnTo>
                      <a:pt x="78" y="14"/>
                    </a:lnTo>
                    <a:lnTo>
                      <a:pt x="77" y="16"/>
                    </a:lnTo>
                    <a:lnTo>
                      <a:pt x="77" y="16"/>
                    </a:lnTo>
                    <a:lnTo>
                      <a:pt x="76" y="18"/>
                    </a:lnTo>
                    <a:lnTo>
                      <a:pt x="77" y="20"/>
                    </a:lnTo>
                    <a:lnTo>
                      <a:pt x="80" y="16"/>
                    </a:lnTo>
                    <a:lnTo>
                      <a:pt x="82" y="20"/>
                    </a:lnTo>
                    <a:lnTo>
                      <a:pt x="82" y="20"/>
                    </a:lnTo>
                    <a:lnTo>
                      <a:pt x="82" y="18"/>
                    </a:lnTo>
                    <a:lnTo>
                      <a:pt x="82" y="16"/>
                    </a:lnTo>
                    <a:lnTo>
                      <a:pt x="82" y="16"/>
                    </a:lnTo>
                    <a:lnTo>
                      <a:pt x="81" y="14"/>
                    </a:lnTo>
                    <a:lnTo>
                      <a:pt x="82" y="12"/>
                    </a:lnTo>
                    <a:lnTo>
                      <a:pt x="84" y="12"/>
                    </a:lnTo>
                    <a:lnTo>
                      <a:pt x="84" y="12"/>
                    </a:lnTo>
                    <a:lnTo>
                      <a:pt x="85" y="11"/>
                    </a:lnTo>
                    <a:lnTo>
                      <a:pt x="85" y="11"/>
                    </a:lnTo>
                    <a:lnTo>
                      <a:pt x="85" y="11"/>
                    </a:lnTo>
                    <a:lnTo>
                      <a:pt x="85" y="11"/>
                    </a:lnTo>
                    <a:lnTo>
                      <a:pt x="85" y="10"/>
                    </a:lnTo>
                    <a:lnTo>
                      <a:pt x="90" y="0"/>
                    </a:lnTo>
                    <a:lnTo>
                      <a:pt x="91" y="0"/>
                    </a:lnTo>
                    <a:lnTo>
                      <a:pt x="91" y="0"/>
                    </a:lnTo>
                    <a:lnTo>
                      <a:pt x="94" y="0"/>
                    </a:lnTo>
                    <a:lnTo>
                      <a:pt x="94" y="0"/>
                    </a:lnTo>
                    <a:lnTo>
                      <a:pt x="102" y="2"/>
                    </a:lnTo>
                    <a:lnTo>
                      <a:pt x="107" y="4"/>
                    </a:lnTo>
                    <a:lnTo>
                      <a:pt x="111" y="7"/>
                    </a:lnTo>
                    <a:lnTo>
                      <a:pt x="115" y="11"/>
                    </a:lnTo>
                    <a:lnTo>
                      <a:pt x="115" y="11"/>
                    </a:lnTo>
                    <a:lnTo>
                      <a:pt x="121" y="15"/>
                    </a:lnTo>
                    <a:lnTo>
                      <a:pt x="123" y="16"/>
                    </a:lnTo>
                    <a:lnTo>
                      <a:pt x="127" y="18"/>
                    </a:lnTo>
                    <a:lnTo>
                      <a:pt x="128" y="18"/>
                    </a:lnTo>
                    <a:lnTo>
                      <a:pt x="128" y="18"/>
                    </a:lnTo>
                    <a:lnTo>
                      <a:pt x="134" y="19"/>
                    </a:lnTo>
                    <a:lnTo>
                      <a:pt x="136" y="20"/>
                    </a:lnTo>
                    <a:lnTo>
                      <a:pt x="136" y="20"/>
                    </a:lnTo>
                    <a:lnTo>
                      <a:pt x="139" y="22"/>
                    </a:lnTo>
                    <a:lnTo>
                      <a:pt x="142" y="22"/>
                    </a:lnTo>
                    <a:lnTo>
                      <a:pt x="143" y="22"/>
                    </a:lnTo>
                    <a:lnTo>
                      <a:pt x="148" y="28"/>
                    </a:lnTo>
                    <a:lnTo>
                      <a:pt x="148" y="28"/>
                    </a:lnTo>
                    <a:lnTo>
                      <a:pt x="147" y="24"/>
                    </a:lnTo>
                    <a:lnTo>
                      <a:pt x="146" y="24"/>
                    </a:lnTo>
                    <a:lnTo>
                      <a:pt x="146" y="24"/>
                    </a:lnTo>
                    <a:lnTo>
                      <a:pt x="146" y="24"/>
                    </a:lnTo>
                    <a:lnTo>
                      <a:pt x="147" y="23"/>
                    </a:lnTo>
                    <a:lnTo>
                      <a:pt x="147" y="23"/>
                    </a:lnTo>
                    <a:lnTo>
                      <a:pt x="148" y="23"/>
                    </a:lnTo>
                    <a:lnTo>
                      <a:pt x="148" y="23"/>
                    </a:lnTo>
                    <a:lnTo>
                      <a:pt x="151" y="22"/>
                    </a:lnTo>
                    <a:lnTo>
                      <a:pt x="151" y="18"/>
                    </a:lnTo>
                    <a:lnTo>
                      <a:pt x="154" y="12"/>
                    </a:lnTo>
                    <a:lnTo>
                      <a:pt x="155" y="12"/>
                    </a:lnTo>
                    <a:lnTo>
                      <a:pt x="155" y="12"/>
                    </a:lnTo>
                    <a:lnTo>
                      <a:pt x="155" y="10"/>
                    </a:lnTo>
                    <a:lnTo>
                      <a:pt x="156" y="7"/>
                    </a:lnTo>
                    <a:lnTo>
                      <a:pt x="156" y="7"/>
                    </a:lnTo>
                    <a:lnTo>
                      <a:pt x="158" y="6"/>
                    </a:lnTo>
                    <a:lnTo>
                      <a:pt x="163" y="4"/>
                    </a:lnTo>
                    <a:lnTo>
                      <a:pt x="163" y="4"/>
                    </a:lnTo>
                    <a:lnTo>
                      <a:pt x="164" y="4"/>
                    </a:lnTo>
                    <a:lnTo>
                      <a:pt x="164" y="4"/>
                    </a:lnTo>
                    <a:lnTo>
                      <a:pt x="166" y="4"/>
                    </a:lnTo>
                    <a:lnTo>
                      <a:pt x="171" y="8"/>
                    </a:lnTo>
                    <a:lnTo>
                      <a:pt x="171" y="8"/>
                    </a:lnTo>
                    <a:lnTo>
                      <a:pt x="171" y="7"/>
                    </a:lnTo>
                    <a:lnTo>
                      <a:pt x="171" y="7"/>
                    </a:lnTo>
                    <a:lnTo>
                      <a:pt x="172" y="8"/>
                    </a:lnTo>
                    <a:lnTo>
                      <a:pt x="172" y="8"/>
                    </a:lnTo>
                    <a:lnTo>
                      <a:pt x="176" y="12"/>
                    </a:lnTo>
                    <a:lnTo>
                      <a:pt x="177" y="14"/>
                    </a:lnTo>
                    <a:lnTo>
                      <a:pt x="179" y="16"/>
                    </a:lnTo>
                    <a:lnTo>
                      <a:pt x="179" y="16"/>
                    </a:lnTo>
                    <a:lnTo>
                      <a:pt x="179" y="20"/>
                    </a:lnTo>
                    <a:lnTo>
                      <a:pt x="177" y="24"/>
                    </a:lnTo>
                    <a:lnTo>
                      <a:pt x="173" y="26"/>
                    </a:lnTo>
                    <a:lnTo>
                      <a:pt x="173" y="26"/>
                    </a:lnTo>
                    <a:lnTo>
                      <a:pt x="173" y="26"/>
                    </a:lnTo>
                    <a:lnTo>
                      <a:pt x="171" y="28"/>
                    </a:lnTo>
                    <a:lnTo>
                      <a:pt x="167" y="31"/>
                    </a:lnTo>
                    <a:lnTo>
                      <a:pt x="167" y="31"/>
                    </a:lnTo>
                    <a:lnTo>
                      <a:pt x="167" y="31"/>
                    </a:lnTo>
                    <a:lnTo>
                      <a:pt x="164" y="33"/>
                    </a:lnTo>
                    <a:lnTo>
                      <a:pt x="164" y="33"/>
                    </a:lnTo>
                    <a:lnTo>
                      <a:pt x="164" y="36"/>
                    </a:lnTo>
                    <a:lnTo>
                      <a:pt x="166" y="40"/>
                    </a:lnTo>
                    <a:lnTo>
                      <a:pt x="168" y="47"/>
                    </a:lnTo>
                    <a:lnTo>
                      <a:pt x="168" y="47"/>
                    </a:lnTo>
                    <a:lnTo>
                      <a:pt x="171" y="52"/>
                    </a:lnTo>
                    <a:lnTo>
                      <a:pt x="171" y="59"/>
                    </a:lnTo>
                    <a:lnTo>
                      <a:pt x="171" y="59"/>
                    </a:lnTo>
                    <a:lnTo>
                      <a:pt x="168" y="61"/>
                    </a:lnTo>
                    <a:lnTo>
                      <a:pt x="168" y="61"/>
                    </a:lnTo>
                    <a:lnTo>
                      <a:pt x="167" y="63"/>
                    </a:lnTo>
                    <a:lnTo>
                      <a:pt x="167" y="63"/>
                    </a:lnTo>
                    <a:lnTo>
                      <a:pt x="169" y="61"/>
                    </a:lnTo>
                    <a:lnTo>
                      <a:pt x="173" y="60"/>
                    </a:lnTo>
                    <a:lnTo>
                      <a:pt x="177" y="60"/>
                    </a:lnTo>
                    <a:lnTo>
                      <a:pt x="177" y="60"/>
                    </a:lnTo>
                    <a:lnTo>
                      <a:pt x="175" y="61"/>
                    </a:lnTo>
                    <a:lnTo>
                      <a:pt x="173" y="64"/>
                    </a:lnTo>
                    <a:lnTo>
                      <a:pt x="180" y="59"/>
                    </a:lnTo>
                    <a:lnTo>
                      <a:pt x="181" y="59"/>
                    </a:lnTo>
                    <a:lnTo>
                      <a:pt x="185" y="61"/>
                    </a:lnTo>
                    <a:lnTo>
                      <a:pt x="185" y="61"/>
                    </a:lnTo>
                    <a:lnTo>
                      <a:pt x="184" y="60"/>
                    </a:lnTo>
                    <a:lnTo>
                      <a:pt x="184" y="60"/>
                    </a:lnTo>
                    <a:lnTo>
                      <a:pt x="187" y="60"/>
                    </a:lnTo>
                    <a:lnTo>
                      <a:pt x="187" y="60"/>
                    </a:lnTo>
                    <a:lnTo>
                      <a:pt x="191" y="61"/>
                    </a:lnTo>
                    <a:lnTo>
                      <a:pt x="193" y="61"/>
                    </a:lnTo>
                    <a:lnTo>
                      <a:pt x="193" y="61"/>
                    </a:lnTo>
                    <a:lnTo>
                      <a:pt x="195" y="61"/>
                    </a:lnTo>
                    <a:lnTo>
                      <a:pt x="195" y="61"/>
                    </a:lnTo>
                    <a:lnTo>
                      <a:pt x="199" y="61"/>
                    </a:lnTo>
                    <a:lnTo>
                      <a:pt x="201" y="63"/>
                    </a:lnTo>
                    <a:lnTo>
                      <a:pt x="201" y="63"/>
                    </a:lnTo>
                    <a:lnTo>
                      <a:pt x="210" y="61"/>
                    </a:lnTo>
                    <a:lnTo>
                      <a:pt x="210" y="61"/>
                    </a:lnTo>
                    <a:lnTo>
                      <a:pt x="217" y="60"/>
                    </a:lnTo>
                    <a:lnTo>
                      <a:pt x="225" y="66"/>
                    </a:lnTo>
                    <a:lnTo>
                      <a:pt x="225" y="66"/>
                    </a:lnTo>
                    <a:lnTo>
                      <a:pt x="226" y="68"/>
                    </a:lnTo>
                    <a:lnTo>
                      <a:pt x="229" y="70"/>
                    </a:lnTo>
                    <a:lnTo>
                      <a:pt x="229" y="70"/>
                    </a:lnTo>
                    <a:lnTo>
                      <a:pt x="230" y="72"/>
                    </a:lnTo>
                    <a:lnTo>
                      <a:pt x="232" y="72"/>
                    </a:lnTo>
                    <a:lnTo>
                      <a:pt x="234" y="74"/>
                    </a:lnTo>
                    <a:lnTo>
                      <a:pt x="234" y="74"/>
                    </a:lnTo>
                    <a:lnTo>
                      <a:pt x="233" y="77"/>
                    </a:lnTo>
                    <a:lnTo>
                      <a:pt x="233" y="77"/>
                    </a:lnTo>
                    <a:lnTo>
                      <a:pt x="232" y="78"/>
                    </a:lnTo>
                    <a:lnTo>
                      <a:pt x="233" y="81"/>
                    </a:lnTo>
                    <a:lnTo>
                      <a:pt x="236" y="76"/>
                    </a:lnTo>
                    <a:lnTo>
                      <a:pt x="236" y="76"/>
                    </a:lnTo>
                    <a:lnTo>
                      <a:pt x="238" y="81"/>
                    </a:lnTo>
                    <a:lnTo>
                      <a:pt x="238" y="81"/>
                    </a:lnTo>
                    <a:lnTo>
                      <a:pt x="238" y="78"/>
                    </a:lnTo>
                    <a:lnTo>
                      <a:pt x="238" y="77"/>
                    </a:lnTo>
                    <a:lnTo>
                      <a:pt x="238" y="77"/>
                    </a:lnTo>
                    <a:lnTo>
                      <a:pt x="237" y="74"/>
                    </a:lnTo>
                    <a:lnTo>
                      <a:pt x="237" y="74"/>
                    </a:lnTo>
                    <a:lnTo>
                      <a:pt x="236" y="74"/>
                    </a:lnTo>
                    <a:lnTo>
                      <a:pt x="237" y="73"/>
                    </a:lnTo>
                    <a:lnTo>
                      <a:pt x="237" y="73"/>
                    </a:lnTo>
                    <a:lnTo>
                      <a:pt x="236" y="73"/>
                    </a:lnTo>
                    <a:lnTo>
                      <a:pt x="236" y="73"/>
                    </a:lnTo>
                    <a:lnTo>
                      <a:pt x="238" y="72"/>
                    </a:lnTo>
                    <a:lnTo>
                      <a:pt x="241" y="70"/>
                    </a:lnTo>
                    <a:lnTo>
                      <a:pt x="241" y="70"/>
                    </a:lnTo>
                    <a:lnTo>
                      <a:pt x="245" y="72"/>
                    </a:lnTo>
                    <a:lnTo>
                      <a:pt x="246" y="73"/>
                    </a:lnTo>
                    <a:lnTo>
                      <a:pt x="246" y="73"/>
                    </a:lnTo>
                    <a:lnTo>
                      <a:pt x="251" y="74"/>
                    </a:lnTo>
                    <a:lnTo>
                      <a:pt x="255" y="78"/>
                    </a:lnTo>
                    <a:lnTo>
                      <a:pt x="257" y="80"/>
                    </a:lnTo>
                    <a:lnTo>
                      <a:pt x="257" y="80"/>
                    </a:lnTo>
                    <a:lnTo>
                      <a:pt x="257" y="80"/>
                    </a:lnTo>
                    <a:lnTo>
                      <a:pt x="257" y="80"/>
                    </a:lnTo>
                    <a:lnTo>
                      <a:pt x="261" y="80"/>
                    </a:lnTo>
                    <a:lnTo>
                      <a:pt x="263" y="82"/>
                    </a:lnTo>
                    <a:lnTo>
                      <a:pt x="263" y="82"/>
                    </a:lnTo>
                    <a:lnTo>
                      <a:pt x="265" y="86"/>
                    </a:lnTo>
                    <a:lnTo>
                      <a:pt x="263" y="89"/>
                    </a:lnTo>
                    <a:lnTo>
                      <a:pt x="262" y="93"/>
                    </a:lnTo>
                    <a:lnTo>
                      <a:pt x="262" y="93"/>
                    </a:lnTo>
                    <a:lnTo>
                      <a:pt x="257" y="98"/>
                    </a:lnTo>
                    <a:lnTo>
                      <a:pt x="250" y="105"/>
                    </a:lnTo>
                    <a:lnTo>
                      <a:pt x="250" y="105"/>
                    </a:lnTo>
                    <a:lnTo>
                      <a:pt x="240" y="114"/>
                    </a:lnTo>
                    <a:lnTo>
                      <a:pt x="236" y="119"/>
                    </a:lnTo>
                    <a:lnTo>
                      <a:pt x="233" y="123"/>
                    </a:lnTo>
                    <a:lnTo>
                      <a:pt x="233" y="123"/>
                    </a:lnTo>
                    <a:lnTo>
                      <a:pt x="234" y="123"/>
                    </a:lnTo>
                    <a:lnTo>
                      <a:pt x="234" y="123"/>
                    </a:lnTo>
                    <a:lnTo>
                      <a:pt x="237" y="125"/>
                    </a:lnTo>
                    <a:lnTo>
                      <a:pt x="240" y="126"/>
                    </a:lnTo>
                    <a:lnTo>
                      <a:pt x="240" y="126"/>
                    </a:lnTo>
                    <a:lnTo>
                      <a:pt x="241" y="129"/>
                    </a:lnTo>
                    <a:lnTo>
                      <a:pt x="242" y="131"/>
                    </a:lnTo>
                    <a:lnTo>
                      <a:pt x="241" y="135"/>
                    </a:lnTo>
                    <a:lnTo>
                      <a:pt x="241" y="135"/>
                    </a:lnTo>
                    <a:lnTo>
                      <a:pt x="241" y="137"/>
                    </a:lnTo>
                    <a:lnTo>
                      <a:pt x="240" y="143"/>
                    </a:lnTo>
                    <a:lnTo>
                      <a:pt x="240" y="143"/>
                    </a:lnTo>
                    <a:lnTo>
                      <a:pt x="236" y="146"/>
                    </a:lnTo>
                    <a:lnTo>
                      <a:pt x="236" y="146"/>
                    </a:lnTo>
                    <a:lnTo>
                      <a:pt x="234" y="146"/>
                    </a:lnTo>
                    <a:lnTo>
                      <a:pt x="234" y="146"/>
                    </a:lnTo>
                    <a:lnTo>
                      <a:pt x="234" y="145"/>
                    </a:lnTo>
                    <a:lnTo>
                      <a:pt x="229" y="148"/>
                    </a:lnTo>
                    <a:lnTo>
                      <a:pt x="229" y="148"/>
                    </a:lnTo>
                    <a:lnTo>
                      <a:pt x="229" y="148"/>
                    </a:lnTo>
                    <a:lnTo>
                      <a:pt x="225" y="150"/>
                    </a:lnTo>
                    <a:lnTo>
                      <a:pt x="220" y="152"/>
                    </a:lnTo>
                    <a:lnTo>
                      <a:pt x="218" y="152"/>
                    </a:lnTo>
                    <a:lnTo>
                      <a:pt x="218" y="152"/>
                    </a:lnTo>
                    <a:lnTo>
                      <a:pt x="218" y="152"/>
                    </a:lnTo>
                    <a:lnTo>
                      <a:pt x="218" y="152"/>
                    </a:lnTo>
                    <a:lnTo>
                      <a:pt x="220" y="151"/>
                    </a:lnTo>
                    <a:lnTo>
                      <a:pt x="214" y="155"/>
                    </a:lnTo>
                    <a:lnTo>
                      <a:pt x="213" y="155"/>
                    </a:lnTo>
                    <a:lnTo>
                      <a:pt x="213" y="155"/>
                    </a:lnTo>
                    <a:lnTo>
                      <a:pt x="210" y="155"/>
                    </a:lnTo>
                    <a:lnTo>
                      <a:pt x="208" y="158"/>
                    </a:lnTo>
                    <a:lnTo>
                      <a:pt x="205" y="164"/>
                    </a:lnTo>
                    <a:lnTo>
                      <a:pt x="205" y="164"/>
                    </a:lnTo>
                    <a:lnTo>
                      <a:pt x="204" y="167"/>
                    </a:lnTo>
                    <a:lnTo>
                      <a:pt x="203" y="170"/>
                    </a:lnTo>
                    <a:lnTo>
                      <a:pt x="203" y="170"/>
                    </a:lnTo>
                    <a:lnTo>
                      <a:pt x="200" y="171"/>
                    </a:lnTo>
                    <a:lnTo>
                      <a:pt x="199" y="172"/>
                    </a:lnTo>
                    <a:lnTo>
                      <a:pt x="195" y="172"/>
                    </a:lnTo>
                    <a:lnTo>
                      <a:pt x="195" y="172"/>
                    </a:lnTo>
                    <a:lnTo>
                      <a:pt x="192" y="172"/>
                    </a:lnTo>
                    <a:lnTo>
                      <a:pt x="192" y="172"/>
                    </a:lnTo>
                    <a:lnTo>
                      <a:pt x="192" y="172"/>
                    </a:lnTo>
                    <a:lnTo>
                      <a:pt x="192" y="172"/>
                    </a:lnTo>
                    <a:lnTo>
                      <a:pt x="192" y="175"/>
                    </a:lnTo>
                    <a:lnTo>
                      <a:pt x="192" y="175"/>
                    </a:lnTo>
                    <a:lnTo>
                      <a:pt x="192" y="175"/>
                    </a:lnTo>
                    <a:lnTo>
                      <a:pt x="196" y="178"/>
                    </a:lnTo>
                    <a:lnTo>
                      <a:pt x="199" y="182"/>
                    </a:lnTo>
                    <a:lnTo>
                      <a:pt x="201" y="184"/>
                    </a:lnTo>
                    <a:lnTo>
                      <a:pt x="203" y="189"/>
                    </a:lnTo>
                    <a:lnTo>
                      <a:pt x="203" y="189"/>
                    </a:lnTo>
                    <a:lnTo>
                      <a:pt x="203" y="191"/>
                    </a:lnTo>
                    <a:lnTo>
                      <a:pt x="201" y="195"/>
                    </a:lnTo>
                    <a:lnTo>
                      <a:pt x="200" y="197"/>
                    </a:lnTo>
                    <a:lnTo>
                      <a:pt x="196" y="201"/>
                    </a:lnTo>
                    <a:lnTo>
                      <a:pt x="192" y="201"/>
                    </a:lnTo>
                    <a:lnTo>
                      <a:pt x="191" y="201"/>
                    </a:lnTo>
                    <a:lnTo>
                      <a:pt x="191" y="201"/>
                    </a:lnTo>
                    <a:lnTo>
                      <a:pt x="189" y="201"/>
                    </a:lnTo>
                    <a:lnTo>
                      <a:pt x="189" y="201"/>
                    </a:lnTo>
                    <a:lnTo>
                      <a:pt x="187" y="201"/>
                    </a:lnTo>
                    <a:lnTo>
                      <a:pt x="187" y="201"/>
                    </a:lnTo>
                    <a:lnTo>
                      <a:pt x="185" y="201"/>
                    </a:lnTo>
                    <a:lnTo>
                      <a:pt x="185" y="201"/>
                    </a:lnTo>
                    <a:lnTo>
                      <a:pt x="187" y="201"/>
                    </a:lnTo>
                    <a:lnTo>
                      <a:pt x="188" y="200"/>
                    </a:lnTo>
                    <a:lnTo>
                      <a:pt x="188" y="200"/>
                    </a:lnTo>
                    <a:lnTo>
                      <a:pt x="189" y="196"/>
                    </a:lnTo>
                    <a:lnTo>
                      <a:pt x="184" y="203"/>
                    </a:lnTo>
                    <a:lnTo>
                      <a:pt x="184" y="203"/>
                    </a:lnTo>
                    <a:lnTo>
                      <a:pt x="184" y="203"/>
                    </a:lnTo>
                    <a:lnTo>
                      <a:pt x="184" y="203"/>
                    </a:lnTo>
                    <a:lnTo>
                      <a:pt x="184" y="203"/>
                    </a:lnTo>
                    <a:lnTo>
                      <a:pt x="184" y="204"/>
                    </a:lnTo>
                    <a:lnTo>
                      <a:pt x="184" y="204"/>
                    </a:lnTo>
                    <a:lnTo>
                      <a:pt x="180" y="207"/>
                    </a:lnTo>
                    <a:lnTo>
                      <a:pt x="179" y="208"/>
                    </a:lnTo>
                    <a:lnTo>
                      <a:pt x="176" y="208"/>
                    </a:lnTo>
                    <a:lnTo>
                      <a:pt x="176" y="208"/>
                    </a:lnTo>
                    <a:lnTo>
                      <a:pt x="171" y="207"/>
                    </a:lnTo>
                    <a:lnTo>
                      <a:pt x="171" y="207"/>
                    </a:lnTo>
                    <a:lnTo>
                      <a:pt x="168" y="205"/>
                    </a:lnTo>
                    <a:lnTo>
                      <a:pt x="168" y="205"/>
                    </a:lnTo>
                    <a:lnTo>
                      <a:pt x="168" y="209"/>
                    </a:lnTo>
                    <a:lnTo>
                      <a:pt x="168" y="212"/>
                    </a:lnTo>
                    <a:lnTo>
                      <a:pt x="166" y="215"/>
                    </a:lnTo>
                    <a:lnTo>
                      <a:pt x="163" y="217"/>
                    </a:lnTo>
                    <a:lnTo>
                      <a:pt x="163" y="217"/>
                    </a:lnTo>
                    <a:lnTo>
                      <a:pt x="164" y="216"/>
                    </a:lnTo>
                    <a:lnTo>
                      <a:pt x="164" y="216"/>
                    </a:lnTo>
                    <a:lnTo>
                      <a:pt x="163" y="217"/>
                    </a:lnTo>
                    <a:lnTo>
                      <a:pt x="160" y="219"/>
                    </a:lnTo>
                    <a:lnTo>
                      <a:pt x="160" y="219"/>
                    </a:lnTo>
                    <a:lnTo>
                      <a:pt x="156" y="220"/>
                    </a:lnTo>
                    <a:lnTo>
                      <a:pt x="156" y="220"/>
                    </a:lnTo>
                    <a:lnTo>
                      <a:pt x="160" y="223"/>
                    </a:lnTo>
                    <a:lnTo>
                      <a:pt x="163" y="226"/>
                    </a:lnTo>
                    <a:lnTo>
                      <a:pt x="163" y="228"/>
                    </a:lnTo>
                    <a:lnTo>
                      <a:pt x="163" y="228"/>
                    </a:lnTo>
                    <a:lnTo>
                      <a:pt x="168" y="226"/>
                    </a:lnTo>
                    <a:lnTo>
                      <a:pt x="168" y="225"/>
                    </a:lnTo>
                    <a:lnTo>
                      <a:pt x="176" y="230"/>
                    </a:lnTo>
                    <a:lnTo>
                      <a:pt x="176" y="230"/>
                    </a:lnTo>
                    <a:lnTo>
                      <a:pt x="176" y="228"/>
                    </a:lnTo>
                    <a:lnTo>
                      <a:pt x="176" y="228"/>
                    </a:lnTo>
                    <a:lnTo>
                      <a:pt x="177" y="230"/>
                    </a:lnTo>
                    <a:lnTo>
                      <a:pt x="177" y="234"/>
                    </a:lnTo>
                    <a:lnTo>
                      <a:pt x="172" y="238"/>
                    </a:lnTo>
                    <a:lnTo>
                      <a:pt x="173" y="238"/>
                    </a:lnTo>
                    <a:lnTo>
                      <a:pt x="173" y="238"/>
                    </a:lnTo>
                    <a:lnTo>
                      <a:pt x="173" y="238"/>
                    </a:lnTo>
                    <a:lnTo>
                      <a:pt x="173" y="238"/>
                    </a:lnTo>
                    <a:lnTo>
                      <a:pt x="173" y="238"/>
                    </a:lnTo>
                    <a:lnTo>
                      <a:pt x="173" y="240"/>
                    </a:lnTo>
                    <a:lnTo>
                      <a:pt x="173" y="240"/>
                    </a:lnTo>
                    <a:lnTo>
                      <a:pt x="173" y="240"/>
                    </a:lnTo>
                    <a:lnTo>
                      <a:pt x="173" y="240"/>
                    </a:lnTo>
                    <a:lnTo>
                      <a:pt x="175" y="240"/>
                    </a:lnTo>
                    <a:lnTo>
                      <a:pt x="175" y="240"/>
                    </a:lnTo>
                    <a:lnTo>
                      <a:pt x="175" y="241"/>
                    </a:lnTo>
                    <a:lnTo>
                      <a:pt x="175" y="241"/>
                    </a:lnTo>
                    <a:lnTo>
                      <a:pt x="173" y="240"/>
                    </a:lnTo>
                    <a:lnTo>
                      <a:pt x="175" y="241"/>
                    </a:lnTo>
                    <a:lnTo>
                      <a:pt x="175" y="241"/>
                    </a:lnTo>
                    <a:lnTo>
                      <a:pt x="179" y="244"/>
                    </a:lnTo>
                    <a:lnTo>
                      <a:pt x="179" y="238"/>
                    </a:lnTo>
                    <a:lnTo>
                      <a:pt x="181" y="233"/>
                    </a:lnTo>
                    <a:lnTo>
                      <a:pt x="181" y="233"/>
                    </a:lnTo>
                    <a:lnTo>
                      <a:pt x="184" y="230"/>
                    </a:lnTo>
                    <a:lnTo>
                      <a:pt x="187" y="229"/>
                    </a:lnTo>
                    <a:lnTo>
                      <a:pt x="187" y="229"/>
                    </a:lnTo>
                    <a:lnTo>
                      <a:pt x="185" y="229"/>
                    </a:lnTo>
                    <a:lnTo>
                      <a:pt x="185" y="229"/>
                    </a:lnTo>
                    <a:lnTo>
                      <a:pt x="188" y="226"/>
                    </a:lnTo>
                    <a:lnTo>
                      <a:pt x="191" y="225"/>
                    </a:lnTo>
                    <a:lnTo>
                      <a:pt x="193" y="225"/>
                    </a:lnTo>
                    <a:lnTo>
                      <a:pt x="193" y="225"/>
                    </a:lnTo>
                    <a:lnTo>
                      <a:pt x="195" y="225"/>
                    </a:lnTo>
                    <a:lnTo>
                      <a:pt x="195" y="225"/>
                    </a:lnTo>
                    <a:lnTo>
                      <a:pt x="200" y="234"/>
                    </a:lnTo>
                    <a:lnTo>
                      <a:pt x="200" y="234"/>
                    </a:lnTo>
                    <a:lnTo>
                      <a:pt x="199" y="238"/>
                    </a:lnTo>
                    <a:lnTo>
                      <a:pt x="205" y="238"/>
                    </a:lnTo>
                    <a:lnTo>
                      <a:pt x="205" y="238"/>
                    </a:lnTo>
                    <a:lnTo>
                      <a:pt x="205" y="238"/>
                    </a:lnTo>
                    <a:lnTo>
                      <a:pt x="205" y="238"/>
                    </a:lnTo>
                    <a:lnTo>
                      <a:pt x="210" y="238"/>
                    </a:lnTo>
                    <a:lnTo>
                      <a:pt x="210" y="238"/>
                    </a:lnTo>
                    <a:lnTo>
                      <a:pt x="212" y="237"/>
                    </a:lnTo>
                    <a:lnTo>
                      <a:pt x="214" y="237"/>
                    </a:lnTo>
                    <a:lnTo>
                      <a:pt x="214" y="237"/>
                    </a:lnTo>
                    <a:lnTo>
                      <a:pt x="218" y="238"/>
                    </a:lnTo>
                    <a:lnTo>
                      <a:pt x="221" y="240"/>
                    </a:lnTo>
                    <a:lnTo>
                      <a:pt x="222" y="244"/>
                    </a:lnTo>
                    <a:lnTo>
                      <a:pt x="222" y="244"/>
                    </a:lnTo>
                    <a:lnTo>
                      <a:pt x="222" y="245"/>
                    </a:lnTo>
                    <a:lnTo>
                      <a:pt x="222" y="245"/>
                    </a:lnTo>
                    <a:lnTo>
                      <a:pt x="221" y="244"/>
                    </a:lnTo>
                    <a:lnTo>
                      <a:pt x="218" y="242"/>
                    </a:lnTo>
                    <a:lnTo>
                      <a:pt x="224" y="248"/>
                    </a:lnTo>
                    <a:lnTo>
                      <a:pt x="224" y="249"/>
                    </a:lnTo>
                    <a:lnTo>
                      <a:pt x="224" y="249"/>
                    </a:lnTo>
                    <a:lnTo>
                      <a:pt x="222" y="253"/>
                    </a:lnTo>
                    <a:lnTo>
                      <a:pt x="221" y="257"/>
                    </a:lnTo>
                    <a:lnTo>
                      <a:pt x="221" y="257"/>
                    </a:lnTo>
                    <a:lnTo>
                      <a:pt x="220" y="257"/>
                    </a:lnTo>
                    <a:lnTo>
                      <a:pt x="221" y="258"/>
                    </a:lnTo>
                    <a:lnTo>
                      <a:pt x="221" y="258"/>
                    </a:lnTo>
                    <a:lnTo>
                      <a:pt x="221" y="258"/>
                    </a:lnTo>
                    <a:lnTo>
                      <a:pt x="221" y="258"/>
                    </a:lnTo>
                    <a:lnTo>
                      <a:pt x="220" y="258"/>
                    </a:lnTo>
                    <a:lnTo>
                      <a:pt x="220" y="258"/>
                    </a:lnTo>
                    <a:lnTo>
                      <a:pt x="220" y="258"/>
                    </a:lnTo>
                    <a:lnTo>
                      <a:pt x="222" y="260"/>
                    </a:lnTo>
                    <a:lnTo>
                      <a:pt x="222" y="260"/>
                    </a:lnTo>
                    <a:lnTo>
                      <a:pt x="228" y="257"/>
                    </a:lnTo>
                    <a:lnTo>
                      <a:pt x="228" y="257"/>
                    </a:lnTo>
                    <a:lnTo>
                      <a:pt x="230" y="256"/>
                    </a:lnTo>
                    <a:lnTo>
                      <a:pt x="237" y="260"/>
                    </a:lnTo>
                    <a:lnTo>
                      <a:pt x="237" y="260"/>
                    </a:lnTo>
                    <a:lnTo>
                      <a:pt x="237" y="260"/>
                    </a:lnTo>
                    <a:lnTo>
                      <a:pt x="240" y="262"/>
                    </a:lnTo>
                    <a:lnTo>
                      <a:pt x="240" y="265"/>
                    </a:lnTo>
                    <a:lnTo>
                      <a:pt x="238" y="267"/>
                    </a:lnTo>
                    <a:lnTo>
                      <a:pt x="233" y="273"/>
                    </a:lnTo>
                    <a:lnTo>
                      <a:pt x="233" y="273"/>
                    </a:lnTo>
                    <a:lnTo>
                      <a:pt x="236" y="273"/>
                    </a:lnTo>
                    <a:lnTo>
                      <a:pt x="236" y="271"/>
                    </a:lnTo>
                    <a:lnTo>
                      <a:pt x="236" y="271"/>
                    </a:lnTo>
                    <a:lnTo>
                      <a:pt x="234" y="274"/>
                    </a:lnTo>
                    <a:lnTo>
                      <a:pt x="232" y="275"/>
                    </a:lnTo>
                    <a:lnTo>
                      <a:pt x="229" y="275"/>
                    </a:lnTo>
                    <a:lnTo>
                      <a:pt x="229" y="275"/>
                    </a:lnTo>
                    <a:lnTo>
                      <a:pt x="228" y="275"/>
                    </a:lnTo>
                    <a:lnTo>
                      <a:pt x="228" y="275"/>
                    </a:lnTo>
                    <a:lnTo>
                      <a:pt x="225" y="278"/>
                    </a:lnTo>
                    <a:lnTo>
                      <a:pt x="225" y="281"/>
                    </a:lnTo>
                    <a:lnTo>
                      <a:pt x="225" y="281"/>
                    </a:lnTo>
                    <a:lnTo>
                      <a:pt x="224" y="287"/>
                    </a:lnTo>
                    <a:lnTo>
                      <a:pt x="224" y="287"/>
                    </a:lnTo>
                    <a:lnTo>
                      <a:pt x="229" y="290"/>
                    </a:lnTo>
                    <a:lnTo>
                      <a:pt x="230" y="293"/>
                    </a:lnTo>
                    <a:lnTo>
                      <a:pt x="230" y="293"/>
                    </a:lnTo>
                    <a:lnTo>
                      <a:pt x="232" y="294"/>
                    </a:lnTo>
                    <a:lnTo>
                      <a:pt x="232" y="294"/>
                    </a:lnTo>
                    <a:lnTo>
                      <a:pt x="230" y="293"/>
                    </a:lnTo>
                    <a:lnTo>
                      <a:pt x="230" y="294"/>
                    </a:lnTo>
                    <a:lnTo>
                      <a:pt x="230" y="294"/>
                    </a:lnTo>
                    <a:lnTo>
                      <a:pt x="230" y="294"/>
                    </a:lnTo>
                    <a:lnTo>
                      <a:pt x="233" y="294"/>
                    </a:lnTo>
                    <a:lnTo>
                      <a:pt x="236" y="295"/>
                    </a:lnTo>
                    <a:lnTo>
                      <a:pt x="236" y="295"/>
                    </a:lnTo>
                    <a:lnTo>
                      <a:pt x="236" y="295"/>
                    </a:lnTo>
                    <a:lnTo>
                      <a:pt x="233" y="295"/>
                    </a:lnTo>
                    <a:lnTo>
                      <a:pt x="240" y="301"/>
                    </a:lnTo>
                    <a:lnTo>
                      <a:pt x="240" y="302"/>
                    </a:lnTo>
                    <a:lnTo>
                      <a:pt x="240" y="302"/>
                    </a:lnTo>
                    <a:lnTo>
                      <a:pt x="240" y="304"/>
                    </a:lnTo>
                    <a:lnTo>
                      <a:pt x="240" y="304"/>
                    </a:lnTo>
                    <a:lnTo>
                      <a:pt x="240" y="304"/>
                    </a:lnTo>
                    <a:lnTo>
                      <a:pt x="240" y="304"/>
                    </a:lnTo>
                    <a:lnTo>
                      <a:pt x="238" y="303"/>
                    </a:lnTo>
                    <a:lnTo>
                      <a:pt x="236" y="302"/>
                    </a:lnTo>
                    <a:lnTo>
                      <a:pt x="241" y="307"/>
                    </a:lnTo>
                    <a:lnTo>
                      <a:pt x="241" y="308"/>
                    </a:lnTo>
                    <a:lnTo>
                      <a:pt x="241" y="308"/>
                    </a:lnTo>
                    <a:lnTo>
                      <a:pt x="240" y="310"/>
                    </a:lnTo>
                    <a:lnTo>
                      <a:pt x="240" y="310"/>
                    </a:lnTo>
                    <a:lnTo>
                      <a:pt x="240" y="311"/>
                    </a:lnTo>
                    <a:lnTo>
                      <a:pt x="240" y="311"/>
                    </a:lnTo>
                    <a:lnTo>
                      <a:pt x="240" y="310"/>
                    </a:lnTo>
                    <a:lnTo>
                      <a:pt x="237" y="307"/>
                    </a:lnTo>
                    <a:lnTo>
                      <a:pt x="241" y="314"/>
                    </a:lnTo>
                    <a:lnTo>
                      <a:pt x="241" y="315"/>
                    </a:lnTo>
                    <a:lnTo>
                      <a:pt x="241" y="315"/>
                    </a:lnTo>
                    <a:lnTo>
                      <a:pt x="242" y="316"/>
                    </a:lnTo>
                    <a:lnTo>
                      <a:pt x="242" y="316"/>
                    </a:lnTo>
                    <a:lnTo>
                      <a:pt x="241" y="316"/>
                    </a:lnTo>
                    <a:lnTo>
                      <a:pt x="244" y="322"/>
                    </a:lnTo>
                    <a:lnTo>
                      <a:pt x="244" y="322"/>
                    </a:lnTo>
                    <a:lnTo>
                      <a:pt x="244" y="324"/>
                    </a:lnTo>
                    <a:lnTo>
                      <a:pt x="242" y="327"/>
                    </a:lnTo>
                    <a:lnTo>
                      <a:pt x="240" y="328"/>
                    </a:lnTo>
                    <a:lnTo>
                      <a:pt x="236" y="328"/>
                    </a:lnTo>
                    <a:lnTo>
                      <a:pt x="236" y="328"/>
                    </a:lnTo>
                    <a:lnTo>
                      <a:pt x="233" y="328"/>
                    </a:lnTo>
                    <a:lnTo>
                      <a:pt x="233" y="328"/>
                    </a:lnTo>
                    <a:lnTo>
                      <a:pt x="232" y="328"/>
                    </a:lnTo>
                    <a:lnTo>
                      <a:pt x="232" y="328"/>
                    </a:lnTo>
                    <a:lnTo>
                      <a:pt x="234" y="327"/>
                    </a:lnTo>
                    <a:lnTo>
                      <a:pt x="236" y="324"/>
                    </a:lnTo>
                    <a:lnTo>
                      <a:pt x="229" y="330"/>
                    </a:lnTo>
                    <a:lnTo>
                      <a:pt x="229" y="330"/>
                    </a:lnTo>
                    <a:lnTo>
                      <a:pt x="228" y="330"/>
                    </a:lnTo>
                    <a:lnTo>
                      <a:pt x="228" y="330"/>
                    </a:lnTo>
                    <a:lnTo>
                      <a:pt x="225" y="330"/>
                    </a:lnTo>
                    <a:lnTo>
                      <a:pt x="222" y="328"/>
                    </a:lnTo>
                    <a:lnTo>
                      <a:pt x="222" y="328"/>
                    </a:lnTo>
                    <a:lnTo>
                      <a:pt x="222" y="328"/>
                    </a:lnTo>
                    <a:lnTo>
                      <a:pt x="218" y="331"/>
                    </a:lnTo>
                    <a:lnTo>
                      <a:pt x="218" y="332"/>
                    </a:lnTo>
                    <a:lnTo>
                      <a:pt x="218" y="332"/>
                    </a:lnTo>
                    <a:lnTo>
                      <a:pt x="216" y="336"/>
                    </a:lnTo>
                    <a:lnTo>
                      <a:pt x="212" y="338"/>
                    </a:lnTo>
                    <a:lnTo>
                      <a:pt x="212" y="338"/>
                    </a:lnTo>
                    <a:lnTo>
                      <a:pt x="212" y="339"/>
                    </a:lnTo>
                    <a:lnTo>
                      <a:pt x="212" y="339"/>
                    </a:lnTo>
                    <a:lnTo>
                      <a:pt x="212" y="338"/>
                    </a:lnTo>
                    <a:lnTo>
                      <a:pt x="210" y="339"/>
                    </a:lnTo>
                    <a:lnTo>
                      <a:pt x="210" y="339"/>
                    </a:lnTo>
                    <a:lnTo>
                      <a:pt x="206" y="340"/>
                    </a:lnTo>
                    <a:lnTo>
                      <a:pt x="206" y="340"/>
                    </a:lnTo>
                    <a:lnTo>
                      <a:pt x="206" y="340"/>
                    </a:lnTo>
                    <a:lnTo>
                      <a:pt x="206" y="340"/>
                    </a:lnTo>
                    <a:lnTo>
                      <a:pt x="206" y="341"/>
                    </a:lnTo>
                    <a:lnTo>
                      <a:pt x="206" y="341"/>
                    </a:lnTo>
                    <a:lnTo>
                      <a:pt x="208" y="344"/>
                    </a:lnTo>
                    <a:lnTo>
                      <a:pt x="210" y="347"/>
                    </a:lnTo>
                    <a:lnTo>
                      <a:pt x="218" y="351"/>
                    </a:lnTo>
                    <a:lnTo>
                      <a:pt x="218" y="351"/>
                    </a:lnTo>
                    <a:lnTo>
                      <a:pt x="226" y="356"/>
                    </a:lnTo>
                    <a:lnTo>
                      <a:pt x="230" y="360"/>
                    </a:lnTo>
                    <a:lnTo>
                      <a:pt x="234" y="364"/>
                    </a:lnTo>
                    <a:lnTo>
                      <a:pt x="236" y="367"/>
                    </a:lnTo>
                    <a:lnTo>
                      <a:pt x="236" y="368"/>
                    </a:lnTo>
                    <a:lnTo>
                      <a:pt x="229" y="373"/>
                    </a:lnTo>
                    <a:lnTo>
                      <a:pt x="229" y="375"/>
                    </a:lnTo>
                    <a:lnTo>
                      <a:pt x="229" y="375"/>
                    </a:lnTo>
                    <a:lnTo>
                      <a:pt x="233" y="373"/>
                    </a:lnTo>
                    <a:lnTo>
                      <a:pt x="233" y="373"/>
                    </a:lnTo>
                    <a:lnTo>
                      <a:pt x="233" y="371"/>
                    </a:lnTo>
                    <a:lnTo>
                      <a:pt x="234" y="369"/>
                    </a:lnTo>
                    <a:lnTo>
                      <a:pt x="234" y="369"/>
                    </a:lnTo>
                    <a:lnTo>
                      <a:pt x="234" y="371"/>
                    </a:lnTo>
                    <a:lnTo>
                      <a:pt x="234" y="371"/>
                    </a:lnTo>
                    <a:lnTo>
                      <a:pt x="234" y="375"/>
                    </a:lnTo>
                    <a:lnTo>
                      <a:pt x="233" y="376"/>
                    </a:lnTo>
                    <a:lnTo>
                      <a:pt x="233" y="379"/>
                    </a:lnTo>
                    <a:lnTo>
                      <a:pt x="233" y="379"/>
                    </a:lnTo>
                    <a:lnTo>
                      <a:pt x="230" y="380"/>
                    </a:lnTo>
                    <a:lnTo>
                      <a:pt x="226" y="381"/>
                    </a:lnTo>
                    <a:lnTo>
                      <a:pt x="226" y="381"/>
                    </a:lnTo>
                    <a:lnTo>
                      <a:pt x="218" y="381"/>
                    </a:lnTo>
                    <a:lnTo>
                      <a:pt x="218" y="381"/>
                    </a:lnTo>
                    <a:lnTo>
                      <a:pt x="217" y="381"/>
                    </a:lnTo>
                    <a:lnTo>
                      <a:pt x="217" y="381"/>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3" name="Freeform 34">
                <a:extLst>
                  <a:ext uri="{FF2B5EF4-FFF2-40B4-BE49-F238E27FC236}">
                    <a16:creationId xmlns:a16="http://schemas.microsoft.com/office/drawing/2014/main" xmlns="" id="{6041F466-96FC-4044-88F7-774FFBB3DDCF}"/>
                  </a:ext>
                </a:extLst>
              </p:cNvPr>
              <p:cNvSpPr>
                <a:spLocks/>
              </p:cNvSpPr>
              <p:nvPr/>
            </p:nvSpPr>
            <p:spPr bwMode="auto">
              <a:xfrm>
                <a:off x="6321780" y="3435548"/>
                <a:ext cx="618082" cy="600671"/>
              </a:xfrm>
              <a:custGeom>
                <a:avLst/>
                <a:gdLst>
                  <a:gd name="T0" fmla="*/ 128 w 355"/>
                  <a:gd name="T1" fmla="*/ 336 h 345"/>
                  <a:gd name="T2" fmla="*/ 124 w 355"/>
                  <a:gd name="T3" fmla="*/ 318 h 345"/>
                  <a:gd name="T4" fmla="*/ 119 w 355"/>
                  <a:gd name="T5" fmla="*/ 306 h 345"/>
                  <a:gd name="T6" fmla="*/ 104 w 355"/>
                  <a:gd name="T7" fmla="*/ 293 h 345"/>
                  <a:gd name="T8" fmla="*/ 106 w 355"/>
                  <a:gd name="T9" fmla="*/ 291 h 345"/>
                  <a:gd name="T10" fmla="*/ 91 w 355"/>
                  <a:gd name="T11" fmla="*/ 269 h 345"/>
                  <a:gd name="T12" fmla="*/ 63 w 355"/>
                  <a:gd name="T13" fmla="*/ 244 h 345"/>
                  <a:gd name="T14" fmla="*/ 32 w 355"/>
                  <a:gd name="T15" fmla="*/ 215 h 345"/>
                  <a:gd name="T16" fmla="*/ 28 w 355"/>
                  <a:gd name="T17" fmla="*/ 213 h 345"/>
                  <a:gd name="T18" fmla="*/ 14 w 355"/>
                  <a:gd name="T19" fmla="*/ 211 h 345"/>
                  <a:gd name="T20" fmla="*/ 12 w 355"/>
                  <a:gd name="T21" fmla="*/ 197 h 345"/>
                  <a:gd name="T22" fmla="*/ 12 w 355"/>
                  <a:gd name="T23" fmla="*/ 189 h 345"/>
                  <a:gd name="T24" fmla="*/ 5 w 355"/>
                  <a:gd name="T25" fmla="*/ 180 h 345"/>
                  <a:gd name="T26" fmla="*/ 1 w 355"/>
                  <a:gd name="T27" fmla="*/ 161 h 345"/>
                  <a:gd name="T28" fmla="*/ 13 w 355"/>
                  <a:gd name="T29" fmla="*/ 139 h 345"/>
                  <a:gd name="T30" fmla="*/ 22 w 355"/>
                  <a:gd name="T31" fmla="*/ 124 h 345"/>
                  <a:gd name="T32" fmla="*/ 38 w 355"/>
                  <a:gd name="T33" fmla="*/ 120 h 345"/>
                  <a:gd name="T34" fmla="*/ 51 w 355"/>
                  <a:gd name="T35" fmla="*/ 117 h 345"/>
                  <a:gd name="T36" fmla="*/ 71 w 355"/>
                  <a:gd name="T37" fmla="*/ 116 h 345"/>
                  <a:gd name="T38" fmla="*/ 79 w 355"/>
                  <a:gd name="T39" fmla="*/ 125 h 345"/>
                  <a:gd name="T40" fmla="*/ 78 w 355"/>
                  <a:gd name="T41" fmla="*/ 115 h 345"/>
                  <a:gd name="T42" fmla="*/ 94 w 355"/>
                  <a:gd name="T43" fmla="*/ 87 h 345"/>
                  <a:gd name="T44" fmla="*/ 104 w 355"/>
                  <a:gd name="T45" fmla="*/ 88 h 345"/>
                  <a:gd name="T46" fmla="*/ 124 w 355"/>
                  <a:gd name="T47" fmla="*/ 72 h 345"/>
                  <a:gd name="T48" fmla="*/ 133 w 355"/>
                  <a:gd name="T49" fmla="*/ 70 h 345"/>
                  <a:gd name="T50" fmla="*/ 153 w 355"/>
                  <a:gd name="T51" fmla="*/ 45 h 345"/>
                  <a:gd name="T52" fmla="*/ 168 w 355"/>
                  <a:gd name="T53" fmla="*/ 43 h 345"/>
                  <a:gd name="T54" fmla="*/ 177 w 355"/>
                  <a:gd name="T55" fmla="*/ 39 h 345"/>
                  <a:gd name="T56" fmla="*/ 185 w 355"/>
                  <a:gd name="T57" fmla="*/ 24 h 345"/>
                  <a:gd name="T58" fmla="*/ 205 w 355"/>
                  <a:gd name="T59" fmla="*/ 8 h 345"/>
                  <a:gd name="T60" fmla="*/ 219 w 355"/>
                  <a:gd name="T61" fmla="*/ 16 h 345"/>
                  <a:gd name="T62" fmla="*/ 226 w 355"/>
                  <a:gd name="T63" fmla="*/ 2 h 345"/>
                  <a:gd name="T64" fmla="*/ 229 w 355"/>
                  <a:gd name="T65" fmla="*/ 8 h 345"/>
                  <a:gd name="T66" fmla="*/ 248 w 355"/>
                  <a:gd name="T67" fmla="*/ 8 h 345"/>
                  <a:gd name="T68" fmla="*/ 264 w 355"/>
                  <a:gd name="T69" fmla="*/ 16 h 345"/>
                  <a:gd name="T70" fmla="*/ 275 w 355"/>
                  <a:gd name="T71" fmla="*/ 37 h 345"/>
                  <a:gd name="T72" fmla="*/ 274 w 355"/>
                  <a:gd name="T73" fmla="*/ 45 h 345"/>
                  <a:gd name="T74" fmla="*/ 288 w 355"/>
                  <a:gd name="T75" fmla="*/ 57 h 345"/>
                  <a:gd name="T76" fmla="*/ 289 w 355"/>
                  <a:gd name="T77" fmla="*/ 70 h 345"/>
                  <a:gd name="T78" fmla="*/ 300 w 355"/>
                  <a:gd name="T79" fmla="*/ 78 h 345"/>
                  <a:gd name="T80" fmla="*/ 300 w 355"/>
                  <a:gd name="T81" fmla="*/ 78 h 345"/>
                  <a:gd name="T82" fmla="*/ 315 w 355"/>
                  <a:gd name="T83" fmla="*/ 78 h 345"/>
                  <a:gd name="T84" fmla="*/ 316 w 355"/>
                  <a:gd name="T85" fmla="*/ 95 h 345"/>
                  <a:gd name="T86" fmla="*/ 324 w 355"/>
                  <a:gd name="T87" fmla="*/ 91 h 345"/>
                  <a:gd name="T88" fmla="*/ 341 w 355"/>
                  <a:gd name="T89" fmla="*/ 102 h 345"/>
                  <a:gd name="T90" fmla="*/ 353 w 355"/>
                  <a:gd name="T91" fmla="*/ 120 h 345"/>
                  <a:gd name="T92" fmla="*/ 337 w 355"/>
                  <a:gd name="T93" fmla="*/ 125 h 345"/>
                  <a:gd name="T94" fmla="*/ 333 w 355"/>
                  <a:gd name="T95" fmla="*/ 132 h 345"/>
                  <a:gd name="T96" fmla="*/ 337 w 355"/>
                  <a:gd name="T97" fmla="*/ 165 h 345"/>
                  <a:gd name="T98" fmla="*/ 337 w 355"/>
                  <a:gd name="T99" fmla="*/ 177 h 345"/>
                  <a:gd name="T100" fmla="*/ 337 w 355"/>
                  <a:gd name="T101" fmla="*/ 211 h 345"/>
                  <a:gd name="T102" fmla="*/ 336 w 355"/>
                  <a:gd name="T103" fmla="*/ 231 h 345"/>
                  <a:gd name="T104" fmla="*/ 324 w 355"/>
                  <a:gd name="T105" fmla="*/ 250 h 345"/>
                  <a:gd name="T106" fmla="*/ 297 w 355"/>
                  <a:gd name="T107" fmla="*/ 252 h 345"/>
                  <a:gd name="T108" fmla="*/ 284 w 355"/>
                  <a:gd name="T109" fmla="*/ 260 h 345"/>
                  <a:gd name="T110" fmla="*/ 258 w 355"/>
                  <a:gd name="T111" fmla="*/ 283 h 345"/>
                  <a:gd name="T112" fmla="*/ 235 w 355"/>
                  <a:gd name="T113" fmla="*/ 305 h 345"/>
                  <a:gd name="T114" fmla="*/ 219 w 355"/>
                  <a:gd name="T115" fmla="*/ 313 h 345"/>
                  <a:gd name="T116" fmla="*/ 206 w 355"/>
                  <a:gd name="T117" fmla="*/ 317 h 345"/>
                  <a:gd name="T118" fmla="*/ 198 w 355"/>
                  <a:gd name="T119" fmla="*/ 332 h 345"/>
                  <a:gd name="T120" fmla="*/ 190 w 355"/>
                  <a:gd name="T121" fmla="*/ 333 h 345"/>
                  <a:gd name="T122" fmla="*/ 170 w 355"/>
                  <a:gd name="T123" fmla="*/ 321 h 345"/>
                  <a:gd name="T124" fmla="*/ 158 w 355"/>
                  <a:gd name="T125" fmla="*/ 34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5" h="345">
                    <a:moveTo>
                      <a:pt x="152" y="345"/>
                    </a:moveTo>
                    <a:lnTo>
                      <a:pt x="147" y="341"/>
                    </a:lnTo>
                    <a:lnTo>
                      <a:pt x="147" y="341"/>
                    </a:lnTo>
                    <a:lnTo>
                      <a:pt x="143" y="343"/>
                    </a:lnTo>
                    <a:lnTo>
                      <a:pt x="136" y="345"/>
                    </a:lnTo>
                    <a:lnTo>
                      <a:pt x="136" y="345"/>
                    </a:lnTo>
                    <a:lnTo>
                      <a:pt x="133" y="343"/>
                    </a:lnTo>
                    <a:lnTo>
                      <a:pt x="128" y="338"/>
                    </a:lnTo>
                    <a:lnTo>
                      <a:pt x="128" y="337"/>
                    </a:lnTo>
                    <a:lnTo>
                      <a:pt x="128" y="336"/>
                    </a:lnTo>
                    <a:lnTo>
                      <a:pt x="128" y="336"/>
                    </a:lnTo>
                    <a:lnTo>
                      <a:pt x="128" y="336"/>
                    </a:lnTo>
                    <a:lnTo>
                      <a:pt x="128" y="336"/>
                    </a:lnTo>
                    <a:lnTo>
                      <a:pt x="129" y="337"/>
                    </a:lnTo>
                    <a:lnTo>
                      <a:pt x="131" y="338"/>
                    </a:lnTo>
                    <a:lnTo>
                      <a:pt x="125" y="332"/>
                    </a:lnTo>
                    <a:lnTo>
                      <a:pt x="125" y="328"/>
                    </a:lnTo>
                    <a:lnTo>
                      <a:pt x="125" y="328"/>
                    </a:lnTo>
                    <a:lnTo>
                      <a:pt x="125" y="321"/>
                    </a:lnTo>
                    <a:lnTo>
                      <a:pt x="124" y="320"/>
                    </a:lnTo>
                    <a:lnTo>
                      <a:pt x="124" y="318"/>
                    </a:lnTo>
                    <a:lnTo>
                      <a:pt x="124" y="318"/>
                    </a:lnTo>
                    <a:lnTo>
                      <a:pt x="125" y="318"/>
                    </a:lnTo>
                    <a:lnTo>
                      <a:pt x="123" y="316"/>
                    </a:lnTo>
                    <a:lnTo>
                      <a:pt x="123" y="314"/>
                    </a:lnTo>
                    <a:lnTo>
                      <a:pt x="123" y="314"/>
                    </a:lnTo>
                    <a:lnTo>
                      <a:pt x="121" y="314"/>
                    </a:lnTo>
                    <a:lnTo>
                      <a:pt x="121" y="314"/>
                    </a:lnTo>
                    <a:lnTo>
                      <a:pt x="121" y="316"/>
                    </a:lnTo>
                    <a:lnTo>
                      <a:pt x="121" y="316"/>
                    </a:lnTo>
                    <a:lnTo>
                      <a:pt x="121" y="316"/>
                    </a:lnTo>
                    <a:lnTo>
                      <a:pt x="120" y="312"/>
                    </a:lnTo>
                    <a:lnTo>
                      <a:pt x="119" y="306"/>
                    </a:lnTo>
                    <a:lnTo>
                      <a:pt x="119" y="306"/>
                    </a:lnTo>
                    <a:lnTo>
                      <a:pt x="118" y="305"/>
                    </a:lnTo>
                    <a:lnTo>
                      <a:pt x="115" y="305"/>
                    </a:lnTo>
                    <a:lnTo>
                      <a:pt x="111" y="305"/>
                    </a:lnTo>
                    <a:lnTo>
                      <a:pt x="106" y="297"/>
                    </a:lnTo>
                    <a:lnTo>
                      <a:pt x="106" y="297"/>
                    </a:lnTo>
                    <a:lnTo>
                      <a:pt x="106" y="300"/>
                    </a:lnTo>
                    <a:lnTo>
                      <a:pt x="106" y="300"/>
                    </a:lnTo>
                    <a:lnTo>
                      <a:pt x="104" y="299"/>
                    </a:lnTo>
                    <a:lnTo>
                      <a:pt x="104" y="296"/>
                    </a:lnTo>
                    <a:lnTo>
                      <a:pt x="104" y="293"/>
                    </a:lnTo>
                    <a:lnTo>
                      <a:pt x="111" y="288"/>
                    </a:lnTo>
                    <a:lnTo>
                      <a:pt x="111" y="288"/>
                    </a:lnTo>
                    <a:lnTo>
                      <a:pt x="111" y="288"/>
                    </a:lnTo>
                    <a:lnTo>
                      <a:pt x="111" y="288"/>
                    </a:lnTo>
                    <a:lnTo>
                      <a:pt x="108" y="288"/>
                    </a:lnTo>
                    <a:lnTo>
                      <a:pt x="107" y="289"/>
                    </a:lnTo>
                    <a:lnTo>
                      <a:pt x="107" y="289"/>
                    </a:lnTo>
                    <a:lnTo>
                      <a:pt x="106" y="292"/>
                    </a:lnTo>
                    <a:lnTo>
                      <a:pt x="106" y="292"/>
                    </a:lnTo>
                    <a:lnTo>
                      <a:pt x="106" y="291"/>
                    </a:lnTo>
                    <a:lnTo>
                      <a:pt x="106" y="291"/>
                    </a:lnTo>
                    <a:lnTo>
                      <a:pt x="106" y="288"/>
                    </a:lnTo>
                    <a:lnTo>
                      <a:pt x="106" y="285"/>
                    </a:lnTo>
                    <a:lnTo>
                      <a:pt x="106" y="285"/>
                    </a:lnTo>
                    <a:lnTo>
                      <a:pt x="107" y="283"/>
                    </a:lnTo>
                    <a:lnTo>
                      <a:pt x="106" y="280"/>
                    </a:lnTo>
                    <a:lnTo>
                      <a:pt x="104" y="279"/>
                    </a:lnTo>
                    <a:lnTo>
                      <a:pt x="104" y="279"/>
                    </a:lnTo>
                    <a:lnTo>
                      <a:pt x="98" y="272"/>
                    </a:lnTo>
                    <a:lnTo>
                      <a:pt x="98" y="269"/>
                    </a:lnTo>
                    <a:lnTo>
                      <a:pt x="92" y="269"/>
                    </a:lnTo>
                    <a:lnTo>
                      <a:pt x="91" y="269"/>
                    </a:lnTo>
                    <a:lnTo>
                      <a:pt x="91" y="269"/>
                    </a:lnTo>
                    <a:lnTo>
                      <a:pt x="90" y="271"/>
                    </a:lnTo>
                    <a:lnTo>
                      <a:pt x="87" y="271"/>
                    </a:lnTo>
                    <a:lnTo>
                      <a:pt x="87" y="271"/>
                    </a:lnTo>
                    <a:lnTo>
                      <a:pt x="84" y="271"/>
                    </a:lnTo>
                    <a:lnTo>
                      <a:pt x="80" y="265"/>
                    </a:lnTo>
                    <a:lnTo>
                      <a:pt x="80" y="265"/>
                    </a:lnTo>
                    <a:lnTo>
                      <a:pt x="78" y="259"/>
                    </a:lnTo>
                    <a:lnTo>
                      <a:pt x="74" y="254"/>
                    </a:lnTo>
                    <a:lnTo>
                      <a:pt x="69" y="250"/>
                    </a:lnTo>
                    <a:lnTo>
                      <a:pt x="63" y="244"/>
                    </a:lnTo>
                    <a:lnTo>
                      <a:pt x="63" y="244"/>
                    </a:lnTo>
                    <a:lnTo>
                      <a:pt x="55" y="239"/>
                    </a:lnTo>
                    <a:lnTo>
                      <a:pt x="54" y="236"/>
                    </a:lnTo>
                    <a:lnTo>
                      <a:pt x="54" y="236"/>
                    </a:lnTo>
                    <a:lnTo>
                      <a:pt x="47" y="230"/>
                    </a:lnTo>
                    <a:lnTo>
                      <a:pt x="41" y="223"/>
                    </a:lnTo>
                    <a:lnTo>
                      <a:pt x="40" y="223"/>
                    </a:lnTo>
                    <a:lnTo>
                      <a:pt x="40" y="223"/>
                    </a:lnTo>
                    <a:lnTo>
                      <a:pt x="37" y="222"/>
                    </a:lnTo>
                    <a:lnTo>
                      <a:pt x="34" y="219"/>
                    </a:lnTo>
                    <a:lnTo>
                      <a:pt x="32" y="215"/>
                    </a:lnTo>
                    <a:lnTo>
                      <a:pt x="32" y="215"/>
                    </a:lnTo>
                    <a:lnTo>
                      <a:pt x="32" y="214"/>
                    </a:lnTo>
                    <a:lnTo>
                      <a:pt x="32" y="214"/>
                    </a:lnTo>
                    <a:lnTo>
                      <a:pt x="30" y="214"/>
                    </a:lnTo>
                    <a:lnTo>
                      <a:pt x="30" y="214"/>
                    </a:lnTo>
                    <a:lnTo>
                      <a:pt x="30" y="213"/>
                    </a:lnTo>
                    <a:lnTo>
                      <a:pt x="30" y="213"/>
                    </a:lnTo>
                    <a:lnTo>
                      <a:pt x="30" y="211"/>
                    </a:lnTo>
                    <a:lnTo>
                      <a:pt x="29" y="213"/>
                    </a:lnTo>
                    <a:lnTo>
                      <a:pt x="28" y="213"/>
                    </a:lnTo>
                    <a:lnTo>
                      <a:pt x="28" y="213"/>
                    </a:lnTo>
                    <a:lnTo>
                      <a:pt x="29" y="213"/>
                    </a:lnTo>
                    <a:lnTo>
                      <a:pt x="24" y="218"/>
                    </a:lnTo>
                    <a:lnTo>
                      <a:pt x="24" y="218"/>
                    </a:lnTo>
                    <a:lnTo>
                      <a:pt x="20" y="217"/>
                    </a:lnTo>
                    <a:lnTo>
                      <a:pt x="17" y="214"/>
                    </a:lnTo>
                    <a:lnTo>
                      <a:pt x="17" y="214"/>
                    </a:lnTo>
                    <a:lnTo>
                      <a:pt x="17" y="214"/>
                    </a:lnTo>
                    <a:lnTo>
                      <a:pt x="17" y="214"/>
                    </a:lnTo>
                    <a:lnTo>
                      <a:pt x="20" y="215"/>
                    </a:lnTo>
                    <a:lnTo>
                      <a:pt x="16" y="210"/>
                    </a:lnTo>
                    <a:lnTo>
                      <a:pt x="14" y="211"/>
                    </a:lnTo>
                    <a:lnTo>
                      <a:pt x="14" y="211"/>
                    </a:lnTo>
                    <a:lnTo>
                      <a:pt x="13" y="207"/>
                    </a:lnTo>
                    <a:lnTo>
                      <a:pt x="13" y="203"/>
                    </a:lnTo>
                    <a:lnTo>
                      <a:pt x="13" y="203"/>
                    </a:lnTo>
                    <a:lnTo>
                      <a:pt x="13" y="202"/>
                    </a:lnTo>
                    <a:lnTo>
                      <a:pt x="13" y="202"/>
                    </a:lnTo>
                    <a:lnTo>
                      <a:pt x="14" y="203"/>
                    </a:lnTo>
                    <a:lnTo>
                      <a:pt x="12" y="198"/>
                    </a:lnTo>
                    <a:lnTo>
                      <a:pt x="12" y="198"/>
                    </a:lnTo>
                    <a:lnTo>
                      <a:pt x="12" y="197"/>
                    </a:lnTo>
                    <a:lnTo>
                      <a:pt x="12" y="197"/>
                    </a:lnTo>
                    <a:lnTo>
                      <a:pt x="13" y="199"/>
                    </a:lnTo>
                    <a:lnTo>
                      <a:pt x="16" y="201"/>
                    </a:lnTo>
                    <a:lnTo>
                      <a:pt x="10" y="194"/>
                    </a:lnTo>
                    <a:lnTo>
                      <a:pt x="10" y="194"/>
                    </a:lnTo>
                    <a:lnTo>
                      <a:pt x="10" y="194"/>
                    </a:lnTo>
                    <a:lnTo>
                      <a:pt x="10" y="190"/>
                    </a:lnTo>
                    <a:lnTo>
                      <a:pt x="12" y="187"/>
                    </a:lnTo>
                    <a:lnTo>
                      <a:pt x="12" y="187"/>
                    </a:lnTo>
                    <a:lnTo>
                      <a:pt x="12" y="187"/>
                    </a:lnTo>
                    <a:lnTo>
                      <a:pt x="12" y="187"/>
                    </a:lnTo>
                    <a:lnTo>
                      <a:pt x="12" y="189"/>
                    </a:lnTo>
                    <a:lnTo>
                      <a:pt x="13" y="185"/>
                    </a:lnTo>
                    <a:lnTo>
                      <a:pt x="13" y="185"/>
                    </a:lnTo>
                    <a:lnTo>
                      <a:pt x="12" y="186"/>
                    </a:lnTo>
                    <a:lnTo>
                      <a:pt x="12" y="186"/>
                    </a:lnTo>
                    <a:lnTo>
                      <a:pt x="12" y="184"/>
                    </a:lnTo>
                    <a:lnTo>
                      <a:pt x="12" y="184"/>
                    </a:lnTo>
                    <a:lnTo>
                      <a:pt x="12" y="184"/>
                    </a:lnTo>
                    <a:lnTo>
                      <a:pt x="6" y="180"/>
                    </a:lnTo>
                    <a:lnTo>
                      <a:pt x="6" y="180"/>
                    </a:lnTo>
                    <a:lnTo>
                      <a:pt x="5" y="180"/>
                    </a:lnTo>
                    <a:lnTo>
                      <a:pt x="5" y="180"/>
                    </a:lnTo>
                    <a:lnTo>
                      <a:pt x="1" y="176"/>
                    </a:lnTo>
                    <a:lnTo>
                      <a:pt x="0" y="172"/>
                    </a:lnTo>
                    <a:lnTo>
                      <a:pt x="0" y="166"/>
                    </a:lnTo>
                    <a:lnTo>
                      <a:pt x="4" y="162"/>
                    </a:lnTo>
                    <a:lnTo>
                      <a:pt x="2" y="162"/>
                    </a:lnTo>
                    <a:lnTo>
                      <a:pt x="2" y="162"/>
                    </a:lnTo>
                    <a:lnTo>
                      <a:pt x="1" y="165"/>
                    </a:lnTo>
                    <a:lnTo>
                      <a:pt x="1" y="165"/>
                    </a:lnTo>
                    <a:lnTo>
                      <a:pt x="1" y="164"/>
                    </a:lnTo>
                    <a:lnTo>
                      <a:pt x="1" y="164"/>
                    </a:lnTo>
                    <a:lnTo>
                      <a:pt x="1" y="161"/>
                    </a:lnTo>
                    <a:lnTo>
                      <a:pt x="1" y="160"/>
                    </a:lnTo>
                    <a:lnTo>
                      <a:pt x="2" y="156"/>
                    </a:lnTo>
                    <a:lnTo>
                      <a:pt x="2" y="156"/>
                    </a:lnTo>
                    <a:lnTo>
                      <a:pt x="5" y="152"/>
                    </a:lnTo>
                    <a:lnTo>
                      <a:pt x="8" y="149"/>
                    </a:lnTo>
                    <a:lnTo>
                      <a:pt x="8" y="149"/>
                    </a:lnTo>
                    <a:lnTo>
                      <a:pt x="12" y="146"/>
                    </a:lnTo>
                    <a:lnTo>
                      <a:pt x="13" y="144"/>
                    </a:lnTo>
                    <a:lnTo>
                      <a:pt x="13" y="141"/>
                    </a:lnTo>
                    <a:lnTo>
                      <a:pt x="13" y="139"/>
                    </a:lnTo>
                    <a:lnTo>
                      <a:pt x="13" y="139"/>
                    </a:lnTo>
                    <a:lnTo>
                      <a:pt x="17" y="135"/>
                    </a:lnTo>
                    <a:lnTo>
                      <a:pt x="17" y="135"/>
                    </a:lnTo>
                    <a:lnTo>
                      <a:pt x="17" y="133"/>
                    </a:lnTo>
                    <a:lnTo>
                      <a:pt x="17" y="133"/>
                    </a:lnTo>
                    <a:lnTo>
                      <a:pt x="17" y="131"/>
                    </a:lnTo>
                    <a:lnTo>
                      <a:pt x="18" y="128"/>
                    </a:lnTo>
                    <a:lnTo>
                      <a:pt x="20" y="125"/>
                    </a:lnTo>
                    <a:lnTo>
                      <a:pt x="22" y="124"/>
                    </a:lnTo>
                    <a:lnTo>
                      <a:pt x="22" y="124"/>
                    </a:lnTo>
                    <a:lnTo>
                      <a:pt x="22" y="124"/>
                    </a:lnTo>
                    <a:lnTo>
                      <a:pt x="22" y="124"/>
                    </a:lnTo>
                    <a:lnTo>
                      <a:pt x="22" y="125"/>
                    </a:lnTo>
                    <a:lnTo>
                      <a:pt x="29" y="121"/>
                    </a:lnTo>
                    <a:lnTo>
                      <a:pt x="29" y="121"/>
                    </a:lnTo>
                    <a:lnTo>
                      <a:pt x="29" y="121"/>
                    </a:lnTo>
                    <a:lnTo>
                      <a:pt x="29" y="121"/>
                    </a:lnTo>
                    <a:lnTo>
                      <a:pt x="30" y="121"/>
                    </a:lnTo>
                    <a:lnTo>
                      <a:pt x="30" y="121"/>
                    </a:lnTo>
                    <a:lnTo>
                      <a:pt x="33" y="120"/>
                    </a:lnTo>
                    <a:lnTo>
                      <a:pt x="36" y="120"/>
                    </a:lnTo>
                    <a:lnTo>
                      <a:pt x="36" y="120"/>
                    </a:lnTo>
                    <a:lnTo>
                      <a:pt x="38" y="120"/>
                    </a:lnTo>
                    <a:lnTo>
                      <a:pt x="38" y="120"/>
                    </a:lnTo>
                    <a:lnTo>
                      <a:pt x="40" y="120"/>
                    </a:lnTo>
                    <a:lnTo>
                      <a:pt x="40" y="120"/>
                    </a:lnTo>
                    <a:lnTo>
                      <a:pt x="40" y="120"/>
                    </a:lnTo>
                    <a:lnTo>
                      <a:pt x="43" y="119"/>
                    </a:lnTo>
                    <a:lnTo>
                      <a:pt x="47" y="117"/>
                    </a:lnTo>
                    <a:lnTo>
                      <a:pt x="47" y="117"/>
                    </a:lnTo>
                    <a:lnTo>
                      <a:pt x="49" y="117"/>
                    </a:lnTo>
                    <a:lnTo>
                      <a:pt x="49" y="117"/>
                    </a:lnTo>
                    <a:lnTo>
                      <a:pt x="51" y="117"/>
                    </a:lnTo>
                    <a:lnTo>
                      <a:pt x="51" y="117"/>
                    </a:lnTo>
                    <a:lnTo>
                      <a:pt x="57" y="119"/>
                    </a:lnTo>
                    <a:lnTo>
                      <a:pt x="59" y="121"/>
                    </a:lnTo>
                    <a:lnTo>
                      <a:pt x="59" y="121"/>
                    </a:lnTo>
                    <a:lnTo>
                      <a:pt x="61" y="121"/>
                    </a:lnTo>
                    <a:lnTo>
                      <a:pt x="61" y="121"/>
                    </a:lnTo>
                    <a:lnTo>
                      <a:pt x="62" y="123"/>
                    </a:lnTo>
                    <a:lnTo>
                      <a:pt x="62" y="123"/>
                    </a:lnTo>
                    <a:lnTo>
                      <a:pt x="63" y="121"/>
                    </a:lnTo>
                    <a:lnTo>
                      <a:pt x="63" y="121"/>
                    </a:lnTo>
                    <a:lnTo>
                      <a:pt x="66" y="119"/>
                    </a:lnTo>
                    <a:lnTo>
                      <a:pt x="71" y="116"/>
                    </a:lnTo>
                    <a:lnTo>
                      <a:pt x="73" y="116"/>
                    </a:lnTo>
                    <a:lnTo>
                      <a:pt x="73" y="116"/>
                    </a:lnTo>
                    <a:lnTo>
                      <a:pt x="75" y="119"/>
                    </a:lnTo>
                    <a:lnTo>
                      <a:pt x="75" y="119"/>
                    </a:lnTo>
                    <a:lnTo>
                      <a:pt x="73" y="120"/>
                    </a:lnTo>
                    <a:lnTo>
                      <a:pt x="73" y="120"/>
                    </a:lnTo>
                    <a:lnTo>
                      <a:pt x="73" y="123"/>
                    </a:lnTo>
                    <a:lnTo>
                      <a:pt x="73" y="125"/>
                    </a:lnTo>
                    <a:lnTo>
                      <a:pt x="75" y="119"/>
                    </a:lnTo>
                    <a:lnTo>
                      <a:pt x="79" y="125"/>
                    </a:lnTo>
                    <a:lnTo>
                      <a:pt x="79" y="125"/>
                    </a:lnTo>
                    <a:lnTo>
                      <a:pt x="79" y="123"/>
                    </a:lnTo>
                    <a:lnTo>
                      <a:pt x="78" y="120"/>
                    </a:lnTo>
                    <a:lnTo>
                      <a:pt x="78" y="120"/>
                    </a:lnTo>
                    <a:lnTo>
                      <a:pt x="77" y="119"/>
                    </a:lnTo>
                    <a:lnTo>
                      <a:pt x="75" y="117"/>
                    </a:lnTo>
                    <a:lnTo>
                      <a:pt x="75" y="117"/>
                    </a:lnTo>
                    <a:lnTo>
                      <a:pt x="75" y="117"/>
                    </a:lnTo>
                    <a:lnTo>
                      <a:pt x="77" y="117"/>
                    </a:lnTo>
                    <a:lnTo>
                      <a:pt x="77" y="117"/>
                    </a:lnTo>
                    <a:lnTo>
                      <a:pt x="78" y="115"/>
                    </a:lnTo>
                    <a:lnTo>
                      <a:pt x="78" y="115"/>
                    </a:lnTo>
                    <a:lnTo>
                      <a:pt x="79" y="112"/>
                    </a:lnTo>
                    <a:lnTo>
                      <a:pt x="79" y="112"/>
                    </a:lnTo>
                    <a:lnTo>
                      <a:pt x="77" y="109"/>
                    </a:lnTo>
                    <a:lnTo>
                      <a:pt x="77" y="104"/>
                    </a:lnTo>
                    <a:lnTo>
                      <a:pt x="79" y="99"/>
                    </a:lnTo>
                    <a:lnTo>
                      <a:pt x="79" y="99"/>
                    </a:lnTo>
                    <a:lnTo>
                      <a:pt x="82" y="98"/>
                    </a:lnTo>
                    <a:lnTo>
                      <a:pt x="84" y="94"/>
                    </a:lnTo>
                    <a:lnTo>
                      <a:pt x="84" y="94"/>
                    </a:lnTo>
                    <a:lnTo>
                      <a:pt x="90" y="88"/>
                    </a:lnTo>
                    <a:lnTo>
                      <a:pt x="94" y="87"/>
                    </a:lnTo>
                    <a:lnTo>
                      <a:pt x="100" y="87"/>
                    </a:lnTo>
                    <a:lnTo>
                      <a:pt x="102" y="88"/>
                    </a:lnTo>
                    <a:lnTo>
                      <a:pt x="102" y="88"/>
                    </a:lnTo>
                    <a:lnTo>
                      <a:pt x="103" y="88"/>
                    </a:lnTo>
                    <a:lnTo>
                      <a:pt x="103" y="88"/>
                    </a:lnTo>
                    <a:lnTo>
                      <a:pt x="102" y="88"/>
                    </a:lnTo>
                    <a:lnTo>
                      <a:pt x="102" y="88"/>
                    </a:lnTo>
                    <a:lnTo>
                      <a:pt x="103" y="88"/>
                    </a:lnTo>
                    <a:lnTo>
                      <a:pt x="103" y="88"/>
                    </a:lnTo>
                    <a:lnTo>
                      <a:pt x="104" y="88"/>
                    </a:lnTo>
                    <a:lnTo>
                      <a:pt x="104" y="88"/>
                    </a:lnTo>
                    <a:lnTo>
                      <a:pt x="107" y="87"/>
                    </a:lnTo>
                    <a:lnTo>
                      <a:pt x="107" y="87"/>
                    </a:lnTo>
                    <a:lnTo>
                      <a:pt x="111" y="82"/>
                    </a:lnTo>
                    <a:lnTo>
                      <a:pt x="111" y="82"/>
                    </a:lnTo>
                    <a:lnTo>
                      <a:pt x="111" y="80"/>
                    </a:lnTo>
                    <a:lnTo>
                      <a:pt x="115" y="78"/>
                    </a:lnTo>
                    <a:lnTo>
                      <a:pt x="115" y="78"/>
                    </a:lnTo>
                    <a:lnTo>
                      <a:pt x="115" y="78"/>
                    </a:lnTo>
                    <a:lnTo>
                      <a:pt x="119" y="74"/>
                    </a:lnTo>
                    <a:lnTo>
                      <a:pt x="120" y="74"/>
                    </a:lnTo>
                    <a:lnTo>
                      <a:pt x="124" y="72"/>
                    </a:lnTo>
                    <a:lnTo>
                      <a:pt x="125" y="72"/>
                    </a:lnTo>
                    <a:lnTo>
                      <a:pt x="129" y="75"/>
                    </a:lnTo>
                    <a:lnTo>
                      <a:pt x="129" y="74"/>
                    </a:lnTo>
                    <a:lnTo>
                      <a:pt x="129" y="74"/>
                    </a:lnTo>
                    <a:lnTo>
                      <a:pt x="129" y="74"/>
                    </a:lnTo>
                    <a:lnTo>
                      <a:pt x="129" y="74"/>
                    </a:lnTo>
                    <a:lnTo>
                      <a:pt x="129" y="74"/>
                    </a:lnTo>
                    <a:lnTo>
                      <a:pt x="129" y="74"/>
                    </a:lnTo>
                    <a:lnTo>
                      <a:pt x="131" y="74"/>
                    </a:lnTo>
                    <a:lnTo>
                      <a:pt x="133" y="70"/>
                    </a:lnTo>
                    <a:lnTo>
                      <a:pt x="133" y="70"/>
                    </a:lnTo>
                    <a:lnTo>
                      <a:pt x="132" y="71"/>
                    </a:lnTo>
                    <a:lnTo>
                      <a:pt x="132" y="71"/>
                    </a:lnTo>
                    <a:lnTo>
                      <a:pt x="132" y="70"/>
                    </a:lnTo>
                    <a:lnTo>
                      <a:pt x="132" y="68"/>
                    </a:lnTo>
                    <a:lnTo>
                      <a:pt x="133" y="65"/>
                    </a:lnTo>
                    <a:lnTo>
                      <a:pt x="133" y="65"/>
                    </a:lnTo>
                    <a:lnTo>
                      <a:pt x="139" y="59"/>
                    </a:lnTo>
                    <a:lnTo>
                      <a:pt x="139" y="59"/>
                    </a:lnTo>
                    <a:lnTo>
                      <a:pt x="145" y="53"/>
                    </a:lnTo>
                    <a:lnTo>
                      <a:pt x="151" y="47"/>
                    </a:lnTo>
                    <a:lnTo>
                      <a:pt x="153" y="45"/>
                    </a:lnTo>
                    <a:lnTo>
                      <a:pt x="153" y="45"/>
                    </a:lnTo>
                    <a:lnTo>
                      <a:pt x="153" y="45"/>
                    </a:lnTo>
                    <a:lnTo>
                      <a:pt x="156" y="43"/>
                    </a:lnTo>
                    <a:lnTo>
                      <a:pt x="160" y="42"/>
                    </a:lnTo>
                    <a:lnTo>
                      <a:pt x="165" y="42"/>
                    </a:lnTo>
                    <a:lnTo>
                      <a:pt x="166" y="42"/>
                    </a:lnTo>
                    <a:lnTo>
                      <a:pt x="166" y="42"/>
                    </a:lnTo>
                    <a:lnTo>
                      <a:pt x="169" y="42"/>
                    </a:lnTo>
                    <a:lnTo>
                      <a:pt x="169" y="42"/>
                    </a:lnTo>
                    <a:lnTo>
                      <a:pt x="169" y="42"/>
                    </a:lnTo>
                    <a:lnTo>
                      <a:pt x="168" y="43"/>
                    </a:lnTo>
                    <a:lnTo>
                      <a:pt x="166" y="46"/>
                    </a:lnTo>
                    <a:lnTo>
                      <a:pt x="172" y="42"/>
                    </a:lnTo>
                    <a:lnTo>
                      <a:pt x="172" y="42"/>
                    </a:lnTo>
                    <a:lnTo>
                      <a:pt x="172" y="42"/>
                    </a:lnTo>
                    <a:lnTo>
                      <a:pt x="173" y="41"/>
                    </a:lnTo>
                    <a:lnTo>
                      <a:pt x="173" y="41"/>
                    </a:lnTo>
                    <a:lnTo>
                      <a:pt x="174" y="41"/>
                    </a:lnTo>
                    <a:lnTo>
                      <a:pt x="174" y="41"/>
                    </a:lnTo>
                    <a:lnTo>
                      <a:pt x="176" y="39"/>
                    </a:lnTo>
                    <a:lnTo>
                      <a:pt x="176" y="39"/>
                    </a:lnTo>
                    <a:lnTo>
                      <a:pt x="177" y="39"/>
                    </a:lnTo>
                    <a:lnTo>
                      <a:pt x="181" y="39"/>
                    </a:lnTo>
                    <a:lnTo>
                      <a:pt x="181" y="39"/>
                    </a:lnTo>
                    <a:lnTo>
                      <a:pt x="181" y="39"/>
                    </a:lnTo>
                    <a:lnTo>
                      <a:pt x="181" y="37"/>
                    </a:lnTo>
                    <a:lnTo>
                      <a:pt x="181" y="37"/>
                    </a:lnTo>
                    <a:lnTo>
                      <a:pt x="181" y="33"/>
                    </a:lnTo>
                    <a:lnTo>
                      <a:pt x="182" y="27"/>
                    </a:lnTo>
                    <a:lnTo>
                      <a:pt x="182" y="27"/>
                    </a:lnTo>
                    <a:lnTo>
                      <a:pt x="184" y="26"/>
                    </a:lnTo>
                    <a:lnTo>
                      <a:pt x="185" y="24"/>
                    </a:lnTo>
                    <a:lnTo>
                      <a:pt x="185" y="24"/>
                    </a:lnTo>
                    <a:lnTo>
                      <a:pt x="188" y="22"/>
                    </a:lnTo>
                    <a:lnTo>
                      <a:pt x="193" y="21"/>
                    </a:lnTo>
                    <a:lnTo>
                      <a:pt x="193" y="21"/>
                    </a:lnTo>
                    <a:lnTo>
                      <a:pt x="193" y="21"/>
                    </a:lnTo>
                    <a:lnTo>
                      <a:pt x="193" y="16"/>
                    </a:lnTo>
                    <a:lnTo>
                      <a:pt x="194" y="13"/>
                    </a:lnTo>
                    <a:lnTo>
                      <a:pt x="196" y="10"/>
                    </a:lnTo>
                    <a:lnTo>
                      <a:pt x="196" y="10"/>
                    </a:lnTo>
                    <a:lnTo>
                      <a:pt x="199" y="8"/>
                    </a:lnTo>
                    <a:lnTo>
                      <a:pt x="205" y="8"/>
                    </a:lnTo>
                    <a:lnTo>
                      <a:pt x="205" y="8"/>
                    </a:lnTo>
                    <a:lnTo>
                      <a:pt x="205" y="8"/>
                    </a:lnTo>
                    <a:lnTo>
                      <a:pt x="207" y="8"/>
                    </a:lnTo>
                    <a:lnTo>
                      <a:pt x="207" y="8"/>
                    </a:lnTo>
                    <a:lnTo>
                      <a:pt x="211" y="8"/>
                    </a:lnTo>
                    <a:lnTo>
                      <a:pt x="214" y="10"/>
                    </a:lnTo>
                    <a:lnTo>
                      <a:pt x="218" y="14"/>
                    </a:lnTo>
                    <a:lnTo>
                      <a:pt x="218" y="14"/>
                    </a:lnTo>
                    <a:lnTo>
                      <a:pt x="218" y="16"/>
                    </a:lnTo>
                    <a:lnTo>
                      <a:pt x="218" y="16"/>
                    </a:lnTo>
                    <a:lnTo>
                      <a:pt x="218" y="16"/>
                    </a:lnTo>
                    <a:lnTo>
                      <a:pt x="219" y="16"/>
                    </a:lnTo>
                    <a:lnTo>
                      <a:pt x="221" y="14"/>
                    </a:lnTo>
                    <a:lnTo>
                      <a:pt x="221" y="14"/>
                    </a:lnTo>
                    <a:lnTo>
                      <a:pt x="221" y="14"/>
                    </a:lnTo>
                    <a:lnTo>
                      <a:pt x="221" y="14"/>
                    </a:lnTo>
                    <a:lnTo>
                      <a:pt x="221" y="14"/>
                    </a:lnTo>
                    <a:lnTo>
                      <a:pt x="221" y="14"/>
                    </a:lnTo>
                    <a:lnTo>
                      <a:pt x="221" y="13"/>
                    </a:lnTo>
                    <a:lnTo>
                      <a:pt x="221" y="13"/>
                    </a:lnTo>
                    <a:lnTo>
                      <a:pt x="221" y="9"/>
                    </a:lnTo>
                    <a:lnTo>
                      <a:pt x="222" y="6"/>
                    </a:lnTo>
                    <a:lnTo>
                      <a:pt x="226" y="2"/>
                    </a:lnTo>
                    <a:lnTo>
                      <a:pt x="226" y="2"/>
                    </a:lnTo>
                    <a:lnTo>
                      <a:pt x="229" y="2"/>
                    </a:lnTo>
                    <a:lnTo>
                      <a:pt x="229" y="2"/>
                    </a:lnTo>
                    <a:lnTo>
                      <a:pt x="231" y="2"/>
                    </a:lnTo>
                    <a:lnTo>
                      <a:pt x="231" y="2"/>
                    </a:lnTo>
                    <a:lnTo>
                      <a:pt x="233" y="2"/>
                    </a:lnTo>
                    <a:lnTo>
                      <a:pt x="233" y="2"/>
                    </a:lnTo>
                    <a:lnTo>
                      <a:pt x="231" y="2"/>
                    </a:lnTo>
                    <a:lnTo>
                      <a:pt x="230" y="4"/>
                    </a:lnTo>
                    <a:lnTo>
                      <a:pt x="230" y="4"/>
                    </a:lnTo>
                    <a:lnTo>
                      <a:pt x="229" y="8"/>
                    </a:lnTo>
                    <a:lnTo>
                      <a:pt x="234" y="1"/>
                    </a:lnTo>
                    <a:lnTo>
                      <a:pt x="235" y="1"/>
                    </a:lnTo>
                    <a:lnTo>
                      <a:pt x="238" y="1"/>
                    </a:lnTo>
                    <a:lnTo>
                      <a:pt x="238" y="1"/>
                    </a:lnTo>
                    <a:lnTo>
                      <a:pt x="242" y="4"/>
                    </a:lnTo>
                    <a:lnTo>
                      <a:pt x="243" y="5"/>
                    </a:lnTo>
                    <a:lnTo>
                      <a:pt x="243" y="5"/>
                    </a:lnTo>
                    <a:lnTo>
                      <a:pt x="246" y="6"/>
                    </a:lnTo>
                    <a:lnTo>
                      <a:pt x="247" y="8"/>
                    </a:lnTo>
                    <a:lnTo>
                      <a:pt x="248" y="8"/>
                    </a:lnTo>
                    <a:lnTo>
                      <a:pt x="248" y="8"/>
                    </a:lnTo>
                    <a:lnTo>
                      <a:pt x="250" y="5"/>
                    </a:lnTo>
                    <a:lnTo>
                      <a:pt x="250" y="5"/>
                    </a:lnTo>
                    <a:lnTo>
                      <a:pt x="252" y="2"/>
                    </a:lnTo>
                    <a:lnTo>
                      <a:pt x="255" y="0"/>
                    </a:lnTo>
                    <a:lnTo>
                      <a:pt x="264" y="4"/>
                    </a:lnTo>
                    <a:lnTo>
                      <a:pt x="264" y="4"/>
                    </a:lnTo>
                    <a:lnTo>
                      <a:pt x="264" y="12"/>
                    </a:lnTo>
                    <a:lnTo>
                      <a:pt x="264" y="12"/>
                    </a:lnTo>
                    <a:lnTo>
                      <a:pt x="264" y="16"/>
                    </a:lnTo>
                    <a:lnTo>
                      <a:pt x="264" y="16"/>
                    </a:lnTo>
                    <a:lnTo>
                      <a:pt x="264" y="16"/>
                    </a:lnTo>
                    <a:lnTo>
                      <a:pt x="266" y="18"/>
                    </a:lnTo>
                    <a:lnTo>
                      <a:pt x="266" y="18"/>
                    </a:lnTo>
                    <a:lnTo>
                      <a:pt x="266" y="20"/>
                    </a:lnTo>
                    <a:lnTo>
                      <a:pt x="266" y="20"/>
                    </a:lnTo>
                    <a:lnTo>
                      <a:pt x="271" y="24"/>
                    </a:lnTo>
                    <a:lnTo>
                      <a:pt x="274" y="26"/>
                    </a:lnTo>
                    <a:lnTo>
                      <a:pt x="275" y="31"/>
                    </a:lnTo>
                    <a:lnTo>
                      <a:pt x="275" y="31"/>
                    </a:lnTo>
                    <a:lnTo>
                      <a:pt x="275" y="35"/>
                    </a:lnTo>
                    <a:lnTo>
                      <a:pt x="275" y="35"/>
                    </a:lnTo>
                    <a:lnTo>
                      <a:pt x="275" y="37"/>
                    </a:lnTo>
                    <a:lnTo>
                      <a:pt x="275" y="37"/>
                    </a:lnTo>
                    <a:lnTo>
                      <a:pt x="274" y="34"/>
                    </a:lnTo>
                    <a:lnTo>
                      <a:pt x="274" y="34"/>
                    </a:lnTo>
                    <a:lnTo>
                      <a:pt x="270" y="33"/>
                    </a:lnTo>
                    <a:lnTo>
                      <a:pt x="276" y="38"/>
                    </a:lnTo>
                    <a:lnTo>
                      <a:pt x="276" y="39"/>
                    </a:lnTo>
                    <a:lnTo>
                      <a:pt x="274" y="45"/>
                    </a:lnTo>
                    <a:lnTo>
                      <a:pt x="274" y="45"/>
                    </a:lnTo>
                    <a:lnTo>
                      <a:pt x="274" y="45"/>
                    </a:lnTo>
                    <a:lnTo>
                      <a:pt x="274" y="45"/>
                    </a:lnTo>
                    <a:lnTo>
                      <a:pt x="274" y="45"/>
                    </a:lnTo>
                    <a:lnTo>
                      <a:pt x="274" y="45"/>
                    </a:lnTo>
                    <a:lnTo>
                      <a:pt x="274" y="45"/>
                    </a:lnTo>
                    <a:lnTo>
                      <a:pt x="274" y="45"/>
                    </a:lnTo>
                    <a:lnTo>
                      <a:pt x="275" y="46"/>
                    </a:lnTo>
                    <a:lnTo>
                      <a:pt x="279" y="49"/>
                    </a:lnTo>
                    <a:lnTo>
                      <a:pt x="279" y="49"/>
                    </a:lnTo>
                    <a:lnTo>
                      <a:pt x="281" y="50"/>
                    </a:lnTo>
                    <a:lnTo>
                      <a:pt x="284" y="51"/>
                    </a:lnTo>
                    <a:lnTo>
                      <a:pt x="284" y="51"/>
                    </a:lnTo>
                    <a:lnTo>
                      <a:pt x="288" y="57"/>
                    </a:lnTo>
                    <a:lnTo>
                      <a:pt x="288" y="57"/>
                    </a:lnTo>
                    <a:lnTo>
                      <a:pt x="292" y="61"/>
                    </a:lnTo>
                    <a:lnTo>
                      <a:pt x="293" y="66"/>
                    </a:lnTo>
                    <a:lnTo>
                      <a:pt x="293" y="68"/>
                    </a:lnTo>
                    <a:lnTo>
                      <a:pt x="293" y="68"/>
                    </a:lnTo>
                    <a:lnTo>
                      <a:pt x="293" y="72"/>
                    </a:lnTo>
                    <a:lnTo>
                      <a:pt x="293" y="72"/>
                    </a:lnTo>
                    <a:lnTo>
                      <a:pt x="293" y="74"/>
                    </a:lnTo>
                    <a:lnTo>
                      <a:pt x="293" y="74"/>
                    </a:lnTo>
                    <a:lnTo>
                      <a:pt x="292" y="71"/>
                    </a:lnTo>
                    <a:lnTo>
                      <a:pt x="292" y="71"/>
                    </a:lnTo>
                    <a:lnTo>
                      <a:pt x="289" y="70"/>
                    </a:lnTo>
                    <a:lnTo>
                      <a:pt x="295" y="75"/>
                    </a:lnTo>
                    <a:lnTo>
                      <a:pt x="295" y="75"/>
                    </a:lnTo>
                    <a:lnTo>
                      <a:pt x="295" y="75"/>
                    </a:lnTo>
                    <a:lnTo>
                      <a:pt x="295" y="75"/>
                    </a:lnTo>
                    <a:lnTo>
                      <a:pt x="295" y="75"/>
                    </a:lnTo>
                    <a:lnTo>
                      <a:pt x="295" y="75"/>
                    </a:lnTo>
                    <a:lnTo>
                      <a:pt x="295" y="75"/>
                    </a:lnTo>
                    <a:lnTo>
                      <a:pt x="296" y="76"/>
                    </a:lnTo>
                    <a:lnTo>
                      <a:pt x="297" y="76"/>
                    </a:lnTo>
                    <a:lnTo>
                      <a:pt x="297" y="76"/>
                    </a:lnTo>
                    <a:lnTo>
                      <a:pt x="300" y="78"/>
                    </a:lnTo>
                    <a:lnTo>
                      <a:pt x="300" y="78"/>
                    </a:lnTo>
                    <a:lnTo>
                      <a:pt x="300" y="78"/>
                    </a:lnTo>
                    <a:lnTo>
                      <a:pt x="300" y="78"/>
                    </a:lnTo>
                    <a:lnTo>
                      <a:pt x="299" y="78"/>
                    </a:lnTo>
                    <a:lnTo>
                      <a:pt x="299" y="78"/>
                    </a:lnTo>
                    <a:lnTo>
                      <a:pt x="299" y="79"/>
                    </a:lnTo>
                    <a:lnTo>
                      <a:pt x="300" y="78"/>
                    </a:lnTo>
                    <a:lnTo>
                      <a:pt x="304" y="82"/>
                    </a:lnTo>
                    <a:lnTo>
                      <a:pt x="304" y="82"/>
                    </a:lnTo>
                    <a:lnTo>
                      <a:pt x="303" y="79"/>
                    </a:lnTo>
                    <a:lnTo>
                      <a:pt x="300" y="78"/>
                    </a:lnTo>
                    <a:lnTo>
                      <a:pt x="301" y="76"/>
                    </a:lnTo>
                    <a:lnTo>
                      <a:pt x="301" y="76"/>
                    </a:lnTo>
                    <a:lnTo>
                      <a:pt x="301" y="76"/>
                    </a:lnTo>
                    <a:lnTo>
                      <a:pt x="304" y="75"/>
                    </a:lnTo>
                    <a:lnTo>
                      <a:pt x="307" y="74"/>
                    </a:lnTo>
                    <a:lnTo>
                      <a:pt x="307" y="74"/>
                    </a:lnTo>
                    <a:lnTo>
                      <a:pt x="311" y="75"/>
                    </a:lnTo>
                    <a:lnTo>
                      <a:pt x="313" y="78"/>
                    </a:lnTo>
                    <a:lnTo>
                      <a:pt x="313" y="78"/>
                    </a:lnTo>
                    <a:lnTo>
                      <a:pt x="313" y="78"/>
                    </a:lnTo>
                    <a:lnTo>
                      <a:pt x="315" y="78"/>
                    </a:lnTo>
                    <a:lnTo>
                      <a:pt x="315" y="78"/>
                    </a:lnTo>
                    <a:lnTo>
                      <a:pt x="316" y="80"/>
                    </a:lnTo>
                    <a:lnTo>
                      <a:pt x="317" y="84"/>
                    </a:lnTo>
                    <a:lnTo>
                      <a:pt x="317" y="84"/>
                    </a:lnTo>
                    <a:lnTo>
                      <a:pt x="317" y="88"/>
                    </a:lnTo>
                    <a:lnTo>
                      <a:pt x="317" y="90"/>
                    </a:lnTo>
                    <a:lnTo>
                      <a:pt x="317" y="90"/>
                    </a:lnTo>
                    <a:lnTo>
                      <a:pt x="317" y="94"/>
                    </a:lnTo>
                    <a:lnTo>
                      <a:pt x="317" y="94"/>
                    </a:lnTo>
                    <a:lnTo>
                      <a:pt x="316" y="95"/>
                    </a:lnTo>
                    <a:lnTo>
                      <a:pt x="316" y="95"/>
                    </a:lnTo>
                    <a:lnTo>
                      <a:pt x="315" y="92"/>
                    </a:lnTo>
                    <a:lnTo>
                      <a:pt x="315" y="92"/>
                    </a:lnTo>
                    <a:lnTo>
                      <a:pt x="312" y="91"/>
                    </a:lnTo>
                    <a:lnTo>
                      <a:pt x="317" y="96"/>
                    </a:lnTo>
                    <a:lnTo>
                      <a:pt x="317" y="96"/>
                    </a:lnTo>
                    <a:lnTo>
                      <a:pt x="317" y="96"/>
                    </a:lnTo>
                    <a:lnTo>
                      <a:pt x="317" y="96"/>
                    </a:lnTo>
                    <a:lnTo>
                      <a:pt x="318" y="96"/>
                    </a:lnTo>
                    <a:lnTo>
                      <a:pt x="318" y="96"/>
                    </a:lnTo>
                    <a:lnTo>
                      <a:pt x="321" y="92"/>
                    </a:lnTo>
                    <a:lnTo>
                      <a:pt x="324" y="91"/>
                    </a:lnTo>
                    <a:lnTo>
                      <a:pt x="328" y="90"/>
                    </a:lnTo>
                    <a:lnTo>
                      <a:pt x="333" y="92"/>
                    </a:lnTo>
                    <a:lnTo>
                      <a:pt x="334" y="94"/>
                    </a:lnTo>
                    <a:lnTo>
                      <a:pt x="334" y="94"/>
                    </a:lnTo>
                    <a:lnTo>
                      <a:pt x="340" y="100"/>
                    </a:lnTo>
                    <a:lnTo>
                      <a:pt x="340" y="100"/>
                    </a:lnTo>
                    <a:lnTo>
                      <a:pt x="341" y="100"/>
                    </a:lnTo>
                    <a:lnTo>
                      <a:pt x="344" y="102"/>
                    </a:lnTo>
                    <a:lnTo>
                      <a:pt x="344" y="102"/>
                    </a:lnTo>
                    <a:lnTo>
                      <a:pt x="344" y="102"/>
                    </a:lnTo>
                    <a:lnTo>
                      <a:pt x="341" y="102"/>
                    </a:lnTo>
                    <a:lnTo>
                      <a:pt x="346" y="104"/>
                    </a:lnTo>
                    <a:lnTo>
                      <a:pt x="346" y="104"/>
                    </a:lnTo>
                    <a:lnTo>
                      <a:pt x="348" y="106"/>
                    </a:lnTo>
                    <a:lnTo>
                      <a:pt x="348" y="106"/>
                    </a:lnTo>
                    <a:lnTo>
                      <a:pt x="352" y="108"/>
                    </a:lnTo>
                    <a:lnTo>
                      <a:pt x="354" y="109"/>
                    </a:lnTo>
                    <a:lnTo>
                      <a:pt x="355" y="112"/>
                    </a:lnTo>
                    <a:lnTo>
                      <a:pt x="354" y="120"/>
                    </a:lnTo>
                    <a:lnTo>
                      <a:pt x="354" y="120"/>
                    </a:lnTo>
                    <a:lnTo>
                      <a:pt x="353" y="121"/>
                    </a:lnTo>
                    <a:lnTo>
                      <a:pt x="353" y="120"/>
                    </a:lnTo>
                    <a:lnTo>
                      <a:pt x="353" y="121"/>
                    </a:lnTo>
                    <a:lnTo>
                      <a:pt x="353" y="121"/>
                    </a:lnTo>
                    <a:lnTo>
                      <a:pt x="352" y="124"/>
                    </a:lnTo>
                    <a:lnTo>
                      <a:pt x="350" y="127"/>
                    </a:lnTo>
                    <a:lnTo>
                      <a:pt x="350" y="127"/>
                    </a:lnTo>
                    <a:lnTo>
                      <a:pt x="348" y="129"/>
                    </a:lnTo>
                    <a:lnTo>
                      <a:pt x="344" y="129"/>
                    </a:lnTo>
                    <a:lnTo>
                      <a:pt x="344" y="129"/>
                    </a:lnTo>
                    <a:lnTo>
                      <a:pt x="342" y="129"/>
                    </a:lnTo>
                    <a:lnTo>
                      <a:pt x="337" y="125"/>
                    </a:lnTo>
                    <a:lnTo>
                      <a:pt x="337" y="125"/>
                    </a:lnTo>
                    <a:lnTo>
                      <a:pt x="337" y="125"/>
                    </a:lnTo>
                    <a:lnTo>
                      <a:pt x="337" y="125"/>
                    </a:lnTo>
                    <a:lnTo>
                      <a:pt x="338" y="127"/>
                    </a:lnTo>
                    <a:lnTo>
                      <a:pt x="338" y="127"/>
                    </a:lnTo>
                    <a:lnTo>
                      <a:pt x="337" y="127"/>
                    </a:lnTo>
                    <a:lnTo>
                      <a:pt x="337" y="127"/>
                    </a:lnTo>
                    <a:lnTo>
                      <a:pt x="333" y="124"/>
                    </a:lnTo>
                    <a:lnTo>
                      <a:pt x="334" y="124"/>
                    </a:lnTo>
                    <a:lnTo>
                      <a:pt x="332" y="123"/>
                    </a:lnTo>
                    <a:lnTo>
                      <a:pt x="333" y="125"/>
                    </a:lnTo>
                    <a:lnTo>
                      <a:pt x="333" y="132"/>
                    </a:lnTo>
                    <a:lnTo>
                      <a:pt x="328" y="137"/>
                    </a:lnTo>
                    <a:lnTo>
                      <a:pt x="328" y="137"/>
                    </a:lnTo>
                    <a:lnTo>
                      <a:pt x="329" y="143"/>
                    </a:lnTo>
                    <a:lnTo>
                      <a:pt x="329" y="143"/>
                    </a:lnTo>
                    <a:lnTo>
                      <a:pt x="330" y="149"/>
                    </a:lnTo>
                    <a:lnTo>
                      <a:pt x="330" y="149"/>
                    </a:lnTo>
                    <a:lnTo>
                      <a:pt x="332" y="154"/>
                    </a:lnTo>
                    <a:lnTo>
                      <a:pt x="333" y="157"/>
                    </a:lnTo>
                    <a:lnTo>
                      <a:pt x="337" y="162"/>
                    </a:lnTo>
                    <a:lnTo>
                      <a:pt x="337" y="164"/>
                    </a:lnTo>
                    <a:lnTo>
                      <a:pt x="337" y="165"/>
                    </a:lnTo>
                    <a:lnTo>
                      <a:pt x="337" y="165"/>
                    </a:lnTo>
                    <a:lnTo>
                      <a:pt x="338" y="166"/>
                    </a:lnTo>
                    <a:lnTo>
                      <a:pt x="340" y="169"/>
                    </a:lnTo>
                    <a:lnTo>
                      <a:pt x="340" y="170"/>
                    </a:lnTo>
                    <a:lnTo>
                      <a:pt x="340" y="172"/>
                    </a:lnTo>
                    <a:lnTo>
                      <a:pt x="336" y="177"/>
                    </a:lnTo>
                    <a:lnTo>
                      <a:pt x="336" y="177"/>
                    </a:lnTo>
                    <a:lnTo>
                      <a:pt x="337" y="177"/>
                    </a:lnTo>
                    <a:lnTo>
                      <a:pt x="337" y="177"/>
                    </a:lnTo>
                    <a:lnTo>
                      <a:pt x="337" y="177"/>
                    </a:lnTo>
                    <a:lnTo>
                      <a:pt x="337" y="177"/>
                    </a:lnTo>
                    <a:lnTo>
                      <a:pt x="337" y="177"/>
                    </a:lnTo>
                    <a:lnTo>
                      <a:pt x="337" y="178"/>
                    </a:lnTo>
                    <a:lnTo>
                      <a:pt x="337" y="178"/>
                    </a:lnTo>
                    <a:lnTo>
                      <a:pt x="338" y="184"/>
                    </a:lnTo>
                    <a:lnTo>
                      <a:pt x="340" y="190"/>
                    </a:lnTo>
                    <a:lnTo>
                      <a:pt x="340" y="203"/>
                    </a:lnTo>
                    <a:lnTo>
                      <a:pt x="340" y="206"/>
                    </a:lnTo>
                    <a:lnTo>
                      <a:pt x="337" y="211"/>
                    </a:lnTo>
                    <a:lnTo>
                      <a:pt x="337" y="211"/>
                    </a:lnTo>
                    <a:lnTo>
                      <a:pt x="337" y="211"/>
                    </a:lnTo>
                    <a:lnTo>
                      <a:pt x="337" y="211"/>
                    </a:lnTo>
                    <a:lnTo>
                      <a:pt x="337" y="213"/>
                    </a:lnTo>
                    <a:lnTo>
                      <a:pt x="337" y="217"/>
                    </a:lnTo>
                    <a:lnTo>
                      <a:pt x="333" y="222"/>
                    </a:lnTo>
                    <a:lnTo>
                      <a:pt x="333" y="222"/>
                    </a:lnTo>
                    <a:lnTo>
                      <a:pt x="334" y="221"/>
                    </a:lnTo>
                    <a:lnTo>
                      <a:pt x="336" y="219"/>
                    </a:lnTo>
                    <a:lnTo>
                      <a:pt x="336" y="219"/>
                    </a:lnTo>
                    <a:lnTo>
                      <a:pt x="336" y="222"/>
                    </a:lnTo>
                    <a:lnTo>
                      <a:pt x="336" y="222"/>
                    </a:lnTo>
                    <a:lnTo>
                      <a:pt x="336" y="227"/>
                    </a:lnTo>
                    <a:lnTo>
                      <a:pt x="336" y="231"/>
                    </a:lnTo>
                    <a:lnTo>
                      <a:pt x="334" y="235"/>
                    </a:lnTo>
                    <a:lnTo>
                      <a:pt x="334" y="235"/>
                    </a:lnTo>
                    <a:lnTo>
                      <a:pt x="330" y="239"/>
                    </a:lnTo>
                    <a:lnTo>
                      <a:pt x="326" y="240"/>
                    </a:lnTo>
                    <a:lnTo>
                      <a:pt x="326" y="240"/>
                    </a:lnTo>
                    <a:lnTo>
                      <a:pt x="325" y="242"/>
                    </a:lnTo>
                    <a:lnTo>
                      <a:pt x="325" y="242"/>
                    </a:lnTo>
                    <a:lnTo>
                      <a:pt x="325" y="243"/>
                    </a:lnTo>
                    <a:lnTo>
                      <a:pt x="325" y="243"/>
                    </a:lnTo>
                    <a:lnTo>
                      <a:pt x="325" y="247"/>
                    </a:lnTo>
                    <a:lnTo>
                      <a:pt x="324" y="250"/>
                    </a:lnTo>
                    <a:lnTo>
                      <a:pt x="324" y="250"/>
                    </a:lnTo>
                    <a:lnTo>
                      <a:pt x="321" y="252"/>
                    </a:lnTo>
                    <a:lnTo>
                      <a:pt x="317" y="252"/>
                    </a:lnTo>
                    <a:lnTo>
                      <a:pt x="312" y="248"/>
                    </a:lnTo>
                    <a:lnTo>
                      <a:pt x="312" y="248"/>
                    </a:lnTo>
                    <a:lnTo>
                      <a:pt x="307" y="251"/>
                    </a:lnTo>
                    <a:lnTo>
                      <a:pt x="307" y="251"/>
                    </a:lnTo>
                    <a:lnTo>
                      <a:pt x="303" y="254"/>
                    </a:lnTo>
                    <a:lnTo>
                      <a:pt x="300" y="254"/>
                    </a:lnTo>
                    <a:lnTo>
                      <a:pt x="299" y="254"/>
                    </a:lnTo>
                    <a:lnTo>
                      <a:pt x="297" y="252"/>
                    </a:lnTo>
                    <a:lnTo>
                      <a:pt x="296" y="252"/>
                    </a:lnTo>
                    <a:lnTo>
                      <a:pt x="296" y="252"/>
                    </a:lnTo>
                    <a:lnTo>
                      <a:pt x="292" y="250"/>
                    </a:lnTo>
                    <a:lnTo>
                      <a:pt x="292" y="250"/>
                    </a:lnTo>
                    <a:lnTo>
                      <a:pt x="291" y="248"/>
                    </a:lnTo>
                    <a:lnTo>
                      <a:pt x="288" y="248"/>
                    </a:lnTo>
                    <a:lnTo>
                      <a:pt x="288" y="248"/>
                    </a:lnTo>
                    <a:lnTo>
                      <a:pt x="288" y="252"/>
                    </a:lnTo>
                    <a:lnTo>
                      <a:pt x="288" y="252"/>
                    </a:lnTo>
                    <a:lnTo>
                      <a:pt x="285" y="258"/>
                    </a:lnTo>
                    <a:lnTo>
                      <a:pt x="284" y="260"/>
                    </a:lnTo>
                    <a:lnTo>
                      <a:pt x="281" y="263"/>
                    </a:lnTo>
                    <a:lnTo>
                      <a:pt x="281" y="263"/>
                    </a:lnTo>
                    <a:lnTo>
                      <a:pt x="281" y="265"/>
                    </a:lnTo>
                    <a:lnTo>
                      <a:pt x="280" y="268"/>
                    </a:lnTo>
                    <a:lnTo>
                      <a:pt x="275" y="272"/>
                    </a:lnTo>
                    <a:lnTo>
                      <a:pt x="275" y="273"/>
                    </a:lnTo>
                    <a:lnTo>
                      <a:pt x="268" y="280"/>
                    </a:lnTo>
                    <a:lnTo>
                      <a:pt x="262" y="280"/>
                    </a:lnTo>
                    <a:lnTo>
                      <a:pt x="262" y="280"/>
                    </a:lnTo>
                    <a:lnTo>
                      <a:pt x="260" y="280"/>
                    </a:lnTo>
                    <a:lnTo>
                      <a:pt x="258" y="283"/>
                    </a:lnTo>
                    <a:lnTo>
                      <a:pt x="258" y="283"/>
                    </a:lnTo>
                    <a:lnTo>
                      <a:pt x="255" y="285"/>
                    </a:lnTo>
                    <a:lnTo>
                      <a:pt x="251" y="289"/>
                    </a:lnTo>
                    <a:lnTo>
                      <a:pt x="248" y="289"/>
                    </a:lnTo>
                    <a:lnTo>
                      <a:pt x="247" y="289"/>
                    </a:lnTo>
                    <a:lnTo>
                      <a:pt x="247" y="289"/>
                    </a:lnTo>
                    <a:lnTo>
                      <a:pt x="243" y="293"/>
                    </a:lnTo>
                    <a:lnTo>
                      <a:pt x="240" y="297"/>
                    </a:lnTo>
                    <a:lnTo>
                      <a:pt x="240" y="297"/>
                    </a:lnTo>
                    <a:lnTo>
                      <a:pt x="235" y="304"/>
                    </a:lnTo>
                    <a:lnTo>
                      <a:pt x="235" y="305"/>
                    </a:lnTo>
                    <a:lnTo>
                      <a:pt x="235" y="305"/>
                    </a:lnTo>
                    <a:lnTo>
                      <a:pt x="234" y="306"/>
                    </a:lnTo>
                    <a:lnTo>
                      <a:pt x="234" y="306"/>
                    </a:lnTo>
                    <a:lnTo>
                      <a:pt x="231" y="312"/>
                    </a:lnTo>
                    <a:lnTo>
                      <a:pt x="227" y="313"/>
                    </a:lnTo>
                    <a:lnTo>
                      <a:pt x="223" y="314"/>
                    </a:lnTo>
                    <a:lnTo>
                      <a:pt x="223" y="314"/>
                    </a:lnTo>
                    <a:lnTo>
                      <a:pt x="219" y="313"/>
                    </a:lnTo>
                    <a:lnTo>
                      <a:pt x="219" y="313"/>
                    </a:lnTo>
                    <a:lnTo>
                      <a:pt x="219" y="313"/>
                    </a:lnTo>
                    <a:lnTo>
                      <a:pt x="219" y="313"/>
                    </a:lnTo>
                    <a:lnTo>
                      <a:pt x="219" y="313"/>
                    </a:lnTo>
                    <a:lnTo>
                      <a:pt x="219" y="313"/>
                    </a:lnTo>
                    <a:lnTo>
                      <a:pt x="214" y="306"/>
                    </a:lnTo>
                    <a:lnTo>
                      <a:pt x="214" y="306"/>
                    </a:lnTo>
                    <a:lnTo>
                      <a:pt x="213" y="306"/>
                    </a:lnTo>
                    <a:lnTo>
                      <a:pt x="210" y="308"/>
                    </a:lnTo>
                    <a:lnTo>
                      <a:pt x="209" y="308"/>
                    </a:lnTo>
                    <a:lnTo>
                      <a:pt x="209" y="308"/>
                    </a:lnTo>
                    <a:lnTo>
                      <a:pt x="207" y="309"/>
                    </a:lnTo>
                    <a:lnTo>
                      <a:pt x="202" y="312"/>
                    </a:lnTo>
                    <a:lnTo>
                      <a:pt x="206" y="317"/>
                    </a:lnTo>
                    <a:lnTo>
                      <a:pt x="206" y="317"/>
                    </a:lnTo>
                    <a:lnTo>
                      <a:pt x="206" y="320"/>
                    </a:lnTo>
                    <a:lnTo>
                      <a:pt x="206" y="320"/>
                    </a:lnTo>
                    <a:lnTo>
                      <a:pt x="206" y="325"/>
                    </a:lnTo>
                    <a:lnTo>
                      <a:pt x="205" y="329"/>
                    </a:lnTo>
                    <a:lnTo>
                      <a:pt x="201" y="332"/>
                    </a:lnTo>
                    <a:lnTo>
                      <a:pt x="198" y="332"/>
                    </a:lnTo>
                    <a:lnTo>
                      <a:pt x="198" y="332"/>
                    </a:lnTo>
                    <a:lnTo>
                      <a:pt x="201" y="330"/>
                    </a:lnTo>
                    <a:lnTo>
                      <a:pt x="202" y="329"/>
                    </a:lnTo>
                    <a:lnTo>
                      <a:pt x="198" y="332"/>
                    </a:lnTo>
                    <a:lnTo>
                      <a:pt x="198" y="332"/>
                    </a:lnTo>
                    <a:lnTo>
                      <a:pt x="198" y="332"/>
                    </a:lnTo>
                    <a:lnTo>
                      <a:pt x="198" y="332"/>
                    </a:lnTo>
                    <a:lnTo>
                      <a:pt x="197" y="333"/>
                    </a:lnTo>
                    <a:lnTo>
                      <a:pt x="196" y="333"/>
                    </a:lnTo>
                    <a:lnTo>
                      <a:pt x="196" y="333"/>
                    </a:lnTo>
                    <a:lnTo>
                      <a:pt x="194" y="333"/>
                    </a:lnTo>
                    <a:lnTo>
                      <a:pt x="194" y="333"/>
                    </a:lnTo>
                    <a:lnTo>
                      <a:pt x="193" y="333"/>
                    </a:lnTo>
                    <a:lnTo>
                      <a:pt x="193" y="333"/>
                    </a:lnTo>
                    <a:lnTo>
                      <a:pt x="190" y="333"/>
                    </a:lnTo>
                    <a:lnTo>
                      <a:pt x="188" y="334"/>
                    </a:lnTo>
                    <a:lnTo>
                      <a:pt x="181" y="334"/>
                    </a:lnTo>
                    <a:lnTo>
                      <a:pt x="177" y="332"/>
                    </a:lnTo>
                    <a:lnTo>
                      <a:pt x="177" y="332"/>
                    </a:lnTo>
                    <a:lnTo>
                      <a:pt x="174" y="329"/>
                    </a:lnTo>
                    <a:lnTo>
                      <a:pt x="174" y="328"/>
                    </a:lnTo>
                    <a:lnTo>
                      <a:pt x="174" y="324"/>
                    </a:lnTo>
                    <a:lnTo>
                      <a:pt x="172" y="321"/>
                    </a:lnTo>
                    <a:lnTo>
                      <a:pt x="172" y="321"/>
                    </a:lnTo>
                    <a:lnTo>
                      <a:pt x="170" y="321"/>
                    </a:lnTo>
                    <a:lnTo>
                      <a:pt x="170" y="321"/>
                    </a:lnTo>
                    <a:lnTo>
                      <a:pt x="166" y="324"/>
                    </a:lnTo>
                    <a:lnTo>
                      <a:pt x="162" y="328"/>
                    </a:lnTo>
                    <a:lnTo>
                      <a:pt x="162" y="329"/>
                    </a:lnTo>
                    <a:lnTo>
                      <a:pt x="162" y="329"/>
                    </a:lnTo>
                    <a:lnTo>
                      <a:pt x="162" y="329"/>
                    </a:lnTo>
                    <a:lnTo>
                      <a:pt x="162" y="329"/>
                    </a:lnTo>
                    <a:lnTo>
                      <a:pt x="162" y="336"/>
                    </a:lnTo>
                    <a:lnTo>
                      <a:pt x="162" y="338"/>
                    </a:lnTo>
                    <a:lnTo>
                      <a:pt x="160" y="342"/>
                    </a:lnTo>
                    <a:lnTo>
                      <a:pt x="158" y="343"/>
                    </a:lnTo>
                    <a:lnTo>
                      <a:pt x="158" y="343"/>
                    </a:lnTo>
                    <a:lnTo>
                      <a:pt x="156" y="345"/>
                    </a:lnTo>
                    <a:lnTo>
                      <a:pt x="152" y="345"/>
                    </a:lnTo>
                    <a:lnTo>
                      <a:pt x="152" y="345"/>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4" name="Freeform 37">
                <a:extLst>
                  <a:ext uri="{FF2B5EF4-FFF2-40B4-BE49-F238E27FC236}">
                    <a16:creationId xmlns:a16="http://schemas.microsoft.com/office/drawing/2014/main" xmlns="" id="{1A65A5C6-2BBA-42DD-9D05-6312B41D459D}"/>
                  </a:ext>
                </a:extLst>
              </p:cNvPr>
              <p:cNvSpPr>
                <a:spLocks/>
              </p:cNvSpPr>
              <p:nvPr/>
            </p:nvSpPr>
            <p:spPr bwMode="auto">
              <a:xfrm>
                <a:off x="7058254" y="3609654"/>
                <a:ext cx="757368" cy="362143"/>
              </a:xfrm>
              <a:custGeom>
                <a:avLst/>
                <a:gdLst>
                  <a:gd name="T0" fmla="*/ 139 w 435"/>
                  <a:gd name="T1" fmla="*/ 201 h 208"/>
                  <a:gd name="T2" fmla="*/ 127 w 435"/>
                  <a:gd name="T3" fmla="*/ 192 h 208"/>
                  <a:gd name="T4" fmla="*/ 112 w 435"/>
                  <a:gd name="T5" fmla="*/ 163 h 208"/>
                  <a:gd name="T6" fmla="*/ 119 w 435"/>
                  <a:gd name="T7" fmla="*/ 160 h 208"/>
                  <a:gd name="T8" fmla="*/ 107 w 435"/>
                  <a:gd name="T9" fmla="*/ 156 h 208"/>
                  <a:gd name="T10" fmla="*/ 95 w 435"/>
                  <a:gd name="T11" fmla="*/ 144 h 208"/>
                  <a:gd name="T12" fmla="*/ 92 w 435"/>
                  <a:gd name="T13" fmla="*/ 134 h 208"/>
                  <a:gd name="T14" fmla="*/ 86 w 435"/>
                  <a:gd name="T15" fmla="*/ 127 h 208"/>
                  <a:gd name="T16" fmla="*/ 77 w 435"/>
                  <a:gd name="T17" fmla="*/ 111 h 208"/>
                  <a:gd name="T18" fmla="*/ 63 w 435"/>
                  <a:gd name="T19" fmla="*/ 106 h 208"/>
                  <a:gd name="T20" fmla="*/ 54 w 435"/>
                  <a:gd name="T21" fmla="*/ 105 h 208"/>
                  <a:gd name="T22" fmla="*/ 41 w 435"/>
                  <a:gd name="T23" fmla="*/ 93 h 208"/>
                  <a:gd name="T24" fmla="*/ 33 w 435"/>
                  <a:gd name="T25" fmla="*/ 89 h 208"/>
                  <a:gd name="T26" fmla="*/ 11 w 435"/>
                  <a:gd name="T27" fmla="*/ 91 h 208"/>
                  <a:gd name="T28" fmla="*/ 7 w 435"/>
                  <a:gd name="T29" fmla="*/ 72 h 208"/>
                  <a:gd name="T30" fmla="*/ 24 w 435"/>
                  <a:gd name="T31" fmla="*/ 68 h 208"/>
                  <a:gd name="T32" fmla="*/ 24 w 435"/>
                  <a:gd name="T33" fmla="*/ 66 h 208"/>
                  <a:gd name="T34" fmla="*/ 33 w 435"/>
                  <a:gd name="T35" fmla="*/ 58 h 208"/>
                  <a:gd name="T36" fmla="*/ 42 w 435"/>
                  <a:gd name="T37" fmla="*/ 46 h 208"/>
                  <a:gd name="T38" fmla="*/ 46 w 435"/>
                  <a:gd name="T39" fmla="*/ 23 h 208"/>
                  <a:gd name="T40" fmla="*/ 63 w 435"/>
                  <a:gd name="T41" fmla="*/ 8 h 208"/>
                  <a:gd name="T42" fmla="*/ 82 w 435"/>
                  <a:gd name="T43" fmla="*/ 0 h 208"/>
                  <a:gd name="T44" fmla="*/ 108 w 435"/>
                  <a:gd name="T45" fmla="*/ 21 h 208"/>
                  <a:gd name="T46" fmla="*/ 119 w 435"/>
                  <a:gd name="T47" fmla="*/ 35 h 208"/>
                  <a:gd name="T48" fmla="*/ 139 w 435"/>
                  <a:gd name="T49" fmla="*/ 31 h 208"/>
                  <a:gd name="T50" fmla="*/ 160 w 435"/>
                  <a:gd name="T51" fmla="*/ 24 h 208"/>
                  <a:gd name="T52" fmla="*/ 170 w 435"/>
                  <a:gd name="T53" fmla="*/ 13 h 208"/>
                  <a:gd name="T54" fmla="*/ 181 w 435"/>
                  <a:gd name="T55" fmla="*/ 4 h 208"/>
                  <a:gd name="T56" fmla="*/ 190 w 435"/>
                  <a:gd name="T57" fmla="*/ 15 h 208"/>
                  <a:gd name="T58" fmla="*/ 193 w 435"/>
                  <a:gd name="T59" fmla="*/ 20 h 208"/>
                  <a:gd name="T60" fmla="*/ 200 w 435"/>
                  <a:gd name="T61" fmla="*/ 32 h 208"/>
                  <a:gd name="T62" fmla="*/ 201 w 435"/>
                  <a:gd name="T63" fmla="*/ 25 h 208"/>
                  <a:gd name="T64" fmla="*/ 219 w 435"/>
                  <a:gd name="T65" fmla="*/ 15 h 208"/>
                  <a:gd name="T66" fmla="*/ 237 w 435"/>
                  <a:gd name="T67" fmla="*/ 3 h 208"/>
                  <a:gd name="T68" fmla="*/ 259 w 435"/>
                  <a:gd name="T69" fmla="*/ 7 h 208"/>
                  <a:gd name="T70" fmla="*/ 276 w 435"/>
                  <a:gd name="T71" fmla="*/ 19 h 208"/>
                  <a:gd name="T72" fmla="*/ 282 w 435"/>
                  <a:gd name="T73" fmla="*/ 17 h 208"/>
                  <a:gd name="T74" fmla="*/ 289 w 435"/>
                  <a:gd name="T75" fmla="*/ 23 h 208"/>
                  <a:gd name="T76" fmla="*/ 297 w 435"/>
                  <a:gd name="T77" fmla="*/ 17 h 208"/>
                  <a:gd name="T78" fmla="*/ 308 w 435"/>
                  <a:gd name="T79" fmla="*/ 16 h 208"/>
                  <a:gd name="T80" fmla="*/ 319 w 435"/>
                  <a:gd name="T81" fmla="*/ 15 h 208"/>
                  <a:gd name="T82" fmla="*/ 333 w 435"/>
                  <a:gd name="T83" fmla="*/ 9 h 208"/>
                  <a:gd name="T84" fmla="*/ 342 w 435"/>
                  <a:gd name="T85" fmla="*/ 15 h 208"/>
                  <a:gd name="T86" fmla="*/ 352 w 435"/>
                  <a:gd name="T87" fmla="*/ 29 h 208"/>
                  <a:gd name="T88" fmla="*/ 366 w 435"/>
                  <a:gd name="T89" fmla="*/ 27 h 208"/>
                  <a:gd name="T90" fmla="*/ 386 w 435"/>
                  <a:gd name="T91" fmla="*/ 32 h 208"/>
                  <a:gd name="T92" fmla="*/ 399 w 435"/>
                  <a:gd name="T93" fmla="*/ 44 h 208"/>
                  <a:gd name="T94" fmla="*/ 423 w 435"/>
                  <a:gd name="T95" fmla="*/ 41 h 208"/>
                  <a:gd name="T96" fmla="*/ 434 w 435"/>
                  <a:gd name="T97" fmla="*/ 45 h 208"/>
                  <a:gd name="T98" fmla="*/ 418 w 435"/>
                  <a:gd name="T99" fmla="*/ 74 h 208"/>
                  <a:gd name="T100" fmla="*/ 397 w 435"/>
                  <a:gd name="T101" fmla="*/ 90 h 208"/>
                  <a:gd name="T102" fmla="*/ 350 w 435"/>
                  <a:gd name="T103" fmla="*/ 132 h 208"/>
                  <a:gd name="T104" fmla="*/ 323 w 435"/>
                  <a:gd name="T105" fmla="*/ 152 h 208"/>
                  <a:gd name="T106" fmla="*/ 316 w 435"/>
                  <a:gd name="T107" fmla="*/ 155 h 208"/>
                  <a:gd name="T108" fmla="*/ 293 w 435"/>
                  <a:gd name="T109" fmla="*/ 162 h 208"/>
                  <a:gd name="T110" fmla="*/ 282 w 435"/>
                  <a:gd name="T111" fmla="*/ 164 h 208"/>
                  <a:gd name="T112" fmla="*/ 268 w 435"/>
                  <a:gd name="T113" fmla="*/ 171 h 208"/>
                  <a:gd name="T114" fmla="*/ 226 w 435"/>
                  <a:gd name="T115" fmla="*/ 189 h 208"/>
                  <a:gd name="T116" fmla="*/ 223 w 435"/>
                  <a:gd name="T117" fmla="*/ 189 h 208"/>
                  <a:gd name="T118" fmla="*/ 200 w 435"/>
                  <a:gd name="T119" fmla="*/ 180 h 208"/>
                  <a:gd name="T120" fmla="*/ 184 w 435"/>
                  <a:gd name="T121" fmla="*/ 172 h 208"/>
                  <a:gd name="T122" fmla="*/ 178 w 435"/>
                  <a:gd name="T123" fmla="*/ 172 h 208"/>
                  <a:gd name="T124" fmla="*/ 168 w 435"/>
                  <a:gd name="T125" fmla="*/ 1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 h="208">
                    <a:moveTo>
                      <a:pt x="157" y="208"/>
                    </a:moveTo>
                    <a:lnTo>
                      <a:pt x="157" y="208"/>
                    </a:lnTo>
                    <a:lnTo>
                      <a:pt x="155" y="206"/>
                    </a:lnTo>
                    <a:lnTo>
                      <a:pt x="152" y="204"/>
                    </a:lnTo>
                    <a:lnTo>
                      <a:pt x="152" y="204"/>
                    </a:lnTo>
                    <a:lnTo>
                      <a:pt x="149" y="205"/>
                    </a:lnTo>
                    <a:lnTo>
                      <a:pt x="147" y="205"/>
                    </a:lnTo>
                    <a:lnTo>
                      <a:pt x="147" y="205"/>
                    </a:lnTo>
                    <a:lnTo>
                      <a:pt x="141" y="204"/>
                    </a:lnTo>
                    <a:lnTo>
                      <a:pt x="139" y="201"/>
                    </a:lnTo>
                    <a:lnTo>
                      <a:pt x="139" y="201"/>
                    </a:lnTo>
                    <a:lnTo>
                      <a:pt x="139" y="201"/>
                    </a:lnTo>
                    <a:lnTo>
                      <a:pt x="137" y="201"/>
                    </a:lnTo>
                    <a:lnTo>
                      <a:pt x="137" y="201"/>
                    </a:lnTo>
                    <a:lnTo>
                      <a:pt x="137" y="201"/>
                    </a:lnTo>
                    <a:lnTo>
                      <a:pt x="135" y="201"/>
                    </a:lnTo>
                    <a:lnTo>
                      <a:pt x="133" y="200"/>
                    </a:lnTo>
                    <a:lnTo>
                      <a:pt x="131" y="197"/>
                    </a:lnTo>
                    <a:lnTo>
                      <a:pt x="131" y="195"/>
                    </a:lnTo>
                    <a:lnTo>
                      <a:pt x="131" y="193"/>
                    </a:lnTo>
                    <a:lnTo>
                      <a:pt x="131" y="193"/>
                    </a:lnTo>
                    <a:lnTo>
                      <a:pt x="127" y="192"/>
                    </a:lnTo>
                    <a:lnTo>
                      <a:pt x="124" y="187"/>
                    </a:lnTo>
                    <a:lnTo>
                      <a:pt x="124" y="185"/>
                    </a:lnTo>
                    <a:lnTo>
                      <a:pt x="124" y="183"/>
                    </a:lnTo>
                    <a:lnTo>
                      <a:pt x="124" y="183"/>
                    </a:lnTo>
                    <a:lnTo>
                      <a:pt x="119" y="180"/>
                    </a:lnTo>
                    <a:lnTo>
                      <a:pt x="114" y="175"/>
                    </a:lnTo>
                    <a:lnTo>
                      <a:pt x="114" y="175"/>
                    </a:lnTo>
                    <a:lnTo>
                      <a:pt x="114" y="172"/>
                    </a:lnTo>
                    <a:lnTo>
                      <a:pt x="114" y="172"/>
                    </a:lnTo>
                    <a:lnTo>
                      <a:pt x="111" y="165"/>
                    </a:lnTo>
                    <a:lnTo>
                      <a:pt x="112" y="163"/>
                    </a:lnTo>
                    <a:lnTo>
                      <a:pt x="114" y="158"/>
                    </a:lnTo>
                    <a:lnTo>
                      <a:pt x="114" y="159"/>
                    </a:lnTo>
                    <a:lnTo>
                      <a:pt x="114" y="159"/>
                    </a:lnTo>
                    <a:lnTo>
                      <a:pt x="115" y="159"/>
                    </a:lnTo>
                    <a:lnTo>
                      <a:pt x="115" y="159"/>
                    </a:lnTo>
                    <a:lnTo>
                      <a:pt x="118" y="162"/>
                    </a:lnTo>
                    <a:lnTo>
                      <a:pt x="118" y="162"/>
                    </a:lnTo>
                    <a:lnTo>
                      <a:pt x="119" y="162"/>
                    </a:lnTo>
                    <a:lnTo>
                      <a:pt x="119" y="160"/>
                    </a:lnTo>
                    <a:lnTo>
                      <a:pt x="119" y="160"/>
                    </a:lnTo>
                    <a:lnTo>
                      <a:pt x="119" y="160"/>
                    </a:lnTo>
                    <a:lnTo>
                      <a:pt x="116" y="158"/>
                    </a:lnTo>
                    <a:lnTo>
                      <a:pt x="118" y="158"/>
                    </a:lnTo>
                    <a:lnTo>
                      <a:pt x="116" y="158"/>
                    </a:lnTo>
                    <a:lnTo>
                      <a:pt x="115" y="158"/>
                    </a:lnTo>
                    <a:lnTo>
                      <a:pt x="115" y="158"/>
                    </a:lnTo>
                    <a:lnTo>
                      <a:pt x="114" y="158"/>
                    </a:lnTo>
                    <a:lnTo>
                      <a:pt x="110" y="158"/>
                    </a:lnTo>
                    <a:lnTo>
                      <a:pt x="104" y="154"/>
                    </a:lnTo>
                    <a:lnTo>
                      <a:pt x="104" y="154"/>
                    </a:lnTo>
                    <a:lnTo>
                      <a:pt x="106" y="155"/>
                    </a:lnTo>
                    <a:lnTo>
                      <a:pt x="107" y="156"/>
                    </a:lnTo>
                    <a:lnTo>
                      <a:pt x="104" y="156"/>
                    </a:lnTo>
                    <a:lnTo>
                      <a:pt x="104" y="156"/>
                    </a:lnTo>
                    <a:lnTo>
                      <a:pt x="100" y="155"/>
                    </a:lnTo>
                    <a:lnTo>
                      <a:pt x="98" y="155"/>
                    </a:lnTo>
                    <a:lnTo>
                      <a:pt x="94" y="152"/>
                    </a:lnTo>
                    <a:lnTo>
                      <a:pt x="94" y="152"/>
                    </a:lnTo>
                    <a:lnTo>
                      <a:pt x="91" y="150"/>
                    </a:lnTo>
                    <a:lnTo>
                      <a:pt x="91" y="146"/>
                    </a:lnTo>
                    <a:lnTo>
                      <a:pt x="94" y="143"/>
                    </a:lnTo>
                    <a:lnTo>
                      <a:pt x="94" y="143"/>
                    </a:lnTo>
                    <a:lnTo>
                      <a:pt x="95" y="144"/>
                    </a:lnTo>
                    <a:lnTo>
                      <a:pt x="96" y="146"/>
                    </a:lnTo>
                    <a:lnTo>
                      <a:pt x="96" y="144"/>
                    </a:lnTo>
                    <a:lnTo>
                      <a:pt x="95" y="142"/>
                    </a:lnTo>
                    <a:lnTo>
                      <a:pt x="98" y="140"/>
                    </a:lnTo>
                    <a:lnTo>
                      <a:pt x="98" y="139"/>
                    </a:lnTo>
                    <a:lnTo>
                      <a:pt x="98" y="139"/>
                    </a:lnTo>
                    <a:lnTo>
                      <a:pt x="95" y="140"/>
                    </a:lnTo>
                    <a:lnTo>
                      <a:pt x="94" y="142"/>
                    </a:lnTo>
                    <a:lnTo>
                      <a:pt x="91" y="139"/>
                    </a:lnTo>
                    <a:lnTo>
                      <a:pt x="91" y="138"/>
                    </a:lnTo>
                    <a:lnTo>
                      <a:pt x="92" y="134"/>
                    </a:lnTo>
                    <a:lnTo>
                      <a:pt x="92" y="134"/>
                    </a:lnTo>
                    <a:lnTo>
                      <a:pt x="94" y="132"/>
                    </a:lnTo>
                    <a:lnTo>
                      <a:pt x="94" y="132"/>
                    </a:lnTo>
                    <a:lnTo>
                      <a:pt x="92" y="130"/>
                    </a:lnTo>
                    <a:lnTo>
                      <a:pt x="92" y="130"/>
                    </a:lnTo>
                    <a:lnTo>
                      <a:pt x="89" y="127"/>
                    </a:lnTo>
                    <a:lnTo>
                      <a:pt x="89" y="127"/>
                    </a:lnTo>
                    <a:lnTo>
                      <a:pt x="89" y="127"/>
                    </a:lnTo>
                    <a:lnTo>
                      <a:pt x="89" y="127"/>
                    </a:lnTo>
                    <a:lnTo>
                      <a:pt x="86" y="127"/>
                    </a:lnTo>
                    <a:lnTo>
                      <a:pt x="86" y="127"/>
                    </a:lnTo>
                    <a:lnTo>
                      <a:pt x="85" y="127"/>
                    </a:lnTo>
                    <a:lnTo>
                      <a:pt x="79" y="119"/>
                    </a:lnTo>
                    <a:lnTo>
                      <a:pt x="79" y="117"/>
                    </a:lnTo>
                    <a:lnTo>
                      <a:pt x="79" y="117"/>
                    </a:lnTo>
                    <a:lnTo>
                      <a:pt x="82" y="113"/>
                    </a:lnTo>
                    <a:lnTo>
                      <a:pt x="82" y="113"/>
                    </a:lnTo>
                    <a:lnTo>
                      <a:pt x="81" y="113"/>
                    </a:lnTo>
                    <a:lnTo>
                      <a:pt x="81" y="113"/>
                    </a:lnTo>
                    <a:lnTo>
                      <a:pt x="78" y="111"/>
                    </a:lnTo>
                    <a:lnTo>
                      <a:pt x="77" y="111"/>
                    </a:lnTo>
                    <a:lnTo>
                      <a:pt x="77" y="111"/>
                    </a:lnTo>
                    <a:lnTo>
                      <a:pt x="77" y="111"/>
                    </a:lnTo>
                    <a:lnTo>
                      <a:pt x="77" y="111"/>
                    </a:lnTo>
                    <a:lnTo>
                      <a:pt x="77" y="111"/>
                    </a:lnTo>
                    <a:lnTo>
                      <a:pt x="77" y="110"/>
                    </a:lnTo>
                    <a:lnTo>
                      <a:pt x="77" y="110"/>
                    </a:lnTo>
                    <a:lnTo>
                      <a:pt x="74" y="111"/>
                    </a:lnTo>
                    <a:lnTo>
                      <a:pt x="70" y="113"/>
                    </a:lnTo>
                    <a:lnTo>
                      <a:pt x="70" y="113"/>
                    </a:lnTo>
                    <a:lnTo>
                      <a:pt x="67" y="113"/>
                    </a:lnTo>
                    <a:lnTo>
                      <a:pt x="63" y="106"/>
                    </a:lnTo>
                    <a:lnTo>
                      <a:pt x="63" y="106"/>
                    </a:lnTo>
                    <a:lnTo>
                      <a:pt x="63" y="105"/>
                    </a:lnTo>
                    <a:lnTo>
                      <a:pt x="63" y="105"/>
                    </a:lnTo>
                    <a:lnTo>
                      <a:pt x="63" y="106"/>
                    </a:lnTo>
                    <a:lnTo>
                      <a:pt x="66" y="107"/>
                    </a:lnTo>
                    <a:lnTo>
                      <a:pt x="61" y="102"/>
                    </a:lnTo>
                    <a:lnTo>
                      <a:pt x="61" y="102"/>
                    </a:lnTo>
                    <a:lnTo>
                      <a:pt x="61" y="102"/>
                    </a:lnTo>
                    <a:lnTo>
                      <a:pt x="61" y="101"/>
                    </a:lnTo>
                    <a:lnTo>
                      <a:pt x="61" y="101"/>
                    </a:lnTo>
                    <a:lnTo>
                      <a:pt x="58" y="103"/>
                    </a:lnTo>
                    <a:lnTo>
                      <a:pt x="54" y="105"/>
                    </a:lnTo>
                    <a:lnTo>
                      <a:pt x="54" y="105"/>
                    </a:lnTo>
                    <a:lnTo>
                      <a:pt x="51" y="105"/>
                    </a:lnTo>
                    <a:lnTo>
                      <a:pt x="50" y="103"/>
                    </a:lnTo>
                    <a:lnTo>
                      <a:pt x="50" y="103"/>
                    </a:lnTo>
                    <a:lnTo>
                      <a:pt x="50" y="103"/>
                    </a:lnTo>
                    <a:lnTo>
                      <a:pt x="48" y="103"/>
                    </a:lnTo>
                    <a:lnTo>
                      <a:pt x="42" y="97"/>
                    </a:lnTo>
                    <a:lnTo>
                      <a:pt x="42" y="97"/>
                    </a:lnTo>
                    <a:lnTo>
                      <a:pt x="42" y="93"/>
                    </a:lnTo>
                    <a:lnTo>
                      <a:pt x="41" y="93"/>
                    </a:lnTo>
                    <a:lnTo>
                      <a:pt x="41" y="93"/>
                    </a:lnTo>
                    <a:lnTo>
                      <a:pt x="37" y="91"/>
                    </a:lnTo>
                    <a:lnTo>
                      <a:pt x="37" y="91"/>
                    </a:lnTo>
                    <a:lnTo>
                      <a:pt x="40" y="91"/>
                    </a:lnTo>
                    <a:lnTo>
                      <a:pt x="34" y="87"/>
                    </a:lnTo>
                    <a:lnTo>
                      <a:pt x="34" y="89"/>
                    </a:lnTo>
                    <a:lnTo>
                      <a:pt x="34" y="89"/>
                    </a:lnTo>
                    <a:lnTo>
                      <a:pt x="37" y="90"/>
                    </a:lnTo>
                    <a:lnTo>
                      <a:pt x="37" y="90"/>
                    </a:lnTo>
                    <a:lnTo>
                      <a:pt x="37" y="90"/>
                    </a:lnTo>
                    <a:lnTo>
                      <a:pt x="33" y="89"/>
                    </a:lnTo>
                    <a:lnTo>
                      <a:pt x="33" y="89"/>
                    </a:lnTo>
                    <a:lnTo>
                      <a:pt x="33" y="94"/>
                    </a:lnTo>
                    <a:lnTo>
                      <a:pt x="25" y="99"/>
                    </a:lnTo>
                    <a:lnTo>
                      <a:pt x="25" y="99"/>
                    </a:lnTo>
                    <a:lnTo>
                      <a:pt x="21" y="95"/>
                    </a:lnTo>
                    <a:lnTo>
                      <a:pt x="18" y="93"/>
                    </a:lnTo>
                    <a:lnTo>
                      <a:pt x="18" y="93"/>
                    </a:lnTo>
                    <a:lnTo>
                      <a:pt x="16" y="90"/>
                    </a:lnTo>
                    <a:lnTo>
                      <a:pt x="16" y="90"/>
                    </a:lnTo>
                    <a:lnTo>
                      <a:pt x="16" y="90"/>
                    </a:lnTo>
                    <a:lnTo>
                      <a:pt x="16" y="90"/>
                    </a:lnTo>
                    <a:lnTo>
                      <a:pt x="11" y="91"/>
                    </a:lnTo>
                    <a:lnTo>
                      <a:pt x="9" y="91"/>
                    </a:lnTo>
                    <a:lnTo>
                      <a:pt x="3" y="86"/>
                    </a:lnTo>
                    <a:lnTo>
                      <a:pt x="3" y="86"/>
                    </a:lnTo>
                    <a:lnTo>
                      <a:pt x="3" y="85"/>
                    </a:lnTo>
                    <a:lnTo>
                      <a:pt x="3" y="85"/>
                    </a:lnTo>
                    <a:lnTo>
                      <a:pt x="3" y="86"/>
                    </a:lnTo>
                    <a:lnTo>
                      <a:pt x="3" y="86"/>
                    </a:lnTo>
                    <a:lnTo>
                      <a:pt x="0" y="84"/>
                    </a:lnTo>
                    <a:lnTo>
                      <a:pt x="0" y="81"/>
                    </a:lnTo>
                    <a:lnTo>
                      <a:pt x="1" y="77"/>
                    </a:lnTo>
                    <a:lnTo>
                      <a:pt x="7" y="72"/>
                    </a:lnTo>
                    <a:lnTo>
                      <a:pt x="8" y="72"/>
                    </a:lnTo>
                    <a:lnTo>
                      <a:pt x="8" y="72"/>
                    </a:lnTo>
                    <a:lnTo>
                      <a:pt x="11" y="70"/>
                    </a:lnTo>
                    <a:lnTo>
                      <a:pt x="12" y="68"/>
                    </a:lnTo>
                    <a:lnTo>
                      <a:pt x="17" y="64"/>
                    </a:lnTo>
                    <a:lnTo>
                      <a:pt x="18" y="64"/>
                    </a:lnTo>
                    <a:lnTo>
                      <a:pt x="24" y="68"/>
                    </a:lnTo>
                    <a:lnTo>
                      <a:pt x="24" y="68"/>
                    </a:lnTo>
                    <a:lnTo>
                      <a:pt x="22" y="69"/>
                    </a:lnTo>
                    <a:lnTo>
                      <a:pt x="24" y="68"/>
                    </a:lnTo>
                    <a:lnTo>
                      <a:pt x="24" y="68"/>
                    </a:lnTo>
                    <a:lnTo>
                      <a:pt x="24" y="68"/>
                    </a:lnTo>
                    <a:lnTo>
                      <a:pt x="24" y="68"/>
                    </a:lnTo>
                    <a:lnTo>
                      <a:pt x="24" y="68"/>
                    </a:lnTo>
                    <a:lnTo>
                      <a:pt x="24" y="68"/>
                    </a:lnTo>
                    <a:lnTo>
                      <a:pt x="24" y="68"/>
                    </a:lnTo>
                    <a:lnTo>
                      <a:pt x="24" y="68"/>
                    </a:lnTo>
                    <a:lnTo>
                      <a:pt x="24" y="66"/>
                    </a:lnTo>
                    <a:lnTo>
                      <a:pt x="24" y="66"/>
                    </a:lnTo>
                    <a:lnTo>
                      <a:pt x="24" y="66"/>
                    </a:lnTo>
                    <a:lnTo>
                      <a:pt x="24" y="66"/>
                    </a:lnTo>
                    <a:lnTo>
                      <a:pt x="24" y="66"/>
                    </a:lnTo>
                    <a:lnTo>
                      <a:pt x="24" y="66"/>
                    </a:lnTo>
                    <a:lnTo>
                      <a:pt x="24" y="64"/>
                    </a:lnTo>
                    <a:lnTo>
                      <a:pt x="29" y="58"/>
                    </a:lnTo>
                    <a:lnTo>
                      <a:pt x="29" y="58"/>
                    </a:lnTo>
                    <a:lnTo>
                      <a:pt x="29" y="58"/>
                    </a:lnTo>
                    <a:lnTo>
                      <a:pt x="29" y="58"/>
                    </a:lnTo>
                    <a:lnTo>
                      <a:pt x="30" y="58"/>
                    </a:lnTo>
                    <a:lnTo>
                      <a:pt x="30" y="58"/>
                    </a:lnTo>
                    <a:lnTo>
                      <a:pt x="30" y="58"/>
                    </a:lnTo>
                    <a:lnTo>
                      <a:pt x="33" y="58"/>
                    </a:lnTo>
                    <a:lnTo>
                      <a:pt x="33" y="58"/>
                    </a:lnTo>
                    <a:lnTo>
                      <a:pt x="36" y="58"/>
                    </a:lnTo>
                    <a:lnTo>
                      <a:pt x="36" y="58"/>
                    </a:lnTo>
                    <a:lnTo>
                      <a:pt x="37" y="58"/>
                    </a:lnTo>
                    <a:lnTo>
                      <a:pt x="37" y="57"/>
                    </a:lnTo>
                    <a:lnTo>
                      <a:pt x="37" y="57"/>
                    </a:lnTo>
                    <a:lnTo>
                      <a:pt x="40" y="56"/>
                    </a:lnTo>
                    <a:lnTo>
                      <a:pt x="41" y="53"/>
                    </a:lnTo>
                    <a:lnTo>
                      <a:pt x="41" y="53"/>
                    </a:lnTo>
                    <a:lnTo>
                      <a:pt x="46" y="49"/>
                    </a:lnTo>
                    <a:lnTo>
                      <a:pt x="46" y="49"/>
                    </a:lnTo>
                    <a:lnTo>
                      <a:pt x="42" y="46"/>
                    </a:lnTo>
                    <a:lnTo>
                      <a:pt x="40" y="44"/>
                    </a:lnTo>
                    <a:lnTo>
                      <a:pt x="40" y="44"/>
                    </a:lnTo>
                    <a:lnTo>
                      <a:pt x="37" y="43"/>
                    </a:lnTo>
                    <a:lnTo>
                      <a:pt x="33" y="36"/>
                    </a:lnTo>
                    <a:lnTo>
                      <a:pt x="33" y="33"/>
                    </a:lnTo>
                    <a:lnTo>
                      <a:pt x="38" y="28"/>
                    </a:lnTo>
                    <a:lnTo>
                      <a:pt x="44" y="28"/>
                    </a:lnTo>
                    <a:lnTo>
                      <a:pt x="44" y="28"/>
                    </a:lnTo>
                    <a:lnTo>
                      <a:pt x="44" y="25"/>
                    </a:lnTo>
                    <a:lnTo>
                      <a:pt x="44" y="25"/>
                    </a:lnTo>
                    <a:lnTo>
                      <a:pt x="46" y="23"/>
                    </a:lnTo>
                    <a:lnTo>
                      <a:pt x="46" y="23"/>
                    </a:lnTo>
                    <a:lnTo>
                      <a:pt x="46" y="19"/>
                    </a:lnTo>
                    <a:lnTo>
                      <a:pt x="49" y="16"/>
                    </a:lnTo>
                    <a:lnTo>
                      <a:pt x="51" y="13"/>
                    </a:lnTo>
                    <a:lnTo>
                      <a:pt x="57" y="11"/>
                    </a:lnTo>
                    <a:lnTo>
                      <a:pt x="57" y="11"/>
                    </a:lnTo>
                    <a:lnTo>
                      <a:pt x="58" y="11"/>
                    </a:lnTo>
                    <a:lnTo>
                      <a:pt x="58" y="11"/>
                    </a:lnTo>
                    <a:lnTo>
                      <a:pt x="57" y="12"/>
                    </a:lnTo>
                    <a:lnTo>
                      <a:pt x="62" y="8"/>
                    </a:lnTo>
                    <a:lnTo>
                      <a:pt x="63" y="8"/>
                    </a:lnTo>
                    <a:lnTo>
                      <a:pt x="63" y="8"/>
                    </a:lnTo>
                    <a:lnTo>
                      <a:pt x="67" y="7"/>
                    </a:lnTo>
                    <a:lnTo>
                      <a:pt x="71" y="6"/>
                    </a:lnTo>
                    <a:lnTo>
                      <a:pt x="73" y="6"/>
                    </a:lnTo>
                    <a:lnTo>
                      <a:pt x="73" y="6"/>
                    </a:lnTo>
                    <a:lnTo>
                      <a:pt x="77" y="3"/>
                    </a:lnTo>
                    <a:lnTo>
                      <a:pt x="81" y="2"/>
                    </a:lnTo>
                    <a:lnTo>
                      <a:pt x="82" y="2"/>
                    </a:lnTo>
                    <a:lnTo>
                      <a:pt x="82" y="2"/>
                    </a:lnTo>
                    <a:lnTo>
                      <a:pt x="82" y="0"/>
                    </a:lnTo>
                    <a:lnTo>
                      <a:pt x="82" y="0"/>
                    </a:lnTo>
                    <a:lnTo>
                      <a:pt x="87" y="0"/>
                    </a:lnTo>
                    <a:lnTo>
                      <a:pt x="87" y="0"/>
                    </a:lnTo>
                    <a:lnTo>
                      <a:pt x="91" y="0"/>
                    </a:lnTo>
                    <a:lnTo>
                      <a:pt x="94" y="3"/>
                    </a:lnTo>
                    <a:lnTo>
                      <a:pt x="94" y="6"/>
                    </a:lnTo>
                    <a:lnTo>
                      <a:pt x="94" y="6"/>
                    </a:lnTo>
                    <a:lnTo>
                      <a:pt x="100" y="12"/>
                    </a:lnTo>
                    <a:lnTo>
                      <a:pt x="100" y="12"/>
                    </a:lnTo>
                    <a:lnTo>
                      <a:pt x="103" y="16"/>
                    </a:lnTo>
                    <a:lnTo>
                      <a:pt x="107" y="19"/>
                    </a:lnTo>
                    <a:lnTo>
                      <a:pt x="108" y="21"/>
                    </a:lnTo>
                    <a:lnTo>
                      <a:pt x="108" y="21"/>
                    </a:lnTo>
                    <a:lnTo>
                      <a:pt x="107" y="20"/>
                    </a:lnTo>
                    <a:lnTo>
                      <a:pt x="111" y="24"/>
                    </a:lnTo>
                    <a:lnTo>
                      <a:pt x="111" y="24"/>
                    </a:lnTo>
                    <a:lnTo>
                      <a:pt x="111" y="24"/>
                    </a:lnTo>
                    <a:lnTo>
                      <a:pt x="111" y="24"/>
                    </a:lnTo>
                    <a:lnTo>
                      <a:pt x="111" y="24"/>
                    </a:lnTo>
                    <a:lnTo>
                      <a:pt x="112" y="28"/>
                    </a:lnTo>
                    <a:lnTo>
                      <a:pt x="112" y="28"/>
                    </a:lnTo>
                    <a:lnTo>
                      <a:pt x="116" y="31"/>
                    </a:lnTo>
                    <a:lnTo>
                      <a:pt x="119" y="35"/>
                    </a:lnTo>
                    <a:lnTo>
                      <a:pt x="119" y="35"/>
                    </a:lnTo>
                    <a:lnTo>
                      <a:pt x="122" y="39"/>
                    </a:lnTo>
                    <a:lnTo>
                      <a:pt x="126" y="40"/>
                    </a:lnTo>
                    <a:lnTo>
                      <a:pt x="126" y="40"/>
                    </a:lnTo>
                    <a:lnTo>
                      <a:pt x="130" y="40"/>
                    </a:lnTo>
                    <a:lnTo>
                      <a:pt x="130" y="40"/>
                    </a:lnTo>
                    <a:lnTo>
                      <a:pt x="131" y="41"/>
                    </a:lnTo>
                    <a:lnTo>
                      <a:pt x="131" y="41"/>
                    </a:lnTo>
                    <a:lnTo>
                      <a:pt x="133" y="40"/>
                    </a:lnTo>
                    <a:lnTo>
                      <a:pt x="135" y="37"/>
                    </a:lnTo>
                    <a:lnTo>
                      <a:pt x="139" y="31"/>
                    </a:lnTo>
                    <a:lnTo>
                      <a:pt x="139" y="31"/>
                    </a:lnTo>
                    <a:lnTo>
                      <a:pt x="143" y="24"/>
                    </a:lnTo>
                    <a:lnTo>
                      <a:pt x="144" y="23"/>
                    </a:lnTo>
                    <a:lnTo>
                      <a:pt x="144" y="23"/>
                    </a:lnTo>
                    <a:lnTo>
                      <a:pt x="147" y="21"/>
                    </a:lnTo>
                    <a:lnTo>
                      <a:pt x="152" y="20"/>
                    </a:lnTo>
                    <a:lnTo>
                      <a:pt x="157" y="23"/>
                    </a:lnTo>
                    <a:lnTo>
                      <a:pt x="157" y="23"/>
                    </a:lnTo>
                    <a:lnTo>
                      <a:pt x="159" y="24"/>
                    </a:lnTo>
                    <a:lnTo>
                      <a:pt x="159" y="24"/>
                    </a:lnTo>
                    <a:lnTo>
                      <a:pt x="160" y="24"/>
                    </a:lnTo>
                    <a:lnTo>
                      <a:pt x="165" y="20"/>
                    </a:lnTo>
                    <a:lnTo>
                      <a:pt x="168" y="20"/>
                    </a:lnTo>
                    <a:lnTo>
                      <a:pt x="168" y="20"/>
                    </a:lnTo>
                    <a:lnTo>
                      <a:pt x="168" y="20"/>
                    </a:lnTo>
                    <a:lnTo>
                      <a:pt x="168" y="20"/>
                    </a:lnTo>
                    <a:lnTo>
                      <a:pt x="169" y="19"/>
                    </a:lnTo>
                    <a:lnTo>
                      <a:pt x="169" y="16"/>
                    </a:lnTo>
                    <a:lnTo>
                      <a:pt x="174" y="11"/>
                    </a:lnTo>
                    <a:lnTo>
                      <a:pt x="174" y="11"/>
                    </a:lnTo>
                    <a:lnTo>
                      <a:pt x="172" y="12"/>
                    </a:lnTo>
                    <a:lnTo>
                      <a:pt x="170" y="13"/>
                    </a:lnTo>
                    <a:lnTo>
                      <a:pt x="170" y="13"/>
                    </a:lnTo>
                    <a:lnTo>
                      <a:pt x="170" y="12"/>
                    </a:lnTo>
                    <a:lnTo>
                      <a:pt x="170" y="12"/>
                    </a:lnTo>
                    <a:lnTo>
                      <a:pt x="172" y="7"/>
                    </a:lnTo>
                    <a:lnTo>
                      <a:pt x="173" y="4"/>
                    </a:lnTo>
                    <a:lnTo>
                      <a:pt x="176" y="3"/>
                    </a:lnTo>
                    <a:lnTo>
                      <a:pt x="180" y="3"/>
                    </a:lnTo>
                    <a:lnTo>
                      <a:pt x="180" y="3"/>
                    </a:lnTo>
                    <a:lnTo>
                      <a:pt x="184" y="4"/>
                    </a:lnTo>
                    <a:lnTo>
                      <a:pt x="184" y="4"/>
                    </a:lnTo>
                    <a:lnTo>
                      <a:pt x="181" y="4"/>
                    </a:lnTo>
                    <a:lnTo>
                      <a:pt x="186" y="9"/>
                    </a:lnTo>
                    <a:lnTo>
                      <a:pt x="186" y="9"/>
                    </a:lnTo>
                    <a:lnTo>
                      <a:pt x="186" y="8"/>
                    </a:lnTo>
                    <a:lnTo>
                      <a:pt x="185" y="7"/>
                    </a:lnTo>
                    <a:lnTo>
                      <a:pt x="185" y="7"/>
                    </a:lnTo>
                    <a:lnTo>
                      <a:pt x="189" y="9"/>
                    </a:lnTo>
                    <a:lnTo>
                      <a:pt x="189" y="13"/>
                    </a:lnTo>
                    <a:lnTo>
                      <a:pt x="189" y="13"/>
                    </a:lnTo>
                    <a:lnTo>
                      <a:pt x="190" y="15"/>
                    </a:lnTo>
                    <a:lnTo>
                      <a:pt x="190" y="15"/>
                    </a:lnTo>
                    <a:lnTo>
                      <a:pt x="190" y="15"/>
                    </a:lnTo>
                    <a:lnTo>
                      <a:pt x="190" y="15"/>
                    </a:lnTo>
                    <a:lnTo>
                      <a:pt x="189" y="15"/>
                    </a:lnTo>
                    <a:lnTo>
                      <a:pt x="189" y="15"/>
                    </a:lnTo>
                    <a:lnTo>
                      <a:pt x="189" y="16"/>
                    </a:lnTo>
                    <a:lnTo>
                      <a:pt x="193" y="20"/>
                    </a:lnTo>
                    <a:lnTo>
                      <a:pt x="193" y="20"/>
                    </a:lnTo>
                    <a:lnTo>
                      <a:pt x="193" y="20"/>
                    </a:lnTo>
                    <a:lnTo>
                      <a:pt x="193" y="20"/>
                    </a:lnTo>
                    <a:lnTo>
                      <a:pt x="193" y="20"/>
                    </a:lnTo>
                    <a:lnTo>
                      <a:pt x="193" y="20"/>
                    </a:lnTo>
                    <a:lnTo>
                      <a:pt x="193" y="20"/>
                    </a:lnTo>
                    <a:lnTo>
                      <a:pt x="194" y="21"/>
                    </a:lnTo>
                    <a:lnTo>
                      <a:pt x="198" y="24"/>
                    </a:lnTo>
                    <a:lnTo>
                      <a:pt x="198" y="24"/>
                    </a:lnTo>
                    <a:lnTo>
                      <a:pt x="200" y="25"/>
                    </a:lnTo>
                    <a:lnTo>
                      <a:pt x="200" y="25"/>
                    </a:lnTo>
                    <a:lnTo>
                      <a:pt x="201" y="27"/>
                    </a:lnTo>
                    <a:lnTo>
                      <a:pt x="201" y="27"/>
                    </a:lnTo>
                    <a:lnTo>
                      <a:pt x="200" y="28"/>
                    </a:lnTo>
                    <a:lnTo>
                      <a:pt x="200" y="28"/>
                    </a:lnTo>
                    <a:lnTo>
                      <a:pt x="200" y="29"/>
                    </a:lnTo>
                    <a:lnTo>
                      <a:pt x="200" y="32"/>
                    </a:lnTo>
                    <a:lnTo>
                      <a:pt x="201" y="27"/>
                    </a:lnTo>
                    <a:lnTo>
                      <a:pt x="205" y="32"/>
                    </a:lnTo>
                    <a:lnTo>
                      <a:pt x="205" y="32"/>
                    </a:lnTo>
                    <a:lnTo>
                      <a:pt x="205" y="29"/>
                    </a:lnTo>
                    <a:lnTo>
                      <a:pt x="204" y="28"/>
                    </a:lnTo>
                    <a:lnTo>
                      <a:pt x="204" y="28"/>
                    </a:lnTo>
                    <a:lnTo>
                      <a:pt x="202" y="25"/>
                    </a:lnTo>
                    <a:lnTo>
                      <a:pt x="202" y="25"/>
                    </a:lnTo>
                    <a:lnTo>
                      <a:pt x="201" y="27"/>
                    </a:lnTo>
                    <a:lnTo>
                      <a:pt x="201" y="25"/>
                    </a:lnTo>
                    <a:lnTo>
                      <a:pt x="201" y="25"/>
                    </a:lnTo>
                    <a:lnTo>
                      <a:pt x="205" y="24"/>
                    </a:lnTo>
                    <a:lnTo>
                      <a:pt x="209" y="23"/>
                    </a:lnTo>
                    <a:lnTo>
                      <a:pt x="210" y="23"/>
                    </a:lnTo>
                    <a:lnTo>
                      <a:pt x="211" y="23"/>
                    </a:lnTo>
                    <a:lnTo>
                      <a:pt x="211" y="23"/>
                    </a:lnTo>
                    <a:lnTo>
                      <a:pt x="213" y="19"/>
                    </a:lnTo>
                    <a:lnTo>
                      <a:pt x="213" y="19"/>
                    </a:lnTo>
                    <a:lnTo>
                      <a:pt x="214" y="17"/>
                    </a:lnTo>
                    <a:lnTo>
                      <a:pt x="215" y="16"/>
                    </a:lnTo>
                    <a:lnTo>
                      <a:pt x="219" y="15"/>
                    </a:lnTo>
                    <a:lnTo>
                      <a:pt x="219" y="15"/>
                    </a:lnTo>
                    <a:lnTo>
                      <a:pt x="219" y="15"/>
                    </a:lnTo>
                    <a:lnTo>
                      <a:pt x="222" y="12"/>
                    </a:lnTo>
                    <a:lnTo>
                      <a:pt x="222" y="12"/>
                    </a:lnTo>
                    <a:lnTo>
                      <a:pt x="225" y="11"/>
                    </a:lnTo>
                    <a:lnTo>
                      <a:pt x="225" y="9"/>
                    </a:lnTo>
                    <a:lnTo>
                      <a:pt x="226" y="6"/>
                    </a:lnTo>
                    <a:lnTo>
                      <a:pt x="226" y="6"/>
                    </a:lnTo>
                    <a:lnTo>
                      <a:pt x="229" y="3"/>
                    </a:lnTo>
                    <a:lnTo>
                      <a:pt x="234" y="2"/>
                    </a:lnTo>
                    <a:lnTo>
                      <a:pt x="234" y="2"/>
                    </a:lnTo>
                    <a:lnTo>
                      <a:pt x="237" y="3"/>
                    </a:lnTo>
                    <a:lnTo>
                      <a:pt x="238" y="3"/>
                    </a:lnTo>
                    <a:lnTo>
                      <a:pt x="242" y="7"/>
                    </a:lnTo>
                    <a:lnTo>
                      <a:pt x="242" y="7"/>
                    </a:lnTo>
                    <a:lnTo>
                      <a:pt x="245" y="8"/>
                    </a:lnTo>
                    <a:lnTo>
                      <a:pt x="245" y="8"/>
                    </a:lnTo>
                    <a:lnTo>
                      <a:pt x="248" y="8"/>
                    </a:lnTo>
                    <a:lnTo>
                      <a:pt x="256" y="8"/>
                    </a:lnTo>
                    <a:lnTo>
                      <a:pt x="256" y="8"/>
                    </a:lnTo>
                    <a:lnTo>
                      <a:pt x="258" y="7"/>
                    </a:lnTo>
                    <a:lnTo>
                      <a:pt x="258" y="7"/>
                    </a:lnTo>
                    <a:lnTo>
                      <a:pt x="259" y="7"/>
                    </a:lnTo>
                    <a:lnTo>
                      <a:pt x="259" y="7"/>
                    </a:lnTo>
                    <a:lnTo>
                      <a:pt x="258" y="8"/>
                    </a:lnTo>
                    <a:lnTo>
                      <a:pt x="267" y="7"/>
                    </a:lnTo>
                    <a:lnTo>
                      <a:pt x="267" y="7"/>
                    </a:lnTo>
                    <a:lnTo>
                      <a:pt x="268" y="7"/>
                    </a:lnTo>
                    <a:lnTo>
                      <a:pt x="268" y="7"/>
                    </a:lnTo>
                    <a:lnTo>
                      <a:pt x="272" y="11"/>
                    </a:lnTo>
                    <a:lnTo>
                      <a:pt x="274" y="13"/>
                    </a:lnTo>
                    <a:lnTo>
                      <a:pt x="275" y="16"/>
                    </a:lnTo>
                    <a:lnTo>
                      <a:pt x="275" y="16"/>
                    </a:lnTo>
                    <a:lnTo>
                      <a:pt x="276" y="19"/>
                    </a:lnTo>
                    <a:lnTo>
                      <a:pt x="279" y="20"/>
                    </a:lnTo>
                    <a:lnTo>
                      <a:pt x="279" y="20"/>
                    </a:lnTo>
                    <a:lnTo>
                      <a:pt x="278" y="19"/>
                    </a:lnTo>
                    <a:lnTo>
                      <a:pt x="276" y="17"/>
                    </a:lnTo>
                    <a:lnTo>
                      <a:pt x="276" y="17"/>
                    </a:lnTo>
                    <a:lnTo>
                      <a:pt x="276" y="17"/>
                    </a:lnTo>
                    <a:lnTo>
                      <a:pt x="276" y="17"/>
                    </a:lnTo>
                    <a:lnTo>
                      <a:pt x="279" y="17"/>
                    </a:lnTo>
                    <a:lnTo>
                      <a:pt x="279" y="17"/>
                    </a:lnTo>
                    <a:lnTo>
                      <a:pt x="282" y="17"/>
                    </a:lnTo>
                    <a:lnTo>
                      <a:pt x="282" y="17"/>
                    </a:lnTo>
                    <a:lnTo>
                      <a:pt x="286" y="17"/>
                    </a:lnTo>
                    <a:lnTo>
                      <a:pt x="286" y="20"/>
                    </a:lnTo>
                    <a:lnTo>
                      <a:pt x="286" y="20"/>
                    </a:lnTo>
                    <a:lnTo>
                      <a:pt x="284" y="21"/>
                    </a:lnTo>
                    <a:lnTo>
                      <a:pt x="284" y="21"/>
                    </a:lnTo>
                    <a:lnTo>
                      <a:pt x="284" y="23"/>
                    </a:lnTo>
                    <a:lnTo>
                      <a:pt x="284" y="25"/>
                    </a:lnTo>
                    <a:lnTo>
                      <a:pt x="287" y="21"/>
                    </a:lnTo>
                    <a:lnTo>
                      <a:pt x="289" y="25"/>
                    </a:lnTo>
                    <a:lnTo>
                      <a:pt x="289" y="25"/>
                    </a:lnTo>
                    <a:lnTo>
                      <a:pt x="289" y="23"/>
                    </a:lnTo>
                    <a:lnTo>
                      <a:pt x="288" y="21"/>
                    </a:lnTo>
                    <a:lnTo>
                      <a:pt x="288" y="21"/>
                    </a:lnTo>
                    <a:lnTo>
                      <a:pt x="288" y="20"/>
                    </a:lnTo>
                    <a:lnTo>
                      <a:pt x="289" y="17"/>
                    </a:lnTo>
                    <a:lnTo>
                      <a:pt x="292" y="17"/>
                    </a:lnTo>
                    <a:lnTo>
                      <a:pt x="292" y="17"/>
                    </a:lnTo>
                    <a:lnTo>
                      <a:pt x="293" y="17"/>
                    </a:lnTo>
                    <a:lnTo>
                      <a:pt x="293" y="17"/>
                    </a:lnTo>
                    <a:lnTo>
                      <a:pt x="296" y="17"/>
                    </a:lnTo>
                    <a:lnTo>
                      <a:pt x="296" y="17"/>
                    </a:lnTo>
                    <a:lnTo>
                      <a:pt x="297" y="17"/>
                    </a:lnTo>
                    <a:lnTo>
                      <a:pt x="297" y="17"/>
                    </a:lnTo>
                    <a:lnTo>
                      <a:pt x="296" y="19"/>
                    </a:lnTo>
                    <a:lnTo>
                      <a:pt x="293" y="23"/>
                    </a:lnTo>
                    <a:lnTo>
                      <a:pt x="300" y="16"/>
                    </a:lnTo>
                    <a:lnTo>
                      <a:pt x="301" y="16"/>
                    </a:lnTo>
                    <a:lnTo>
                      <a:pt x="301" y="16"/>
                    </a:lnTo>
                    <a:lnTo>
                      <a:pt x="304" y="16"/>
                    </a:lnTo>
                    <a:lnTo>
                      <a:pt x="304" y="16"/>
                    </a:lnTo>
                    <a:lnTo>
                      <a:pt x="307" y="16"/>
                    </a:lnTo>
                    <a:lnTo>
                      <a:pt x="307" y="16"/>
                    </a:lnTo>
                    <a:lnTo>
                      <a:pt x="308" y="16"/>
                    </a:lnTo>
                    <a:lnTo>
                      <a:pt x="308" y="16"/>
                    </a:lnTo>
                    <a:lnTo>
                      <a:pt x="305" y="17"/>
                    </a:lnTo>
                    <a:lnTo>
                      <a:pt x="304" y="21"/>
                    </a:lnTo>
                    <a:lnTo>
                      <a:pt x="311" y="15"/>
                    </a:lnTo>
                    <a:lnTo>
                      <a:pt x="312" y="15"/>
                    </a:lnTo>
                    <a:lnTo>
                      <a:pt x="312" y="15"/>
                    </a:lnTo>
                    <a:lnTo>
                      <a:pt x="315" y="15"/>
                    </a:lnTo>
                    <a:lnTo>
                      <a:pt x="315" y="15"/>
                    </a:lnTo>
                    <a:lnTo>
                      <a:pt x="317" y="15"/>
                    </a:lnTo>
                    <a:lnTo>
                      <a:pt x="317" y="15"/>
                    </a:lnTo>
                    <a:lnTo>
                      <a:pt x="319" y="15"/>
                    </a:lnTo>
                    <a:lnTo>
                      <a:pt x="319" y="15"/>
                    </a:lnTo>
                    <a:lnTo>
                      <a:pt x="316" y="16"/>
                    </a:lnTo>
                    <a:lnTo>
                      <a:pt x="315" y="20"/>
                    </a:lnTo>
                    <a:lnTo>
                      <a:pt x="320" y="13"/>
                    </a:lnTo>
                    <a:lnTo>
                      <a:pt x="323" y="13"/>
                    </a:lnTo>
                    <a:lnTo>
                      <a:pt x="324" y="13"/>
                    </a:lnTo>
                    <a:lnTo>
                      <a:pt x="324" y="13"/>
                    </a:lnTo>
                    <a:lnTo>
                      <a:pt x="325" y="13"/>
                    </a:lnTo>
                    <a:lnTo>
                      <a:pt x="325" y="15"/>
                    </a:lnTo>
                    <a:lnTo>
                      <a:pt x="333" y="9"/>
                    </a:lnTo>
                    <a:lnTo>
                      <a:pt x="333" y="9"/>
                    </a:lnTo>
                    <a:lnTo>
                      <a:pt x="336" y="11"/>
                    </a:lnTo>
                    <a:lnTo>
                      <a:pt x="336" y="11"/>
                    </a:lnTo>
                    <a:lnTo>
                      <a:pt x="337" y="12"/>
                    </a:lnTo>
                    <a:lnTo>
                      <a:pt x="337" y="12"/>
                    </a:lnTo>
                    <a:lnTo>
                      <a:pt x="341" y="15"/>
                    </a:lnTo>
                    <a:lnTo>
                      <a:pt x="341" y="15"/>
                    </a:lnTo>
                    <a:lnTo>
                      <a:pt x="341" y="15"/>
                    </a:lnTo>
                    <a:lnTo>
                      <a:pt x="342" y="15"/>
                    </a:lnTo>
                    <a:lnTo>
                      <a:pt x="342" y="15"/>
                    </a:lnTo>
                    <a:lnTo>
                      <a:pt x="342" y="15"/>
                    </a:lnTo>
                    <a:lnTo>
                      <a:pt x="342" y="15"/>
                    </a:lnTo>
                    <a:lnTo>
                      <a:pt x="346" y="16"/>
                    </a:lnTo>
                    <a:lnTo>
                      <a:pt x="348" y="17"/>
                    </a:lnTo>
                    <a:lnTo>
                      <a:pt x="348" y="17"/>
                    </a:lnTo>
                    <a:lnTo>
                      <a:pt x="348" y="17"/>
                    </a:lnTo>
                    <a:lnTo>
                      <a:pt x="346" y="16"/>
                    </a:lnTo>
                    <a:lnTo>
                      <a:pt x="352" y="23"/>
                    </a:lnTo>
                    <a:lnTo>
                      <a:pt x="352" y="28"/>
                    </a:lnTo>
                    <a:lnTo>
                      <a:pt x="350" y="29"/>
                    </a:lnTo>
                    <a:lnTo>
                      <a:pt x="350" y="29"/>
                    </a:lnTo>
                    <a:lnTo>
                      <a:pt x="352" y="29"/>
                    </a:lnTo>
                    <a:lnTo>
                      <a:pt x="352" y="29"/>
                    </a:lnTo>
                    <a:lnTo>
                      <a:pt x="350" y="29"/>
                    </a:lnTo>
                    <a:lnTo>
                      <a:pt x="350" y="29"/>
                    </a:lnTo>
                    <a:lnTo>
                      <a:pt x="350" y="29"/>
                    </a:lnTo>
                    <a:lnTo>
                      <a:pt x="354" y="28"/>
                    </a:lnTo>
                    <a:lnTo>
                      <a:pt x="354" y="28"/>
                    </a:lnTo>
                    <a:lnTo>
                      <a:pt x="354" y="28"/>
                    </a:lnTo>
                    <a:lnTo>
                      <a:pt x="357" y="25"/>
                    </a:lnTo>
                    <a:lnTo>
                      <a:pt x="361" y="25"/>
                    </a:lnTo>
                    <a:lnTo>
                      <a:pt x="361" y="25"/>
                    </a:lnTo>
                    <a:lnTo>
                      <a:pt x="364" y="25"/>
                    </a:lnTo>
                    <a:lnTo>
                      <a:pt x="366" y="27"/>
                    </a:lnTo>
                    <a:lnTo>
                      <a:pt x="369" y="29"/>
                    </a:lnTo>
                    <a:lnTo>
                      <a:pt x="369" y="29"/>
                    </a:lnTo>
                    <a:lnTo>
                      <a:pt x="371" y="28"/>
                    </a:lnTo>
                    <a:lnTo>
                      <a:pt x="375" y="28"/>
                    </a:lnTo>
                    <a:lnTo>
                      <a:pt x="377" y="28"/>
                    </a:lnTo>
                    <a:lnTo>
                      <a:pt x="379" y="29"/>
                    </a:lnTo>
                    <a:lnTo>
                      <a:pt x="379" y="29"/>
                    </a:lnTo>
                    <a:lnTo>
                      <a:pt x="381" y="29"/>
                    </a:lnTo>
                    <a:lnTo>
                      <a:pt x="381" y="29"/>
                    </a:lnTo>
                    <a:lnTo>
                      <a:pt x="383" y="31"/>
                    </a:lnTo>
                    <a:lnTo>
                      <a:pt x="386" y="32"/>
                    </a:lnTo>
                    <a:lnTo>
                      <a:pt x="386" y="32"/>
                    </a:lnTo>
                    <a:lnTo>
                      <a:pt x="386" y="32"/>
                    </a:lnTo>
                    <a:lnTo>
                      <a:pt x="390" y="33"/>
                    </a:lnTo>
                    <a:lnTo>
                      <a:pt x="391" y="35"/>
                    </a:lnTo>
                    <a:lnTo>
                      <a:pt x="393" y="36"/>
                    </a:lnTo>
                    <a:lnTo>
                      <a:pt x="394" y="39"/>
                    </a:lnTo>
                    <a:lnTo>
                      <a:pt x="394" y="40"/>
                    </a:lnTo>
                    <a:lnTo>
                      <a:pt x="393" y="41"/>
                    </a:lnTo>
                    <a:lnTo>
                      <a:pt x="393" y="41"/>
                    </a:lnTo>
                    <a:lnTo>
                      <a:pt x="399" y="44"/>
                    </a:lnTo>
                    <a:lnTo>
                      <a:pt x="399" y="44"/>
                    </a:lnTo>
                    <a:lnTo>
                      <a:pt x="405" y="46"/>
                    </a:lnTo>
                    <a:lnTo>
                      <a:pt x="408" y="49"/>
                    </a:lnTo>
                    <a:lnTo>
                      <a:pt x="410" y="49"/>
                    </a:lnTo>
                    <a:lnTo>
                      <a:pt x="410" y="49"/>
                    </a:lnTo>
                    <a:lnTo>
                      <a:pt x="414" y="46"/>
                    </a:lnTo>
                    <a:lnTo>
                      <a:pt x="414" y="46"/>
                    </a:lnTo>
                    <a:lnTo>
                      <a:pt x="418" y="43"/>
                    </a:lnTo>
                    <a:lnTo>
                      <a:pt x="420" y="41"/>
                    </a:lnTo>
                    <a:lnTo>
                      <a:pt x="422" y="41"/>
                    </a:lnTo>
                    <a:lnTo>
                      <a:pt x="422" y="41"/>
                    </a:lnTo>
                    <a:lnTo>
                      <a:pt x="423" y="41"/>
                    </a:lnTo>
                    <a:lnTo>
                      <a:pt x="423" y="41"/>
                    </a:lnTo>
                    <a:lnTo>
                      <a:pt x="426" y="41"/>
                    </a:lnTo>
                    <a:lnTo>
                      <a:pt x="426" y="41"/>
                    </a:lnTo>
                    <a:lnTo>
                      <a:pt x="427" y="43"/>
                    </a:lnTo>
                    <a:lnTo>
                      <a:pt x="427" y="43"/>
                    </a:lnTo>
                    <a:lnTo>
                      <a:pt x="426" y="43"/>
                    </a:lnTo>
                    <a:lnTo>
                      <a:pt x="423" y="44"/>
                    </a:lnTo>
                    <a:lnTo>
                      <a:pt x="423" y="44"/>
                    </a:lnTo>
                    <a:lnTo>
                      <a:pt x="422" y="46"/>
                    </a:lnTo>
                    <a:lnTo>
                      <a:pt x="434" y="45"/>
                    </a:lnTo>
                    <a:lnTo>
                      <a:pt x="434" y="45"/>
                    </a:lnTo>
                    <a:lnTo>
                      <a:pt x="435" y="50"/>
                    </a:lnTo>
                    <a:lnTo>
                      <a:pt x="434" y="54"/>
                    </a:lnTo>
                    <a:lnTo>
                      <a:pt x="427" y="64"/>
                    </a:lnTo>
                    <a:lnTo>
                      <a:pt x="427" y="64"/>
                    </a:lnTo>
                    <a:lnTo>
                      <a:pt x="426" y="66"/>
                    </a:lnTo>
                    <a:lnTo>
                      <a:pt x="424" y="68"/>
                    </a:lnTo>
                    <a:lnTo>
                      <a:pt x="424" y="68"/>
                    </a:lnTo>
                    <a:lnTo>
                      <a:pt x="423" y="72"/>
                    </a:lnTo>
                    <a:lnTo>
                      <a:pt x="420" y="73"/>
                    </a:lnTo>
                    <a:lnTo>
                      <a:pt x="418" y="74"/>
                    </a:lnTo>
                    <a:lnTo>
                      <a:pt x="418" y="74"/>
                    </a:lnTo>
                    <a:lnTo>
                      <a:pt x="418" y="74"/>
                    </a:lnTo>
                    <a:lnTo>
                      <a:pt x="410" y="81"/>
                    </a:lnTo>
                    <a:lnTo>
                      <a:pt x="403" y="87"/>
                    </a:lnTo>
                    <a:lnTo>
                      <a:pt x="401" y="89"/>
                    </a:lnTo>
                    <a:lnTo>
                      <a:pt x="401" y="89"/>
                    </a:lnTo>
                    <a:lnTo>
                      <a:pt x="401" y="89"/>
                    </a:lnTo>
                    <a:lnTo>
                      <a:pt x="397" y="91"/>
                    </a:lnTo>
                    <a:lnTo>
                      <a:pt x="397" y="91"/>
                    </a:lnTo>
                    <a:lnTo>
                      <a:pt x="397" y="91"/>
                    </a:lnTo>
                    <a:lnTo>
                      <a:pt x="397" y="91"/>
                    </a:lnTo>
                    <a:lnTo>
                      <a:pt x="397" y="90"/>
                    </a:lnTo>
                    <a:lnTo>
                      <a:pt x="397" y="90"/>
                    </a:lnTo>
                    <a:lnTo>
                      <a:pt x="397" y="90"/>
                    </a:lnTo>
                    <a:lnTo>
                      <a:pt x="394" y="93"/>
                    </a:lnTo>
                    <a:lnTo>
                      <a:pt x="394" y="93"/>
                    </a:lnTo>
                    <a:lnTo>
                      <a:pt x="394" y="93"/>
                    </a:lnTo>
                    <a:lnTo>
                      <a:pt x="377" y="107"/>
                    </a:lnTo>
                    <a:lnTo>
                      <a:pt x="361" y="124"/>
                    </a:lnTo>
                    <a:lnTo>
                      <a:pt x="358" y="126"/>
                    </a:lnTo>
                    <a:lnTo>
                      <a:pt x="358" y="126"/>
                    </a:lnTo>
                    <a:lnTo>
                      <a:pt x="350" y="132"/>
                    </a:lnTo>
                    <a:lnTo>
                      <a:pt x="350" y="132"/>
                    </a:lnTo>
                    <a:lnTo>
                      <a:pt x="344" y="138"/>
                    </a:lnTo>
                    <a:lnTo>
                      <a:pt x="338" y="144"/>
                    </a:lnTo>
                    <a:lnTo>
                      <a:pt x="336" y="146"/>
                    </a:lnTo>
                    <a:lnTo>
                      <a:pt x="336" y="146"/>
                    </a:lnTo>
                    <a:lnTo>
                      <a:pt x="330" y="148"/>
                    </a:lnTo>
                    <a:lnTo>
                      <a:pt x="330" y="148"/>
                    </a:lnTo>
                    <a:lnTo>
                      <a:pt x="329" y="150"/>
                    </a:lnTo>
                    <a:lnTo>
                      <a:pt x="324" y="151"/>
                    </a:lnTo>
                    <a:lnTo>
                      <a:pt x="323" y="151"/>
                    </a:lnTo>
                    <a:lnTo>
                      <a:pt x="323" y="151"/>
                    </a:lnTo>
                    <a:lnTo>
                      <a:pt x="323" y="152"/>
                    </a:lnTo>
                    <a:lnTo>
                      <a:pt x="323" y="152"/>
                    </a:lnTo>
                    <a:lnTo>
                      <a:pt x="324" y="151"/>
                    </a:lnTo>
                    <a:lnTo>
                      <a:pt x="320" y="154"/>
                    </a:lnTo>
                    <a:lnTo>
                      <a:pt x="320" y="154"/>
                    </a:lnTo>
                    <a:lnTo>
                      <a:pt x="321" y="154"/>
                    </a:lnTo>
                    <a:lnTo>
                      <a:pt x="321" y="154"/>
                    </a:lnTo>
                    <a:lnTo>
                      <a:pt x="319" y="155"/>
                    </a:lnTo>
                    <a:lnTo>
                      <a:pt x="316" y="155"/>
                    </a:lnTo>
                    <a:lnTo>
                      <a:pt x="316" y="155"/>
                    </a:lnTo>
                    <a:lnTo>
                      <a:pt x="316" y="155"/>
                    </a:lnTo>
                    <a:lnTo>
                      <a:pt x="316" y="155"/>
                    </a:lnTo>
                    <a:lnTo>
                      <a:pt x="313" y="156"/>
                    </a:lnTo>
                    <a:lnTo>
                      <a:pt x="311" y="158"/>
                    </a:lnTo>
                    <a:lnTo>
                      <a:pt x="311" y="158"/>
                    </a:lnTo>
                    <a:lnTo>
                      <a:pt x="307" y="159"/>
                    </a:lnTo>
                    <a:lnTo>
                      <a:pt x="307" y="159"/>
                    </a:lnTo>
                    <a:lnTo>
                      <a:pt x="301" y="160"/>
                    </a:lnTo>
                    <a:lnTo>
                      <a:pt x="297" y="162"/>
                    </a:lnTo>
                    <a:lnTo>
                      <a:pt x="297" y="162"/>
                    </a:lnTo>
                    <a:lnTo>
                      <a:pt x="295" y="162"/>
                    </a:lnTo>
                    <a:lnTo>
                      <a:pt x="293" y="162"/>
                    </a:lnTo>
                    <a:lnTo>
                      <a:pt x="293" y="162"/>
                    </a:lnTo>
                    <a:lnTo>
                      <a:pt x="288" y="163"/>
                    </a:lnTo>
                    <a:lnTo>
                      <a:pt x="288" y="163"/>
                    </a:lnTo>
                    <a:lnTo>
                      <a:pt x="286" y="163"/>
                    </a:lnTo>
                    <a:lnTo>
                      <a:pt x="286" y="163"/>
                    </a:lnTo>
                    <a:lnTo>
                      <a:pt x="287" y="162"/>
                    </a:lnTo>
                    <a:lnTo>
                      <a:pt x="286" y="162"/>
                    </a:lnTo>
                    <a:lnTo>
                      <a:pt x="286" y="162"/>
                    </a:lnTo>
                    <a:lnTo>
                      <a:pt x="287" y="160"/>
                    </a:lnTo>
                    <a:lnTo>
                      <a:pt x="282" y="164"/>
                    </a:lnTo>
                    <a:lnTo>
                      <a:pt x="282" y="164"/>
                    </a:lnTo>
                    <a:lnTo>
                      <a:pt x="282" y="164"/>
                    </a:lnTo>
                    <a:lnTo>
                      <a:pt x="280" y="165"/>
                    </a:lnTo>
                    <a:lnTo>
                      <a:pt x="280" y="165"/>
                    </a:lnTo>
                    <a:lnTo>
                      <a:pt x="280" y="165"/>
                    </a:lnTo>
                    <a:lnTo>
                      <a:pt x="280" y="165"/>
                    </a:lnTo>
                    <a:lnTo>
                      <a:pt x="278" y="167"/>
                    </a:lnTo>
                    <a:lnTo>
                      <a:pt x="275" y="167"/>
                    </a:lnTo>
                    <a:lnTo>
                      <a:pt x="275" y="167"/>
                    </a:lnTo>
                    <a:lnTo>
                      <a:pt x="274" y="167"/>
                    </a:lnTo>
                    <a:lnTo>
                      <a:pt x="274" y="167"/>
                    </a:lnTo>
                    <a:lnTo>
                      <a:pt x="271" y="168"/>
                    </a:lnTo>
                    <a:lnTo>
                      <a:pt x="268" y="171"/>
                    </a:lnTo>
                    <a:lnTo>
                      <a:pt x="262" y="176"/>
                    </a:lnTo>
                    <a:lnTo>
                      <a:pt x="262" y="176"/>
                    </a:lnTo>
                    <a:lnTo>
                      <a:pt x="258" y="181"/>
                    </a:lnTo>
                    <a:lnTo>
                      <a:pt x="252" y="187"/>
                    </a:lnTo>
                    <a:lnTo>
                      <a:pt x="246" y="191"/>
                    </a:lnTo>
                    <a:lnTo>
                      <a:pt x="237" y="192"/>
                    </a:lnTo>
                    <a:lnTo>
                      <a:pt x="237" y="192"/>
                    </a:lnTo>
                    <a:lnTo>
                      <a:pt x="230" y="191"/>
                    </a:lnTo>
                    <a:lnTo>
                      <a:pt x="227" y="191"/>
                    </a:lnTo>
                    <a:lnTo>
                      <a:pt x="226" y="189"/>
                    </a:lnTo>
                    <a:lnTo>
                      <a:pt x="226" y="189"/>
                    </a:lnTo>
                    <a:lnTo>
                      <a:pt x="227" y="187"/>
                    </a:lnTo>
                    <a:lnTo>
                      <a:pt x="227" y="187"/>
                    </a:lnTo>
                    <a:lnTo>
                      <a:pt x="229" y="185"/>
                    </a:lnTo>
                    <a:lnTo>
                      <a:pt x="229" y="183"/>
                    </a:lnTo>
                    <a:lnTo>
                      <a:pt x="225" y="187"/>
                    </a:lnTo>
                    <a:lnTo>
                      <a:pt x="222" y="183"/>
                    </a:lnTo>
                    <a:lnTo>
                      <a:pt x="222" y="183"/>
                    </a:lnTo>
                    <a:lnTo>
                      <a:pt x="222" y="185"/>
                    </a:lnTo>
                    <a:lnTo>
                      <a:pt x="222" y="187"/>
                    </a:lnTo>
                    <a:lnTo>
                      <a:pt x="222" y="187"/>
                    </a:lnTo>
                    <a:lnTo>
                      <a:pt x="223" y="189"/>
                    </a:lnTo>
                    <a:lnTo>
                      <a:pt x="222" y="191"/>
                    </a:lnTo>
                    <a:lnTo>
                      <a:pt x="221" y="191"/>
                    </a:lnTo>
                    <a:lnTo>
                      <a:pt x="221" y="191"/>
                    </a:lnTo>
                    <a:lnTo>
                      <a:pt x="217" y="191"/>
                    </a:lnTo>
                    <a:lnTo>
                      <a:pt x="213" y="188"/>
                    </a:lnTo>
                    <a:lnTo>
                      <a:pt x="208" y="185"/>
                    </a:lnTo>
                    <a:lnTo>
                      <a:pt x="208" y="185"/>
                    </a:lnTo>
                    <a:lnTo>
                      <a:pt x="204" y="181"/>
                    </a:lnTo>
                    <a:lnTo>
                      <a:pt x="204" y="181"/>
                    </a:lnTo>
                    <a:lnTo>
                      <a:pt x="200" y="180"/>
                    </a:lnTo>
                    <a:lnTo>
                      <a:pt x="200" y="180"/>
                    </a:lnTo>
                    <a:lnTo>
                      <a:pt x="194" y="172"/>
                    </a:lnTo>
                    <a:lnTo>
                      <a:pt x="193" y="171"/>
                    </a:lnTo>
                    <a:lnTo>
                      <a:pt x="193" y="171"/>
                    </a:lnTo>
                    <a:lnTo>
                      <a:pt x="193" y="171"/>
                    </a:lnTo>
                    <a:lnTo>
                      <a:pt x="193" y="171"/>
                    </a:lnTo>
                    <a:lnTo>
                      <a:pt x="188" y="172"/>
                    </a:lnTo>
                    <a:lnTo>
                      <a:pt x="188" y="172"/>
                    </a:lnTo>
                    <a:lnTo>
                      <a:pt x="185" y="172"/>
                    </a:lnTo>
                    <a:lnTo>
                      <a:pt x="185" y="172"/>
                    </a:lnTo>
                    <a:lnTo>
                      <a:pt x="184" y="172"/>
                    </a:lnTo>
                    <a:lnTo>
                      <a:pt x="184" y="172"/>
                    </a:lnTo>
                    <a:lnTo>
                      <a:pt x="180" y="172"/>
                    </a:lnTo>
                    <a:lnTo>
                      <a:pt x="180" y="172"/>
                    </a:lnTo>
                    <a:lnTo>
                      <a:pt x="180" y="172"/>
                    </a:lnTo>
                    <a:lnTo>
                      <a:pt x="180" y="172"/>
                    </a:lnTo>
                    <a:lnTo>
                      <a:pt x="181" y="171"/>
                    </a:lnTo>
                    <a:lnTo>
                      <a:pt x="181" y="168"/>
                    </a:lnTo>
                    <a:lnTo>
                      <a:pt x="177" y="173"/>
                    </a:lnTo>
                    <a:lnTo>
                      <a:pt x="177" y="173"/>
                    </a:lnTo>
                    <a:lnTo>
                      <a:pt x="177" y="173"/>
                    </a:lnTo>
                    <a:lnTo>
                      <a:pt x="178" y="172"/>
                    </a:lnTo>
                    <a:lnTo>
                      <a:pt x="178" y="172"/>
                    </a:lnTo>
                    <a:lnTo>
                      <a:pt x="178" y="177"/>
                    </a:lnTo>
                    <a:lnTo>
                      <a:pt x="178" y="177"/>
                    </a:lnTo>
                    <a:lnTo>
                      <a:pt x="178" y="177"/>
                    </a:lnTo>
                    <a:lnTo>
                      <a:pt x="177" y="183"/>
                    </a:lnTo>
                    <a:lnTo>
                      <a:pt x="176" y="185"/>
                    </a:lnTo>
                    <a:lnTo>
                      <a:pt x="177" y="188"/>
                    </a:lnTo>
                    <a:lnTo>
                      <a:pt x="177" y="189"/>
                    </a:lnTo>
                    <a:lnTo>
                      <a:pt x="170" y="196"/>
                    </a:lnTo>
                    <a:lnTo>
                      <a:pt x="169" y="196"/>
                    </a:lnTo>
                    <a:lnTo>
                      <a:pt x="169" y="196"/>
                    </a:lnTo>
                    <a:lnTo>
                      <a:pt x="168" y="196"/>
                    </a:lnTo>
                    <a:lnTo>
                      <a:pt x="167" y="197"/>
                    </a:lnTo>
                    <a:lnTo>
                      <a:pt x="165" y="199"/>
                    </a:lnTo>
                    <a:lnTo>
                      <a:pt x="164" y="202"/>
                    </a:lnTo>
                    <a:lnTo>
                      <a:pt x="157" y="208"/>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5" name="Freeform 40">
                <a:extLst>
                  <a:ext uri="{FF2B5EF4-FFF2-40B4-BE49-F238E27FC236}">
                    <a16:creationId xmlns:a16="http://schemas.microsoft.com/office/drawing/2014/main" xmlns="" id="{3FA5CD61-E7D0-4E05-8D79-FA4C2782A84F}"/>
                  </a:ext>
                </a:extLst>
              </p:cNvPr>
              <p:cNvSpPr>
                <a:spLocks/>
              </p:cNvSpPr>
              <p:nvPr/>
            </p:nvSpPr>
            <p:spPr bwMode="auto">
              <a:xfrm>
                <a:off x="7065217" y="3825548"/>
                <a:ext cx="416117" cy="367367"/>
              </a:xfrm>
              <a:custGeom>
                <a:avLst/>
                <a:gdLst>
                  <a:gd name="T0" fmla="*/ 22 w 239"/>
                  <a:gd name="T1" fmla="*/ 199 h 211"/>
                  <a:gd name="T2" fmla="*/ 10 w 239"/>
                  <a:gd name="T3" fmla="*/ 194 h 211"/>
                  <a:gd name="T4" fmla="*/ 4 w 239"/>
                  <a:gd name="T5" fmla="*/ 195 h 211"/>
                  <a:gd name="T6" fmla="*/ 18 w 239"/>
                  <a:gd name="T7" fmla="*/ 168 h 211"/>
                  <a:gd name="T8" fmla="*/ 32 w 239"/>
                  <a:gd name="T9" fmla="*/ 153 h 211"/>
                  <a:gd name="T10" fmla="*/ 47 w 239"/>
                  <a:gd name="T11" fmla="*/ 150 h 211"/>
                  <a:gd name="T12" fmla="*/ 50 w 239"/>
                  <a:gd name="T13" fmla="*/ 114 h 211"/>
                  <a:gd name="T14" fmla="*/ 62 w 239"/>
                  <a:gd name="T15" fmla="*/ 112 h 211"/>
                  <a:gd name="T16" fmla="*/ 69 w 239"/>
                  <a:gd name="T17" fmla="*/ 116 h 211"/>
                  <a:gd name="T18" fmla="*/ 70 w 239"/>
                  <a:gd name="T19" fmla="*/ 114 h 211"/>
                  <a:gd name="T20" fmla="*/ 62 w 239"/>
                  <a:gd name="T21" fmla="*/ 92 h 211"/>
                  <a:gd name="T22" fmla="*/ 50 w 239"/>
                  <a:gd name="T23" fmla="*/ 86 h 211"/>
                  <a:gd name="T24" fmla="*/ 44 w 239"/>
                  <a:gd name="T25" fmla="*/ 77 h 211"/>
                  <a:gd name="T26" fmla="*/ 53 w 239"/>
                  <a:gd name="T27" fmla="*/ 71 h 211"/>
                  <a:gd name="T28" fmla="*/ 62 w 239"/>
                  <a:gd name="T29" fmla="*/ 61 h 211"/>
                  <a:gd name="T30" fmla="*/ 70 w 239"/>
                  <a:gd name="T31" fmla="*/ 63 h 211"/>
                  <a:gd name="T32" fmla="*/ 79 w 239"/>
                  <a:gd name="T33" fmla="*/ 57 h 211"/>
                  <a:gd name="T34" fmla="*/ 78 w 239"/>
                  <a:gd name="T35" fmla="*/ 49 h 211"/>
                  <a:gd name="T36" fmla="*/ 77 w 239"/>
                  <a:gd name="T37" fmla="*/ 43 h 211"/>
                  <a:gd name="T38" fmla="*/ 71 w 239"/>
                  <a:gd name="T39" fmla="*/ 32 h 211"/>
                  <a:gd name="T40" fmla="*/ 69 w 239"/>
                  <a:gd name="T41" fmla="*/ 28 h 211"/>
                  <a:gd name="T42" fmla="*/ 70 w 239"/>
                  <a:gd name="T43" fmla="*/ 31 h 211"/>
                  <a:gd name="T44" fmla="*/ 66 w 239"/>
                  <a:gd name="T45" fmla="*/ 10 h 211"/>
                  <a:gd name="T46" fmla="*/ 77 w 239"/>
                  <a:gd name="T47" fmla="*/ 6 h 211"/>
                  <a:gd name="T48" fmla="*/ 87 w 239"/>
                  <a:gd name="T49" fmla="*/ 0 h 211"/>
                  <a:gd name="T50" fmla="*/ 92 w 239"/>
                  <a:gd name="T51" fmla="*/ 16 h 211"/>
                  <a:gd name="T52" fmla="*/ 102 w 239"/>
                  <a:gd name="T53" fmla="*/ 32 h 211"/>
                  <a:gd name="T54" fmla="*/ 112 w 239"/>
                  <a:gd name="T55" fmla="*/ 44 h 211"/>
                  <a:gd name="T56" fmla="*/ 112 w 239"/>
                  <a:gd name="T57" fmla="*/ 45 h 211"/>
                  <a:gd name="T58" fmla="*/ 119 w 239"/>
                  <a:gd name="T59" fmla="*/ 53 h 211"/>
                  <a:gd name="T60" fmla="*/ 132 w 239"/>
                  <a:gd name="T61" fmla="*/ 72 h 211"/>
                  <a:gd name="T62" fmla="*/ 141 w 239"/>
                  <a:gd name="T63" fmla="*/ 80 h 211"/>
                  <a:gd name="T64" fmla="*/ 149 w 239"/>
                  <a:gd name="T65" fmla="*/ 90 h 211"/>
                  <a:gd name="T66" fmla="*/ 157 w 239"/>
                  <a:gd name="T67" fmla="*/ 78 h 211"/>
                  <a:gd name="T68" fmla="*/ 159 w 239"/>
                  <a:gd name="T69" fmla="*/ 72 h 211"/>
                  <a:gd name="T70" fmla="*/ 165 w 239"/>
                  <a:gd name="T71" fmla="*/ 68 h 211"/>
                  <a:gd name="T72" fmla="*/ 168 w 239"/>
                  <a:gd name="T73" fmla="*/ 60 h 211"/>
                  <a:gd name="T74" fmla="*/ 174 w 239"/>
                  <a:gd name="T75" fmla="*/ 49 h 211"/>
                  <a:gd name="T76" fmla="*/ 169 w 239"/>
                  <a:gd name="T77" fmla="*/ 51 h 211"/>
                  <a:gd name="T78" fmla="*/ 190 w 239"/>
                  <a:gd name="T79" fmla="*/ 48 h 211"/>
                  <a:gd name="T80" fmla="*/ 207 w 239"/>
                  <a:gd name="T81" fmla="*/ 60 h 211"/>
                  <a:gd name="T82" fmla="*/ 213 w 239"/>
                  <a:gd name="T83" fmla="*/ 64 h 211"/>
                  <a:gd name="T84" fmla="*/ 210 w 239"/>
                  <a:gd name="T85" fmla="*/ 63 h 211"/>
                  <a:gd name="T86" fmla="*/ 229 w 239"/>
                  <a:gd name="T87" fmla="*/ 64 h 211"/>
                  <a:gd name="T88" fmla="*/ 234 w 239"/>
                  <a:gd name="T89" fmla="*/ 63 h 211"/>
                  <a:gd name="T90" fmla="*/ 202 w 239"/>
                  <a:gd name="T91" fmla="*/ 109 h 211"/>
                  <a:gd name="T92" fmla="*/ 176 w 239"/>
                  <a:gd name="T93" fmla="*/ 135 h 211"/>
                  <a:gd name="T94" fmla="*/ 152 w 239"/>
                  <a:gd name="T95" fmla="*/ 162 h 211"/>
                  <a:gd name="T96" fmla="*/ 131 w 239"/>
                  <a:gd name="T97" fmla="*/ 186 h 211"/>
                  <a:gd name="T98" fmla="*/ 114 w 239"/>
                  <a:gd name="T99" fmla="*/ 191 h 211"/>
                  <a:gd name="T100" fmla="*/ 103 w 239"/>
                  <a:gd name="T101" fmla="*/ 184 h 211"/>
                  <a:gd name="T102" fmla="*/ 94 w 239"/>
                  <a:gd name="T103" fmla="*/ 192 h 211"/>
                  <a:gd name="T104" fmla="*/ 85 w 239"/>
                  <a:gd name="T105" fmla="*/ 192 h 211"/>
                  <a:gd name="T106" fmla="*/ 83 w 239"/>
                  <a:gd name="T107" fmla="*/ 194 h 211"/>
                  <a:gd name="T108" fmla="*/ 69 w 239"/>
                  <a:gd name="T109" fmla="*/ 204 h 211"/>
                  <a:gd name="T110" fmla="*/ 55 w 239"/>
                  <a:gd name="T111" fmla="*/ 207 h 211"/>
                  <a:gd name="T112" fmla="*/ 51 w 239"/>
                  <a:gd name="T113" fmla="*/ 204 h 211"/>
                  <a:gd name="T114" fmla="*/ 36 w 239"/>
                  <a:gd name="T11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9" h="211">
                    <a:moveTo>
                      <a:pt x="36" y="211"/>
                    </a:moveTo>
                    <a:lnTo>
                      <a:pt x="36" y="211"/>
                    </a:lnTo>
                    <a:lnTo>
                      <a:pt x="30" y="211"/>
                    </a:lnTo>
                    <a:lnTo>
                      <a:pt x="30" y="211"/>
                    </a:lnTo>
                    <a:lnTo>
                      <a:pt x="29" y="211"/>
                    </a:lnTo>
                    <a:lnTo>
                      <a:pt x="24" y="205"/>
                    </a:lnTo>
                    <a:lnTo>
                      <a:pt x="24" y="205"/>
                    </a:lnTo>
                    <a:lnTo>
                      <a:pt x="24" y="201"/>
                    </a:lnTo>
                    <a:lnTo>
                      <a:pt x="22" y="199"/>
                    </a:lnTo>
                    <a:lnTo>
                      <a:pt x="17" y="195"/>
                    </a:lnTo>
                    <a:lnTo>
                      <a:pt x="17" y="195"/>
                    </a:lnTo>
                    <a:lnTo>
                      <a:pt x="17" y="196"/>
                    </a:lnTo>
                    <a:lnTo>
                      <a:pt x="17" y="196"/>
                    </a:lnTo>
                    <a:lnTo>
                      <a:pt x="16" y="196"/>
                    </a:lnTo>
                    <a:lnTo>
                      <a:pt x="14" y="196"/>
                    </a:lnTo>
                    <a:lnTo>
                      <a:pt x="8" y="191"/>
                    </a:lnTo>
                    <a:lnTo>
                      <a:pt x="8" y="191"/>
                    </a:lnTo>
                    <a:lnTo>
                      <a:pt x="10" y="194"/>
                    </a:lnTo>
                    <a:lnTo>
                      <a:pt x="12" y="195"/>
                    </a:lnTo>
                    <a:lnTo>
                      <a:pt x="12" y="195"/>
                    </a:lnTo>
                    <a:lnTo>
                      <a:pt x="12" y="195"/>
                    </a:lnTo>
                    <a:lnTo>
                      <a:pt x="12" y="195"/>
                    </a:lnTo>
                    <a:lnTo>
                      <a:pt x="10" y="195"/>
                    </a:lnTo>
                    <a:lnTo>
                      <a:pt x="10" y="195"/>
                    </a:lnTo>
                    <a:lnTo>
                      <a:pt x="7" y="195"/>
                    </a:lnTo>
                    <a:lnTo>
                      <a:pt x="7" y="195"/>
                    </a:lnTo>
                    <a:lnTo>
                      <a:pt x="4" y="195"/>
                    </a:lnTo>
                    <a:lnTo>
                      <a:pt x="0" y="186"/>
                    </a:lnTo>
                    <a:lnTo>
                      <a:pt x="0" y="186"/>
                    </a:lnTo>
                    <a:lnTo>
                      <a:pt x="5" y="175"/>
                    </a:lnTo>
                    <a:lnTo>
                      <a:pt x="5" y="175"/>
                    </a:lnTo>
                    <a:lnTo>
                      <a:pt x="8" y="171"/>
                    </a:lnTo>
                    <a:lnTo>
                      <a:pt x="14" y="168"/>
                    </a:lnTo>
                    <a:lnTo>
                      <a:pt x="14" y="168"/>
                    </a:lnTo>
                    <a:lnTo>
                      <a:pt x="18" y="168"/>
                    </a:lnTo>
                    <a:lnTo>
                      <a:pt x="18" y="168"/>
                    </a:lnTo>
                    <a:lnTo>
                      <a:pt x="21" y="168"/>
                    </a:lnTo>
                    <a:lnTo>
                      <a:pt x="21" y="168"/>
                    </a:lnTo>
                    <a:lnTo>
                      <a:pt x="21" y="167"/>
                    </a:lnTo>
                    <a:lnTo>
                      <a:pt x="21" y="166"/>
                    </a:lnTo>
                    <a:lnTo>
                      <a:pt x="21" y="164"/>
                    </a:lnTo>
                    <a:lnTo>
                      <a:pt x="22" y="160"/>
                    </a:lnTo>
                    <a:lnTo>
                      <a:pt x="22" y="160"/>
                    </a:lnTo>
                    <a:lnTo>
                      <a:pt x="32" y="153"/>
                    </a:lnTo>
                    <a:lnTo>
                      <a:pt x="32" y="153"/>
                    </a:lnTo>
                    <a:lnTo>
                      <a:pt x="34" y="150"/>
                    </a:lnTo>
                    <a:lnTo>
                      <a:pt x="37" y="149"/>
                    </a:lnTo>
                    <a:lnTo>
                      <a:pt x="37" y="149"/>
                    </a:lnTo>
                    <a:lnTo>
                      <a:pt x="40" y="149"/>
                    </a:lnTo>
                    <a:lnTo>
                      <a:pt x="40" y="149"/>
                    </a:lnTo>
                    <a:lnTo>
                      <a:pt x="44" y="149"/>
                    </a:lnTo>
                    <a:lnTo>
                      <a:pt x="45" y="150"/>
                    </a:lnTo>
                    <a:lnTo>
                      <a:pt x="47" y="150"/>
                    </a:lnTo>
                    <a:lnTo>
                      <a:pt x="47" y="150"/>
                    </a:lnTo>
                    <a:lnTo>
                      <a:pt x="51" y="147"/>
                    </a:lnTo>
                    <a:lnTo>
                      <a:pt x="51" y="147"/>
                    </a:lnTo>
                    <a:lnTo>
                      <a:pt x="45" y="137"/>
                    </a:lnTo>
                    <a:lnTo>
                      <a:pt x="41" y="125"/>
                    </a:lnTo>
                    <a:lnTo>
                      <a:pt x="42" y="119"/>
                    </a:lnTo>
                    <a:lnTo>
                      <a:pt x="42" y="119"/>
                    </a:lnTo>
                    <a:lnTo>
                      <a:pt x="42" y="119"/>
                    </a:lnTo>
                    <a:lnTo>
                      <a:pt x="49" y="114"/>
                    </a:lnTo>
                    <a:lnTo>
                      <a:pt x="50" y="114"/>
                    </a:lnTo>
                    <a:lnTo>
                      <a:pt x="55" y="119"/>
                    </a:lnTo>
                    <a:lnTo>
                      <a:pt x="55" y="119"/>
                    </a:lnTo>
                    <a:lnTo>
                      <a:pt x="54" y="117"/>
                    </a:lnTo>
                    <a:lnTo>
                      <a:pt x="51" y="116"/>
                    </a:lnTo>
                    <a:lnTo>
                      <a:pt x="51" y="116"/>
                    </a:lnTo>
                    <a:lnTo>
                      <a:pt x="54" y="114"/>
                    </a:lnTo>
                    <a:lnTo>
                      <a:pt x="54" y="114"/>
                    </a:lnTo>
                    <a:lnTo>
                      <a:pt x="58" y="113"/>
                    </a:lnTo>
                    <a:lnTo>
                      <a:pt x="62" y="112"/>
                    </a:lnTo>
                    <a:lnTo>
                      <a:pt x="62" y="112"/>
                    </a:lnTo>
                    <a:lnTo>
                      <a:pt x="66" y="112"/>
                    </a:lnTo>
                    <a:lnTo>
                      <a:pt x="67" y="114"/>
                    </a:lnTo>
                    <a:lnTo>
                      <a:pt x="67" y="114"/>
                    </a:lnTo>
                    <a:lnTo>
                      <a:pt x="66" y="116"/>
                    </a:lnTo>
                    <a:lnTo>
                      <a:pt x="66" y="116"/>
                    </a:lnTo>
                    <a:lnTo>
                      <a:pt x="66" y="117"/>
                    </a:lnTo>
                    <a:lnTo>
                      <a:pt x="66" y="119"/>
                    </a:lnTo>
                    <a:lnTo>
                      <a:pt x="69" y="116"/>
                    </a:lnTo>
                    <a:lnTo>
                      <a:pt x="71" y="119"/>
                    </a:lnTo>
                    <a:lnTo>
                      <a:pt x="71" y="119"/>
                    </a:lnTo>
                    <a:lnTo>
                      <a:pt x="71" y="117"/>
                    </a:lnTo>
                    <a:lnTo>
                      <a:pt x="70" y="116"/>
                    </a:lnTo>
                    <a:lnTo>
                      <a:pt x="70" y="116"/>
                    </a:lnTo>
                    <a:lnTo>
                      <a:pt x="70" y="116"/>
                    </a:lnTo>
                    <a:lnTo>
                      <a:pt x="70" y="114"/>
                    </a:lnTo>
                    <a:lnTo>
                      <a:pt x="70" y="114"/>
                    </a:lnTo>
                    <a:lnTo>
                      <a:pt x="70" y="114"/>
                    </a:lnTo>
                    <a:lnTo>
                      <a:pt x="69" y="114"/>
                    </a:lnTo>
                    <a:lnTo>
                      <a:pt x="69" y="114"/>
                    </a:lnTo>
                    <a:lnTo>
                      <a:pt x="69" y="114"/>
                    </a:lnTo>
                    <a:lnTo>
                      <a:pt x="71" y="110"/>
                    </a:lnTo>
                    <a:lnTo>
                      <a:pt x="71" y="108"/>
                    </a:lnTo>
                    <a:lnTo>
                      <a:pt x="70" y="104"/>
                    </a:lnTo>
                    <a:lnTo>
                      <a:pt x="66" y="98"/>
                    </a:lnTo>
                    <a:lnTo>
                      <a:pt x="66" y="98"/>
                    </a:lnTo>
                    <a:lnTo>
                      <a:pt x="62" y="92"/>
                    </a:lnTo>
                    <a:lnTo>
                      <a:pt x="61" y="92"/>
                    </a:lnTo>
                    <a:lnTo>
                      <a:pt x="57" y="90"/>
                    </a:lnTo>
                    <a:lnTo>
                      <a:pt x="57" y="90"/>
                    </a:lnTo>
                    <a:lnTo>
                      <a:pt x="57" y="90"/>
                    </a:lnTo>
                    <a:lnTo>
                      <a:pt x="57" y="90"/>
                    </a:lnTo>
                    <a:lnTo>
                      <a:pt x="55" y="90"/>
                    </a:lnTo>
                    <a:lnTo>
                      <a:pt x="55" y="90"/>
                    </a:lnTo>
                    <a:lnTo>
                      <a:pt x="53" y="89"/>
                    </a:lnTo>
                    <a:lnTo>
                      <a:pt x="50" y="86"/>
                    </a:lnTo>
                    <a:lnTo>
                      <a:pt x="51" y="85"/>
                    </a:lnTo>
                    <a:lnTo>
                      <a:pt x="47" y="81"/>
                    </a:lnTo>
                    <a:lnTo>
                      <a:pt x="47" y="81"/>
                    </a:lnTo>
                    <a:lnTo>
                      <a:pt x="49" y="84"/>
                    </a:lnTo>
                    <a:lnTo>
                      <a:pt x="50" y="86"/>
                    </a:lnTo>
                    <a:lnTo>
                      <a:pt x="50" y="86"/>
                    </a:lnTo>
                    <a:lnTo>
                      <a:pt x="46" y="84"/>
                    </a:lnTo>
                    <a:lnTo>
                      <a:pt x="44" y="81"/>
                    </a:lnTo>
                    <a:lnTo>
                      <a:pt x="44" y="77"/>
                    </a:lnTo>
                    <a:lnTo>
                      <a:pt x="44" y="76"/>
                    </a:lnTo>
                    <a:lnTo>
                      <a:pt x="50" y="72"/>
                    </a:lnTo>
                    <a:lnTo>
                      <a:pt x="50" y="72"/>
                    </a:lnTo>
                    <a:lnTo>
                      <a:pt x="51" y="72"/>
                    </a:lnTo>
                    <a:lnTo>
                      <a:pt x="51" y="72"/>
                    </a:lnTo>
                    <a:lnTo>
                      <a:pt x="49" y="72"/>
                    </a:lnTo>
                    <a:lnTo>
                      <a:pt x="47" y="76"/>
                    </a:lnTo>
                    <a:lnTo>
                      <a:pt x="53" y="71"/>
                    </a:lnTo>
                    <a:lnTo>
                      <a:pt x="53" y="71"/>
                    </a:lnTo>
                    <a:lnTo>
                      <a:pt x="50" y="71"/>
                    </a:lnTo>
                    <a:lnTo>
                      <a:pt x="50" y="71"/>
                    </a:lnTo>
                    <a:lnTo>
                      <a:pt x="53" y="69"/>
                    </a:lnTo>
                    <a:lnTo>
                      <a:pt x="55" y="69"/>
                    </a:lnTo>
                    <a:lnTo>
                      <a:pt x="55" y="69"/>
                    </a:lnTo>
                    <a:lnTo>
                      <a:pt x="57" y="65"/>
                    </a:lnTo>
                    <a:lnTo>
                      <a:pt x="58" y="64"/>
                    </a:lnTo>
                    <a:lnTo>
                      <a:pt x="61" y="61"/>
                    </a:lnTo>
                    <a:lnTo>
                      <a:pt x="62" y="61"/>
                    </a:lnTo>
                    <a:lnTo>
                      <a:pt x="62" y="61"/>
                    </a:lnTo>
                    <a:lnTo>
                      <a:pt x="63" y="61"/>
                    </a:lnTo>
                    <a:lnTo>
                      <a:pt x="63" y="61"/>
                    </a:lnTo>
                    <a:lnTo>
                      <a:pt x="66" y="61"/>
                    </a:lnTo>
                    <a:lnTo>
                      <a:pt x="69" y="63"/>
                    </a:lnTo>
                    <a:lnTo>
                      <a:pt x="69" y="63"/>
                    </a:lnTo>
                    <a:lnTo>
                      <a:pt x="69" y="63"/>
                    </a:lnTo>
                    <a:lnTo>
                      <a:pt x="70" y="63"/>
                    </a:lnTo>
                    <a:lnTo>
                      <a:pt x="70" y="63"/>
                    </a:lnTo>
                    <a:lnTo>
                      <a:pt x="75" y="61"/>
                    </a:lnTo>
                    <a:lnTo>
                      <a:pt x="75" y="61"/>
                    </a:lnTo>
                    <a:lnTo>
                      <a:pt x="78" y="61"/>
                    </a:lnTo>
                    <a:lnTo>
                      <a:pt x="81" y="61"/>
                    </a:lnTo>
                    <a:lnTo>
                      <a:pt x="81" y="61"/>
                    </a:lnTo>
                    <a:lnTo>
                      <a:pt x="79" y="59"/>
                    </a:lnTo>
                    <a:lnTo>
                      <a:pt x="79" y="59"/>
                    </a:lnTo>
                    <a:lnTo>
                      <a:pt x="79" y="57"/>
                    </a:lnTo>
                    <a:lnTo>
                      <a:pt x="79" y="57"/>
                    </a:lnTo>
                    <a:lnTo>
                      <a:pt x="81" y="59"/>
                    </a:lnTo>
                    <a:lnTo>
                      <a:pt x="77" y="53"/>
                    </a:lnTo>
                    <a:lnTo>
                      <a:pt x="77" y="49"/>
                    </a:lnTo>
                    <a:lnTo>
                      <a:pt x="77" y="49"/>
                    </a:lnTo>
                    <a:lnTo>
                      <a:pt x="77" y="48"/>
                    </a:lnTo>
                    <a:lnTo>
                      <a:pt x="77" y="48"/>
                    </a:lnTo>
                    <a:lnTo>
                      <a:pt x="77" y="47"/>
                    </a:lnTo>
                    <a:lnTo>
                      <a:pt x="77" y="47"/>
                    </a:lnTo>
                    <a:lnTo>
                      <a:pt x="78" y="49"/>
                    </a:lnTo>
                    <a:lnTo>
                      <a:pt x="81" y="51"/>
                    </a:lnTo>
                    <a:lnTo>
                      <a:pt x="75" y="44"/>
                    </a:lnTo>
                    <a:lnTo>
                      <a:pt x="75" y="43"/>
                    </a:lnTo>
                    <a:lnTo>
                      <a:pt x="75" y="43"/>
                    </a:lnTo>
                    <a:lnTo>
                      <a:pt x="75" y="41"/>
                    </a:lnTo>
                    <a:lnTo>
                      <a:pt x="75" y="41"/>
                    </a:lnTo>
                    <a:lnTo>
                      <a:pt x="75" y="40"/>
                    </a:lnTo>
                    <a:lnTo>
                      <a:pt x="75" y="40"/>
                    </a:lnTo>
                    <a:lnTo>
                      <a:pt x="77" y="43"/>
                    </a:lnTo>
                    <a:lnTo>
                      <a:pt x="79" y="44"/>
                    </a:lnTo>
                    <a:lnTo>
                      <a:pt x="74" y="38"/>
                    </a:lnTo>
                    <a:lnTo>
                      <a:pt x="74" y="36"/>
                    </a:lnTo>
                    <a:lnTo>
                      <a:pt x="74" y="36"/>
                    </a:lnTo>
                    <a:lnTo>
                      <a:pt x="74" y="36"/>
                    </a:lnTo>
                    <a:lnTo>
                      <a:pt x="74" y="35"/>
                    </a:lnTo>
                    <a:lnTo>
                      <a:pt x="74" y="35"/>
                    </a:lnTo>
                    <a:lnTo>
                      <a:pt x="73" y="34"/>
                    </a:lnTo>
                    <a:lnTo>
                      <a:pt x="71" y="32"/>
                    </a:lnTo>
                    <a:lnTo>
                      <a:pt x="71" y="32"/>
                    </a:lnTo>
                    <a:lnTo>
                      <a:pt x="71" y="32"/>
                    </a:lnTo>
                    <a:lnTo>
                      <a:pt x="71" y="32"/>
                    </a:lnTo>
                    <a:lnTo>
                      <a:pt x="70" y="31"/>
                    </a:lnTo>
                    <a:lnTo>
                      <a:pt x="70" y="31"/>
                    </a:lnTo>
                    <a:lnTo>
                      <a:pt x="70" y="31"/>
                    </a:lnTo>
                    <a:lnTo>
                      <a:pt x="70" y="31"/>
                    </a:lnTo>
                    <a:lnTo>
                      <a:pt x="71" y="32"/>
                    </a:lnTo>
                    <a:lnTo>
                      <a:pt x="69" y="28"/>
                    </a:lnTo>
                    <a:lnTo>
                      <a:pt x="69" y="28"/>
                    </a:lnTo>
                    <a:lnTo>
                      <a:pt x="70" y="31"/>
                    </a:lnTo>
                    <a:lnTo>
                      <a:pt x="70" y="31"/>
                    </a:lnTo>
                    <a:lnTo>
                      <a:pt x="67" y="26"/>
                    </a:lnTo>
                    <a:lnTo>
                      <a:pt x="67" y="26"/>
                    </a:lnTo>
                    <a:lnTo>
                      <a:pt x="67" y="27"/>
                    </a:lnTo>
                    <a:lnTo>
                      <a:pt x="67" y="30"/>
                    </a:lnTo>
                    <a:lnTo>
                      <a:pt x="67" y="30"/>
                    </a:lnTo>
                    <a:lnTo>
                      <a:pt x="70" y="31"/>
                    </a:lnTo>
                    <a:lnTo>
                      <a:pt x="69" y="31"/>
                    </a:lnTo>
                    <a:lnTo>
                      <a:pt x="69" y="31"/>
                    </a:lnTo>
                    <a:lnTo>
                      <a:pt x="65" y="27"/>
                    </a:lnTo>
                    <a:lnTo>
                      <a:pt x="63" y="23"/>
                    </a:lnTo>
                    <a:lnTo>
                      <a:pt x="62" y="16"/>
                    </a:lnTo>
                    <a:lnTo>
                      <a:pt x="65" y="10"/>
                    </a:lnTo>
                    <a:lnTo>
                      <a:pt x="65" y="10"/>
                    </a:lnTo>
                    <a:lnTo>
                      <a:pt x="66" y="10"/>
                    </a:lnTo>
                    <a:lnTo>
                      <a:pt x="66" y="10"/>
                    </a:lnTo>
                    <a:lnTo>
                      <a:pt x="65" y="11"/>
                    </a:lnTo>
                    <a:lnTo>
                      <a:pt x="69" y="7"/>
                    </a:lnTo>
                    <a:lnTo>
                      <a:pt x="69" y="7"/>
                    </a:lnTo>
                    <a:lnTo>
                      <a:pt x="67" y="7"/>
                    </a:lnTo>
                    <a:lnTo>
                      <a:pt x="67" y="7"/>
                    </a:lnTo>
                    <a:lnTo>
                      <a:pt x="69" y="6"/>
                    </a:lnTo>
                    <a:lnTo>
                      <a:pt x="73" y="6"/>
                    </a:lnTo>
                    <a:lnTo>
                      <a:pt x="75" y="6"/>
                    </a:lnTo>
                    <a:lnTo>
                      <a:pt x="77" y="6"/>
                    </a:lnTo>
                    <a:lnTo>
                      <a:pt x="77" y="6"/>
                    </a:lnTo>
                    <a:lnTo>
                      <a:pt x="77" y="6"/>
                    </a:lnTo>
                    <a:lnTo>
                      <a:pt x="78" y="6"/>
                    </a:lnTo>
                    <a:lnTo>
                      <a:pt x="83" y="0"/>
                    </a:lnTo>
                    <a:lnTo>
                      <a:pt x="83" y="0"/>
                    </a:lnTo>
                    <a:lnTo>
                      <a:pt x="83" y="0"/>
                    </a:lnTo>
                    <a:lnTo>
                      <a:pt x="85" y="0"/>
                    </a:lnTo>
                    <a:lnTo>
                      <a:pt x="85" y="0"/>
                    </a:lnTo>
                    <a:lnTo>
                      <a:pt x="87" y="0"/>
                    </a:lnTo>
                    <a:lnTo>
                      <a:pt x="90" y="2"/>
                    </a:lnTo>
                    <a:lnTo>
                      <a:pt x="91" y="3"/>
                    </a:lnTo>
                    <a:lnTo>
                      <a:pt x="92" y="6"/>
                    </a:lnTo>
                    <a:lnTo>
                      <a:pt x="91" y="11"/>
                    </a:lnTo>
                    <a:lnTo>
                      <a:pt x="91" y="11"/>
                    </a:lnTo>
                    <a:lnTo>
                      <a:pt x="91" y="11"/>
                    </a:lnTo>
                    <a:lnTo>
                      <a:pt x="91" y="14"/>
                    </a:lnTo>
                    <a:lnTo>
                      <a:pt x="91" y="14"/>
                    </a:lnTo>
                    <a:lnTo>
                      <a:pt x="92" y="16"/>
                    </a:lnTo>
                    <a:lnTo>
                      <a:pt x="92" y="19"/>
                    </a:lnTo>
                    <a:lnTo>
                      <a:pt x="92" y="20"/>
                    </a:lnTo>
                    <a:lnTo>
                      <a:pt x="91" y="22"/>
                    </a:lnTo>
                    <a:lnTo>
                      <a:pt x="91" y="22"/>
                    </a:lnTo>
                    <a:lnTo>
                      <a:pt x="92" y="24"/>
                    </a:lnTo>
                    <a:lnTo>
                      <a:pt x="96" y="26"/>
                    </a:lnTo>
                    <a:lnTo>
                      <a:pt x="100" y="28"/>
                    </a:lnTo>
                    <a:lnTo>
                      <a:pt x="100" y="28"/>
                    </a:lnTo>
                    <a:lnTo>
                      <a:pt x="102" y="32"/>
                    </a:lnTo>
                    <a:lnTo>
                      <a:pt x="102" y="36"/>
                    </a:lnTo>
                    <a:lnTo>
                      <a:pt x="102" y="36"/>
                    </a:lnTo>
                    <a:lnTo>
                      <a:pt x="102" y="39"/>
                    </a:lnTo>
                    <a:lnTo>
                      <a:pt x="104" y="39"/>
                    </a:lnTo>
                    <a:lnTo>
                      <a:pt x="104" y="39"/>
                    </a:lnTo>
                    <a:lnTo>
                      <a:pt x="107" y="39"/>
                    </a:lnTo>
                    <a:lnTo>
                      <a:pt x="110" y="40"/>
                    </a:lnTo>
                    <a:lnTo>
                      <a:pt x="112" y="44"/>
                    </a:lnTo>
                    <a:lnTo>
                      <a:pt x="112" y="44"/>
                    </a:lnTo>
                    <a:lnTo>
                      <a:pt x="112" y="44"/>
                    </a:lnTo>
                    <a:lnTo>
                      <a:pt x="112" y="43"/>
                    </a:lnTo>
                    <a:lnTo>
                      <a:pt x="112" y="43"/>
                    </a:lnTo>
                    <a:lnTo>
                      <a:pt x="110" y="41"/>
                    </a:lnTo>
                    <a:lnTo>
                      <a:pt x="108" y="41"/>
                    </a:lnTo>
                    <a:lnTo>
                      <a:pt x="112" y="45"/>
                    </a:lnTo>
                    <a:lnTo>
                      <a:pt x="112" y="47"/>
                    </a:lnTo>
                    <a:lnTo>
                      <a:pt x="112" y="47"/>
                    </a:lnTo>
                    <a:lnTo>
                      <a:pt x="112" y="45"/>
                    </a:lnTo>
                    <a:lnTo>
                      <a:pt x="114" y="47"/>
                    </a:lnTo>
                    <a:lnTo>
                      <a:pt x="114" y="49"/>
                    </a:lnTo>
                    <a:lnTo>
                      <a:pt x="114" y="49"/>
                    </a:lnTo>
                    <a:lnTo>
                      <a:pt x="116" y="52"/>
                    </a:lnTo>
                    <a:lnTo>
                      <a:pt x="118" y="53"/>
                    </a:lnTo>
                    <a:lnTo>
                      <a:pt x="119" y="53"/>
                    </a:lnTo>
                    <a:lnTo>
                      <a:pt x="119" y="53"/>
                    </a:lnTo>
                    <a:lnTo>
                      <a:pt x="119" y="53"/>
                    </a:lnTo>
                    <a:lnTo>
                      <a:pt x="119" y="53"/>
                    </a:lnTo>
                    <a:lnTo>
                      <a:pt x="119" y="55"/>
                    </a:lnTo>
                    <a:lnTo>
                      <a:pt x="124" y="61"/>
                    </a:lnTo>
                    <a:lnTo>
                      <a:pt x="124" y="61"/>
                    </a:lnTo>
                    <a:lnTo>
                      <a:pt x="124" y="63"/>
                    </a:lnTo>
                    <a:lnTo>
                      <a:pt x="127" y="64"/>
                    </a:lnTo>
                    <a:lnTo>
                      <a:pt x="127" y="64"/>
                    </a:lnTo>
                    <a:lnTo>
                      <a:pt x="129" y="67"/>
                    </a:lnTo>
                    <a:lnTo>
                      <a:pt x="132" y="71"/>
                    </a:lnTo>
                    <a:lnTo>
                      <a:pt x="132" y="72"/>
                    </a:lnTo>
                    <a:lnTo>
                      <a:pt x="132" y="72"/>
                    </a:lnTo>
                    <a:lnTo>
                      <a:pt x="133" y="72"/>
                    </a:lnTo>
                    <a:lnTo>
                      <a:pt x="133" y="72"/>
                    </a:lnTo>
                    <a:lnTo>
                      <a:pt x="136" y="72"/>
                    </a:lnTo>
                    <a:lnTo>
                      <a:pt x="137" y="73"/>
                    </a:lnTo>
                    <a:lnTo>
                      <a:pt x="140" y="75"/>
                    </a:lnTo>
                    <a:lnTo>
                      <a:pt x="140" y="77"/>
                    </a:lnTo>
                    <a:lnTo>
                      <a:pt x="141" y="80"/>
                    </a:lnTo>
                    <a:lnTo>
                      <a:pt x="141" y="80"/>
                    </a:lnTo>
                    <a:lnTo>
                      <a:pt x="141" y="81"/>
                    </a:lnTo>
                    <a:lnTo>
                      <a:pt x="143" y="81"/>
                    </a:lnTo>
                    <a:lnTo>
                      <a:pt x="148" y="86"/>
                    </a:lnTo>
                    <a:lnTo>
                      <a:pt x="148" y="86"/>
                    </a:lnTo>
                    <a:lnTo>
                      <a:pt x="149" y="88"/>
                    </a:lnTo>
                    <a:lnTo>
                      <a:pt x="149" y="88"/>
                    </a:lnTo>
                    <a:lnTo>
                      <a:pt x="148" y="88"/>
                    </a:lnTo>
                    <a:lnTo>
                      <a:pt x="148" y="88"/>
                    </a:lnTo>
                    <a:lnTo>
                      <a:pt x="149" y="90"/>
                    </a:lnTo>
                    <a:lnTo>
                      <a:pt x="152" y="86"/>
                    </a:lnTo>
                    <a:lnTo>
                      <a:pt x="152" y="86"/>
                    </a:lnTo>
                    <a:lnTo>
                      <a:pt x="153" y="85"/>
                    </a:lnTo>
                    <a:lnTo>
                      <a:pt x="153" y="85"/>
                    </a:lnTo>
                    <a:lnTo>
                      <a:pt x="153" y="85"/>
                    </a:lnTo>
                    <a:lnTo>
                      <a:pt x="153" y="85"/>
                    </a:lnTo>
                    <a:lnTo>
                      <a:pt x="153" y="81"/>
                    </a:lnTo>
                    <a:lnTo>
                      <a:pt x="157" y="78"/>
                    </a:lnTo>
                    <a:lnTo>
                      <a:pt x="157" y="78"/>
                    </a:lnTo>
                    <a:lnTo>
                      <a:pt x="156" y="80"/>
                    </a:lnTo>
                    <a:lnTo>
                      <a:pt x="156" y="81"/>
                    </a:lnTo>
                    <a:lnTo>
                      <a:pt x="157" y="76"/>
                    </a:lnTo>
                    <a:lnTo>
                      <a:pt x="157" y="76"/>
                    </a:lnTo>
                    <a:lnTo>
                      <a:pt x="157" y="77"/>
                    </a:lnTo>
                    <a:lnTo>
                      <a:pt x="157" y="77"/>
                    </a:lnTo>
                    <a:lnTo>
                      <a:pt x="159" y="76"/>
                    </a:lnTo>
                    <a:lnTo>
                      <a:pt x="159" y="76"/>
                    </a:lnTo>
                    <a:lnTo>
                      <a:pt x="159" y="72"/>
                    </a:lnTo>
                    <a:lnTo>
                      <a:pt x="161" y="69"/>
                    </a:lnTo>
                    <a:lnTo>
                      <a:pt x="163" y="69"/>
                    </a:lnTo>
                    <a:lnTo>
                      <a:pt x="163" y="69"/>
                    </a:lnTo>
                    <a:lnTo>
                      <a:pt x="161" y="72"/>
                    </a:lnTo>
                    <a:lnTo>
                      <a:pt x="164" y="68"/>
                    </a:lnTo>
                    <a:lnTo>
                      <a:pt x="165" y="68"/>
                    </a:lnTo>
                    <a:lnTo>
                      <a:pt x="165" y="68"/>
                    </a:lnTo>
                    <a:lnTo>
                      <a:pt x="165" y="68"/>
                    </a:lnTo>
                    <a:lnTo>
                      <a:pt x="165" y="68"/>
                    </a:lnTo>
                    <a:lnTo>
                      <a:pt x="165" y="68"/>
                    </a:lnTo>
                    <a:lnTo>
                      <a:pt x="165" y="68"/>
                    </a:lnTo>
                    <a:lnTo>
                      <a:pt x="165" y="68"/>
                    </a:lnTo>
                    <a:lnTo>
                      <a:pt x="166" y="67"/>
                    </a:lnTo>
                    <a:lnTo>
                      <a:pt x="169" y="65"/>
                    </a:lnTo>
                    <a:lnTo>
                      <a:pt x="169" y="65"/>
                    </a:lnTo>
                    <a:lnTo>
                      <a:pt x="170" y="64"/>
                    </a:lnTo>
                    <a:lnTo>
                      <a:pt x="170" y="64"/>
                    </a:lnTo>
                    <a:lnTo>
                      <a:pt x="168" y="60"/>
                    </a:lnTo>
                    <a:lnTo>
                      <a:pt x="168" y="56"/>
                    </a:lnTo>
                    <a:lnTo>
                      <a:pt x="168" y="56"/>
                    </a:lnTo>
                    <a:lnTo>
                      <a:pt x="168" y="56"/>
                    </a:lnTo>
                    <a:lnTo>
                      <a:pt x="168" y="56"/>
                    </a:lnTo>
                    <a:lnTo>
                      <a:pt x="169" y="55"/>
                    </a:lnTo>
                    <a:lnTo>
                      <a:pt x="169" y="55"/>
                    </a:lnTo>
                    <a:lnTo>
                      <a:pt x="174" y="49"/>
                    </a:lnTo>
                    <a:lnTo>
                      <a:pt x="174" y="49"/>
                    </a:lnTo>
                    <a:lnTo>
                      <a:pt x="174" y="49"/>
                    </a:lnTo>
                    <a:lnTo>
                      <a:pt x="174" y="49"/>
                    </a:lnTo>
                    <a:lnTo>
                      <a:pt x="173" y="51"/>
                    </a:lnTo>
                    <a:lnTo>
                      <a:pt x="170" y="51"/>
                    </a:lnTo>
                    <a:lnTo>
                      <a:pt x="170" y="51"/>
                    </a:lnTo>
                    <a:lnTo>
                      <a:pt x="169" y="53"/>
                    </a:lnTo>
                    <a:lnTo>
                      <a:pt x="169" y="53"/>
                    </a:lnTo>
                    <a:lnTo>
                      <a:pt x="169" y="53"/>
                    </a:lnTo>
                    <a:lnTo>
                      <a:pt x="169" y="53"/>
                    </a:lnTo>
                    <a:lnTo>
                      <a:pt x="169" y="51"/>
                    </a:lnTo>
                    <a:lnTo>
                      <a:pt x="170" y="47"/>
                    </a:lnTo>
                    <a:lnTo>
                      <a:pt x="174" y="44"/>
                    </a:lnTo>
                    <a:lnTo>
                      <a:pt x="174" y="44"/>
                    </a:lnTo>
                    <a:lnTo>
                      <a:pt x="178" y="43"/>
                    </a:lnTo>
                    <a:lnTo>
                      <a:pt x="178" y="43"/>
                    </a:lnTo>
                    <a:lnTo>
                      <a:pt x="182" y="44"/>
                    </a:lnTo>
                    <a:lnTo>
                      <a:pt x="186" y="45"/>
                    </a:lnTo>
                    <a:lnTo>
                      <a:pt x="190" y="48"/>
                    </a:lnTo>
                    <a:lnTo>
                      <a:pt x="190" y="48"/>
                    </a:lnTo>
                    <a:lnTo>
                      <a:pt x="190" y="48"/>
                    </a:lnTo>
                    <a:lnTo>
                      <a:pt x="190" y="48"/>
                    </a:lnTo>
                    <a:lnTo>
                      <a:pt x="194" y="49"/>
                    </a:lnTo>
                    <a:lnTo>
                      <a:pt x="196" y="52"/>
                    </a:lnTo>
                    <a:lnTo>
                      <a:pt x="196" y="52"/>
                    </a:lnTo>
                    <a:lnTo>
                      <a:pt x="196" y="52"/>
                    </a:lnTo>
                    <a:lnTo>
                      <a:pt x="201" y="55"/>
                    </a:lnTo>
                    <a:lnTo>
                      <a:pt x="205" y="59"/>
                    </a:lnTo>
                    <a:lnTo>
                      <a:pt x="207" y="60"/>
                    </a:lnTo>
                    <a:lnTo>
                      <a:pt x="207" y="60"/>
                    </a:lnTo>
                    <a:lnTo>
                      <a:pt x="207" y="61"/>
                    </a:lnTo>
                    <a:lnTo>
                      <a:pt x="209" y="61"/>
                    </a:lnTo>
                    <a:lnTo>
                      <a:pt x="214" y="68"/>
                    </a:lnTo>
                    <a:lnTo>
                      <a:pt x="214" y="68"/>
                    </a:lnTo>
                    <a:lnTo>
                      <a:pt x="214" y="67"/>
                    </a:lnTo>
                    <a:lnTo>
                      <a:pt x="214" y="67"/>
                    </a:lnTo>
                    <a:lnTo>
                      <a:pt x="214" y="67"/>
                    </a:lnTo>
                    <a:lnTo>
                      <a:pt x="213" y="64"/>
                    </a:lnTo>
                    <a:lnTo>
                      <a:pt x="213" y="64"/>
                    </a:lnTo>
                    <a:lnTo>
                      <a:pt x="211" y="63"/>
                    </a:lnTo>
                    <a:lnTo>
                      <a:pt x="211" y="63"/>
                    </a:lnTo>
                    <a:lnTo>
                      <a:pt x="211" y="64"/>
                    </a:lnTo>
                    <a:lnTo>
                      <a:pt x="211" y="64"/>
                    </a:lnTo>
                    <a:lnTo>
                      <a:pt x="211" y="63"/>
                    </a:lnTo>
                    <a:lnTo>
                      <a:pt x="211" y="63"/>
                    </a:lnTo>
                    <a:lnTo>
                      <a:pt x="210" y="63"/>
                    </a:lnTo>
                    <a:lnTo>
                      <a:pt x="210" y="63"/>
                    </a:lnTo>
                    <a:lnTo>
                      <a:pt x="211" y="63"/>
                    </a:lnTo>
                    <a:lnTo>
                      <a:pt x="211" y="63"/>
                    </a:lnTo>
                    <a:lnTo>
                      <a:pt x="213" y="63"/>
                    </a:lnTo>
                    <a:lnTo>
                      <a:pt x="213" y="63"/>
                    </a:lnTo>
                    <a:lnTo>
                      <a:pt x="217" y="61"/>
                    </a:lnTo>
                    <a:lnTo>
                      <a:pt x="223" y="61"/>
                    </a:lnTo>
                    <a:lnTo>
                      <a:pt x="230" y="67"/>
                    </a:lnTo>
                    <a:lnTo>
                      <a:pt x="230" y="67"/>
                    </a:lnTo>
                    <a:lnTo>
                      <a:pt x="229" y="64"/>
                    </a:lnTo>
                    <a:lnTo>
                      <a:pt x="226" y="63"/>
                    </a:lnTo>
                    <a:lnTo>
                      <a:pt x="226" y="63"/>
                    </a:lnTo>
                    <a:lnTo>
                      <a:pt x="226" y="63"/>
                    </a:lnTo>
                    <a:lnTo>
                      <a:pt x="226" y="63"/>
                    </a:lnTo>
                    <a:lnTo>
                      <a:pt x="229" y="63"/>
                    </a:lnTo>
                    <a:lnTo>
                      <a:pt x="229" y="63"/>
                    </a:lnTo>
                    <a:lnTo>
                      <a:pt x="231" y="63"/>
                    </a:lnTo>
                    <a:lnTo>
                      <a:pt x="231" y="63"/>
                    </a:lnTo>
                    <a:lnTo>
                      <a:pt x="234" y="63"/>
                    </a:lnTo>
                    <a:lnTo>
                      <a:pt x="239" y="69"/>
                    </a:lnTo>
                    <a:lnTo>
                      <a:pt x="239" y="69"/>
                    </a:lnTo>
                    <a:lnTo>
                      <a:pt x="237" y="73"/>
                    </a:lnTo>
                    <a:lnTo>
                      <a:pt x="234" y="76"/>
                    </a:lnTo>
                    <a:lnTo>
                      <a:pt x="233" y="78"/>
                    </a:lnTo>
                    <a:lnTo>
                      <a:pt x="227" y="85"/>
                    </a:lnTo>
                    <a:lnTo>
                      <a:pt x="227" y="85"/>
                    </a:lnTo>
                    <a:lnTo>
                      <a:pt x="205" y="109"/>
                    </a:lnTo>
                    <a:lnTo>
                      <a:pt x="202" y="109"/>
                    </a:lnTo>
                    <a:lnTo>
                      <a:pt x="202" y="109"/>
                    </a:lnTo>
                    <a:lnTo>
                      <a:pt x="200" y="112"/>
                    </a:lnTo>
                    <a:lnTo>
                      <a:pt x="197" y="114"/>
                    </a:lnTo>
                    <a:lnTo>
                      <a:pt x="197" y="114"/>
                    </a:lnTo>
                    <a:lnTo>
                      <a:pt x="197" y="114"/>
                    </a:lnTo>
                    <a:lnTo>
                      <a:pt x="188" y="122"/>
                    </a:lnTo>
                    <a:lnTo>
                      <a:pt x="186" y="125"/>
                    </a:lnTo>
                    <a:lnTo>
                      <a:pt x="186" y="125"/>
                    </a:lnTo>
                    <a:lnTo>
                      <a:pt x="176" y="135"/>
                    </a:lnTo>
                    <a:lnTo>
                      <a:pt x="176" y="135"/>
                    </a:lnTo>
                    <a:lnTo>
                      <a:pt x="166" y="146"/>
                    </a:lnTo>
                    <a:lnTo>
                      <a:pt x="164" y="147"/>
                    </a:lnTo>
                    <a:lnTo>
                      <a:pt x="164" y="147"/>
                    </a:lnTo>
                    <a:lnTo>
                      <a:pt x="160" y="150"/>
                    </a:lnTo>
                    <a:lnTo>
                      <a:pt x="156" y="155"/>
                    </a:lnTo>
                    <a:lnTo>
                      <a:pt x="156" y="155"/>
                    </a:lnTo>
                    <a:lnTo>
                      <a:pt x="152" y="159"/>
                    </a:lnTo>
                    <a:lnTo>
                      <a:pt x="152" y="162"/>
                    </a:lnTo>
                    <a:lnTo>
                      <a:pt x="152" y="162"/>
                    </a:lnTo>
                    <a:lnTo>
                      <a:pt x="147" y="167"/>
                    </a:lnTo>
                    <a:lnTo>
                      <a:pt x="143" y="172"/>
                    </a:lnTo>
                    <a:lnTo>
                      <a:pt x="143" y="172"/>
                    </a:lnTo>
                    <a:lnTo>
                      <a:pt x="137" y="178"/>
                    </a:lnTo>
                    <a:lnTo>
                      <a:pt x="132" y="183"/>
                    </a:lnTo>
                    <a:lnTo>
                      <a:pt x="132" y="183"/>
                    </a:lnTo>
                    <a:lnTo>
                      <a:pt x="131" y="186"/>
                    </a:lnTo>
                    <a:lnTo>
                      <a:pt x="131" y="186"/>
                    </a:lnTo>
                    <a:lnTo>
                      <a:pt x="131" y="186"/>
                    </a:lnTo>
                    <a:lnTo>
                      <a:pt x="129" y="188"/>
                    </a:lnTo>
                    <a:lnTo>
                      <a:pt x="129" y="190"/>
                    </a:lnTo>
                    <a:lnTo>
                      <a:pt x="127" y="195"/>
                    </a:lnTo>
                    <a:lnTo>
                      <a:pt x="127" y="195"/>
                    </a:lnTo>
                    <a:lnTo>
                      <a:pt x="124" y="196"/>
                    </a:lnTo>
                    <a:lnTo>
                      <a:pt x="124" y="196"/>
                    </a:lnTo>
                    <a:lnTo>
                      <a:pt x="124" y="197"/>
                    </a:lnTo>
                    <a:lnTo>
                      <a:pt x="114" y="191"/>
                    </a:lnTo>
                    <a:lnTo>
                      <a:pt x="114" y="191"/>
                    </a:lnTo>
                    <a:lnTo>
                      <a:pt x="114" y="191"/>
                    </a:lnTo>
                    <a:lnTo>
                      <a:pt x="112" y="187"/>
                    </a:lnTo>
                    <a:lnTo>
                      <a:pt x="112" y="187"/>
                    </a:lnTo>
                    <a:lnTo>
                      <a:pt x="108" y="184"/>
                    </a:lnTo>
                    <a:lnTo>
                      <a:pt x="106" y="183"/>
                    </a:lnTo>
                    <a:lnTo>
                      <a:pt x="104" y="184"/>
                    </a:lnTo>
                    <a:lnTo>
                      <a:pt x="103" y="184"/>
                    </a:lnTo>
                    <a:lnTo>
                      <a:pt x="103" y="184"/>
                    </a:lnTo>
                    <a:lnTo>
                      <a:pt x="102" y="184"/>
                    </a:lnTo>
                    <a:lnTo>
                      <a:pt x="102" y="187"/>
                    </a:lnTo>
                    <a:lnTo>
                      <a:pt x="98" y="192"/>
                    </a:lnTo>
                    <a:lnTo>
                      <a:pt x="98" y="192"/>
                    </a:lnTo>
                    <a:lnTo>
                      <a:pt x="95" y="192"/>
                    </a:lnTo>
                    <a:lnTo>
                      <a:pt x="95" y="192"/>
                    </a:lnTo>
                    <a:lnTo>
                      <a:pt x="94" y="194"/>
                    </a:lnTo>
                    <a:lnTo>
                      <a:pt x="94" y="194"/>
                    </a:lnTo>
                    <a:lnTo>
                      <a:pt x="94" y="192"/>
                    </a:lnTo>
                    <a:lnTo>
                      <a:pt x="90" y="195"/>
                    </a:lnTo>
                    <a:lnTo>
                      <a:pt x="87" y="195"/>
                    </a:lnTo>
                    <a:lnTo>
                      <a:pt x="85" y="192"/>
                    </a:lnTo>
                    <a:lnTo>
                      <a:pt x="85" y="192"/>
                    </a:lnTo>
                    <a:lnTo>
                      <a:pt x="86" y="192"/>
                    </a:lnTo>
                    <a:lnTo>
                      <a:pt x="86" y="192"/>
                    </a:lnTo>
                    <a:lnTo>
                      <a:pt x="86" y="190"/>
                    </a:lnTo>
                    <a:lnTo>
                      <a:pt x="86" y="187"/>
                    </a:lnTo>
                    <a:lnTo>
                      <a:pt x="85" y="192"/>
                    </a:lnTo>
                    <a:lnTo>
                      <a:pt x="81" y="187"/>
                    </a:lnTo>
                    <a:lnTo>
                      <a:pt x="81" y="187"/>
                    </a:lnTo>
                    <a:lnTo>
                      <a:pt x="81" y="190"/>
                    </a:lnTo>
                    <a:lnTo>
                      <a:pt x="82" y="192"/>
                    </a:lnTo>
                    <a:lnTo>
                      <a:pt x="82" y="192"/>
                    </a:lnTo>
                    <a:lnTo>
                      <a:pt x="83" y="194"/>
                    </a:lnTo>
                    <a:lnTo>
                      <a:pt x="83" y="194"/>
                    </a:lnTo>
                    <a:lnTo>
                      <a:pt x="85" y="194"/>
                    </a:lnTo>
                    <a:lnTo>
                      <a:pt x="83" y="194"/>
                    </a:lnTo>
                    <a:lnTo>
                      <a:pt x="83" y="194"/>
                    </a:lnTo>
                    <a:lnTo>
                      <a:pt x="82" y="195"/>
                    </a:lnTo>
                    <a:lnTo>
                      <a:pt x="78" y="196"/>
                    </a:lnTo>
                    <a:lnTo>
                      <a:pt x="78" y="196"/>
                    </a:lnTo>
                    <a:lnTo>
                      <a:pt x="75" y="200"/>
                    </a:lnTo>
                    <a:lnTo>
                      <a:pt x="70" y="204"/>
                    </a:lnTo>
                    <a:lnTo>
                      <a:pt x="70" y="204"/>
                    </a:lnTo>
                    <a:lnTo>
                      <a:pt x="69" y="204"/>
                    </a:lnTo>
                    <a:lnTo>
                      <a:pt x="69" y="204"/>
                    </a:lnTo>
                    <a:lnTo>
                      <a:pt x="66" y="204"/>
                    </a:lnTo>
                    <a:lnTo>
                      <a:pt x="66" y="204"/>
                    </a:lnTo>
                    <a:lnTo>
                      <a:pt x="63" y="204"/>
                    </a:lnTo>
                    <a:lnTo>
                      <a:pt x="63" y="204"/>
                    </a:lnTo>
                    <a:lnTo>
                      <a:pt x="61" y="204"/>
                    </a:lnTo>
                    <a:lnTo>
                      <a:pt x="61" y="204"/>
                    </a:lnTo>
                    <a:lnTo>
                      <a:pt x="62" y="203"/>
                    </a:lnTo>
                    <a:lnTo>
                      <a:pt x="55" y="207"/>
                    </a:lnTo>
                    <a:lnTo>
                      <a:pt x="55" y="207"/>
                    </a:lnTo>
                    <a:lnTo>
                      <a:pt x="51" y="204"/>
                    </a:lnTo>
                    <a:lnTo>
                      <a:pt x="51" y="204"/>
                    </a:lnTo>
                    <a:lnTo>
                      <a:pt x="54" y="205"/>
                    </a:lnTo>
                    <a:lnTo>
                      <a:pt x="51" y="203"/>
                    </a:lnTo>
                    <a:lnTo>
                      <a:pt x="51" y="203"/>
                    </a:lnTo>
                    <a:lnTo>
                      <a:pt x="50" y="203"/>
                    </a:lnTo>
                    <a:lnTo>
                      <a:pt x="50" y="203"/>
                    </a:lnTo>
                    <a:lnTo>
                      <a:pt x="51" y="204"/>
                    </a:lnTo>
                    <a:lnTo>
                      <a:pt x="51" y="204"/>
                    </a:lnTo>
                    <a:lnTo>
                      <a:pt x="50" y="204"/>
                    </a:lnTo>
                    <a:lnTo>
                      <a:pt x="50" y="204"/>
                    </a:lnTo>
                    <a:lnTo>
                      <a:pt x="46" y="205"/>
                    </a:lnTo>
                    <a:lnTo>
                      <a:pt x="46" y="205"/>
                    </a:lnTo>
                    <a:lnTo>
                      <a:pt x="45" y="205"/>
                    </a:lnTo>
                    <a:lnTo>
                      <a:pt x="45" y="207"/>
                    </a:lnTo>
                    <a:lnTo>
                      <a:pt x="45" y="207"/>
                    </a:lnTo>
                    <a:lnTo>
                      <a:pt x="41" y="211"/>
                    </a:lnTo>
                    <a:lnTo>
                      <a:pt x="36" y="211"/>
                    </a:lnTo>
                    <a:lnTo>
                      <a:pt x="36" y="211"/>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6" name="Freeform 41">
                <a:extLst>
                  <a:ext uri="{FF2B5EF4-FFF2-40B4-BE49-F238E27FC236}">
                    <a16:creationId xmlns:a16="http://schemas.microsoft.com/office/drawing/2014/main" xmlns="" id="{192F4B0B-4B8D-4947-BCD7-3B39554B2BF1}"/>
                  </a:ext>
                </a:extLst>
              </p:cNvPr>
              <p:cNvSpPr>
                <a:spLocks/>
              </p:cNvSpPr>
              <p:nvPr/>
            </p:nvSpPr>
            <p:spPr bwMode="auto">
              <a:xfrm>
                <a:off x="6487181" y="3839477"/>
                <a:ext cx="670314" cy="588483"/>
              </a:xfrm>
              <a:custGeom>
                <a:avLst/>
                <a:gdLst>
                  <a:gd name="T0" fmla="*/ 272 w 385"/>
                  <a:gd name="T1" fmla="*/ 327 h 338"/>
                  <a:gd name="T2" fmla="*/ 250 w 385"/>
                  <a:gd name="T3" fmla="*/ 327 h 338"/>
                  <a:gd name="T4" fmla="*/ 233 w 385"/>
                  <a:gd name="T5" fmla="*/ 307 h 338"/>
                  <a:gd name="T6" fmla="*/ 213 w 385"/>
                  <a:gd name="T7" fmla="*/ 303 h 338"/>
                  <a:gd name="T8" fmla="*/ 181 w 385"/>
                  <a:gd name="T9" fmla="*/ 279 h 338"/>
                  <a:gd name="T10" fmla="*/ 177 w 385"/>
                  <a:gd name="T11" fmla="*/ 236 h 338"/>
                  <a:gd name="T12" fmla="*/ 182 w 385"/>
                  <a:gd name="T13" fmla="*/ 217 h 338"/>
                  <a:gd name="T14" fmla="*/ 167 w 385"/>
                  <a:gd name="T15" fmla="*/ 221 h 338"/>
                  <a:gd name="T16" fmla="*/ 149 w 385"/>
                  <a:gd name="T17" fmla="*/ 216 h 338"/>
                  <a:gd name="T18" fmla="*/ 139 w 385"/>
                  <a:gd name="T19" fmla="*/ 209 h 338"/>
                  <a:gd name="T20" fmla="*/ 140 w 385"/>
                  <a:gd name="T21" fmla="*/ 195 h 338"/>
                  <a:gd name="T22" fmla="*/ 128 w 385"/>
                  <a:gd name="T23" fmla="*/ 207 h 338"/>
                  <a:gd name="T24" fmla="*/ 108 w 385"/>
                  <a:gd name="T25" fmla="*/ 200 h 338"/>
                  <a:gd name="T26" fmla="*/ 93 w 385"/>
                  <a:gd name="T27" fmla="*/ 207 h 338"/>
                  <a:gd name="T28" fmla="*/ 77 w 385"/>
                  <a:gd name="T29" fmla="*/ 204 h 338"/>
                  <a:gd name="T30" fmla="*/ 62 w 385"/>
                  <a:gd name="T31" fmla="*/ 184 h 338"/>
                  <a:gd name="T32" fmla="*/ 58 w 385"/>
                  <a:gd name="T33" fmla="*/ 174 h 338"/>
                  <a:gd name="T34" fmla="*/ 48 w 385"/>
                  <a:gd name="T35" fmla="*/ 178 h 338"/>
                  <a:gd name="T36" fmla="*/ 26 w 385"/>
                  <a:gd name="T37" fmla="*/ 163 h 338"/>
                  <a:gd name="T38" fmla="*/ 20 w 385"/>
                  <a:gd name="T39" fmla="*/ 162 h 338"/>
                  <a:gd name="T40" fmla="*/ 4 w 385"/>
                  <a:gd name="T41" fmla="*/ 152 h 338"/>
                  <a:gd name="T42" fmla="*/ 8 w 385"/>
                  <a:gd name="T43" fmla="*/ 141 h 338"/>
                  <a:gd name="T44" fmla="*/ 16 w 385"/>
                  <a:gd name="T45" fmla="*/ 138 h 338"/>
                  <a:gd name="T46" fmla="*/ 28 w 385"/>
                  <a:gd name="T47" fmla="*/ 122 h 338"/>
                  <a:gd name="T48" fmla="*/ 41 w 385"/>
                  <a:gd name="T49" fmla="*/ 108 h 338"/>
                  <a:gd name="T50" fmla="*/ 50 w 385"/>
                  <a:gd name="T51" fmla="*/ 106 h 338"/>
                  <a:gd name="T52" fmla="*/ 65 w 385"/>
                  <a:gd name="T53" fmla="*/ 93 h 338"/>
                  <a:gd name="T54" fmla="*/ 85 w 385"/>
                  <a:gd name="T55" fmla="*/ 97 h 338"/>
                  <a:gd name="T56" fmla="*/ 107 w 385"/>
                  <a:gd name="T57" fmla="*/ 85 h 338"/>
                  <a:gd name="T58" fmla="*/ 124 w 385"/>
                  <a:gd name="T59" fmla="*/ 76 h 338"/>
                  <a:gd name="T60" fmla="*/ 138 w 385"/>
                  <a:gd name="T61" fmla="*/ 68 h 338"/>
                  <a:gd name="T62" fmla="*/ 157 w 385"/>
                  <a:gd name="T63" fmla="*/ 51 h 338"/>
                  <a:gd name="T64" fmla="*/ 173 w 385"/>
                  <a:gd name="T65" fmla="*/ 41 h 338"/>
                  <a:gd name="T66" fmla="*/ 182 w 385"/>
                  <a:gd name="T67" fmla="*/ 35 h 338"/>
                  <a:gd name="T68" fmla="*/ 181 w 385"/>
                  <a:gd name="T69" fmla="*/ 30 h 338"/>
                  <a:gd name="T70" fmla="*/ 202 w 385"/>
                  <a:gd name="T71" fmla="*/ 16 h 338"/>
                  <a:gd name="T72" fmla="*/ 218 w 385"/>
                  <a:gd name="T73" fmla="*/ 15 h 338"/>
                  <a:gd name="T74" fmla="*/ 229 w 385"/>
                  <a:gd name="T75" fmla="*/ 6 h 338"/>
                  <a:gd name="T76" fmla="*/ 243 w 385"/>
                  <a:gd name="T77" fmla="*/ 0 h 338"/>
                  <a:gd name="T78" fmla="*/ 257 w 385"/>
                  <a:gd name="T79" fmla="*/ 32 h 338"/>
                  <a:gd name="T80" fmla="*/ 260 w 385"/>
                  <a:gd name="T81" fmla="*/ 56 h 338"/>
                  <a:gd name="T82" fmla="*/ 254 w 385"/>
                  <a:gd name="T83" fmla="*/ 68 h 338"/>
                  <a:gd name="T84" fmla="*/ 267 w 385"/>
                  <a:gd name="T85" fmla="*/ 84 h 338"/>
                  <a:gd name="T86" fmla="*/ 288 w 385"/>
                  <a:gd name="T87" fmla="*/ 88 h 338"/>
                  <a:gd name="T88" fmla="*/ 304 w 385"/>
                  <a:gd name="T89" fmla="*/ 94 h 338"/>
                  <a:gd name="T90" fmla="*/ 312 w 385"/>
                  <a:gd name="T91" fmla="*/ 94 h 338"/>
                  <a:gd name="T92" fmla="*/ 329 w 385"/>
                  <a:gd name="T93" fmla="*/ 86 h 338"/>
                  <a:gd name="T94" fmla="*/ 344 w 385"/>
                  <a:gd name="T95" fmla="*/ 88 h 338"/>
                  <a:gd name="T96" fmla="*/ 365 w 385"/>
                  <a:gd name="T97" fmla="*/ 93 h 338"/>
                  <a:gd name="T98" fmla="*/ 377 w 385"/>
                  <a:gd name="T99" fmla="*/ 117 h 338"/>
                  <a:gd name="T100" fmla="*/ 385 w 385"/>
                  <a:gd name="T101" fmla="*/ 135 h 338"/>
                  <a:gd name="T102" fmla="*/ 365 w 385"/>
                  <a:gd name="T103" fmla="*/ 150 h 338"/>
                  <a:gd name="T104" fmla="*/ 341 w 385"/>
                  <a:gd name="T105" fmla="*/ 170 h 338"/>
                  <a:gd name="T106" fmla="*/ 336 w 385"/>
                  <a:gd name="T107" fmla="*/ 178 h 338"/>
                  <a:gd name="T108" fmla="*/ 332 w 385"/>
                  <a:gd name="T109" fmla="*/ 197 h 338"/>
                  <a:gd name="T110" fmla="*/ 321 w 385"/>
                  <a:gd name="T111" fmla="*/ 205 h 338"/>
                  <a:gd name="T112" fmla="*/ 301 w 385"/>
                  <a:gd name="T113" fmla="*/ 220 h 338"/>
                  <a:gd name="T114" fmla="*/ 301 w 385"/>
                  <a:gd name="T115" fmla="*/ 256 h 338"/>
                  <a:gd name="T116" fmla="*/ 313 w 385"/>
                  <a:gd name="T117" fmla="*/ 273 h 338"/>
                  <a:gd name="T118" fmla="*/ 319 w 385"/>
                  <a:gd name="T119" fmla="*/ 293 h 338"/>
                  <a:gd name="T120" fmla="*/ 321 w 385"/>
                  <a:gd name="T121" fmla="*/ 316 h 338"/>
                  <a:gd name="T122" fmla="*/ 312 w 385"/>
                  <a:gd name="T123" fmla="*/ 326 h 338"/>
                  <a:gd name="T124" fmla="*/ 288 w 385"/>
                  <a:gd name="T125" fmla="*/ 33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5" h="338">
                    <a:moveTo>
                      <a:pt x="288" y="335"/>
                    </a:moveTo>
                    <a:lnTo>
                      <a:pt x="288" y="335"/>
                    </a:lnTo>
                    <a:lnTo>
                      <a:pt x="287" y="330"/>
                    </a:lnTo>
                    <a:lnTo>
                      <a:pt x="284" y="330"/>
                    </a:lnTo>
                    <a:lnTo>
                      <a:pt x="283" y="330"/>
                    </a:lnTo>
                    <a:lnTo>
                      <a:pt x="276" y="324"/>
                    </a:lnTo>
                    <a:lnTo>
                      <a:pt x="276" y="324"/>
                    </a:lnTo>
                    <a:lnTo>
                      <a:pt x="278" y="327"/>
                    </a:lnTo>
                    <a:lnTo>
                      <a:pt x="280" y="327"/>
                    </a:lnTo>
                    <a:lnTo>
                      <a:pt x="276" y="330"/>
                    </a:lnTo>
                    <a:lnTo>
                      <a:pt x="275" y="330"/>
                    </a:lnTo>
                    <a:lnTo>
                      <a:pt x="272" y="327"/>
                    </a:lnTo>
                    <a:lnTo>
                      <a:pt x="272" y="327"/>
                    </a:lnTo>
                    <a:lnTo>
                      <a:pt x="268" y="328"/>
                    </a:lnTo>
                    <a:lnTo>
                      <a:pt x="268" y="328"/>
                    </a:lnTo>
                    <a:lnTo>
                      <a:pt x="264" y="327"/>
                    </a:lnTo>
                    <a:lnTo>
                      <a:pt x="264" y="327"/>
                    </a:lnTo>
                    <a:lnTo>
                      <a:pt x="260" y="326"/>
                    </a:lnTo>
                    <a:lnTo>
                      <a:pt x="260" y="326"/>
                    </a:lnTo>
                    <a:lnTo>
                      <a:pt x="258" y="328"/>
                    </a:lnTo>
                    <a:lnTo>
                      <a:pt x="255" y="328"/>
                    </a:lnTo>
                    <a:lnTo>
                      <a:pt x="255" y="328"/>
                    </a:lnTo>
                    <a:lnTo>
                      <a:pt x="251" y="327"/>
                    </a:lnTo>
                    <a:lnTo>
                      <a:pt x="250" y="327"/>
                    </a:lnTo>
                    <a:lnTo>
                      <a:pt x="250" y="327"/>
                    </a:lnTo>
                    <a:lnTo>
                      <a:pt x="246" y="323"/>
                    </a:lnTo>
                    <a:lnTo>
                      <a:pt x="246" y="323"/>
                    </a:lnTo>
                    <a:lnTo>
                      <a:pt x="246" y="322"/>
                    </a:lnTo>
                    <a:lnTo>
                      <a:pt x="241" y="315"/>
                    </a:lnTo>
                    <a:lnTo>
                      <a:pt x="241" y="314"/>
                    </a:lnTo>
                    <a:lnTo>
                      <a:pt x="241" y="314"/>
                    </a:lnTo>
                    <a:lnTo>
                      <a:pt x="241" y="312"/>
                    </a:lnTo>
                    <a:lnTo>
                      <a:pt x="241" y="312"/>
                    </a:lnTo>
                    <a:lnTo>
                      <a:pt x="238" y="312"/>
                    </a:lnTo>
                    <a:lnTo>
                      <a:pt x="234" y="310"/>
                    </a:lnTo>
                    <a:lnTo>
                      <a:pt x="233" y="307"/>
                    </a:lnTo>
                    <a:lnTo>
                      <a:pt x="233" y="307"/>
                    </a:lnTo>
                    <a:lnTo>
                      <a:pt x="231" y="306"/>
                    </a:lnTo>
                    <a:lnTo>
                      <a:pt x="227" y="305"/>
                    </a:lnTo>
                    <a:lnTo>
                      <a:pt x="227" y="305"/>
                    </a:lnTo>
                    <a:lnTo>
                      <a:pt x="226" y="303"/>
                    </a:lnTo>
                    <a:lnTo>
                      <a:pt x="226" y="303"/>
                    </a:lnTo>
                    <a:lnTo>
                      <a:pt x="222" y="303"/>
                    </a:lnTo>
                    <a:lnTo>
                      <a:pt x="222" y="303"/>
                    </a:lnTo>
                    <a:lnTo>
                      <a:pt x="217" y="303"/>
                    </a:lnTo>
                    <a:lnTo>
                      <a:pt x="217" y="303"/>
                    </a:lnTo>
                    <a:lnTo>
                      <a:pt x="216" y="302"/>
                    </a:lnTo>
                    <a:lnTo>
                      <a:pt x="213" y="303"/>
                    </a:lnTo>
                    <a:lnTo>
                      <a:pt x="210" y="303"/>
                    </a:lnTo>
                    <a:lnTo>
                      <a:pt x="209" y="303"/>
                    </a:lnTo>
                    <a:lnTo>
                      <a:pt x="209" y="303"/>
                    </a:lnTo>
                    <a:lnTo>
                      <a:pt x="202" y="301"/>
                    </a:lnTo>
                    <a:lnTo>
                      <a:pt x="198" y="298"/>
                    </a:lnTo>
                    <a:lnTo>
                      <a:pt x="198" y="298"/>
                    </a:lnTo>
                    <a:lnTo>
                      <a:pt x="194" y="295"/>
                    </a:lnTo>
                    <a:lnTo>
                      <a:pt x="190" y="294"/>
                    </a:lnTo>
                    <a:lnTo>
                      <a:pt x="184" y="287"/>
                    </a:lnTo>
                    <a:lnTo>
                      <a:pt x="184" y="285"/>
                    </a:lnTo>
                    <a:lnTo>
                      <a:pt x="184" y="285"/>
                    </a:lnTo>
                    <a:lnTo>
                      <a:pt x="181" y="279"/>
                    </a:lnTo>
                    <a:lnTo>
                      <a:pt x="180" y="273"/>
                    </a:lnTo>
                    <a:lnTo>
                      <a:pt x="180" y="273"/>
                    </a:lnTo>
                    <a:lnTo>
                      <a:pt x="177" y="270"/>
                    </a:lnTo>
                    <a:lnTo>
                      <a:pt x="175" y="267"/>
                    </a:lnTo>
                    <a:lnTo>
                      <a:pt x="175" y="261"/>
                    </a:lnTo>
                    <a:lnTo>
                      <a:pt x="175" y="261"/>
                    </a:lnTo>
                    <a:lnTo>
                      <a:pt x="175" y="260"/>
                    </a:lnTo>
                    <a:lnTo>
                      <a:pt x="169" y="254"/>
                    </a:lnTo>
                    <a:lnTo>
                      <a:pt x="169" y="254"/>
                    </a:lnTo>
                    <a:lnTo>
                      <a:pt x="172" y="245"/>
                    </a:lnTo>
                    <a:lnTo>
                      <a:pt x="176" y="237"/>
                    </a:lnTo>
                    <a:lnTo>
                      <a:pt x="177" y="236"/>
                    </a:lnTo>
                    <a:lnTo>
                      <a:pt x="177" y="236"/>
                    </a:lnTo>
                    <a:lnTo>
                      <a:pt x="180" y="230"/>
                    </a:lnTo>
                    <a:lnTo>
                      <a:pt x="181" y="227"/>
                    </a:lnTo>
                    <a:lnTo>
                      <a:pt x="181" y="223"/>
                    </a:lnTo>
                    <a:lnTo>
                      <a:pt x="185" y="217"/>
                    </a:lnTo>
                    <a:lnTo>
                      <a:pt x="185" y="217"/>
                    </a:lnTo>
                    <a:lnTo>
                      <a:pt x="185" y="217"/>
                    </a:lnTo>
                    <a:lnTo>
                      <a:pt x="182" y="220"/>
                    </a:lnTo>
                    <a:lnTo>
                      <a:pt x="182" y="220"/>
                    </a:lnTo>
                    <a:lnTo>
                      <a:pt x="182" y="220"/>
                    </a:lnTo>
                    <a:lnTo>
                      <a:pt x="182" y="220"/>
                    </a:lnTo>
                    <a:lnTo>
                      <a:pt x="182" y="217"/>
                    </a:lnTo>
                    <a:lnTo>
                      <a:pt x="182" y="217"/>
                    </a:lnTo>
                    <a:lnTo>
                      <a:pt x="181" y="216"/>
                    </a:lnTo>
                    <a:lnTo>
                      <a:pt x="181" y="217"/>
                    </a:lnTo>
                    <a:lnTo>
                      <a:pt x="181" y="217"/>
                    </a:lnTo>
                    <a:lnTo>
                      <a:pt x="177" y="221"/>
                    </a:lnTo>
                    <a:lnTo>
                      <a:pt x="175" y="221"/>
                    </a:lnTo>
                    <a:lnTo>
                      <a:pt x="175" y="221"/>
                    </a:lnTo>
                    <a:lnTo>
                      <a:pt x="175" y="221"/>
                    </a:lnTo>
                    <a:lnTo>
                      <a:pt x="172" y="221"/>
                    </a:lnTo>
                    <a:lnTo>
                      <a:pt x="169" y="220"/>
                    </a:lnTo>
                    <a:lnTo>
                      <a:pt x="169" y="220"/>
                    </a:lnTo>
                    <a:lnTo>
                      <a:pt x="167" y="221"/>
                    </a:lnTo>
                    <a:lnTo>
                      <a:pt x="164" y="223"/>
                    </a:lnTo>
                    <a:lnTo>
                      <a:pt x="164" y="223"/>
                    </a:lnTo>
                    <a:lnTo>
                      <a:pt x="161" y="223"/>
                    </a:lnTo>
                    <a:lnTo>
                      <a:pt x="157" y="220"/>
                    </a:lnTo>
                    <a:lnTo>
                      <a:pt x="157" y="220"/>
                    </a:lnTo>
                    <a:lnTo>
                      <a:pt x="155" y="219"/>
                    </a:lnTo>
                    <a:lnTo>
                      <a:pt x="155" y="219"/>
                    </a:lnTo>
                    <a:lnTo>
                      <a:pt x="149" y="216"/>
                    </a:lnTo>
                    <a:lnTo>
                      <a:pt x="151" y="216"/>
                    </a:lnTo>
                    <a:lnTo>
                      <a:pt x="149" y="216"/>
                    </a:lnTo>
                    <a:lnTo>
                      <a:pt x="149" y="216"/>
                    </a:lnTo>
                    <a:lnTo>
                      <a:pt x="149" y="216"/>
                    </a:lnTo>
                    <a:lnTo>
                      <a:pt x="149" y="216"/>
                    </a:lnTo>
                    <a:lnTo>
                      <a:pt x="145" y="217"/>
                    </a:lnTo>
                    <a:lnTo>
                      <a:pt x="145" y="217"/>
                    </a:lnTo>
                    <a:lnTo>
                      <a:pt x="142" y="216"/>
                    </a:lnTo>
                    <a:lnTo>
                      <a:pt x="139" y="213"/>
                    </a:lnTo>
                    <a:lnTo>
                      <a:pt x="139" y="211"/>
                    </a:lnTo>
                    <a:lnTo>
                      <a:pt x="139" y="211"/>
                    </a:lnTo>
                    <a:lnTo>
                      <a:pt x="140" y="212"/>
                    </a:lnTo>
                    <a:lnTo>
                      <a:pt x="142" y="213"/>
                    </a:lnTo>
                    <a:lnTo>
                      <a:pt x="139" y="209"/>
                    </a:lnTo>
                    <a:lnTo>
                      <a:pt x="139" y="209"/>
                    </a:lnTo>
                    <a:lnTo>
                      <a:pt x="139" y="209"/>
                    </a:lnTo>
                    <a:lnTo>
                      <a:pt x="139" y="209"/>
                    </a:lnTo>
                    <a:lnTo>
                      <a:pt x="138" y="208"/>
                    </a:lnTo>
                    <a:lnTo>
                      <a:pt x="138" y="205"/>
                    </a:lnTo>
                    <a:lnTo>
                      <a:pt x="140" y="200"/>
                    </a:lnTo>
                    <a:lnTo>
                      <a:pt x="140" y="200"/>
                    </a:lnTo>
                    <a:lnTo>
                      <a:pt x="140" y="200"/>
                    </a:lnTo>
                    <a:lnTo>
                      <a:pt x="140" y="200"/>
                    </a:lnTo>
                    <a:lnTo>
                      <a:pt x="140" y="200"/>
                    </a:lnTo>
                    <a:lnTo>
                      <a:pt x="140" y="195"/>
                    </a:lnTo>
                    <a:lnTo>
                      <a:pt x="140" y="195"/>
                    </a:lnTo>
                    <a:lnTo>
                      <a:pt x="140" y="195"/>
                    </a:lnTo>
                    <a:lnTo>
                      <a:pt x="140" y="195"/>
                    </a:lnTo>
                    <a:lnTo>
                      <a:pt x="138" y="195"/>
                    </a:lnTo>
                    <a:lnTo>
                      <a:pt x="135" y="195"/>
                    </a:lnTo>
                    <a:lnTo>
                      <a:pt x="135" y="195"/>
                    </a:lnTo>
                    <a:lnTo>
                      <a:pt x="135" y="195"/>
                    </a:lnTo>
                    <a:lnTo>
                      <a:pt x="135" y="199"/>
                    </a:lnTo>
                    <a:lnTo>
                      <a:pt x="130" y="205"/>
                    </a:lnTo>
                    <a:lnTo>
                      <a:pt x="130" y="205"/>
                    </a:lnTo>
                    <a:lnTo>
                      <a:pt x="132" y="204"/>
                    </a:lnTo>
                    <a:lnTo>
                      <a:pt x="134" y="201"/>
                    </a:lnTo>
                    <a:lnTo>
                      <a:pt x="134" y="201"/>
                    </a:lnTo>
                    <a:lnTo>
                      <a:pt x="134" y="203"/>
                    </a:lnTo>
                    <a:lnTo>
                      <a:pt x="128" y="207"/>
                    </a:lnTo>
                    <a:lnTo>
                      <a:pt x="127" y="208"/>
                    </a:lnTo>
                    <a:lnTo>
                      <a:pt x="127" y="208"/>
                    </a:lnTo>
                    <a:lnTo>
                      <a:pt x="123" y="207"/>
                    </a:lnTo>
                    <a:lnTo>
                      <a:pt x="120" y="205"/>
                    </a:lnTo>
                    <a:lnTo>
                      <a:pt x="120" y="205"/>
                    </a:lnTo>
                    <a:lnTo>
                      <a:pt x="120" y="205"/>
                    </a:lnTo>
                    <a:lnTo>
                      <a:pt x="120" y="205"/>
                    </a:lnTo>
                    <a:lnTo>
                      <a:pt x="116" y="203"/>
                    </a:lnTo>
                    <a:lnTo>
                      <a:pt x="116" y="203"/>
                    </a:lnTo>
                    <a:lnTo>
                      <a:pt x="112" y="201"/>
                    </a:lnTo>
                    <a:lnTo>
                      <a:pt x="112" y="201"/>
                    </a:lnTo>
                    <a:lnTo>
                      <a:pt x="108" y="200"/>
                    </a:lnTo>
                    <a:lnTo>
                      <a:pt x="104" y="197"/>
                    </a:lnTo>
                    <a:lnTo>
                      <a:pt x="104" y="197"/>
                    </a:lnTo>
                    <a:lnTo>
                      <a:pt x="102" y="196"/>
                    </a:lnTo>
                    <a:lnTo>
                      <a:pt x="101" y="199"/>
                    </a:lnTo>
                    <a:lnTo>
                      <a:pt x="101" y="199"/>
                    </a:lnTo>
                    <a:lnTo>
                      <a:pt x="102" y="197"/>
                    </a:lnTo>
                    <a:lnTo>
                      <a:pt x="102" y="197"/>
                    </a:lnTo>
                    <a:lnTo>
                      <a:pt x="102" y="197"/>
                    </a:lnTo>
                    <a:lnTo>
                      <a:pt x="102" y="197"/>
                    </a:lnTo>
                    <a:lnTo>
                      <a:pt x="99" y="203"/>
                    </a:lnTo>
                    <a:lnTo>
                      <a:pt x="97" y="205"/>
                    </a:lnTo>
                    <a:lnTo>
                      <a:pt x="93" y="207"/>
                    </a:lnTo>
                    <a:lnTo>
                      <a:pt x="93" y="207"/>
                    </a:lnTo>
                    <a:lnTo>
                      <a:pt x="91" y="207"/>
                    </a:lnTo>
                    <a:lnTo>
                      <a:pt x="91" y="207"/>
                    </a:lnTo>
                    <a:lnTo>
                      <a:pt x="86" y="205"/>
                    </a:lnTo>
                    <a:lnTo>
                      <a:pt x="82" y="204"/>
                    </a:lnTo>
                    <a:lnTo>
                      <a:pt x="82" y="204"/>
                    </a:lnTo>
                    <a:lnTo>
                      <a:pt x="82" y="204"/>
                    </a:lnTo>
                    <a:lnTo>
                      <a:pt x="82" y="204"/>
                    </a:lnTo>
                    <a:lnTo>
                      <a:pt x="82" y="204"/>
                    </a:lnTo>
                    <a:lnTo>
                      <a:pt x="78" y="204"/>
                    </a:lnTo>
                    <a:lnTo>
                      <a:pt x="78" y="204"/>
                    </a:lnTo>
                    <a:lnTo>
                      <a:pt x="77" y="204"/>
                    </a:lnTo>
                    <a:lnTo>
                      <a:pt x="77" y="204"/>
                    </a:lnTo>
                    <a:lnTo>
                      <a:pt x="77" y="204"/>
                    </a:lnTo>
                    <a:lnTo>
                      <a:pt x="74" y="204"/>
                    </a:lnTo>
                    <a:lnTo>
                      <a:pt x="74" y="204"/>
                    </a:lnTo>
                    <a:lnTo>
                      <a:pt x="70" y="203"/>
                    </a:lnTo>
                    <a:lnTo>
                      <a:pt x="66" y="201"/>
                    </a:lnTo>
                    <a:lnTo>
                      <a:pt x="62" y="199"/>
                    </a:lnTo>
                    <a:lnTo>
                      <a:pt x="62" y="199"/>
                    </a:lnTo>
                    <a:lnTo>
                      <a:pt x="61" y="197"/>
                    </a:lnTo>
                    <a:lnTo>
                      <a:pt x="56" y="191"/>
                    </a:lnTo>
                    <a:lnTo>
                      <a:pt x="56" y="189"/>
                    </a:lnTo>
                    <a:lnTo>
                      <a:pt x="62" y="184"/>
                    </a:lnTo>
                    <a:lnTo>
                      <a:pt x="62" y="184"/>
                    </a:lnTo>
                    <a:lnTo>
                      <a:pt x="58" y="186"/>
                    </a:lnTo>
                    <a:lnTo>
                      <a:pt x="57" y="188"/>
                    </a:lnTo>
                    <a:lnTo>
                      <a:pt x="57" y="188"/>
                    </a:lnTo>
                    <a:lnTo>
                      <a:pt x="57" y="187"/>
                    </a:lnTo>
                    <a:lnTo>
                      <a:pt x="57" y="187"/>
                    </a:lnTo>
                    <a:lnTo>
                      <a:pt x="57" y="183"/>
                    </a:lnTo>
                    <a:lnTo>
                      <a:pt x="58" y="180"/>
                    </a:lnTo>
                    <a:lnTo>
                      <a:pt x="62" y="176"/>
                    </a:lnTo>
                    <a:lnTo>
                      <a:pt x="57" y="172"/>
                    </a:lnTo>
                    <a:lnTo>
                      <a:pt x="57" y="172"/>
                    </a:lnTo>
                    <a:lnTo>
                      <a:pt x="58" y="174"/>
                    </a:lnTo>
                    <a:lnTo>
                      <a:pt x="58" y="174"/>
                    </a:lnTo>
                    <a:lnTo>
                      <a:pt x="54" y="172"/>
                    </a:lnTo>
                    <a:lnTo>
                      <a:pt x="54" y="172"/>
                    </a:lnTo>
                    <a:lnTo>
                      <a:pt x="52" y="174"/>
                    </a:lnTo>
                    <a:lnTo>
                      <a:pt x="52" y="174"/>
                    </a:lnTo>
                    <a:lnTo>
                      <a:pt x="52" y="172"/>
                    </a:lnTo>
                    <a:lnTo>
                      <a:pt x="52" y="172"/>
                    </a:lnTo>
                    <a:lnTo>
                      <a:pt x="48" y="176"/>
                    </a:lnTo>
                    <a:lnTo>
                      <a:pt x="48" y="176"/>
                    </a:lnTo>
                    <a:lnTo>
                      <a:pt x="50" y="176"/>
                    </a:lnTo>
                    <a:lnTo>
                      <a:pt x="50" y="176"/>
                    </a:lnTo>
                    <a:lnTo>
                      <a:pt x="48" y="178"/>
                    </a:lnTo>
                    <a:lnTo>
                      <a:pt x="45" y="178"/>
                    </a:lnTo>
                    <a:lnTo>
                      <a:pt x="45" y="178"/>
                    </a:lnTo>
                    <a:lnTo>
                      <a:pt x="44" y="179"/>
                    </a:lnTo>
                    <a:lnTo>
                      <a:pt x="44" y="179"/>
                    </a:lnTo>
                    <a:lnTo>
                      <a:pt x="40" y="178"/>
                    </a:lnTo>
                    <a:lnTo>
                      <a:pt x="37" y="175"/>
                    </a:lnTo>
                    <a:lnTo>
                      <a:pt x="36" y="172"/>
                    </a:lnTo>
                    <a:lnTo>
                      <a:pt x="32" y="170"/>
                    </a:lnTo>
                    <a:lnTo>
                      <a:pt x="32" y="170"/>
                    </a:lnTo>
                    <a:lnTo>
                      <a:pt x="30" y="167"/>
                    </a:lnTo>
                    <a:lnTo>
                      <a:pt x="26" y="163"/>
                    </a:lnTo>
                    <a:lnTo>
                      <a:pt x="26" y="163"/>
                    </a:lnTo>
                    <a:lnTo>
                      <a:pt x="23" y="162"/>
                    </a:lnTo>
                    <a:lnTo>
                      <a:pt x="23" y="162"/>
                    </a:lnTo>
                    <a:lnTo>
                      <a:pt x="24" y="162"/>
                    </a:lnTo>
                    <a:lnTo>
                      <a:pt x="24" y="162"/>
                    </a:lnTo>
                    <a:lnTo>
                      <a:pt x="23" y="162"/>
                    </a:lnTo>
                    <a:lnTo>
                      <a:pt x="23" y="162"/>
                    </a:lnTo>
                    <a:lnTo>
                      <a:pt x="21" y="162"/>
                    </a:lnTo>
                    <a:lnTo>
                      <a:pt x="20" y="162"/>
                    </a:lnTo>
                    <a:lnTo>
                      <a:pt x="20" y="162"/>
                    </a:lnTo>
                    <a:lnTo>
                      <a:pt x="20" y="162"/>
                    </a:lnTo>
                    <a:lnTo>
                      <a:pt x="20" y="162"/>
                    </a:lnTo>
                    <a:lnTo>
                      <a:pt x="20" y="162"/>
                    </a:lnTo>
                    <a:lnTo>
                      <a:pt x="16" y="158"/>
                    </a:lnTo>
                    <a:lnTo>
                      <a:pt x="16" y="159"/>
                    </a:lnTo>
                    <a:lnTo>
                      <a:pt x="16" y="159"/>
                    </a:lnTo>
                    <a:lnTo>
                      <a:pt x="16" y="159"/>
                    </a:lnTo>
                    <a:lnTo>
                      <a:pt x="16" y="159"/>
                    </a:lnTo>
                    <a:lnTo>
                      <a:pt x="17" y="160"/>
                    </a:lnTo>
                    <a:lnTo>
                      <a:pt x="17" y="160"/>
                    </a:lnTo>
                    <a:lnTo>
                      <a:pt x="17" y="160"/>
                    </a:lnTo>
                    <a:lnTo>
                      <a:pt x="13" y="159"/>
                    </a:lnTo>
                    <a:lnTo>
                      <a:pt x="13" y="159"/>
                    </a:lnTo>
                    <a:lnTo>
                      <a:pt x="8" y="158"/>
                    </a:lnTo>
                    <a:lnTo>
                      <a:pt x="4" y="152"/>
                    </a:lnTo>
                    <a:lnTo>
                      <a:pt x="4" y="152"/>
                    </a:lnTo>
                    <a:lnTo>
                      <a:pt x="5" y="155"/>
                    </a:lnTo>
                    <a:lnTo>
                      <a:pt x="7" y="156"/>
                    </a:lnTo>
                    <a:lnTo>
                      <a:pt x="7" y="156"/>
                    </a:lnTo>
                    <a:lnTo>
                      <a:pt x="3" y="154"/>
                    </a:lnTo>
                    <a:lnTo>
                      <a:pt x="0" y="150"/>
                    </a:lnTo>
                    <a:lnTo>
                      <a:pt x="0" y="147"/>
                    </a:lnTo>
                    <a:lnTo>
                      <a:pt x="0" y="145"/>
                    </a:lnTo>
                    <a:lnTo>
                      <a:pt x="4" y="141"/>
                    </a:lnTo>
                    <a:lnTo>
                      <a:pt x="4" y="141"/>
                    </a:lnTo>
                    <a:lnTo>
                      <a:pt x="8" y="141"/>
                    </a:lnTo>
                    <a:lnTo>
                      <a:pt x="8" y="141"/>
                    </a:lnTo>
                    <a:lnTo>
                      <a:pt x="11" y="141"/>
                    </a:lnTo>
                    <a:lnTo>
                      <a:pt x="11" y="141"/>
                    </a:lnTo>
                    <a:lnTo>
                      <a:pt x="12" y="141"/>
                    </a:lnTo>
                    <a:lnTo>
                      <a:pt x="12" y="141"/>
                    </a:lnTo>
                    <a:lnTo>
                      <a:pt x="9" y="142"/>
                    </a:lnTo>
                    <a:lnTo>
                      <a:pt x="8" y="145"/>
                    </a:lnTo>
                    <a:lnTo>
                      <a:pt x="12" y="142"/>
                    </a:lnTo>
                    <a:lnTo>
                      <a:pt x="12" y="141"/>
                    </a:lnTo>
                    <a:lnTo>
                      <a:pt x="12" y="141"/>
                    </a:lnTo>
                    <a:lnTo>
                      <a:pt x="13" y="139"/>
                    </a:lnTo>
                    <a:lnTo>
                      <a:pt x="13" y="139"/>
                    </a:lnTo>
                    <a:lnTo>
                      <a:pt x="16" y="138"/>
                    </a:lnTo>
                    <a:lnTo>
                      <a:pt x="16" y="137"/>
                    </a:lnTo>
                    <a:lnTo>
                      <a:pt x="16" y="137"/>
                    </a:lnTo>
                    <a:lnTo>
                      <a:pt x="19" y="135"/>
                    </a:lnTo>
                    <a:lnTo>
                      <a:pt x="19" y="135"/>
                    </a:lnTo>
                    <a:lnTo>
                      <a:pt x="20" y="135"/>
                    </a:lnTo>
                    <a:lnTo>
                      <a:pt x="20" y="133"/>
                    </a:lnTo>
                    <a:lnTo>
                      <a:pt x="20" y="133"/>
                    </a:lnTo>
                    <a:lnTo>
                      <a:pt x="23" y="130"/>
                    </a:lnTo>
                    <a:lnTo>
                      <a:pt x="24" y="129"/>
                    </a:lnTo>
                    <a:lnTo>
                      <a:pt x="24" y="127"/>
                    </a:lnTo>
                    <a:lnTo>
                      <a:pt x="28" y="122"/>
                    </a:lnTo>
                    <a:lnTo>
                      <a:pt x="28" y="122"/>
                    </a:lnTo>
                    <a:lnTo>
                      <a:pt x="29" y="121"/>
                    </a:lnTo>
                    <a:lnTo>
                      <a:pt x="30" y="118"/>
                    </a:lnTo>
                    <a:lnTo>
                      <a:pt x="32" y="118"/>
                    </a:lnTo>
                    <a:lnTo>
                      <a:pt x="33" y="114"/>
                    </a:lnTo>
                    <a:lnTo>
                      <a:pt x="33" y="114"/>
                    </a:lnTo>
                    <a:lnTo>
                      <a:pt x="32" y="114"/>
                    </a:lnTo>
                    <a:lnTo>
                      <a:pt x="32" y="114"/>
                    </a:lnTo>
                    <a:lnTo>
                      <a:pt x="33" y="114"/>
                    </a:lnTo>
                    <a:lnTo>
                      <a:pt x="33" y="114"/>
                    </a:lnTo>
                    <a:lnTo>
                      <a:pt x="34" y="111"/>
                    </a:lnTo>
                    <a:lnTo>
                      <a:pt x="38" y="108"/>
                    </a:lnTo>
                    <a:lnTo>
                      <a:pt x="41" y="108"/>
                    </a:lnTo>
                    <a:lnTo>
                      <a:pt x="41" y="108"/>
                    </a:lnTo>
                    <a:lnTo>
                      <a:pt x="38" y="109"/>
                    </a:lnTo>
                    <a:lnTo>
                      <a:pt x="37" y="111"/>
                    </a:lnTo>
                    <a:lnTo>
                      <a:pt x="41" y="108"/>
                    </a:lnTo>
                    <a:lnTo>
                      <a:pt x="41" y="108"/>
                    </a:lnTo>
                    <a:lnTo>
                      <a:pt x="41" y="108"/>
                    </a:lnTo>
                    <a:lnTo>
                      <a:pt x="41" y="108"/>
                    </a:lnTo>
                    <a:lnTo>
                      <a:pt x="42" y="106"/>
                    </a:lnTo>
                    <a:lnTo>
                      <a:pt x="48" y="106"/>
                    </a:lnTo>
                    <a:lnTo>
                      <a:pt x="48" y="106"/>
                    </a:lnTo>
                    <a:lnTo>
                      <a:pt x="50" y="106"/>
                    </a:lnTo>
                    <a:lnTo>
                      <a:pt x="50" y="106"/>
                    </a:lnTo>
                    <a:lnTo>
                      <a:pt x="53" y="108"/>
                    </a:lnTo>
                    <a:lnTo>
                      <a:pt x="56" y="109"/>
                    </a:lnTo>
                    <a:lnTo>
                      <a:pt x="56" y="109"/>
                    </a:lnTo>
                    <a:lnTo>
                      <a:pt x="60" y="108"/>
                    </a:lnTo>
                    <a:lnTo>
                      <a:pt x="60" y="108"/>
                    </a:lnTo>
                    <a:lnTo>
                      <a:pt x="63" y="106"/>
                    </a:lnTo>
                    <a:lnTo>
                      <a:pt x="63" y="106"/>
                    </a:lnTo>
                    <a:lnTo>
                      <a:pt x="63" y="106"/>
                    </a:lnTo>
                    <a:lnTo>
                      <a:pt x="63" y="101"/>
                    </a:lnTo>
                    <a:lnTo>
                      <a:pt x="63" y="101"/>
                    </a:lnTo>
                    <a:lnTo>
                      <a:pt x="63" y="96"/>
                    </a:lnTo>
                    <a:lnTo>
                      <a:pt x="65" y="93"/>
                    </a:lnTo>
                    <a:lnTo>
                      <a:pt x="67" y="89"/>
                    </a:lnTo>
                    <a:lnTo>
                      <a:pt x="67" y="89"/>
                    </a:lnTo>
                    <a:lnTo>
                      <a:pt x="67" y="89"/>
                    </a:lnTo>
                    <a:lnTo>
                      <a:pt x="75" y="85"/>
                    </a:lnTo>
                    <a:lnTo>
                      <a:pt x="75" y="85"/>
                    </a:lnTo>
                    <a:lnTo>
                      <a:pt x="78" y="86"/>
                    </a:lnTo>
                    <a:lnTo>
                      <a:pt x="81" y="89"/>
                    </a:lnTo>
                    <a:lnTo>
                      <a:pt x="82" y="92"/>
                    </a:lnTo>
                    <a:lnTo>
                      <a:pt x="82" y="94"/>
                    </a:lnTo>
                    <a:lnTo>
                      <a:pt x="82" y="96"/>
                    </a:lnTo>
                    <a:lnTo>
                      <a:pt x="82" y="96"/>
                    </a:lnTo>
                    <a:lnTo>
                      <a:pt x="85" y="97"/>
                    </a:lnTo>
                    <a:lnTo>
                      <a:pt x="91" y="97"/>
                    </a:lnTo>
                    <a:lnTo>
                      <a:pt x="93" y="97"/>
                    </a:lnTo>
                    <a:lnTo>
                      <a:pt x="93" y="97"/>
                    </a:lnTo>
                    <a:lnTo>
                      <a:pt x="102" y="94"/>
                    </a:lnTo>
                    <a:lnTo>
                      <a:pt x="102" y="94"/>
                    </a:lnTo>
                    <a:lnTo>
                      <a:pt x="107" y="93"/>
                    </a:lnTo>
                    <a:lnTo>
                      <a:pt x="107" y="93"/>
                    </a:lnTo>
                    <a:lnTo>
                      <a:pt x="107" y="93"/>
                    </a:lnTo>
                    <a:lnTo>
                      <a:pt x="107" y="93"/>
                    </a:lnTo>
                    <a:lnTo>
                      <a:pt x="107" y="90"/>
                    </a:lnTo>
                    <a:lnTo>
                      <a:pt x="107" y="90"/>
                    </a:lnTo>
                    <a:lnTo>
                      <a:pt x="107" y="85"/>
                    </a:lnTo>
                    <a:lnTo>
                      <a:pt x="107" y="85"/>
                    </a:lnTo>
                    <a:lnTo>
                      <a:pt x="107" y="81"/>
                    </a:lnTo>
                    <a:lnTo>
                      <a:pt x="110" y="78"/>
                    </a:lnTo>
                    <a:lnTo>
                      <a:pt x="110" y="78"/>
                    </a:lnTo>
                    <a:lnTo>
                      <a:pt x="110" y="78"/>
                    </a:lnTo>
                    <a:lnTo>
                      <a:pt x="114" y="73"/>
                    </a:lnTo>
                    <a:lnTo>
                      <a:pt x="114" y="73"/>
                    </a:lnTo>
                    <a:lnTo>
                      <a:pt x="116" y="73"/>
                    </a:lnTo>
                    <a:lnTo>
                      <a:pt x="116" y="73"/>
                    </a:lnTo>
                    <a:lnTo>
                      <a:pt x="120" y="74"/>
                    </a:lnTo>
                    <a:lnTo>
                      <a:pt x="123" y="76"/>
                    </a:lnTo>
                    <a:lnTo>
                      <a:pt x="124" y="76"/>
                    </a:lnTo>
                    <a:lnTo>
                      <a:pt x="127" y="77"/>
                    </a:lnTo>
                    <a:lnTo>
                      <a:pt x="127" y="77"/>
                    </a:lnTo>
                    <a:lnTo>
                      <a:pt x="130" y="77"/>
                    </a:lnTo>
                    <a:lnTo>
                      <a:pt x="130" y="77"/>
                    </a:lnTo>
                    <a:lnTo>
                      <a:pt x="134" y="77"/>
                    </a:lnTo>
                    <a:lnTo>
                      <a:pt x="134" y="77"/>
                    </a:lnTo>
                    <a:lnTo>
                      <a:pt x="134" y="73"/>
                    </a:lnTo>
                    <a:lnTo>
                      <a:pt x="135" y="70"/>
                    </a:lnTo>
                    <a:lnTo>
                      <a:pt x="135" y="70"/>
                    </a:lnTo>
                    <a:lnTo>
                      <a:pt x="135" y="70"/>
                    </a:lnTo>
                    <a:lnTo>
                      <a:pt x="135" y="73"/>
                    </a:lnTo>
                    <a:lnTo>
                      <a:pt x="138" y="68"/>
                    </a:lnTo>
                    <a:lnTo>
                      <a:pt x="138" y="68"/>
                    </a:lnTo>
                    <a:lnTo>
                      <a:pt x="140" y="64"/>
                    </a:lnTo>
                    <a:lnTo>
                      <a:pt x="140" y="64"/>
                    </a:lnTo>
                    <a:lnTo>
                      <a:pt x="145" y="57"/>
                    </a:lnTo>
                    <a:lnTo>
                      <a:pt x="149" y="55"/>
                    </a:lnTo>
                    <a:lnTo>
                      <a:pt x="155" y="53"/>
                    </a:lnTo>
                    <a:lnTo>
                      <a:pt x="156" y="53"/>
                    </a:lnTo>
                    <a:lnTo>
                      <a:pt x="156" y="53"/>
                    </a:lnTo>
                    <a:lnTo>
                      <a:pt x="163" y="47"/>
                    </a:lnTo>
                    <a:lnTo>
                      <a:pt x="163" y="47"/>
                    </a:lnTo>
                    <a:lnTo>
                      <a:pt x="159" y="48"/>
                    </a:lnTo>
                    <a:lnTo>
                      <a:pt x="157" y="51"/>
                    </a:lnTo>
                    <a:lnTo>
                      <a:pt x="157" y="51"/>
                    </a:lnTo>
                    <a:lnTo>
                      <a:pt x="157" y="48"/>
                    </a:lnTo>
                    <a:lnTo>
                      <a:pt x="163" y="44"/>
                    </a:lnTo>
                    <a:lnTo>
                      <a:pt x="164" y="44"/>
                    </a:lnTo>
                    <a:lnTo>
                      <a:pt x="164" y="44"/>
                    </a:lnTo>
                    <a:lnTo>
                      <a:pt x="172" y="43"/>
                    </a:lnTo>
                    <a:lnTo>
                      <a:pt x="172" y="43"/>
                    </a:lnTo>
                    <a:lnTo>
                      <a:pt x="173" y="43"/>
                    </a:lnTo>
                    <a:lnTo>
                      <a:pt x="173" y="43"/>
                    </a:lnTo>
                    <a:lnTo>
                      <a:pt x="173" y="43"/>
                    </a:lnTo>
                    <a:lnTo>
                      <a:pt x="173" y="41"/>
                    </a:lnTo>
                    <a:lnTo>
                      <a:pt x="173" y="41"/>
                    </a:lnTo>
                    <a:lnTo>
                      <a:pt x="175" y="41"/>
                    </a:lnTo>
                    <a:lnTo>
                      <a:pt x="180" y="35"/>
                    </a:lnTo>
                    <a:lnTo>
                      <a:pt x="181" y="35"/>
                    </a:lnTo>
                    <a:lnTo>
                      <a:pt x="181" y="35"/>
                    </a:lnTo>
                    <a:lnTo>
                      <a:pt x="182" y="36"/>
                    </a:lnTo>
                    <a:lnTo>
                      <a:pt x="182" y="36"/>
                    </a:lnTo>
                    <a:lnTo>
                      <a:pt x="181" y="36"/>
                    </a:lnTo>
                    <a:lnTo>
                      <a:pt x="179" y="39"/>
                    </a:lnTo>
                    <a:lnTo>
                      <a:pt x="182" y="36"/>
                    </a:lnTo>
                    <a:lnTo>
                      <a:pt x="182" y="36"/>
                    </a:lnTo>
                    <a:lnTo>
                      <a:pt x="182" y="35"/>
                    </a:lnTo>
                    <a:lnTo>
                      <a:pt x="182" y="35"/>
                    </a:lnTo>
                    <a:lnTo>
                      <a:pt x="182" y="35"/>
                    </a:lnTo>
                    <a:lnTo>
                      <a:pt x="182" y="35"/>
                    </a:lnTo>
                    <a:lnTo>
                      <a:pt x="184" y="36"/>
                    </a:lnTo>
                    <a:lnTo>
                      <a:pt x="184" y="35"/>
                    </a:lnTo>
                    <a:lnTo>
                      <a:pt x="184" y="35"/>
                    </a:lnTo>
                    <a:lnTo>
                      <a:pt x="184" y="35"/>
                    </a:lnTo>
                    <a:lnTo>
                      <a:pt x="184" y="35"/>
                    </a:lnTo>
                    <a:lnTo>
                      <a:pt x="184" y="35"/>
                    </a:lnTo>
                    <a:lnTo>
                      <a:pt x="184" y="35"/>
                    </a:lnTo>
                    <a:lnTo>
                      <a:pt x="181" y="32"/>
                    </a:lnTo>
                    <a:lnTo>
                      <a:pt x="181" y="31"/>
                    </a:lnTo>
                    <a:lnTo>
                      <a:pt x="181" y="30"/>
                    </a:lnTo>
                    <a:lnTo>
                      <a:pt x="181" y="30"/>
                    </a:lnTo>
                    <a:lnTo>
                      <a:pt x="184" y="26"/>
                    </a:lnTo>
                    <a:lnTo>
                      <a:pt x="186" y="23"/>
                    </a:lnTo>
                    <a:lnTo>
                      <a:pt x="186" y="23"/>
                    </a:lnTo>
                    <a:lnTo>
                      <a:pt x="186" y="23"/>
                    </a:lnTo>
                    <a:lnTo>
                      <a:pt x="186" y="23"/>
                    </a:lnTo>
                    <a:lnTo>
                      <a:pt x="189" y="18"/>
                    </a:lnTo>
                    <a:lnTo>
                      <a:pt x="189" y="18"/>
                    </a:lnTo>
                    <a:lnTo>
                      <a:pt x="189" y="16"/>
                    </a:lnTo>
                    <a:lnTo>
                      <a:pt x="196" y="12"/>
                    </a:lnTo>
                    <a:lnTo>
                      <a:pt x="197" y="12"/>
                    </a:lnTo>
                    <a:lnTo>
                      <a:pt x="202" y="16"/>
                    </a:lnTo>
                    <a:lnTo>
                      <a:pt x="202" y="16"/>
                    </a:lnTo>
                    <a:lnTo>
                      <a:pt x="201" y="16"/>
                    </a:lnTo>
                    <a:lnTo>
                      <a:pt x="201" y="16"/>
                    </a:lnTo>
                    <a:lnTo>
                      <a:pt x="204" y="16"/>
                    </a:lnTo>
                    <a:lnTo>
                      <a:pt x="204" y="16"/>
                    </a:lnTo>
                    <a:lnTo>
                      <a:pt x="206" y="18"/>
                    </a:lnTo>
                    <a:lnTo>
                      <a:pt x="208" y="18"/>
                    </a:lnTo>
                    <a:lnTo>
                      <a:pt x="213" y="14"/>
                    </a:lnTo>
                    <a:lnTo>
                      <a:pt x="213" y="14"/>
                    </a:lnTo>
                    <a:lnTo>
                      <a:pt x="214" y="14"/>
                    </a:lnTo>
                    <a:lnTo>
                      <a:pt x="214" y="14"/>
                    </a:lnTo>
                    <a:lnTo>
                      <a:pt x="218" y="15"/>
                    </a:lnTo>
                    <a:lnTo>
                      <a:pt x="221" y="15"/>
                    </a:lnTo>
                    <a:lnTo>
                      <a:pt x="223" y="18"/>
                    </a:lnTo>
                    <a:lnTo>
                      <a:pt x="223" y="18"/>
                    </a:lnTo>
                    <a:lnTo>
                      <a:pt x="225" y="19"/>
                    </a:lnTo>
                    <a:lnTo>
                      <a:pt x="225" y="19"/>
                    </a:lnTo>
                    <a:lnTo>
                      <a:pt x="225" y="16"/>
                    </a:lnTo>
                    <a:lnTo>
                      <a:pt x="225" y="14"/>
                    </a:lnTo>
                    <a:lnTo>
                      <a:pt x="225" y="14"/>
                    </a:lnTo>
                    <a:lnTo>
                      <a:pt x="225" y="10"/>
                    </a:lnTo>
                    <a:lnTo>
                      <a:pt x="226" y="7"/>
                    </a:lnTo>
                    <a:lnTo>
                      <a:pt x="229" y="6"/>
                    </a:lnTo>
                    <a:lnTo>
                      <a:pt x="229" y="6"/>
                    </a:lnTo>
                    <a:lnTo>
                      <a:pt x="227" y="7"/>
                    </a:lnTo>
                    <a:lnTo>
                      <a:pt x="227" y="8"/>
                    </a:lnTo>
                    <a:lnTo>
                      <a:pt x="231" y="3"/>
                    </a:lnTo>
                    <a:lnTo>
                      <a:pt x="231" y="3"/>
                    </a:lnTo>
                    <a:lnTo>
                      <a:pt x="233" y="2"/>
                    </a:lnTo>
                    <a:lnTo>
                      <a:pt x="233" y="2"/>
                    </a:lnTo>
                    <a:lnTo>
                      <a:pt x="235" y="0"/>
                    </a:lnTo>
                    <a:lnTo>
                      <a:pt x="239" y="0"/>
                    </a:lnTo>
                    <a:lnTo>
                      <a:pt x="241" y="0"/>
                    </a:lnTo>
                    <a:lnTo>
                      <a:pt x="241" y="0"/>
                    </a:lnTo>
                    <a:lnTo>
                      <a:pt x="243" y="0"/>
                    </a:lnTo>
                    <a:lnTo>
                      <a:pt x="243" y="0"/>
                    </a:lnTo>
                    <a:lnTo>
                      <a:pt x="247" y="3"/>
                    </a:lnTo>
                    <a:lnTo>
                      <a:pt x="250" y="6"/>
                    </a:lnTo>
                    <a:lnTo>
                      <a:pt x="254" y="12"/>
                    </a:lnTo>
                    <a:lnTo>
                      <a:pt x="254" y="12"/>
                    </a:lnTo>
                    <a:lnTo>
                      <a:pt x="258" y="18"/>
                    </a:lnTo>
                    <a:lnTo>
                      <a:pt x="255" y="28"/>
                    </a:lnTo>
                    <a:lnTo>
                      <a:pt x="255" y="28"/>
                    </a:lnTo>
                    <a:lnTo>
                      <a:pt x="257" y="27"/>
                    </a:lnTo>
                    <a:lnTo>
                      <a:pt x="257" y="27"/>
                    </a:lnTo>
                    <a:lnTo>
                      <a:pt x="257" y="30"/>
                    </a:lnTo>
                    <a:lnTo>
                      <a:pt x="257" y="30"/>
                    </a:lnTo>
                    <a:lnTo>
                      <a:pt x="257" y="32"/>
                    </a:lnTo>
                    <a:lnTo>
                      <a:pt x="257" y="32"/>
                    </a:lnTo>
                    <a:lnTo>
                      <a:pt x="257" y="32"/>
                    </a:lnTo>
                    <a:lnTo>
                      <a:pt x="257" y="32"/>
                    </a:lnTo>
                    <a:lnTo>
                      <a:pt x="259" y="35"/>
                    </a:lnTo>
                    <a:lnTo>
                      <a:pt x="260" y="37"/>
                    </a:lnTo>
                    <a:lnTo>
                      <a:pt x="262" y="43"/>
                    </a:lnTo>
                    <a:lnTo>
                      <a:pt x="262" y="48"/>
                    </a:lnTo>
                    <a:lnTo>
                      <a:pt x="262" y="53"/>
                    </a:lnTo>
                    <a:lnTo>
                      <a:pt x="257" y="59"/>
                    </a:lnTo>
                    <a:lnTo>
                      <a:pt x="257" y="59"/>
                    </a:lnTo>
                    <a:lnTo>
                      <a:pt x="259" y="57"/>
                    </a:lnTo>
                    <a:lnTo>
                      <a:pt x="260" y="56"/>
                    </a:lnTo>
                    <a:lnTo>
                      <a:pt x="260" y="56"/>
                    </a:lnTo>
                    <a:lnTo>
                      <a:pt x="260" y="56"/>
                    </a:lnTo>
                    <a:lnTo>
                      <a:pt x="260" y="56"/>
                    </a:lnTo>
                    <a:lnTo>
                      <a:pt x="260" y="60"/>
                    </a:lnTo>
                    <a:lnTo>
                      <a:pt x="259" y="63"/>
                    </a:lnTo>
                    <a:lnTo>
                      <a:pt x="255" y="65"/>
                    </a:lnTo>
                    <a:lnTo>
                      <a:pt x="255" y="65"/>
                    </a:lnTo>
                    <a:lnTo>
                      <a:pt x="255" y="67"/>
                    </a:lnTo>
                    <a:lnTo>
                      <a:pt x="254" y="68"/>
                    </a:lnTo>
                    <a:lnTo>
                      <a:pt x="254" y="68"/>
                    </a:lnTo>
                    <a:lnTo>
                      <a:pt x="254" y="68"/>
                    </a:lnTo>
                    <a:lnTo>
                      <a:pt x="254" y="68"/>
                    </a:lnTo>
                    <a:lnTo>
                      <a:pt x="254" y="70"/>
                    </a:lnTo>
                    <a:lnTo>
                      <a:pt x="254" y="70"/>
                    </a:lnTo>
                    <a:lnTo>
                      <a:pt x="253" y="69"/>
                    </a:lnTo>
                    <a:lnTo>
                      <a:pt x="253" y="69"/>
                    </a:lnTo>
                    <a:lnTo>
                      <a:pt x="255" y="74"/>
                    </a:lnTo>
                    <a:lnTo>
                      <a:pt x="258" y="74"/>
                    </a:lnTo>
                    <a:lnTo>
                      <a:pt x="258" y="74"/>
                    </a:lnTo>
                    <a:lnTo>
                      <a:pt x="260" y="76"/>
                    </a:lnTo>
                    <a:lnTo>
                      <a:pt x="263" y="78"/>
                    </a:lnTo>
                    <a:lnTo>
                      <a:pt x="266" y="81"/>
                    </a:lnTo>
                    <a:lnTo>
                      <a:pt x="266" y="81"/>
                    </a:lnTo>
                    <a:lnTo>
                      <a:pt x="267" y="84"/>
                    </a:lnTo>
                    <a:lnTo>
                      <a:pt x="266" y="84"/>
                    </a:lnTo>
                    <a:lnTo>
                      <a:pt x="271" y="88"/>
                    </a:lnTo>
                    <a:lnTo>
                      <a:pt x="271" y="88"/>
                    </a:lnTo>
                    <a:lnTo>
                      <a:pt x="271" y="93"/>
                    </a:lnTo>
                    <a:lnTo>
                      <a:pt x="271" y="93"/>
                    </a:lnTo>
                    <a:lnTo>
                      <a:pt x="271" y="94"/>
                    </a:lnTo>
                    <a:lnTo>
                      <a:pt x="271" y="94"/>
                    </a:lnTo>
                    <a:lnTo>
                      <a:pt x="275" y="92"/>
                    </a:lnTo>
                    <a:lnTo>
                      <a:pt x="275" y="92"/>
                    </a:lnTo>
                    <a:lnTo>
                      <a:pt x="282" y="88"/>
                    </a:lnTo>
                    <a:lnTo>
                      <a:pt x="284" y="88"/>
                    </a:lnTo>
                    <a:lnTo>
                      <a:pt x="288" y="88"/>
                    </a:lnTo>
                    <a:lnTo>
                      <a:pt x="288" y="88"/>
                    </a:lnTo>
                    <a:lnTo>
                      <a:pt x="288" y="88"/>
                    </a:lnTo>
                    <a:lnTo>
                      <a:pt x="291" y="86"/>
                    </a:lnTo>
                    <a:lnTo>
                      <a:pt x="294" y="86"/>
                    </a:lnTo>
                    <a:lnTo>
                      <a:pt x="294" y="86"/>
                    </a:lnTo>
                    <a:lnTo>
                      <a:pt x="295" y="86"/>
                    </a:lnTo>
                    <a:lnTo>
                      <a:pt x="299" y="88"/>
                    </a:lnTo>
                    <a:lnTo>
                      <a:pt x="299" y="88"/>
                    </a:lnTo>
                    <a:lnTo>
                      <a:pt x="301" y="92"/>
                    </a:lnTo>
                    <a:lnTo>
                      <a:pt x="301" y="92"/>
                    </a:lnTo>
                    <a:lnTo>
                      <a:pt x="303" y="94"/>
                    </a:lnTo>
                    <a:lnTo>
                      <a:pt x="304" y="94"/>
                    </a:lnTo>
                    <a:lnTo>
                      <a:pt x="308" y="96"/>
                    </a:lnTo>
                    <a:lnTo>
                      <a:pt x="308" y="96"/>
                    </a:lnTo>
                    <a:lnTo>
                      <a:pt x="308" y="96"/>
                    </a:lnTo>
                    <a:lnTo>
                      <a:pt x="308" y="96"/>
                    </a:lnTo>
                    <a:lnTo>
                      <a:pt x="308" y="96"/>
                    </a:lnTo>
                    <a:lnTo>
                      <a:pt x="308" y="96"/>
                    </a:lnTo>
                    <a:lnTo>
                      <a:pt x="308" y="96"/>
                    </a:lnTo>
                    <a:lnTo>
                      <a:pt x="308" y="96"/>
                    </a:lnTo>
                    <a:lnTo>
                      <a:pt x="311" y="94"/>
                    </a:lnTo>
                    <a:lnTo>
                      <a:pt x="311" y="94"/>
                    </a:lnTo>
                    <a:lnTo>
                      <a:pt x="312" y="94"/>
                    </a:lnTo>
                    <a:lnTo>
                      <a:pt x="312" y="94"/>
                    </a:lnTo>
                    <a:lnTo>
                      <a:pt x="312" y="94"/>
                    </a:lnTo>
                    <a:lnTo>
                      <a:pt x="315" y="92"/>
                    </a:lnTo>
                    <a:lnTo>
                      <a:pt x="319" y="92"/>
                    </a:lnTo>
                    <a:lnTo>
                      <a:pt x="319" y="92"/>
                    </a:lnTo>
                    <a:lnTo>
                      <a:pt x="323" y="92"/>
                    </a:lnTo>
                    <a:lnTo>
                      <a:pt x="323" y="92"/>
                    </a:lnTo>
                    <a:lnTo>
                      <a:pt x="323" y="93"/>
                    </a:lnTo>
                    <a:lnTo>
                      <a:pt x="323" y="93"/>
                    </a:lnTo>
                    <a:lnTo>
                      <a:pt x="325" y="90"/>
                    </a:lnTo>
                    <a:lnTo>
                      <a:pt x="325" y="90"/>
                    </a:lnTo>
                    <a:lnTo>
                      <a:pt x="327" y="89"/>
                    </a:lnTo>
                    <a:lnTo>
                      <a:pt x="329" y="86"/>
                    </a:lnTo>
                    <a:lnTo>
                      <a:pt x="331" y="86"/>
                    </a:lnTo>
                    <a:lnTo>
                      <a:pt x="331" y="86"/>
                    </a:lnTo>
                    <a:lnTo>
                      <a:pt x="328" y="89"/>
                    </a:lnTo>
                    <a:lnTo>
                      <a:pt x="328" y="90"/>
                    </a:lnTo>
                    <a:lnTo>
                      <a:pt x="332" y="86"/>
                    </a:lnTo>
                    <a:lnTo>
                      <a:pt x="333" y="86"/>
                    </a:lnTo>
                    <a:lnTo>
                      <a:pt x="333" y="86"/>
                    </a:lnTo>
                    <a:lnTo>
                      <a:pt x="333" y="86"/>
                    </a:lnTo>
                    <a:lnTo>
                      <a:pt x="332" y="86"/>
                    </a:lnTo>
                    <a:lnTo>
                      <a:pt x="333" y="85"/>
                    </a:lnTo>
                    <a:lnTo>
                      <a:pt x="340" y="85"/>
                    </a:lnTo>
                    <a:lnTo>
                      <a:pt x="344" y="88"/>
                    </a:lnTo>
                    <a:lnTo>
                      <a:pt x="344" y="88"/>
                    </a:lnTo>
                    <a:lnTo>
                      <a:pt x="346" y="85"/>
                    </a:lnTo>
                    <a:lnTo>
                      <a:pt x="352" y="82"/>
                    </a:lnTo>
                    <a:lnTo>
                      <a:pt x="352" y="82"/>
                    </a:lnTo>
                    <a:lnTo>
                      <a:pt x="358" y="86"/>
                    </a:lnTo>
                    <a:lnTo>
                      <a:pt x="358" y="86"/>
                    </a:lnTo>
                    <a:lnTo>
                      <a:pt x="358" y="85"/>
                    </a:lnTo>
                    <a:lnTo>
                      <a:pt x="358" y="85"/>
                    </a:lnTo>
                    <a:lnTo>
                      <a:pt x="360" y="86"/>
                    </a:lnTo>
                    <a:lnTo>
                      <a:pt x="360" y="86"/>
                    </a:lnTo>
                    <a:lnTo>
                      <a:pt x="364" y="89"/>
                    </a:lnTo>
                    <a:lnTo>
                      <a:pt x="365" y="93"/>
                    </a:lnTo>
                    <a:lnTo>
                      <a:pt x="365" y="93"/>
                    </a:lnTo>
                    <a:lnTo>
                      <a:pt x="365" y="96"/>
                    </a:lnTo>
                    <a:lnTo>
                      <a:pt x="364" y="98"/>
                    </a:lnTo>
                    <a:lnTo>
                      <a:pt x="365" y="98"/>
                    </a:lnTo>
                    <a:lnTo>
                      <a:pt x="365" y="98"/>
                    </a:lnTo>
                    <a:lnTo>
                      <a:pt x="368" y="102"/>
                    </a:lnTo>
                    <a:lnTo>
                      <a:pt x="370" y="105"/>
                    </a:lnTo>
                    <a:lnTo>
                      <a:pt x="370" y="105"/>
                    </a:lnTo>
                    <a:lnTo>
                      <a:pt x="370" y="106"/>
                    </a:lnTo>
                    <a:lnTo>
                      <a:pt x="370" y="106"/>
                    </a:lnTo>
                    <a:lnTo>
                      <a:pt x="377" y="113"/>
                    </a:lnTo>
                    <a:lnTo>
                      <a:pt x="377" y="117"/>
                    </a:lnTo>
                    <a:lnTo>
                      <a:pt x="376" y="118"/>
                    </a:lnTo>
                    <a:lnTo>
                      <a:pt x="376" y="118"/>
                    </a:lnTo>
                    <a:lnTo>
                      <a:pt x="376" y="119"/>
                    </a:lnTo>
                    <a:lnTo>
                      <a:pt x="377" y="121"/>
                    </a:lnTo>
                    <a:lnTo>
                      <a:pt x="377" y="121"/>
                    </a:lnTo>
                    <a:lnTo>
                      <a:pt x="379" y="122"/>
                    </a:lnTo>
                    <a:lnTo>
                      <a:pt x="382" y="126"/>
                    </a:lnTo>
                    <a:lnTo>
                      <a:pt x="382" y="130"/>
                    </a:lnTo>
                    <a:lnTo>
                      <a:pt x="381" y="131"/>
                    </a:lnTo>
                    <a:lnTo>
                      <a:pt x="382" y="133"/>
                    </a:lnTo>
                    <a:lnTo>
                      <a:pt x="382" y="133"/>
                    </a:lnTo>
                    <a:lnTo>
                      <a:pt x="385" y="135"/>
                    </a:lnTo>
                    <a:lnTo>
                      <a:pt x="385" y="138"/>
                    </a:lnTo>
                    <a:lnTo>
                      <a:pt x="385" y="142"/>
                    </a:lnTo>
                    <a:lnTo>
                      <a:pt x="385" y="142"/>
                    </a:lnTo>
                    <a:lnTo>
                      <a:pt x="382" y="145"/>
                    </a:lnTo>
                    <a:lnTo>
                      <a:pt x="381" y="146"/>
                    </a:lnTo>
                    <a:lnTo>
                      <a:pt x="377" y="146"/>
                    </a:lnTo>
                    <a:lnTo>
                      <a:pt x="377" y="146"/>
                    </a:lnTo>
                    <a:lnTo>
                      <a:pt x="372" y="145"/>
                    </a:lnTo>
                    <a:lnTo>
                      <a:pt x="370" y="145"/>
                    </a:lnTo>
                    <a:lnTo>
                      <a:pt x="370" y="145"/>
                    </a:lnTo>
                    <a:lnTo>
                      <a:pt x="368" y="147"/>
                    </a:lnTo>
                    <a:lnTo>
                      <a:pt x="365" y="150"/>
                    </a:lnTo>
                    <a:lnTo>
                      <a:pt x="365" y="150"/>
                    </a:lnTo>
                    <a:lnTo>
                      <a:pt x="360" y="154"/>
                    </a:lnTo>
                    <a:lnTo>
                      <a:pt x="353" y="158"/>
                    </a:lnTo>
                    <a:lnTo>
                      <a:pt x="348" y="156"/>
                    </a:lnTo>
                    <a:lnTo>
                      <a:pt x="346" y="156"/>
                    </a:lnTo>
                    <a:lnTo>
                      <a:pt x="348" y="158"/>
                    </a:lnTo>
                    <a:lnTo>
                      <a:pt x="345" y="163"/>
                    </a:lnTo>
                    <a:lnTo>
                      <a:pt x="345" y="163"/>
                    </a:lnTo>
                    <a:lnTo>
                      <a:pt x="344" y="164"/>
                    </a:lnTo>
                    <a:lnTo>
                      <a:pt x="344" y="164"/>
                    </a:lnTo>
                    <a:lnTo>
                      <a:pt x="341" y="170"/>
                    </a:lnTo>
                    <a:lnTo>
                      <a:pt x="341" y="170"/>
                    </a:lnTo>
                    <a:lnTo>
                      <a:pt x="340" y="174"/>
                    </a:lnTo>
                    <a:lnTo>
                      <a:pt x="337" y="175"/>
                    </a:lnTo>
                    <a:lnTo>
                      <a:pt x="337" y="176"/>
                    </a:lnTo>
                    <a:lnTo>
                      <a:pt x="331" y="182"/>
                    </a:lnTo>
                    <a:lnTo>
                      <a:pt x="331" y="182"/>
                    </a:lnTo>
                    <a:lnTo>
                      <a:pt x="331" y="182"/>
                    </a:lnTo>
                    <a:lnTo>
                      <a:pt x="331" y="182"/>
                    </a:lnTo>
                    <a:lnTo>
                      <a:pt x="333" y="182"/>
                    </a:lnTo>
                    <a:lnTo>
                      <a:pt x="335" y="180"/>
                    </a:lnTo>
                    <a:lnTo>
                      <a:pt x="335" y="180"/>
                    </a:lnTo>
                    <a:lnTo>
                      <a:pt x="336" y="178"/>
                    </a:lnTo>
                    <a:lnTo>
                      <a:pt x="336" y="178"/>
                    </a:lnTo>
                    <a:lnTo>
                      <a:pt x="336" y="179"/>
                    </a:lnTo>
                    <a:lnTo>
                      <a:pt x="336" y="179"/>
                    </a:lnTo>
                    <a:lnTo>
                      <a:pt x="336" y="182"/>
                    </a:lnTo>
                    <a:lnTo>
                      <a:pt x="336" y="182"/>
                    </a:lnTo>
                    <a:lnTo>
                      <a:pt x="337" y="186"/>
                    </a:lnTo>
                    <a:lnTo>
                      <a:pt x="340" y="187"/>
                    </a:lnTo>
                    <a:lnTo>
                      <a:pt x="340" y="187"/>
                    </a:lnTo>
                    <a:lnTo>
                      <a:pt x="340" y="191"/>
                    </a:lnTo>
                    <a:lnTo>
                      <a:pt x="339" y="193"/>
                    </a:lnTo>
                    <a:lnTo>
                      <a:pt x="339" y="193"/>
                    </a:lnTo>
                    <a:lnTo>
                      <a:pt x="335" y="196"/>
                    </a:lnTo>
                    <a:lnTo>
                      <a:pt x="332" y="197"/>
                    </a:lnTo>
                    <a:lnTo>
                      <a:pt x="331" y="197"/>
                    </a:lnTo>
                    <a:lnTo>
                      <a:pt x="331" y="197"/>
                    </a:lnTo>
                    <a:lnTo>
                      <a:pt x="328" y="197"/>
                    </a:lnTo>
                    <a:lnTo>
                      <a:pt x="324" y="201"/>
                    </a:lnTo>
                    <a:lnTo>
                      <a:pt x="324" y="201"/>
                    </a:lnTo>
                    <a:lnTo>
                      <a:pt x="327" y="200"/>
                    </a:lnTo>
                    <a:lnTo>
                      <a:pt x="328" y="197"/>
                    </a:lnTo>
                    <a:lnTo>
                      <a:pt x="328" y="197"/>
                    </a:lnTo>
                    <a:lnTo>
                      <a:pt x="328" y="197"/>
                    </a:lnTo>
                    <a:lnTo>
                      <a:pt x="328" y="200"/>
                    </a:lnTo>
                    <a:lnTo>
                      <a:pt x="323" y="205"/>
                    </a:lnTo>
                    <a:lnTo>
                      <a:pt x="321" y="205"/>
                    </a:lnTo>
                    <a:lnTo>
                      <a:pt x="321" y="205"/>
                    </a:lnTo>
                    <a:lnTo>
                      <a:pt x="315" y="209"/>
                    </a:lnTo>
                    <a:lnTo>
                      <a:pt x="311" y="211"/>
                    </a:lnTo>
                    <a:lnTo>
                      <a:pt x="307" y="212"/>
                    </a:lnTo>
                    <a:lnTo>
                      <a:pt x="307" y="212"/>
                    </a:lnTo>
                    <a:lnTo>
                      <a:pt x="305" y="212"/>
                    </a:lnTo>
                    <a:lnTo>
                      <a:pt x="305" y="212"/>
                    </a:lnTo>
                    <a:lnTo>
                      <a:pt x="305" y="212"/>
                    </a:lnTo>
                    <a:lnTo>
                      <a:pt x="305" y="212"/>
                    </a:lnTo>
                    <a:lnTo>
                      <a:pt x="304" y="216"/>
                    </a:lnTo>
                    <a:lnTo>
                      <a:pt x="301" y="220"/>
                    </a:lnTo>
                    <a:lnTo>
                      <a:pt x="301" y="220"/>
                    </a:lnTo>
                    <a:lnTo>
                      <a:pt x="300" y="223"/>
                    </a:lnTo>
                    <a:lnTo>
                      <a:pt x="300" y="225"/>
                    </a:lnTo>
                    <a:lnTo>
                      <a:pt x="301" y="233"/>
                    </a:lnTo>
                    <a:lnTo>
                      <a:pt x="301" y="233"/>
                    </a:lnTo>
                    <a:lnTo>
                      <a:pt x="304" y="242"/>
                    </a:lnTo>
                    <a:lnTo>
                      <a:pt x="304" y="242"/>
                    </a:lnTo>
                    <a:lnTo>
                      <a:pt x="304" y="248"/>
                    </a:lnTo>
                    <a:lnTo>
                      <a:pt x="301" y="253"/>
                    </a:lnTo>
                    <a:lnTo>
                      <a:pt x="301" y="253"/>
                    </a:lnTo>
                    <a:lnTo>
                      <a:pt x="301" y="253"/>
                    </a:lnTo>
                    <a:lnTo>
                      <a:pt x="301" y="254"/>
                    </a:lnTo>
                    <a:lnTo>
                      <a:pt x="301" y="256"/>
                    </a:lnTo>
                    <a:lnTo>
                      <a:pt x="301" y="257"/>
                    </a:lnTo>
                    <a:lnTo>
                      <a:pt x="301" y="257"/>
                    </a:lnTo>
                    <a:lnTo>
                      <a:pt x="304" y="257"/>
                    </a:lnTo>
                    <a:lnTo>
                      <a:pt x="304" y="257"/>
                    </a:lnTo>
                    <a:lnTo>
                      <a:pt x="308" y="257"/>
                    </a:lnTo>
                    <a:lnTo>
                      <a:pt x="311" y="261"/>
                    </a:lnTo>
                    <a:lnTo>
                      <a:pt x="312" y="264"/>
                    </a:lnTo>
                    <a:lnTo>
                      <a:pt x="312" y="265"/>
                    </a:lnTo>
                    <a:lnTo>
                      <a:pt x="311" y="267"/>
                    </a:lnTo>
                    <a:lnTo>
                      <a:pt x="311" y="267"/>
                    </a:lnTo>
                    <a:lnTo>
                      <a:pt x="311" y="270"/>
                    </a:lnTo>
                    <a:lnTo>
                      <a:pt x="313" y="273"/>
                    </a:lnTo>
                    <a:lnTo>
                      <a:pt x="313" y="273"/>
                    </a:lnTo>
                    <a:lnTo>
                      <a:pt x="315" y="273"/>
                    </a:lnTo>
                    <a:lnTo>
                      <a:pt x="317" y="275"/>
                    </a:lnTo>
                    <a:lnTo>
                      <a:pt x="317" y="275"/>
                    </a:lnTo>
                    <a:lnTo>
                      <a:pt x="319" y="278"/>
                    </a:lnTo>
                    <a:lnTo>
                      <a:pt x="319" y="278"/>
                    </a:lnTo>
                    <a:lnTo>
                      <a:pt x="320" y="279"/>
                    </a:lnTo>
                    <a:lnTo>
                      <a:pt x="321" y="283"/>
                    </a:lnTo>
                    <a:lnTo>
                      <a:pt x="321" y="286"/>
                    </a:lnTo>
                    <a:lnTo>
                      <a:pt x="320" y="290"/>
                    </a:lnTo>
                    <a:lnTo>
                      <a:pt x="320" y="290"/>
                    </a:lnTo>
                    <a:lnTo>
                      <a:pt x="319" y="293"/>
                    </a:lnTo>
                    <a:lnTo>
                      <a:pt x="319" y="295"/>
                    </a:lnTo>
                    <a:lnTo>
                      <a:pt x="319" y="297"/>
                    </a:lnTo>
                    <a:lnTo>
                      <a:pt x="319" y="297"/>
                    </a:lnTo>
                    <a:lnTo>
                      <a:pt x="320" y="301"/>
                    </a:lnTo>
                    <a:lnTo>
                      <a:pt x="320" y="305"/>
                    </a:lnTo>
                    <a:lnTo>
                      <a:pt x="320" y="306"/>
                    </a:lnTo>
                    <a:lnTo>
                      <a:pt x="319" y="308"/>
                    </a:lnTo>
                    <a:lnTo>
                      <a:pt x="319" y="308"/>
                    </a:lnTo>
                    <a:lnTo>
                      <a:pt x="320" y="308"/>
                    </a:lnTo>
                    <a:lnTo>
                      <a:pt x="320" y="308"/>
                    </a:lnTo>
                    <a:lnTo>
                      <a:pt x="321" y="312"/>
                    </a:lnTo>
                    <a:lnTo>
                      <a:pt x="321" y="316"/>
                    </a:lnTo>
                    <a:lnTo>
                      <a:pt x="320" y="319"/>
                    </a:lnTo>
                    <a:lnTo>
                      <a:pt x="316" y="323"/>
                    </a:lnTo>
                    <a:lnTo>
                      <a:pt x="316" y="323"/>
                    </a:lnTo>
                    <a:lnTo>
                      <a:pt x="319" y="322"/>
                    </a:lnTo>
                    <a:lnTo>
                      <a:pt x="319" y="320"/>
                    </a:lnTo>
                    <a:lnTo>
                      <a:pt x="319" y="320"/>
                    </a:lnTo>
                    <a:lnTo>
                      <a:pt x="317" y="323"/>
                    </a:lnTo>
                    <a:lnTo>
                      <a:pt x="315" y="326"/>
                    </a:lnTo>
                    <a:lnTo>
                      <a:pt x="315" y="326"/>
                    </a:lnTo>
                    <a:lnTo>
                      <a:pt x="312" y="326"/>
                    </a:lnTo>
                    <a:lnTo>
                      <a:pt x="312" y="326"/>
                    </a:lnTo>
                    <a:lnTo>
                      <a:pt x="312" y="326"/>
                    </a:lnTo>
                    <a:lnTo>
                      <a:pt x="312" y="326"/>
                    </a:lnTo>
                    <a:lnTo>
                      <a:pt x="312" y="326"/>
                    </a:lnTo>
                    <a:lnTo>
                      <a:pt x="312" y="326"/>
                    </a:lnTo>
                    <a:lnTo>
                      <a:pt x="312" y="326"/>
                    </a:lnTo>
                    <a:lnTo>
                      <a:pt x="312" y="326"/>
                    </a:lnTo>
                    <a:lnTo>
                      <a:pt x="309" y="328"/>
                    </a:lnTo>
                    <a:lnTo>
                      <a:pt x="309" y="328"/>
                    </a:lnTo>
                    <a:lnTo>
                      <a:pt x="305" y="332"/>
                    </a:lnTo>
                    <a:lnTo>
                      <a:pt x="305" y="332"/>
                    </a:lnTo>
                    <a:lnTo>
                      <a:pt x="301" y="335"/>
                    </a:lnTo>
                    <a:lnTo>
                      <a:pt x="296" y="338"/>
                    </a:lnTo>
                    <a:lnTo>
                      <a:pt x="288" y="335"/>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7" name="Freeform 42">
                <a:extLst>
                  <a:ext uri="{FF2B5EF4-FFF2-40B4-BE49-F238E27FC236}">
                    <a16:creationId xmlns:a16="http://schemas.microsoft.com/office/drawing/2014/main" xmlns="" id="{51B225C3-6520-42CA-8BF6-E8CFB6D07388}"/>
                  </a:ext>
                </a:extLst>
              </p:cNvPr>
              <p:cNvSpPr>
                <a:spLocks/>
              </p:cNvSpPr>
              <p:nvPr/>
            </p:nvSpPr>
            <p:spPr bwMode="auto">
              <a:xfrm>
                <a:off x="6356601" y="4097155"/>
                <a:ext cx="586742" cy="564108"/>
              </a:xfrm>
              <a:custGeom>
                <a:avLst/>
                <a:gdLst>
                  <a:gd name="T0" fmla="*/ 57 w 337"/>
                  <a:gd name="T1" fmla="*/ 316 h 324"/>
                  <a:gd name="T2" fmla="*/ 47 w 337"/>
                  <a:gd name="T3" fmla="*/ 311 h 324"/>
                  <a:gd name="T4" fmla="*/ 25 w 337"/>
                  <a:gd name="T5" fmla="*/ 309 h 324"/>
                  <a:gd name="T6" fmla="*/ 27 w 337"/>
                  <a:gd name="T7" fmla="*/ 290 h 324"/>
                  <a:gd name="T8" fmla="*/ 39 w 337"/>
                  <a:gd name="T9" fmla="*/ 261 h 324"/>
                  <a:gd name="T10" fmla="*/ 45 w 337"/>
                  <a:gd name="T11" fmla="*/ 252 h 324"/>
                  <a:gd name="T12" fmla="*/ 60 w 337"/>
                  <a:gd name="T13" fmla="*/ 231 h 324"/>
                  <a:gd name="T14" fmla="*/ 43 w 337"/>
                  <a:gd name="T15" fmla="*/ 221 h 324"/>
                  <a:gd name="T16" fmla="*/ 20 w 337"/>
                  <a:gd name="T17" fmla="*/ 207 h 324"/>
                  <a:gd name="T18" fmla="*/ 21 w 337"/>
                  <a:gd name="T19" fmla="*/ 197 h 324"/>
                  <a:gd name="T20" fmla="*/ 20 w 337"/>
                  <a:gd name="T21" fmla="*/ 167 h 324"/>
                  <a:gd name="T22" fmla="*/ 1 w 337"/>
                  <a:gd name="T23" fmla="*/ 141 h 324"/>
                  <a:gd name="T24" fmla="*/ 16 w 337"/>
                  <a:gd name="T25" fmla="*/ 126 h 324"/>
                  <a:gd name="T26" fmla="*/ 33 w 337"/>
                  <a:gd name="T27" fmla="*/ 116 h 324"/>
                  <a:gd name="T28" fmla="*/ 25 w 337"/>
                  <a:gd name="T29" fmla="*/ 93 h 324"/>
                  <a:gd name="T30" fmla="*/ 25 w 337"/>
                  <a:gd name="T31" fmla="*/ 86 h 324"/>
                  <a:gd name="T32" fmla="*/ 30 w 337"/>
                  <a:gd name="T33" fmla="*/ 67 h 324"/>
                  <a:gd name="T34" fmla="*/ 35 w 337"/>
                  <a:gd name="T35" fmla="*/ 52 h 324"/>
                  <a:gd name="T36" fmla="*/ 54 w 337"/>
                  <a:gd name="T37" fmla="*/ 40 h 324"/>
                  <a:gd name="T38" fmla="*/ 66 w 337"/>
                  <a:gd name="T39" fmla="*/ 35 h 324"/>
                  <a:gd name="T40" fmla="*/ 74 w 337"/>
                  <a:gd name="T41" fmla="*/ 23 h 324"/>
                  <a:gd name="T42" fmla="*/ 82 w 337"/>
                  <a:gd name="T43" fmla="*/ 2 h 324"/>
                  <a:gd name="T44" fmla="*/ 91 w 337"/>
                  <a:gd name="T45" fmla="*/ 8 h 324"/>
                  <a:gd name="T46" fmla="*/ 107 w 337"/>
                  <a:gd name="T47" fmla="*/ 18 h 324"/>
                  <a:gd name="T48" fmla="*/ 120 w 337"/>
                  <a:gd name="T49" fmla="*/ 27 h 324"/>
                  <a:gd name="T50" fmla="*/ 137 w 337"/>
                  <a:gd name="T51" fmla="*/ 26 h 324"/>
                  <a:gd name="T52" fmla="*/ 135 w 337"/>
                  <a:gd name="T53" fmla="*/ 45 h 324"/>
                  <a:gd name="T54" fmla="*/ 170 w 337"/>
                  <a:gd name="T55" fmla="*/ 53 h 324"/>
                  <a:gd name="T56" fmla="*/ 189 w 337"/>
                  <a:gd name="T57" fmla="*/ 49 h 324"/>
                  <a:gd name="T58" fmla="*/ 207 w 337"/>
                  <a:gd name="T59" fmla="*/ 55 h 324"/>
                  <a:gd name="T60" fmla="*/ 224 w 337"/>
                  <a:gd name="T61" fmla="*/ 64 h 324"/>
                  <a:gd name="T62" fmla="*/ 239 w 337"/>
                  <a:gd name="T63" fmla="*/ 72 h 324"/>
                  <a:gd name="T64" fmla="*/ 252 w 337"/>
                  <a:gd name="T65" fmla="*/ 75 h 324"/>
                  <a:gd name="T66" fmla="*/ 260 w 337"/>
                  <a:gd name="T67" fmla="*/ 71 h 324"/>
                  <a:gd name="T68" fmla="*/ 255 w 337"/>
                  <a:gd name="T69" fmla="*/ 96 h 324"/>
                  <a:gd name="T70" fmla="*/ 251 w 337"/>
                  <a:gd name="T71" fmla="*/ 116 h 324"/>
                  <a:gd name="T72" fmla="*/ 267 w 337"/>
                  <a:gd name="T73" fmla="*/ 141 h 324"/>
                  <a:gd name="T74" fmla="*/ 280 w 337"/>
                  <a:gd name="T75" fmla="*/ 149 h 324"/>
                  <a:gd name="T76" fmla="*/ 300 w 337"/>
                  <a:gd name="T77" fmla="*/ 153 h 324"/>
                  <a:gd name="T78" fmla="*/ 310 w 337"/>
                  <a:gd name="T79" fmla="*/ 160 h 324"/>
                  <a:gd name="T80" fmla="*/ 322 w 337"/>
                  <a:gd name="T81" fmla="*/ 175 h 324"/>
                  <a:gd name="T82" fmla="*/ 337 w 337"/>
                  <a:gd name="T83" fmla="*/ 182 h 324"/>
                  <a:gd name="T84" fmla="*/ 334 w 337"/>
                  <a:gd name="T85" fmla="*/ 204 h 324"/>
                  <a:gd name="T86" fmla="*/ 318 w 337"/>
                  <a:gd name="T87" fmla="*/ 217 h 324"/>
                  <a:gd name="T88" fmla="*/ 321 w 337"/>
                  <a:gd name="T89" fmla="*/ 221 h 324"/>
                  <a:gd name="T90" fmla="*/ 304 w 337"/>
                  <a:gd name="T91" fmla="*/ 249 h 324"/>
                  <a:gd name="T92" fmla="*/ 287 w 337"/>
                  <a:gd name="T93" fmla="*/ 254 h 324"/>
                  <a:gd name="T94" fmla="*/ 256 w 337"/>
                  <a:gd name="T95" fmla="*/ 262 h 324"/>
                  <a:gd name="T96" fmla="*/ 235 w 337"/>
                  <a:gd name="T97" fmla="*/ 279 h 324"/>
                  <a:gd name="T98" fmla="*/ 227 w 337"/>
                  <a:gd name="T99" fmla="*/ 294 h 324"/>
                  <a:gd name="T100" fmla="*/ 207 w 337"/>
                  <a:gd name="T101" fmla="*/ 299 h 324"/>
                  <a:gd name="T102" fmla="*/ 203 w 337"/>
                  <a:gd name="T103" fmla="*/ 302 h 324"/>
                  <a:gd name="T104" fmla="*/ 194 w 337"/>
                  <a:gd name="T105" fmla="*/ 299 h 324"/>
                  <a:gd name="T106" fmla="*/ 178 w 337"/>
                  <a:gd name="T107" fmla="*/ 290 h 324"/>
                  <a:gd name="T108" fmla="*/ 162 w 337"/>
                  <a:gd name="T109" fmla="*/ 286 h 324"/>
                  <a:gd name="T110" fmla="*/ 161 w 337"/>
                  <a:gd name="T111" fmla="*/ 289 h 324"/>
                  <a:gd name="T112" fmla="*/ 146 w 337"/>
                  <a:gd name="T113" fmla="*/ 289 h 324"/>
                  <a:gd name="T114" fmla="*/ 142 w 337"/>
                  <a:gd name="T115" fmla="*/ 299 h 324"/>
                  <a:gd name="T116" fmla="*/ 124 w 337"/>
                  <a:gd name="T117" fmla="*/ 323 h 324"/>
                  <a:gd name="T118" fmla="*/ 103 w 337"/>
                  <a:gd name="T119" fmla="*/ 315 h 324"/>
                  <a:gd name="T120" fmla="*/ 99 w 337"/>
                  <a:gd name="T121" fmla="*/ 318 h 324"/>
                  <a:gd name="T122" fmla="*/ 78 w 337"/>
                  <a:gd name="T123" fmla="*/ 32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 h="324">
                    <a:moveTo>
                      <a:pt x="71" y="324"/>
                    </a:moveTo>
                    <a:lnTo>
                      <a:pt x="71" y="324"/>
                    </a:lnTo>
                    <a:lnTo>
                      <a:pt x="68" y="324"/>
                    </a:lnTo>
                    <a:lnTo>
                      <a:pt x="66" y="320"/>
                    </a:lnTo>
                    <a:lnTo>
                      <a:pt x="66" y="320"/>
                    </a:lnTo>
                    <a:lnTo>
                      <a:pt x="62" y="319"/>
                    </a:lnTo>
                    <a:lnTo>
                      <a:pt x="60" y="319"/>
                    </a:lnTo>
                    <a:lnTo>
                      <a:pt x="55" y="313"/>
                    </a:lnTo>
                    <a:lnTo>
                      <a:pt x="55" y="313"/>
                    </a:lnTo>
                    <a:lnTo>
                      <a:pt x="55" y="314"/>
                    </a:lnTo>
                    <a:lnTo>
                      <a:pt x="57" y="316"/>
                    </a:lnTo>
                    <a:lnTo>
                      <a:pt x="57" y="316"/>
                    </a:lnTo>
                    <a:lnTo>
                      <a:pt x="58" y="318"/>
                    </a:lnTo>
                    <a:lnTo>
                      <a:pt x="57" y="318"/>
                    </a:lnTo>
                    <a:lnTo>
                      <a:pt x="55" y="316"/>
                    </a:lnTo>
                    <a:lnTo>
                      <a:pt x="55" y="316"/>
                    </a:lnTo>
                    <a:lnTo>
                      <a:pt x="49" y="311"/>
                    </a:lnTo>
                    <a:lnTo>
                      <a:pt x="49" y="311"/>
                    </a:lnTo>
                    <a:lnTo>
                      <a:pt x="45" y="309"/>
                    </a:lnTo>
                    <a:lnTo>
                      <a:pt x="45" y="309"/>
                    </a:lnTo>
                    <a:lnTo>
                      <a:pt x="46" y="311"/>
                    </a:lnTo>
                    <a:lnTo>
                      <a:pt x="47" y="311"/>
                    </a:lnTo>
                    <a:lnTo>
                      <a:pt x="47" y="311"/>
                    </a:lnTo>
                    <a:lnTo>
                      <a:pt x="47" y="311"/>
                    </a:lnTo>
                    <a:lnTo>
                      <a:pt x="47" y="311"/>
                    </a:lnTo>
                    <a:lnTo>
                      <a:pt x="46" y="313"/>
                    </a:lnTo>
                    <a:lnTo>
                      <a:pt x="46" y="313"/>
                    </a:lnTo>
                    <a:lnTo>
                      <a:pt x="42" y="313"/>
                    </a:lnTo>
                    <a:lnTo>
                      <a:pt x="42" y="313"/>
                    </a:lnTo>
                    <a:lnTo>
                      <a:pt x="39" y="313"/>
                    </a:lnTo>
                    <a:lnTo>
                      <a:pt x="31" y="313"/>
                    </a:lnTo>
                    <a:lnTo>
                      <a:pt x="26" y="309"/>
                    </a:lnTo>
                    <a:lnTo>
                      <a:pt x="26" y="309"/>
                    </a:lnTo>
                    <a:lnTo>
                      <a:pt x="26" y="309"/>
                    </a:lnTo>
                    <a:lnTo>
                      <a:pt x="26" y="309"/>
                    </a:lnTo>
                    <a:lnTo>
                      <a:pt x="25" y="309"/>
                    </a:lnTo>
                    <a:lnTo>
                      <a:pt x="25" y="309"/>
                    </a:lnTo>
                    <a:lnTo>
                      <a:pt x="21" y="305"/>
                    </a:lnTo>
                    <a:lnTo>
                      <a:pt x="21" y="305"/>
                    </a:lnTo>
                    <a:lnTo>
                      <a:pt x="21" y="305"/>
                    </a:lnTo>
                    <a:lnTo>
                      <a:pt x="18" y="301"/>
                    </a:lnTo>
                    <a:lnTo>
                      <a:pt x="17" y="298"/>
                    </a:lnTo>
                    <a:lnTo>
                      <a:pt x="18" y="294"/>
                    </a:lnTo>
                    <a:lnTo>
                      <a:pt x="18" y="294"/>
                    </a:lnTo>
                    <a:lnTo>
                      <a:pt x="21" y="291"/>
                    </a:lnTo>
                    <a:lnTo>
                      <a:pt x="26" y="290"/>
                    </a:lnTo>
                    <a:lnTo>
                      <a:pt x="27" y="290"/>
                    </a:lnTo>
                    <a:lnTo>
                      <a:pt x="27" y="290"/>
                    </a:lnTo>
                    <a:lnTo>
                      <a:pt x="27" y="290"/>
                    </a:lnTo>
                    <a:lnTo>
                      <a:pt x="27" y="290"/>
                    </a:lnTo>
                    <a:lnTo>
                      <a:pt x="26" y="286"/>
                    </a:lnTo>
                    <a:lnTo>
                      <a:pt x="26" y="281"/>
                    </a:lnTo>
                    <a:lnTo>
                      <a:pt x="30" y="278"/>
                    </a:lnTo>
                    <a:lnTo>
                      <a:pt x="30" y="278"/>
                    </a:lnTo>
                    <a:lnTo>
                      <a:pt x="30" y="278"/>
                    </a:lnTo>
                    <a:lnTo>
                      <a:pt x="31" y="272"/>
                    </a:lnTo>
                    <a:lnTo>
                      <a:pt x="31" y="272"/>
                    </a:lnTo>
                    <a:lnTo>
                      <a:pt x="33" y="268"/>
                    </a:lnTo>
                    <a:lnTo>
                      <a:pt x="33" y="266"/>
                    </a:lnTo>
                    <a:lnTo>
                      <a:pt x="39" y="261"/>
                    </a:lnTo>
                    <a:lnTo>
                      <a:pt x="39" y="261"/>
                    </a:lnTo>
                    <a:lnTo>
                      <a:pt x="35" y="262"/>
                    </a:lnTo>
                    <a:lnTo>
                      <a:pt x="35" y="265"/>
                    </a:lnTo>
                    <a:lnTo>
                      <a:pt x="35" y="265"/>
                    </a:lnTo>
                    <a:lnTo>
                      <a:pt x="34" y="264"/>
                    </a:lnTo>
                    <a:lnTo>
                      <a:pt x="34" y="264"/>
                    </a:lnTo>
                    <a:lnTo>
                      <a:pt x="34" y="260"/>
                    </a:lnTo>
                    <a:lnTo>
                      <a:pt x="35" y="257"/>
                    </a:lnTo>
                    <a:lnTo>
                      <a:pt x="41" y="253"/>
                    </a:lnTo>
                    <a:lnTo>
                      <a:pt x="43" y="253"/>
                    </a:lnTo>
                    <a:lnTo>
                      <a:pt x="43" y="253"/>
                    </a:lnTo>
                    <a:lnTo>
                      <a:pt x="45" y="252"/>
                    </a:lnTo>
                    <a:lnTo>
                      <a:pt x="45" y="252"/>
                    </a:lnTo>
                    <a:lnTo>
                      <a:pt x="47" y="249"/>
                    </a:lnTo>
                    <a:lnTo>
                      <a:pt x="51" y="246"/>
                    </a:lnTo>
                    <a:lnTo>
                      <a:pt x="53" y="246"/>
                    </a:lnTo>
                    <a:lnTo>
                      <a:pt x="54" y="246"/>
                    </a:lnTo>
                    <a:lnTo>
                      <a:pt x="54" y="246"/>
                    </a:lnTo>
                    <a:lnTo>
                      <a:pt x="57" y="245"/>
                    </a:lnTo>
                    <a:lnTo>
                      <a:pt x="59" y="242"/>
                    </a:lnTo>
                    <a:lnTo>
                      <a:pt x="59" y="242"/>
                    </a:lnTo>
                    <a:lnTo>
                      <a:pt x="60" y="241"/>
                    </a:lnTo>
                    <a:lnTo>
                      <a:pt x="60" y="240"/>
                    </a:lnTo>
                    <a:lnTo>
                      <a:pt x="60" y="231"/>
                    </a:lnTo>
                    <a:lnTo>
                      <a:pt x="60" y="229"/>
                    </a:lnTo>
                    <a:lnTo>
                      <a:pt x="60" y="229"/>
                    </a:lnTo>
                    <a:lnTo>
                      <a:pt x="60" y="227"/>
                    </a:lnTo>
                    <a:lnTo>
                      <a:pt x="59" y="224"/>
                    </a:lnTo>
                    <a:lnTo>
                      <a:pt x="54" y="219"/>
                    </a:lnTo>
                    <a:lnTo>
                      <a:pt x="54" y="219"/>
                    </a:lnTo>
                    <a:lnTo>
                      <a:pt x="50" y="216"/>
                    </a:lnTo>
                    <a:lnTo>
                      <a:pt x="50" y="216"/>
                    </a:lnTo>
                    <a:lnTo>
                      <a:pt x="50" y="216"/>
                    </a:lnTo>
                    <a:lnTo>
                      <a:pt x="50" y="216"/>
                    </a:lnTo>
                    <a:lnTo>
                      <a:pt x="49" y="216"/>
                    </a:lnTo>
                    <a:lnTo>
                      <a:pt x="43" y="221"/>
                    </a:lnTo>
                    <a:lnTo>
                      <a:pt x="39" y="221"/>
                    </a:lnTo>
                    <a:lnTo>
                      <a:pt x="37" y="221"/>
                    </a:lnTo>
                    <a:lnTo>
                      <a:pt x="37" y="221"/>
                    </a:lnTo>
                    <a:lnTo>
                      <a:pt x="31" y="219"/>
                    </a:lnTo>
                    <a:lnTo>
                      <a:pt x="29" y="215"/>
                    </a:lnTo>
                    <a:lnTo>
                      <a:pt x="29" y="215"/>
                    </a:lnTo>
                    <a:lnTo>
                      <a:pt x="27" y="213"/>
                    </a:lnTo>
                    <a:lnTo>
                      <a:pt x="27" y="213"/>
                    </a:lnTo>
                    <a:lnTo>
                      <a:pt x="23" y="211"/>
                    </a:lnTo>
                    <a:lnTo>
                      <a:pt x="21" y="207"/>
                    </a:lnTo>
                    <a:lnTo>
                      <a:pt x="21" y="207"/>
                    </a:lnTo>
                    <a:lnTo>
                      <a:pt x="20" y="207"/>
                    </a:lnTo>
                    <a:lnTo>
                      <a:pt x="23" y="197"/>
                    </a:lnTo>
                    <a:lnTo>
                      <a:pt x="23" y="197"/>
                    </a:lnTo>
                    <a:lnTo>
                      <a:pt x="22" y="199"/>
                    </a:lnTo>
                    <a:lnTo>
                      <a:pt x="22" y="199"/>
                    </a:lnTo>
                    <a:lnTo>
                      <a:pt x="22" y="199"/>
                    </a:lnTo>
                    <a:lnTo>
                      <a:pt x="22" y="199"/>
                    </a:lnTo>
                    <a:lnTo>
                      <a:pt x="22" y="199"/>
                    </a:lnTo>
                    <a:lnTo>
                      <a:pt x="21" y="200"/>
                    </a:lnTo>
                    <a:lnTo>
                      <a:pt x="21" y="200"/>
                    </a:lnTo>
                    <a:lnTo>
                      <a:pt x="21" y="200"/>
                    </a:lnTo>
                    <a:lnTo>
                      <a:pt x="21" y="200"/>
                    </a:lnTo>
                    <a:lnTo>
                      <a:pt x="21" y="197"/>
                    </a:lnTo>
                    <a:lnTo>
                      <a:pt x="21" y="197"/>
                    </a:lnTo>
                    <a:lnTo>
                      <a:pt x="18" y="194"/>
                    </a:lnTo>
                    <a:lnTo>
                      <a:pt x="18" y="191"/>
                    </a:lnTo>
                    <a:lnTo>
                      <a:pt x="18" y="191"/>
                    </a:lnTo>
                    <a:lnTo>
                      <a:pt x="17" y="187"/>
                    </a:lnTo>
                    <a:lnTo>
                      <a:pt x="17" y="184"/>
                    </a:lnTo>
                    <a:lnTo>
                      <a:pt x="20" y="182"/>
                    </a:lnTo>
                    <a:lnTo>
                      <a:pt x="20" y="182"/>
                    </a:lnTo>
                    <a:lnTo>
                      <a:pt x="20" y="182"/>
                    </a:lnTo>
                    <a:lnTo>
                      <a:pt x="20" y="180"/>
                    </a:lnTo>
                    <a:lnTo>
                      <a:pt x="20" y="167"/>
                    </a:lnTo>
                    <a:lnTo>
                      <a:pt x="20" y="167"/>
                    </a:lnTo>
                    <a:lnTo>
                      <a:pt x="20" y="167"/>
                    </a:lnTo>
                    <a:lnTo>
                      <a:pt x="20" y="167"/>
                    </a:lnTo>
                    <a:lnTo>
                      <a:pt x="17" y="164"/>
                    </a:lnTo>
                    <a:lnTo>
                      <a:pt x="17" y="159"/>
                    </a:lnTo>
                    <a:lnTo>
                      <a:pt x="17" y="159"/>
                    </a:lnTo>
                    <a:lnTo>
                      <a:pt x="14" y="155"/>
                    </a:lnTo>
                    <a:lnTo>
                      <a:pt x="10" y="151"/>
                    </a:lnTo>
                    <a:lnTo>
                      <a:pt x="10" y="151"/>
                    </a:lnTo>
                    <a:lnTo>
                      <a:pt x="8" y="149"/>
                    </a:lnTo>
                    <a:lnTo>
                      <a:pt x="4" y="143"/>
                    </a:lnTo>
                    <a:lnTo>
                      <a:pt x="4" y="143"/>
                    </a:lnTo>
                    <a:lnTo>
                      <a:pt x="1" y="141"/>
                    </a:lnTo>
                    <a:lnTo>
                      <a:pt x="0" y="137"/>
                    </a:lnTo>
                    <a:lnTo>
                      <a:pt x="0" y="137"/>
                    </a:lnTo>
                    <a:lnTo>
                      <a:pt x="0" y="134"/>
                    </a:lnTo>
                    <a:lnTo>
                      <a:pt x="1" y="133"/>
                    </a:lnTo>
                    <a:lnTo>
                      <a:pt x="4" y="130"/>
                    </a:lnTo>
                    <a:lnTo>
                      <a:pt x="6" y="130"/>
                    </a:lnTo>
                    <a:lnTo>
                      <a:pt x="6" y="130"/>
                    </a:lnTo>
                    <a:lnTo>
                      <a:pt x="6" y="130"/>
                    </a:lnTo>
                    <a:lnTo>
                      <a:pt x="9" y="129"/>
                    </a:lnTo>
                    <a:lnTo>
                      <a:pt x="9" y="129"/>
                    </a:lnTo>
                    <a:lnTo>
                      <a:pt x="13" y="126"/>
                    </a:lnTo>
                    <a:lnTo>
                      <a:pt x="16" y="126"/>
                    </a:lnTo>
                    <a:lnTo>
                      <a:pt x="16" y="126"/>
                    </a:lnTo>
                    <a:lnTo>
                      <a:pt x="17" y="126"/>
                    </a:lnTo>
                    <a:lnTo>
                      <a:pt x="18" y="125"/>
                    </a:lnTo>
                    <a:lnTo>
                      <a:pt x="18" y="125"/>
                    </a:lnTo>
                    <a:lnTo>
                      <a:pt x="20" y="122"/>
                    </a:lnTo>
                    <a:lnTo>
                      <a:pt x="22" y="118"/>
                    </a:lnTo>
                    <a:lnTo>
                      <a:pt x="22" y="118"/>
                    </a:lnTo>
                    <a:lnTo>
                      <a:pt x="26" y="117"/>
                    </a:lnTo>
                    <a:lnTo>
                      <a:pt x="26" y="117"/>
                    </a:lnTo>
                    <a:lnTo>
                      <a:pt x="29" y="117"/>
                    </a:lnTo>
                    <a:lnTo>
                      <a:pt x="33" y="116"/>
                    </a:lnTo>
                    <a:lnTo>
                      <a:pt x="33" y="116"/>
                    </a:lnTo>
                    <a:lnTo>
                      <a:pt x="31" y="113"/>
                    </a:lnTo>
                    <a:lnTo>
                      <a:pt x="31" y="109"/>
                    </a:lnTo>
                    <a:lnTo>
                      <a:pt x="31" y="109"/>
                    </a:lnTo>
                    <a:lnTo>
                      <a:pt x="30" y="105"/>
                    </a:lnTo>
                    <a:lnTo>
                      <a:pt x="30" y="105"/>
                    </a:lnTo>
                    <a:lnTo>
                      <a:pt x="27" y="102"/>
                    </a:lnTo>
                    <a:lnTo>
                      <a:pt x="26" y="102"/>
                    </a:lnTo>
                    <a:lnTo>
                      <a:pt x="26" y="102"/>
                    </a:lnTo>
                    <a:lnTo>
                      <a:pt x="23" y="98"/>
                    </a:lnTo>
                    <a:lnTo>
                      <a:pt x="23" y="97"/>
                    </a:lnTo>
                    <a:lnTo>
                      <a:pt x="25" y="93"/>
                    </a:lnTo>
                    <a:lnTo>
                      <a:pt x="25" y="93"/>
                    </a:lnTo>
                    <a:lnTo>
                      <a:pt x="27" y="90"/>
                    </a:lnTo>
                    <a:lnTo>
                      <a:pt x="27" y="90"/>
                    </a:lnTo>
                    <a:lnTo>
                      <a:pt x="29" y="92"/>
                    </a:lnTo>
                    <a:lnTo>
                      <a:pt x="30" y="92"/>
                    </a:lnTo>
                    <a:lnTo>
                      <a:pt x="30" y="90"/>
                    </a:lnTo>
                    <a:lnTo>
                      <a:pt x="29" y="89"/>
                    </a:lnTo>
                    <a:lnTo>
                      <a:pt x="30" y="88"/>
                    </a:lnTo>
                    <a:lnTo>
                      <a:pt x="30" y="86"/>
                    </a:lnTo>
                    <a:lnTo>
                      <a:pt x="30" y="86"/>
                    </a:lnTo>
                    <a:lnTo>
                      <a:pt x="29" y="88"/>
                    </a:lnTo>
                    <a:lnTo>
                      <a:pt x="27" y="88"/>
                    </a:lnTo>
                    <a:lnTo>
                      <a:pt x="25" y="86"/>
                    </a:lnTo>
                    <a:lnTo>
                      <a:pt x="25" y="85"/>
                    </a:lnTo>
                    <a:lnTo>
                      <a:pt x="25" y="85"/>
                    </a:lnTo>
                    <a:lnTo>
                      <a:pt x="25" y="82"/>
                    </a:lnTo>
                    <a:lnTo>
                      <a:pt x="26" y="80"/>
                    </a:lnTo>
                    <a:lnTo>
                      <a:pt x="26" y="80"/>
                    </a:lnTo>
                    <a:lnTo>
                      <a:pt x="26" y="75"/>
                    </a:lnTo>
                    <a:lnTo>
                      <a:pt x="27" y="72"/>
                    </a:lnTo>
                    <a:lnTo>
                      <a:pt x="27" y="72"/>
                    </a:lnTo>
                    <a:lnTo>
                      <a:pt x="33" y="68"/>
                    </a:lnTo>
                    <a:lnTo>
                      <a:pt x="33" y="67"/>
                    </a:lnTo>
                    <a:lnTo>
                      <a:pt x="33" y="67"/>
                    </a:lnTo>
                    <a:lnTo>
                      <a:pt x="30" y="67"/>
                    </a:lnTo>
                    <a:lnTo>
                      <a:pt x="31" y="65"/>
                    </a:lnTo>
                    <a:lnTo>
                      <a:pt x="31" y="65"/>
                    </a:lnTo>
                    <a:lnTo>
                      <a:pt x="30" y="67"/>
                    </a:lnTo>
                    <a:lnTo>
                      <a:pt x="30" y="67"/>
                    </a:lnTo>
                    <a:lnTo>
                      <a:pt x="30" y="65"/>
                    </a:lnTo>
                    <a:lnTo>
                      <a:pt x="30" y="64"/>
                    </a:lnTo>
                    <a:lnTo>
                      <a:pt x="30" y="64"/>
                    </a:lnTo>
                    <a:lnTo>
                      <a:pt x="31" y="60"/>
                    </a:lnTo>
                    <a:lnTo>
                      <a:pt x="31" y="57"/>
                    </a:lnTo>
                    <a:lnTo>
                      <a:pt x="34" y="56"/>
                    </a:lnTo>
                    <a:lnTo>
                      <a:pt x="35" y="52"/>
                    </a:lnTo>
                    <a:lnTo>
                      <a:pt x="35" y="52"/>
                    </a:lnTo>
                    <a:lnTo>
                      <a:pt x="37" y="51"/>
                    </a:lnTo>
                    <a:lnTo>
                      <a:pt x="37" y="51"/>
                    </a:lnTo>
                    <a:lnTo>
                      <a:pt x="38" y="48"/>
                    </a:lnTo>
                    <a:lnTo>
                      <a:pt x="43" y="45"/>
                    </a:lnTo>
                    <a:lnTo>
                      <a:pt x="43" y="45"/>
                    </a:lnTo>
                    <a:lnTo>
                      <a:pt x="43" y="45"/>
                    </a:lnTo>
                    <a:lnTo>
                      <a:pt x="45" y="45"/>
                    </a:lnTo>
                    <a:lnTo>
                      <a:pt x="46" y="44"/>
                    </a:lnTo>
                    <a:lnTo>
                      <a:pt x="46" y="44"/>
                    </a:lnTo>
                    <a:lnTo>
                      <a:pt x="49" y="43"/>
                    </a:lnTo>
                    <a:lnTo>
                      <a:pt x="50" y="41"/>
                    </a:lnTo>
                    <a:lnTo>
                      <a:pt x="54" y="40"/>
                    </a:lnTo>
                    <a:lnTo>
                      <a:pt x="54" y="40"/>
                    </a:lnTo>
                    <a:lnTo>
                      <a:pt x="57" y="40"/>
                    </a:lnTo>
                    <a:lnTo>
                      <a:pt x="57" y="40"/>
                    </a:lnTo>
                    <a:lnTo>
                      <a:pt x="55" y="40"/>
                    </a:lnTo>
                    <a:lnTo>
                      <a:pt x="59" y="39"/>
                    </a:lnTo>
                    <a:lnTo>
                      <a:pt x="62" y="39"/>
                    </a:lnTo>
                    <a:lnTo>
                      <a:pt x="64" y="40"/>
                    </a:lnTo>
                    <a:lnTo>
                      <a:pt x="67" y="35"/>
                    </a:lnTo>
                    <a:lnTo>
                      <a:pt x="67" y="35"/>
                    </a:lnTo>
                    <a:lnTo>
                      <a:pt x="66" y="36"/>
                    </a:lnTo>
                    <a:lnTo>
                      <a:pt x="66" y="36"/>
                    </a:lnTo>
                    <a:lnTo>
                      <a:pt x="66" y="35"/>
                    </a:lnTo>
                    <a:lnTo>
                      <a:pt x="66" y="35"/>
                    </a:lnTo>
                    <a:lnTo>
                      <a:pt x="66" y="34"/>
                    </a:lnTo>
                    <a:lnTo>
                      <a:pt x="66" y="34"/>
                    </a:lnTo>
                    <a:lnTo>
                      <a:pt x="66" y="32"/>
                    </a:lnTo>
                    <a:lnTo>
                      <a:pt x="66" y="32"/>
                    </a:lnTo>
                    <a:lnTo>
                      <a:pt x="66" y="30"/>
                    </a:lnTo>
                    <a:lnTo>
                      <a:pt x="68" y="26"/>
                    </a:lnTo>
                    <a:lnTo>
                      <a:pt x="68" y="26"/>
                    </a:lnTo>
                    <a:lnTo>
                      <a:pt x="71" y="23"/>
                    </a:lnTo>
                    <a:lnTo>
                      <a:pt x="74" y="23"/>
                    </a:lnTo>
                    <a:lnTo>
                      <a:pt x="74" y="23"/>
                    </a:lnTo>
                    <a:lnTo>
                      <a:pt x="74" y="23"/>
                    </a:lnTo>
                    <a:lnTo>
                      <a:pt x="74" y="23"/>
                    </a:lnTo>
                    <a:lnTo>
                      <a:pt x="72" y="19"/>
                    </a:lnTo>
                    <a:lnTo>
                      <a:pt x="72" y="16"/>
                    </a:lnTo>
                    <a:lnTo>
                      <a:pt x="72" y="16"/>
                    </a:lnTo>
                    <a:lnTo>
                      <a:pt x="72" y="16"/>
                    </a:lnTo>
                    <a:lnTo>
                      <a:pt x="72" y="16"/>
                    </a:lnTo>
                    <a:lnTo>
                      <a:pt x="72" y="16"/>
                    </a:lnTo>
                    <a:lnTo>
                      <a:pt x="70" y="11"/>
                    </a:lnTo>
                    <a:lnTo>
                      <a:pt x="70" y="6"/>
                    </a:lnTo>
                    <a:lnTo>
                      <a:pt x="78" y="0"/>
                    </a:lnTo>
                    <a:lnTo>
                      <a:pt x="78" y="0"/>
                    </a:lnTo>
                    <a:lnTo>
                      <a:pt x="82" y="2"/>
                    </a:lnTo>
                    <a:lnTo>
                      <a:pt x="82" y="2"/>
                    </a:lnTo>
                    <a:lnTo>
                      <a:pt x="79" y="2"/>
                    </a:lnTo>
                    <a:lnTo>
                      <a:pt x="83" y="3"/>
                    </a:lnTo>
                    <a:lnTo>
                      <a:pt x="83" y="3"/>
                    </a:lnTo>
                    <a:lnTo>
                      <a:pt x="87" y="6"/>
                    </a:lnTo>
                    <a:lnTo>
                      <a:pt x="87" y="6"/>
                    </a:lnTo>
                    <a:lnTo>
                      <a:pt x="94" y="11"/>
                    </a:lnTo>
                    <a:lnTo>
                      <a:pt x="94" y="11"/>
                    </a:lnTo>
                    <a:lnTo>
                      <a:pt x="92" y="8"/>
                    </a:lnTo>
                    <a:lnTo>
                      <a:pt x="91" y="8"/>
                    </a:lnTo>
                    <a:lnTo>
                      <a:pt x="91" y="8"/>
                    </a:lnTo>
                    <a:lnTo>
                      <a:pt x="91" y="8"/>
                    </a:lnTo>
                    <a:lnTo>
                      <a:pt x="91" y="8"/>
                    </a:lnTo>
                    <a:lnTo>
                      <a:pt x="92" y="8"/>
                    </a:lnTo>
                    <a:lnTo>
                      <a:pt x="92" y="8"/>
                    </a:lnTo>
                    <a:lnTo>
                      <a:pt x="94" y="8"/>
                    </a:lnTo>
                    <a:lnTo>
                      <a:pt x="99" y="11"/>
                    </a:lnTo>
                    <a:lnTo>
                      <a:pt x="99" y="11"/>
                    </a:lnTo>
                    <a:lnTo>
                      <a:pt x="99" y="10"/>
                    </a:lnTo>
                    <a:lnTo>
                      <a:pt x="99" y="10"/>
                    </a:lnTo>
                    <a:lnTo>
                      <a:pt x="99" y="11"/>
                    </a:lnTo>
                    <a:lnTo>
                      <a:pt x="101" y="11"/>
                    </a:lnTo>
                    <a:lnTo>
                      <a:pt x="107" y="18"/>
                    </a:lnTo>
                    <a:lnTo>
                      <a:pt x="107" y="18"/>
                    </a:lnTo>
                    <a:lnTo>
                      <a:pt x="107" y="16"/>
                    </a:lnTo>
                    <a:lnTo>
                      <a:pt x="108" y="18"/>
                    </a:lnTo>
                    <a:lnTo>
                      <a:pt x="108" y="18"/>
                    </a:lnTo>
                    <a:lnTo>
                      <a:pt x="111" y="20"/>
                    </a:lnTo>
                    <a:lnTo>
                      <a:pt x="113" y="22"/>
                    </a:lnTo>
                    <a:lnTo>
                      <a:pt x="113" y="22"/>
                    </a:lnTo>
                    <a:lnTo>
                      <a:pt x="119" y="26"/>
                    </a:lnTo>
                    <a:lnTo>
                      <a:pt x="119" y="27"/>
                    </a:lnTo>
                    <a:lnTo>
                      <a:pt x="119" y="27"/>
                    </a:lnTo>
                    <a:lnTo>
                      <a:pt x="119" y="27"/>
                    </a:lnTo>
                    <a:lnTo>
                      <a:pt x="119" y="28"/>
                    </a:lnTo>
                    <a:lnTo>
                      <a:pt x="120" y="27"/>
                    </a:lnTo>
                    <a:lnTo>
                      <a:pt x="121" y="28"/>
                    </a:lnTo>
                    <a:lnTo>
                      <a:pt x="121" y="28"/>
                    </a:lnTo>
                    <a:lnTo>
                      <a:pt x="120" y="27"/>
                    </a:lnTo>
                    <a:lnTo>
                      <a:pt x="121" y="26"/>
                    </a:lnTo>
                    <a:lnTo>
                      <a:pt x="121" y="24"/>
                    </a:lnTo>
                    <a:lnTo>
                      <a:pt x="121" y="24"/>
                    </a:lnTo>
                    <a:lnTo>
                      <a:pt x="125" y="23"/>
                    </a:lnTo>
                    <a:lnTo>
                      <a:pt x="131" y="22"/>
                    </a:lnTo>
                    <a:lnTo>
                      <a:pt x="131" y="22"/>
                    </a:lnTo>
                    <a:lnTo>
                      <a:pt x="133" y="22"/>
                    </a:lnTo>
                    <a:lnTo>
                      <a:pt x="136" y="24"/>
                    </a:lnTo>
                    <a:lnTo>
                      <a:pt x="137" y="26"/>
                    </a:lnTo>
                    <a:lnTo>
                      <a:pt x="138" y="28"/>
                    </a:lnTo>
                    <a:lnTo>
                      <a:pt x="138" y="28"/>
                    </a:lnTo>
                    <a:lnTo>
                      <a:pt x="137" y="32"/>
                    </a:lnTo>
                    <a:lnTo>
                      <a:pt x="136" y="34"/>
                    </a:lnTo>
                    <a:lnTo>
                      <a:pt x="137" y="35"/>
                    </a:lnTo>
                    <a:lnTo>
                      <a:pt x="137" y="35"/>
                    </a:lnTo>
                    <a:lnTo>
                      <a:pt x="137" y="35"/>
                    </a:lnTo>
                    <a:lnTo>
                      <a:pt x="136" y="40"/>
                    </a:lnTo>
                    <a:lnTo>
                      <a:pt x="135" y="45"/>
                    </a:lnTo>
                    <a:lnTo>
                      <a:pt x="135" y="45"/>
                    </a:lnTo>
                    <a:lnTo>
                      <a:pt x="135" y="45"/>
                    </a:lnTo>
                    <a:lnTo>
                      <a:pt x="135" y="45"/>
                    </a:lnTo>
                    <a:lnTo>
                      <a:pt x="138" y="48"/>
                    </a:lnTo>
                    <a:lnTo>
                      <a:pt x="142" y="52"/>
                    </a:lnTo>
                    <a:lnTo>
                      <a:pt x="142" y="52"/>
                    </a:lnTo>
                    <a:lnTo>
                      <a:pt x="152" y="51"/>
                    </a:lnTo>
                    <a:lnTo>
                      <a:pt x="152" y="51"/>
                    </a:lnTo>
                    <a:lnTo>
                      <a:pt x="165" y="52"/>
                    </a:lnTo>
                    <a:lnTo>
                      <a:pt x="166" y="52"/>
                    </a:lnTo>
                    <a:lnTo>
                      <a:pt x="170" y="55"/>
                    </a:lnTo>
                    <a:lnTo>
                      <a:pt x="170" y="55"/>
                    </a:lnTo>
                    <a:lnTo>
                      <a:pt x="170" y="53"/>
                    </a:lnTo>
                    <a:lnTo>
                      <a:pt x="170" y="53"/>
                    </a:lnTo>
                    <a:lnTo>
                      <a:pt x="170" y="53"/>
                    </a:lnTo>
                    <a:lnTo>
                      <a:pt x="170" y="53"/>
                    </a:lnTo>
                    <a:lnTo>
                      <a:pt x="172" y="53"/>
                    </a:lnTo>
                    <a:lnTo>
                      <a:pt x="172" y="52"/>
                    </a:lnTo>
                    <a:lnTo>
                      <a:pt x="173" y="48"/>
                    </a:lnTo>
                    <a:lnTo>
                      <a:pt x="173" y="48"/>
                    </a:lnTo>
                    <a:lnTo>
                      <a:pt x="177" y="45"/>
                    </a:lnTo>
                    <a:lnTo>
                      <a:pt x="179" y="45"/>
                    </a:lnTo>
                    <a:lnTo>
                      <a:pt x="179" y="45"/>
                    </a:lnTo>
                    <a:lnTo>
                      <a:pt x="182" y="45"/>
                    </a:lnTo>
                    <a:lnTo>
                      <a:pt x="185" y="47"/>
                    </a:lnTo>
                    <a:lnTo>
                      <a:pt x="187" y="51"/>
                    </a:lnTo>
                    <a:lnTo>
                      <a:pt x="189" y="49"/>
                    </a:lnTo>
                    <a:lnTo>
                      <a:pt x="190" y="49"/>
                    </a:lnTo>
                    <a:lnTo>
                      <a:pt x="193" y="51"/>
                    </a:lnTo>
                    <a:lnTo>
                      <a:pt x="193" y="51"/>
                    </a:lnTo>
                    <a:lnTo>
                      <a:pt x="195" y="52"/>
                    </a:lnTo>
                    <a:lnTo>
                      <a:pt x="195" y="52"/>
                    </a:lnTo>
                    <a:lnTo>
                      <a:pt x="197" y="52"/>
                    </a:lnTo>
                    <a:lnTo>
                      <a:pt x="197" y="52"/>
                    </a:lnTo>
                    <a:lnTo>
                      <a:pt x="201" y="53"/>
                    </a:lnTo>
                    <a:lnTo>
                      <a:pt x="202" y="53"/>
                    </a:lnTo>
                    <a:lnTo>
                      <a:pt x="205" y="56"/>
                    </a:lnTo>
                    <a:lnTo>
                      <a:pt x="205" y="56"/>
                    </a:lnTo>
                    <a:lnTo>
                      <a:pt x="207" y="55"/>
                    </a:lnTo>
                    <a:lnTo>
                      <a:pt x="211" y="53"/>
                    </a:lnTo>
                    <a:lnTo>
                      <a:pt x="211" y="53"/>
                    </a:lnTo>
                    <a:lnTo>
                      <a:pt x="214" y="53"/>
                    </a:lnTo>
                    <a:lnTo>
                      <a:pt x="218" y="60"/>
                    </a:lnTo>
                    <a:lnTo>
                      <a:pt x="218" y="61"/>
                    </a:lnTo>
                    <a:lnTo>
                      <a:pt x="218" y="61"/>
                    </a:lnTo>
                    <a:lnTo>
                      <a:pt x="218" y="63"/>
                    </a:lnTo>
                    <a:lnTo>
                      <a:pt x="220" y="65"/>
                    </a:lnTo>
                    <a:lnTo>
                      <a:pt x="220" y="65"/>
                    </a:lnTo>
                    <a:lnTo>
                      <a:pt x="220" y="65"/>
                    </a:lnTo>
                    <a:lnTo>
                      <a:pt x="220" y="65"/>
                    </a:lnTo>
                    <a:lnTo>
                      <a:pt x="224" y="64"/>
                    </a:lnTo>
                    <a:lnTo>
                      <a:pt x="224" y="64"/>
                    </a:lnTo>
                    <a:lnTo>
                      <a:pt x="224" y="64"/>
                    </a:lnTo>
                    <a:lnTo>
                      <a:pt x="230" y="65"/>
                    </a:lnTo>
                    <a:lnTo>
                      <a:pt x="232" y="67"/>
                    </a:lnTo>
                    <a:lnTo>
                      <a:pt x="232" y="67"/>
                    </a:lnTo>
                    <a:lnTo>
                      <a:pt x="232" y="67"/>
                    </a:lnTo>
                    <a:lnTo>
                      <a:pt x="232" y="67"/>
                    </a:lnTo>
                    <a:lnTo>
                      <a:pt x="236" y="68"/>
                    </a:lnTo>
                    <a:lnTo>
                      <a:pt x="236" y="68"/>
                    </a:lnTo>
                    <a:lnTo>
                      <a:pt x="234" y="68"/>
                    </a:lnTo>
                    <a:lnTo>
                      <a:pt x="239" y="72"/>
                    </a:lnTo>
                    <a:lnTo>
                      <a:pt x="239" y="72"/>
                    </a:lnTo>
                    <a:lnTo>
                      <a:pt x="238" y="71"/>
                    </a:lnTo>
                    <a:lnTo>
                      <a:pt x="238" y="71"/>
                    </a:lnTo>
                    <a:lnTo>
                      <a:pt x="240" y="71"/>
                    </a:lnTo>
                    <a:lnTo>
                      <a:pt x="240" y="71"/>
                    </a:lnTo>
                    <a:lnTo>
                      <a:pt x="240" y="71"/>
                    </a:lnTo>
                    <a:lnTo>
                      <a:pt x="240" y="71"/>
                    </a:lnTo>
                    <a:lnTo>
                      <a:pt x="240" y="71"/>
                    </a:lnTo>
                    <a:lnTo>
                      <a:pt x="239" y="73"/>
                    </a:lnTo>
                    <a:lnTo>
                      <a:pt x="244" y="68"/>
                    </a:lnTo>
                    <a:lnTo>
                      <a:pt x="250" y="68"/>
                    </a:lnTo>
                    <a:lnTo>
                      <a:pt x="252" y="69"/>
                    </a:lnTo>
                    <a:lnTo>
                      <a:pt x="252" y="75"/>
                    </a:lnTo>
                    <a:lnTo>
                      <a:pt x="254" y="71"/>
                    </a:lnTo>
                    <a:lnTo>
                      <a:pt x="254" y="71"/>
                    </a:lnTo>
                    <a:lnTo>
                      <a:pt x="254" y="69"/>
                    </a:lnTo>
                    <a:lnTo>
                      <a:pt x="254" y="69"/>
                    </a:lnTo>
                    <a:lnTo>
                      <a:pt x="254" y="69"/>
                    </a:lnTo>
                    <a:lnTo>
                      <a:pt x="254" y="69"/>
                    </a:lnTo>
                    <a:lnTo>
                      <a:pt x="254" y="69"/>
                    </a:lnTo>
                    <a:lnTo>
                      <a:pt x="255" y="69"/>
                    </a:lnTo>
                    <a:lnTo>
                      <a:pt x="255" y="69"/>
                    </a:lnTo>
                    <a:lnTo>
                      <a:pt x="255" y="69"/>
                    </a:lnTo>
                    <a:lnTo>
                      <a:pt x="257" y="69"/>
                    </a:lnTo>
                    <a:lnTo>
                      <a:pt x="260" y="71"/>
                    </a:lnTo>
                    <a:lnTo>
                      <a:pt x="261" y="72"/>
                    </a:lnTo>
                    <a:lnTo>
                      <a:pt x="263" y="76"/>
                    </a:lnTo>
                    <a:lnTo>
                      <a:pt x="263" y="76"/>
                    </a:lnTo>
                    <a:lnTo>
                      <a:pt x="263" y="80"/>
                    </a:lnTo>
                    <a:lnTo>
                      <a:pt x="256" y="86"/>
                    </a:lnTo>
                    <a:lnTo>
                      <a:pt x="256" y="86"/>
                    </a:lnTo>
                    <a:lnTo>
                      <a:pt x="257" y="85"/>
                    </a:lnTo>
                    <a:lnTo>
                      <a:pt x="257" y="85"/>
                    </a:lnTo>
                    <a:lnTo>
                      <a:pt x="257" y="88"/>
                    </a:lnTo>
                    <a:lnTo>
                      <a:pt x="257" y="89"/>
                    </a:lnTo>
                    <a:lnTo>
                      <a:pt x="257" y="90"/>
                    </a:lnTo>
                    <a:lnTo>
                      <a:pt x="255" y="96"/>
                    </a:lnTo>
                    <a:lnTo>
                      <a:pt x="255" y="96"/>
                    </a:lnTo>
                    <a:lnTo>
                      <a:pt x="250" y="97"/>
                    </a:lnTo>
                    <a:lnTo>
                      <a:pt x="250" y="97"/>
                    </a:lnTo>
                    <a:lnTo>
                      <a:pt x="250" y="100"/>
                    </a:lnTo>
                    <a:lnTo>
                      <a:pt x="250" y="100"/>
                    </a:lnTo>
                    <a:lnTo>
                      <a:pt x="250" y="104"/>
                    </a:lnTo>
                    <a:lnTo>
                      <a:pt x="248" y="105"/>
                    </a:lnTo>
                    <a:lnTo>
                      <a:pt x="248" y="105"/>
                    </a:lnTo>
                    <a:lnTo>
                      <a:pt x="248" y="105"/>
                    </a:lnTo>
                    <a:lnTo>
                      <a:pt x="247" y="109"/>
                    </a:lnTo>
                    <a:lnTo>
                      <a:pt x="247" y="109"/>
                    </a:lnTo>
                    <a:lnTo>
                      <a:pt x="251" y="116"/>
                    </a:lnTo>
                    <a:lnTo>
                      <a:pt x="254" y="122"/>
                    </a:lnTo>
                    <a:lnTo>
                      <a:pt x="254" y="122"/>
                    </a:lnTo>
                    <a:lnTo>
                      <a:pt x="257" y="129"/>
                    </a:lnTo>
                    <a:lnTo>
                      <a:pt x="260" y="134"/>
                    </a:lnTo>
                    <a:lnTo>
                      <a:pt x="263" y="138"/>
                    </a:lnTo>
                    <a:lnTo>
                      <a:pt x="263" y="139"/>
                    </a:lnTo>
                    <a:lnTo>
                      <a:pt x="261" y="141"/>
                    </a:lnTo>
                    <a:lnTo>
                      <a:pt x="261" y="141"/>
                    </a:lnTo>
                    <a:lnTo>
                      <a:pt x="263" y="141"/>
                    </a:lnTo>
                    <a:lnTo>
                      <a:pt x="267" y="142"/>
                    </a:lnTo>
                    <a:lnTo>
                      <a:pt x="267" y="142"/>
                    </a:lnTo>
                    <a:lnTo>
                      <a:pt x="267" y="141"/>
                    </a:lnTo>
                    <a:lnTo>
                      <a:pt x="269" y="141"/>
                    </a:lnTo>
                    <a:lnTo>
                      <a:pt x="273" y="146"/>
                    </a:lnTo>
                    <a:lnTo>
                      <a:pt x="275" y="146"/>
                    </a:lnTo>
                    <a:lnTo>
                      <a:pt x="275" y="146"/>
                    </a:lnTo>
                    <a:lnTo>
                      <a:pt x="275" y="146"/>
                    </a:lnTo>
                    <a:lnTo>
                      <a:pt x="275" y="146"/>
                    </a:lnTo>
                    <a:lnTo>
                      <a:pt x="275" y="146"/>
                    </a:lnTo>
                    <a:lnTo>
                      <a:pt x="275" y="147"/>
                    </a:lnTo>
                    <a:lnTo>
                      <a:pt x="279" y="147"/>
                    </a:lnTo>
                    <a:lnTo>
                      <a:pt x="279" y="147"/>
                    </a:lnTo>
                    <a:lnTo>
                      <a:pt x="280" y="149"/>
                    </a:lnTo>
                    <a:lnTo>
                      <a:pt x="280" y="149"/>
                    </a:lnTo>
                    <a:lnTo>
                      <a:pt x="283" y="151"/>
                    </a:lnTo>
                    <a:lnTo>
                      <a:pt x="283" y="151"/>
                    </a:lnTo>
                    <a:lnTo>
                      <a:pt x="287" y="150"/>
                    </a:lnTo>
                    <a:lnTo>
                      <a:pt x="292" y="150"/>
                    </a:lnTo>
                    <a:lnTo>
                      <a:pt x="297" y="155"/>
                    </a:lnTo>
                    <a:lnTo>
                      <a:pt x="297" y="154"/>
                    </a:lnTo>
                    <a:lnTo>
                      <a:pt x="297" y="154"/>
                    </a:lnTo>
                    <a:lnTo>
                      <a:pt x="295" y="151"/>
                    </a:lnTo>
                    <a:lnTo>
                      <a:pt x="295" y="151"/>
                    </a:lnTo>
                    <a:lnTo>
                      <a:pt x="295" y="151"/>
                    </a:lnTo>
                    <a:lnTo>
                      <a:pt x="298" y="153"/>
                    </a:lnTo>
                    <a:lnTo>
                      <a:pt x="300" y="153"/>
                    </a:lnTo>
                    <a:lnTo>
                      <a:pt x="300" y="153"/>
                    </a:lnTo>
                    <a:lnTo>
                      <a:pt x="302" y="153"/>
                    </a:lnTo>
                    <a:lnTo>
                      <a:pt x="302" y="153"/>
                    </a:lnTo>
                    <a:lnTo>
                      <a:pt x="306" y="154"/>
                    </a:lnTo>
                    <a:lnTo>
                      <a:pt x="308" y="155"/>
                    </a:lnTo>
                    <a:lnTo>
                      <a:pt x="309" y="158"/>
                    </a:lnTo>
                    <a:lnTo>
                      <a:pt x="309" y="158"/>
                    </a:lnTo>
                    <a:lnTo>
                      <a:pt x="309" y="158"/>
                    </a:lnTo>
                    <a:lnTo>
                      <a:pt x="306" y="157"/>
                    </a:lnTo>
                    <a:lnTo>
                      <a:pt x="310" y="160"/>
                    </a:lnTo>
                    <a:lnTo>
                      <a:pt x="310" y="160"/>
                    </a:lnTo>
                    <a:lnTo>
                      <a:pt x="310" y="160"/>
                    </a:lnTo>
                    <a:lnTo>
                      <a:pt x="313" y="162"/>
                    </a:lnTo>
                    <a:lnTo>
                      <a:pt x="313" y="162"/>
                    </a:lnTo>
                    <a:lnTo>
                      <a:pt x="318" y="164"/>
                    </a:lnTo>
                    <a:lnTo>
                      <a:pt x="320" y="166"/>
                    </a:lnTo>
                    <a:lnTo>
                      <a:pt x="322" y="170"/>
                    </a:lnTo>
                    <a:lnTo>
                      <a:pt x="322" y="170"/>
                    </a:lnTo>
                    <a:lnTo>
                      <a:pt x="322" y="170"/>
                    </a:lnTo>
                    <a:lnTo>
                      <a:pt x="324" y="175"/>
                    </a:lnTo>
                    <a:lnTo>
                      <a:pt x="324" y="175"/>
                    </a:lnTo>
                    <a:lnTo>
                      <a:pt x="324" y="175"/>
                    </a:lnTo>
                    <a:lnTo>
                      <a:pt x="324" y="175"/>
                    </a:lnTo>
                    <a:lnTo>
                      <a:pt x="322" y="175"/>
                    </a:lnTo>
                    <a:lnTo>
                      <a:pt x="322" y="175"/>
                    </a:lnTo>
                    <a:lnTo>
                      <a:pt x="325" y="178"/>
                    </a:lnTo>
                    <a:lnTo>
                      <a:pt x="325" y="178"/>
                    </a:lnTo>
                    <a:lnTo>
                      <a:pt x="324" y="180"/>
                    </a:lnTo>
                    <a:lnTo>
                      <a:pt x="326" y="179"/>
                    </a:lnTo>
                    <a:lnTo>
                      <a:pt x="328" y="182"/>
                    </a:lnTo>
                    <a:lnTo>
                      <a:pt x="328" y="182"/>
                    </a:lnTo>
                    <a:lnTo>
                      <a:pt x="328" y="179"/>
                    </a:lnTo>
                    <a:lnTo>
                      <a:pt x="333" y="176"/>
                    </a:lnTo>
                    <a:lnTo>
                      <a:pt x="333" y="176"/>
                    </a:lnTo>
                    <a:lnTo>
                      <a:pt x="335" y="179"/>
                    </a:lnTo>
                    <a:lnTo>
                      <a:pt x="337" y="182"/>
                    </a:lnTo>
                    <a:lnTo>
                      <a:pt x="337" y="182"/>
                    </a:lnTo>
                    <a:lnTo>
                      <a:pt x="337" y="184"/>
                    </a:lnTo>
                    <a:lnTo>
                      <a:pt x="337" y="186"/>
                    </a:lnTo>
                    <a:lnTo>
                      <a:pt x="335" y="188"/>
                    </a:lnTo>
                    <a:lnTo>
                      <a:pt x="335" y="188"/>
                    </a:lnTo>
                    <a:lnTo>
                      <a:pt x="334" y="190"/>
                    </a:lnTo>
                    <a:lnTo>
                      <a:pt x="334" y="194"/>
                    </a:lnTo>
                    <a:lnTo>
                      <a:pt x="334" y="194"/>
                    </a:lnTo>
                    <a:lnTo>
                      <a:pt x="334" y="194"/>
                    </a:lnTo>
                    <a:lnTo>
                      <a:pt x="335" y="197"/>
                    </a:lnTo>
                    <a:lnTo>
                      <a:pt x="335" y="201"/>
                    </a:lnTo>
                    <a:lnTo>
                      <a:pt x="334" y="204"/>
                    </a:lnTo>
                    <a:lnTo>
                      <a:pt x="334" y="204"/>
                    </a:lnTo>
                    <a:lnTo>
                      <a:pt x="330" y="207"/>
                    </a:lnTo>
                    <a:lnTo>
                      <a:pt x="326" y="209"/>
                    </a:lnTo>
                    <a:lnTo>
                      <a:pt x="326" y="209"/>
                    </a:lnTo>
                    <a:lnTo>
                      <a:pt x="326" y="209"/>
                    </a:lnTo>
                    <a:lnTo>
                      <a:pt x="326" y="209"/>
                    </a:lnTo>
                    <a:lnTo>
                      <a:pt x="324" y="213"/>
                    </a:lnTo>
                    <a:lnTo>
                      <a:pt x="324" y="213"/>
                    </a:lnTo>
                    <a:lnTo>
                      <a:pt x="324" y="213"/>
                    </a:lnTo>
                    <a:lnTo>
                      <a:pt x="325" y="211"/>
                    </a:lnTo>
                    <a:lnTo>
                      <a:pt x="318" y="217"/>
                    </a:lnTo>
                    <a:lnTo>
                      <a:pt x="318" y="217"/>
                    </a:lnTo>
                    <a:lnTo>
                      <a:pt x="318" y="217"/>
                    </a:lnTo>
                    <a:lnTo>
                      <a:pt x="318" y="217"/>
                    </a:lnTo>
                    <a:lnTo>
                      <a:pt x="320" y="216"/>
                    </a:lnTo>
                    <a:lnTo>
                      <a:pt x="322" y="215"/>
                    </a:lnTo>
                    <a:lnTo>
                      <a:pt x="322" y="215"/>
                    </a:lnTo>
                    <a:lnTo>
                      <a:pt x="324" y="212"/>
                    </a:lnTo>
                    <a:lnTo>
                      <a:pt x="324" y="212"/>
                    </a:lnTo>
                    <a:lnTo>
                      <a:pt x="324" y="213"/>
                    </a:lnTo>
                    <a:lnTo>
                      <a:pt x="324" y="213"/>
                    </a:lnTo>
                    <a:lnTo>
                      <a:pt x="324" y="216"/>
                    </a:lnTo>
                    <a:lnTo>
                      <a:pt x="322" y="219"/>
                    </a:lnTo>
                    <a:lnTo>
                      <a:pt x="321" y="221"/>
                    </a:lnTo>
                    <a:lnTo>
                      <a:pt x="321" y="221"/>
                    </a:lnTo>
                    <a:lnTo>
                      <a:pt x="321" y="221"/>
                    </a:lnTo>
                    <a:lnTo>
                      <a:pt x="320" y="221"/>
                    </a:lnTo>
                    <a:lnTo>
                      <a:pt x="320" y="223"/>
                    </a:lnTo>
                    <a:lnTo>
                      <a:pt x="320" y="223"/>
                    </a:lnTo>
                    <a:lnTo>
                      <a:pt x="320" y="223"/>
                    </a:lnTo>
                    <a:lnTo>
                      <a:pt x="318" y="225"/>
                    </a:lnTo>
                    <a:lnTo>
                      <a:pt x="318" y="225"/>
                    </a:lnTo>
                    <a:lnTo>
                      <a:pt x="318" y="227"/>
                    </a:lnTo>
                    <a:lnTo>
                      <a:pt x="317" y="228"/>
                    </a:lnTo>
                    <a:lnTo>
                      <a:pt x="317" y="228"/>
                    </a:lnTo>
                    <a:lnTo>
                      <a:pt x="304" y="249"/>
                    </a:lnTo>
                    <a:lnTo>
                      <a:pt x="302" y="252"/>
                    </a:lnTo>
                    <a:lnTo>
                      <a:pt x="298" y="254"/>
                    </a:lnTo>
                    <a:lnTo>
                      <a:pt x="298" y="254"/>
                    </a:lnTo>
                    <a:lnTo>
                      <a:pt x="296" y="254"/>
                    </a:lnTo>
                    <a:lnTo>
                      <a:pt x="296" y="254"/>
                    </a:lnTo>
                    <a:lnTo>
                      <a:pt x="293" y="254"/>
                    </a:lnTo>
                    <a:lnTo>
                      <a:pt x="292" y="253"/>
                    </a:lnTo>
                    <a:lnTo>
                      <a:pt x="291" y="253"/>
                    </a:lnTo>
                    <a:lnTo>
                      <a:pt x="291" y="253"/>
                    </a:lnTo>
                    <a:lnTo>
                      <a:pt x="291" y="253"/>
                    </a:lnTo>
                    <a:lnTo>
                      <a:pt x="291" y="253"/>
                    </a:lnTo>
                    <a:lnTo>
                      <a:pt x="287" y="254"/>
                    </a:lnTo>
                    <a:lnTo>
                      <a:pt x="283" y="258"/>
                    </a:lnTo>
                    <a:lnTo>
                      <a:pt x="283" y="258"/>
                    </a:lnTo>
                    <a:lnTo>
                      <a:pt x="277" y="261"/>
                    </a:lnTo>
                    <a:lnTo>
                      <a:pt x="275" y="262"/>
                    </a:lnTo>
                    <a:lnTo>
                      <a:pt x="269" y="262"/>
                    </a:lnTo>
                    <a:lnTo>
                      <a:pt x="265" y="262"/>
                    </a:lnTo>
                    <a:lnTo>
                      <a:pt x="265" y="262"/>
                    </a:lnTo>
                    <a:lnTo>
                      <a:pt x="261" y="261"/>
                    </a:lnTo>
                    <a:lnTo>
                      <a:pt x="261" y="261"/>
                    </a:lnTo>
                    <a:lnTo>
                      <a:pt x="259" y="261"/>
                    </a:lnTo>
                    <a:lnTo>
                      <a:pt x="256" y="262"/>
                    </a:lnTo>
                    <a:lnTo>
                      <a:pt x="256" y="262"/>
                    </a:lnTo>
                    <a:lnTo>
                      <a:pt x="257" y="261"/>
                    </a:lnTo>
                    <a:lnTo>
                      <a:pt x="254" y="264"/>
                    </a:lnTo>
                    <a:lnTo>
                      <a:pt x="255" y="265"/>
                    </a:lnTo>
                    <a:lnTo>
                      <a:pt x="255" y="265"/>
                    </a:lnTo>
                    <a:lnTo>
                      <a:pt x="250" y="268"/>
                    </a:lnTo>
                    <a:lnTo>
                      <a:pt x="247" y="269"/>
                    </a:lnTo>
                    <a:lnTo>
                      <a:pt x="243" y="270"/>
                    </a:lnTo>
                    <a:lnTo>
                      <a:pt x="243" y="270"/>
                    </a:lnTo>
                    <a:lnTo>
                      <a:pt x="239" y="269"/>
                    </a:lnTo>
                    <a:lnTo>
                      <a:pt x="239" y="277"/>
                    </a:lnTo>
                    <a:lnTo>
                      <a:pt x="239" y="277"/>
                    </a:lnTo>
                    <a:lnTo>
                      <a:pt x="235" y="279"/>
                    </a:lnTo>
                    <a:lnTo>
                      <a:pt x="235" y="279"/>
                    </a:lnTo>
                    <a:lnTo>
                      <a:pt x="232" y="281"/>
                    </a:lnTo>
                    <a:lnTo>
                      <a:pt x="232" y="283"/>
                    </a:lnTo>
                    <a:lnTo>
                      <a:pt x="226" y="289"/>
                    </a:lnTo>
                    <a:lnTo>
                      <a:pt x="226" y="289"/>
                    </a:lnTo>
                    <a:lnTo>
                      <a:pt x="230" y="287"/>
                    </a:lnTo>
                    <a:lnTo>
                      <a:pt x="231" y="285"/>
                    </a:lnTo>
                    <a:lnTo>
                      <a:pt x="231" y="285"/>
                    </a:lnTo>
                    <a:lnTo>
                      <a:pt x="230" y="287"/>
                    </a:lnTo>
                    <a:lnTo>
                      <a:pt x="230" y="287"/>
                    </a:lnTo>
                    <a:lnTo>
                      <a:pt x="228" y="291"/>
                    </a:lnTo>
                    <a:lnTo>
                      <a:pt x="227" y="294"/>
                    </a:lnTo>
                    <a:lnTo>
                      <a:pt x="223" y="299"/>
                    </a:lnTo>
                    <a:lnTo>
                      <a:pt x="223" y="299"/>
                    </a:lnTo>
                    <a:lnTo>
                      <a:pt x="220" y="302"/>
                    </a:lnTo>
                    <a:lnTo>
                      <a:pt x="217" y="305"/>
                    </a:lnTo>
                    <a:lnTo>
                      <a:pt x="217" y="305"/>
                    </a:lnTo>
                    <a:lnTo>
                      <a:pt x="215" y="305"/>
                    </a:lnTo>
                    <a:lnTo>
                      <a:pt x="215" y="305"/>
                    </a:lnTo>
                    <a:lnTo>
                      <a:pt x="211" y="303"/>
                    </a:lnTo>
                    <a:lnTo>
                      <a:pt x="210" y="302"/>
                    </a:lnTo>
                    <a:lnTo>
                      <a:pt x="207" y="299"/>
                    </a:lnTo>
                    <a:lnTo>
                      <a:pt x="207" y="299"/>
                    </a:lnTo>
                    <a:lnTo>
                      <a:pt x="207" y="299"/>
                    </a:lnTo>
                    <a:lnTo>
                      <a:pt x="207" y="299"/>
                    </a:lnTo>
                    <a:lnTo>
                      <a:pt x="209" y="301"/>
                    </a:lnTo>
                    <a:lnTo>
                      <a:pt x="209" y="301"/>
                    </a:lnTo>
                    <a:lnTo>
                      <a:pt x="210" y="299"/>
                    </a:lnTo>
                    <a:lnTo>
                      <a:pt x="211" y="297"/>
                    </a:lnTo>
                    <a:lnTo>
                      <a:pt x="203" y="302"/>
                    </a:lnTo>
                    <a:lnTo>
                      <a:pt x="203" y="302"/>
                    </a:lnTo>
                    <a:lnTo>
                      <a:pt x="203" y="302"/>
                    </a:lnTo>
                    <a:lnTo>
                      <a:pt x="203" y="302"/>
                    </a:lnTo>
                    <a:lnTo>
                      <a:pt x="206" y="301"/>
                    </a:lnTo>
                    <a:lnTo>
                      <a:pt x="206" y="301"/>
                    </a:lnTo>
                    <a:lnTo>
                      <a:pt x="203" y="302"/>
                    </a:lnTo>
                    <a:lnTo>
                      <a:pt x="199" y="303"/>
                    </a:lnTo>
                    <a:lnTo>
                      <a:pt x="199" y="303"/>
                    </a:lnTo>
                    <a:lnTo>
                      <a:pt x="198" y="303"/>
                    </a:lnTo>
                    <a:lnTo>
                      <a:pt x="198" y="302"/>
                    </a:lnTo>
                    <a:lnTo>
                      <a:pt x="198" y="302"/>
                    </a:lnTo>
                    <a:lnTo>
                      <a:pt x="198" y="302"/>
                    </a:lnTo>
                    <a:lnTo>
                      <a:pt x="197" y="302"/>
                    </a:lnTo>
                    <a:lnTo>
                      <a:pt x="193" y="295"/>
                    </a:lnTo>
                    <a:lnTo>
                      <a:pt x="193" y="295"/>
                    </a:lnTo>
                    <a:lnTo>
                      <a:pt x="193" y="298"/>
                    </a:lnTo>
                    <a:lnTo>
                      <a:pt x="194" y="299"/>
                    </a:lnTo>
                    <a:lnTo>
                      <a:pt x="194" y="299"/>
                    </a:lnTo>
                    <a:lnTo>
                      <a:pt x="194" y="301"/>
                    </a:lnTo>
                    <a:lnTo>
                      <a:pt x="193" y="299"/>
                    </a:lnTo>
                    <a:lnTo>
                      <a:pt x="193" y="299"/>
                    </a:lnTo>
                    <a:lnTo>
                      <a:pt x="191" y="298"/>
                    </a:lnTo>
                    <a:lnTo>
                      <a:pt x="191" y="298"/>
                    </a:lnTo>
                    <a:lnTo>
                      <a:pt x="191" y="298"/>
                    </a:lnTo>
                    <a:lnTo>
                      <a:pt x="189" y="298"/>
                    </a:lnTo>
                    <a:lnTo>
                      <a:pt x="189" y="298"/>
                    </a:lnTo>
                    <a:lnTo>
                      <a:pt x="185" y="295"/>
                    </a:lnTo>
                    <a:lnTo>
                      <a:pt x="181" y="293"/>
                    </a:lnTo>
                    <a:lnTo>
                      <a:pt x="181" y="293"/>
                    </a:lnTo>
                    <a:lnTo>
                      <a:pt x="178" y="290"/>
                    </a:lnTo>
                    <a:lnTo>
                      <a:pt x="174" y="287"/>
                    </a:lnTo>
                    <a:lnTo>
                      <a:pt x="174" y="287"/>
                    </a:lnTo>
                    <a:lnTo>
                      <a:pt x="173" y="287"/>
                    </a:lnTo>
                    <a:lnTo>
                      <a:pt x="173" y="287"/>
                    </a:lnTo>
                    <a:lnTo>
                      <a:pt x="173" y="287"/>
                    </a:lnTo>
                    <a:lnTo>
                      <a:pt x="174" y="286"/>
                    </a:lnTo>
                    <a:lnTo>
                      <a:pt x="170" y="289"/>
                    </a:lnTo>
                    <a:lnTo>
                      <a:pt x="164" y="289"/>
                    </a:lnTo>
                    <a:lnTo>
                      <a:pt x="162" y="286"/>
                    </a:lnTo>
                    <a:lnTo>
                      <a:pt x="162" y="286"/>
                    </a:lnTo>
                    <a:lnTo>
                      <a:pt x="162" y="286"/>
                    </a:lnTo>
                    <a:lnTo>
                      <a:pt x="162" y="286"/>
                    </a:lnTo>
                    <a:lnTo>
                      <a:pt x="164" y="283"/>
                    </a:lnTo>
                    <a:lnTo>
                      <a:pt x="164" y="282"/>
                    </a:lnTo>
                    <a:lnTo>
                      <a:pt x="161" y="286"/>
                    </a:lnTo>
                    <a:lnTo>
                      <a:pt x="158" y="282"/>
                    </a:lnTo>
                    <a:lnTo>
                      <a:pt x="158" y="282"/>
                    </a:lnTo>
                    <a:lnTo>
                      <a:pt x="158" y="283"/>
                    </a:lnTo>
                    <a:lnTo>
                      <a:pt x="158" y="286"/>
                    </a:lnTo>
                    <a:lnTo>
                      <a:pt x="158" y="286"/>
                    </a:lnTo>
                    <a:lnTo>
                      <a:pt x="161" y="287"/>
                    </a:lnTo>
                    <a:lnTo>
                      <a:pt x="161" y="287"/>
                    </a:lnTo>
                    <a:lnTo>
                      <a:pt x="161" y="287"/>
                    </a:lnTo>
                    <a:lnTo>
                      <a:pt x="161" y="289"/>
                    </a:lnTo>
                    <a:lnTo>
                      <a:pt x="161" y="289"/>
                    </a:lnTo>
                    <a:lnTo>
                      <a:pt x="158" y="290"/>
                    </a:lnTo>
                    <a:lnTo>
                      <a:pt x="153" y="290"/>
                    </a:lnTo>
                    <a:lnTo>
                      <a:pt x="148" y="286"/>
                    </a:lnTo>
                    <a:lnTo>
                      <a:pt x="148" y="286"/>
                    </a:lnTo>
                    <a:lnTo>
                      <a:pt x="149" y="289"/>
                    </a:lnTo>
                    <a:lnTo>
                      <a:pt x="152" y="289"/>
                    </a:lnTo>
                    <a:lnTo>
                      <a:pt x="149" y="289"/>
                    </a:lnTo>
                    <a:lnTo>
                      <a:pt x="149" y="289"/>
                    </a:lnTo>
                    <a:lnTo>
                      <a:pt x="148" y="289"/>
                    </a:lnTo>
                    <a:lnTo>
                      <a:pt x="148" y="289"/>
                    </a:lnTo>
                    <a:lnTo>
                      <a:pt x="146" y="289"/>
                    </a:lnTo>
                    <a:lnTo>
                      <a:pt x="146" y="289"/>
                    </a:lnTo>
                    <a:lnTo>
                      <a:pt x="145" y="289"/>
                    </a:lnTo>
                    <a:lnTo>
                      <a:pt x="145" y="289"/>
                    </a:lnTo>
                    <a:lnTo>
                      <a:pt x="145" y="290"/>
                    </a:lnTo>
                    <a:lnTo>
                      <a:pt x="145" y="290"/>
                    </a:lnTo>
                    <a:lnTo>
                      <a:pt x="145" y="294"/>
                    </a:lnTo>
                    <a:lnTo>
                      <a:pt x="145" y="294"/>
                    </a:lnTo>
                    <a:lnTo>
                      <a:pt x="145" y="295"/>
                    </a:lnTo>
                    <a:lnTo>
                      <a:pt x="145" y="295"/>
                    </a:lnTo>
                    <a:lnTo>
                      <a:pt x="145" y="295"/>
                    </a:lnTo>
                    <a:lnTo>
                      <a:pt x="145" y="295"/>
                    </a:lnTo>
                    <a:lnTo>
                      <a:pt x="142" y="299"/>
                    </a:lnTo>
                    <a:lnTo>
                      <a:pt x="142" y="299"/>
                    </a:lnTo>
                    <a:lnTo>
                      <a:pt x="138" y="303"/>
                    </a:lnTo>
                    <a:lnTo>
                      <a:pt x="136" y="307"/>
                    </a:lnTo>
                    <a:lnTo>
                      <a:pt x="136" y="307"/>
                    </a:lnTo>
                    <a:lnTo>
                      <a:pt x="135" y="310"/>
                    </a:lnTo>
                    <a:lnTo>
                      <a:pt x="135" y="310"/>
                    </a:lnTo>
                    <a:lnTo>
                      <a:pt x="131" y="313"/>
                    </a:lnTo>
                    <a:lnTo>
                      <a:pt x="129" y="315"/>
                    </a:lnTo>
                    <a:lnTo>
                      <a:pt x="129" y="316"/>
                    </a:lnTo>
                    <a:lnTo>
                      <a:pt x="127" y="320"/>
                    </a:lnTo>
                    <a:lnTo>
                      <a:pt x="127" y="320"/>
                    </a:lnTo>
                    <a:lnTo>
                      <a:pt x="124" y="323"/>
                    </a:lnTo>
                    <a:lnTo>
                      <a:pt x="120" y="323"/>
                    </a:lnTo>
                    <a:lnTo>
                      <a:pt x="120" y="323"/>
                    </a:lnTo>
                    <a:lnTo>
                      <a:pt x="116" y="322"/>
                    </a:lnTo>
                    <a:lnTo>
                      <a:pt x="113" y="320"/>
                    </a:lnTo>
                    <a:lnTo>
                      <a:pt x="113" y="320"/>
                    </a:lnTo>
                    <a:lnTo>
                      <a:pt x="112" y="319"/>
                    </a:lnTo>
                    <a:lnTo>
                      <a:pt x="108" y="314"/>
                    </a:lnTo>
                    <a:lnTo>
                      <a:pt x="108" y="314"/>
                    </a:lnTo>
                    <a:lnTo>
                      <a:pt x="107" y="314"/>
                    </a:lnTo>
                    <a:lnTo>
                      <a:pt x="107" y="314"/>
                    </a:lnTo>
                    <a:lnTo>
                      <a:pt x="104" y="315"/>
                    </a:lnTo>
                    <a:lnTo>
                      <a:pt x="103" y="315"/>
                    </a:lnTo>
                    <a:lnTo>
                      <a:pt x="103" y="315"/>
                    </a:lnTo>
                    <a:lnTo>
                      <a:pt x="104" y="313"/>
                    </a:lnTo>
                    <a:lnTo>
                      <a:pt x="105" y="311"/>
                    </a:lnTo>
                    <a:lnTo>
                      <a:pt x="101" y="315"/>
                    </a:lnTo>
                    <a:lnTo>
                      <a:pt x="101" y="315"/>
                    </a:lnTo>
                    <a:lnTo>
                      <a:pt x="101" y="315"/>
                    </a:lnTo>
                    <a:lnTo>
                      <a:pt x="100" y="315"/>
                    </a:lnTo>
                    <a:lnTo>
                      <a:pt x="100" y="315"/>
                    </a:lnTo>
                    <a:lnTo>
                      <a:pt x="101" y="315"/>
                    </a:lnTo>
                    <a:lnTo>
                      <a:pt x="101" y="315"/>
                    </a:lnTo>
                    <a:lnTo>
                      <a:pt x="101" y="315"/>
                    </a:lnTo>
                    <a:lnTo>
                      <a:pt x="99" y="318"/>
                    </a:lnTo>
                    <a:lnTo>
                      <a:pt x="95" y="319"/>
                    </a:lnTo>
                    <a:lnTo>
                      <a:pt x="87" y="319"/>
                    </a:lnTo>
                    <a:lnTo>
                      <a:pt x="87" y="319"/>
                    </a:lnTo>
                    <a:lnTo>
                      <a:pt x="83" y="319"/>
                    </a:lnTo>
                    <a:lnTo>
                      <a:pt x="83" y="319"/>
                    </a:lnTo>
                    <a:lnTo>
                      <a:pt x="82" y="320"/>
                    </a:lnTo>
                    <a:lnTo>
                      <a:pt x="82" y="320"/>
                    </a:lnTo>
                    <a:lnTo>
                      <a:pt x="80" y="320"/>
                    </a:lnTo>
                    <a:lnTo>
                      <a:pt x="80" y="320"/>
                    </a:lnTo>
                    <a:lnTo>
                      <a:pt x="82" y="319"/>
                    </a:lnTo>
                    <a:lnTo>
                      <a:pt x="78" y="322"/>
                    </a:lnTo>
                    <a:lnTo>
                      <a:pt x="78" y="322"/>
                    </a:lnTo>
                    <a:lnTo>
                      <a:pt x="75" y="323"/>
                    </a:lnTo>
                    <a:lnTo>
                      <a:pt x="71" y="324"/>
                    </a:lnTo>
                    <a:lnTo>
                      <a:pt x="71" y="324"/>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8" name="Freeform 43">
                <a:extLst>
                  <a:ext uri="{FF2B5EF4-FFF2-40B4-BE49-F238E27FC236}">
                    <a16:creationId xmlns:a16="http://schemas.microsoft.com/office/drawing/2014/main" xmlns="" id="{2DD9DF06-40B3-4AC1-963C-6CE44C3B458B}"/>
                  </a:ext>
                </a:extLst>
              </p:cNvPr>
              <p:cNvSpPr>
                <a:spLocks/>
              </p:cNvSpPr>
              <p:nvPr/>
            </p:nvSpPr>
            <p:spPr bwMode="auto">
              <a:xfrm>
                <a:off x="7002539" y="4137200"/>
                <a:ext cx="268125" cy="351697"/>
              </a:xfrm>
              <a:custGeom>
                <a:avLst/>
                <a:gdLst>
                  <a:gd name="T0" fmla="*/ 28 w 154"/>
                  <a:gd name="T1" fmla="*/ 193 h 202"/>
                  <a:gd name="T2" fmla="*/ 33 w 154"/>
                  <a:gd name="T3" fmla="*/ 178 h 202"/>
                  <a:gd name="T4" fmla="*/ 41 w 154"/>
                  <a:gd name="T5" fmla="*/ 172 h 202"/>
                  <a:gd name="T6" fmla="*/ 52 w 154"/>
                  <a:gd name="T7" fmla="*/ 163 h 202"/>
                  <a:gd name="T8" fmla="*/ 56 w 154"/>
                  <a:gd name="T9" fmla="*/ 159 h 202"/>
                  <a:gd name="T10" fmla="*/ 46 w 154"/>
                  <a:gd name="T11" fmla="*/ 139 h 202"/>
                  <a:gd name="T12" fmla="*/ 40 w 154"/>
                  <a:gd name="T13" fmla="*/ 139 h 202"/>
                  <a:gd name="T14" fmla="*/ 29 w 154"/>
                  <a:gd name="T15" fmla="*/ 144 h 202"/>
                  <a:gd name="T16" fmla="*/ 23 w 154"/>
                  <a:gd name="T17" fmla="*/ 135 h 202"/>
                  <a:gd name="T18" fmla="*/ 25 w 154"/>
                  <a:gd name="T19" fmla="*/ 128 h 202"/>
                  <a:gd name="T20" fmla="*/ 20 w 154"/>
                  <a:gd name="T21" fmla="*/ 118 h 202"/>
                  <a:gd name="T22" fmla="*/ 23 w 154"/>
                  <a:gd name="T23" fmla="*/ 114 h 202"/>
                  <a:gd name="T24" fmla="*/ 12 w 154"/>
                  <a:gd name="T25" fmla="*/ 102 h 202"/>
                  <a:gd name="T26" fmla="*/ 11 w 154"/>
                  <a:gd name="T27" fmla="*/ 95 h 202"/>
                  <a:gd name="T28" fmla="*/ 8 w 154"/>
                  <a:gd name="T29" fmla="*/ 87 h 202"/>
                  <a:gd name="T30" fmla="*/ 2 w 154"/>
                  <a:gd name="T31" fmla="*/ 81 h 202"/>
                  <a:gd name="T32" fmla="*/ 3 w 154"/>
                  <a:gd name="T33" fmla="*/ 78 h 202"/>
                  <a:gd name="T34" fmla="*/ 3 w 154"/>
                  <a:gd name="T35" fmla="*/ 70 h 202"/>
                  <a:gd name="T36" fmla="*/ 2 w 154"/>
                  <a:gd name="T37" fmla="*/ 49 h 202"/>
                  <a:gd name="T38" fmla="*/ 16 w 154"/>
                  <a:gd name="T39" fmla="*/ 37 h 202"/>
                  <a:gd name="T40" fmla="*/ 17 w 154"/>
                  <a:gd name="T41" fmla="*/ 37 h 202"/>
                  <a:gd name="T42" fmla="*/ 20 w 154"/>
                  <a:gd name="T43" fmla="*/ 37 h 202"/>
                  <a:gd name="T44" fmla="*/ 25 w 154"/>
                  <a:gd name="T45" fmla="*/ 33 h 202"/>
                  <a:gd name="T46" fmla="*/ 37 w 154"/>
                  <a:gd name="T47" fmla="*/ 22 h 202"/>
                  <a:gd name="T48" fmla="*/ 50 w 154"/>
                  <a:gd name="T49" fmla="*/ 12 h 202"/>
                  <a:gd name="T50" fmla="*/ 64 w 154"/>
                  <a:gd name="T51" fmla="*/ 26 h 202"/>
                  <a:gd name="T52" fmla="*/ 70 w 154"/>
                  <a:gd name="T53" fmla="*/ 26 h 202"/>
                  <a:gd name="T54" fmla="*/ 76 w 154"/>
                  <a:gd name="T55" fmla="*/ 26 h 202"/>
                  <a:gd name="T56" fmla="*/ 87 w 154"/>
                  <a:gd name="T57" fmla="*/ 22 h 202"/>
                  <a:gd name="T58" fmla="*/ 102 w 154"/>
                  <a:gd name="T59" fmla="*/ 20 h 202"/>
                  <a:gd name="T60" fmla="*/ 107 w 154"/>
                  <a:gd name="T61" fmla="*/ 20 h 202"/>
                  <a:gd name="T62" fmla="*/ 113 w 154"/>
                  <a:gd name="T63" fmla="*/ 13 h 202"/>
                  <a:gd name="T64" fmla="*/ 124 w 154"/>
                  <a:gd name="T65" fmla="*/ 11 h 202"/>
                  <a:gd name="T66" fmla="*/ 127 w 154"/>
                  <a:gd name="T67" fmla="*/ 9 h 202"/>
                  <a:gd name="T68" fmla="*/ 134 w 154"/>
                  <a:gd name="T69" fmla="*/ 9 h 202"/>
                  <a:gd name="T70" fmla="*/ 140 w 154"/>
                  <a:gd name="T71" fmla="*/ 0 h 202"/>
                  <a:gd name="T72" fmla="*/ 144 w 154"/>
                  <a:gd name="T73" fmla="*/ 0 h 202"/>
                  <a:gd name="T74" fmla="*/ 152 w 154"/>
                  <a:gd name="T75" fmla="*/ 17 h 202"/>
                  <a:gd name="T76" fmla="*/ 152 w 154"/>
                  <a:gd name="T77" fmla="*/ 20 h 202"/>
                  <a:gd name="T78" fmla="*/ 151 w 154"/>
                  <a:gd name="T79" fmla="*/ 29 h 202"/>
                  <a:gd name="T80" fmla="*/ 148 w 154"/>
                  <a:gd name="T81" fmla="*/ 32 h 202"/>
                  <a:gd name="T82" fmla="*/ 140 w 154"/>
                  <a:gd name="T83" fmla="*/ 41 h 202"/>
                  <a:gd name="T84" fmla="*/ 138 w 154"/>
                  <a:gd name="T85" fmla="*/ 48 h 202"/>
                  <a:gd name="T86" fmla="*/ 132 w 154"/>
                  <a:gd name="T87" fmla="*/ 58 h 202"/>
                  <a:gd name="T88" fmla="*/ 126 w 154"/>
                  <a:gd name="T89" fmla="*/ 67 h 202"/>
                  <a:gd name="T90" fmla="*/ 123 w 154"/>
                  <a:gd name="T91" fmla="*/ 73 h 202"/>
                  <a:gd name="T92" fmla="*/ 122 w 154"/>
                  <a:gd name="T93" fmla="*/ 74 h 202"/>
                  <a:gd name="T94" fmla="*/ 121 w 154"/>
                  <a:gd name="T95" fmla="*/ 79 h 202"/>
                  <a:gd name="T96" fmla="*/ 117 w 154"/>
                  <a:gd name="T97" fmla="*/ 85 h 202"/>
                  <a:gd name="T98" fmla="*/ 114 w 154"/>
                  <a:gd name="T99" fmla="*/ 91 h 202"/>
                  <a:gd name="T100" fmla="*/ 111 w 154"/>
                  <a:gd name="T101" fmla="*/ 95 h 202"/>
                  <a:gd name="T102" fmla="*/ 115 w 154"/>
                  <a:gd name="T103" fmla="*/ 110 h 202"/>
                  <a:gd name="T104" fmla="*/ 77 w 154"/>
                  <a:gd name="T105" fmla="*/ 151 h 202"/>
                  <a:gd name="T106" fmla="*/ 70 w 154"/>
                  <a:gd name="T107" fmla="*/ 159 h 202"/>
                  <a:gd name="T108" fmla="*/ 68 w 154"/>
                  <a:gd name="T109" fmla="*/ 168 h 202"/>
                  <a:gd name="T110" fmla="*/ 54 w 154"/>
                  <a:gd name="T111" fmla="*/ 19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202">
                    <a:moveTo>
                      <a:pt x="37" y="201"/>
                    </a:moveTo>
                    <a:lnTo>
                      <a:pt x="37" y="202"/>
                    </a:lnTo>
                    <a:lnTo>
                      <a:pt x="37" y="202"/>
                    </a:lnTo>
                    <a:lnTo>
                      <a:pt x="33" y="198"/>
                    </a:lnTo>
                    <a:lnTo>
                      <a:pt x="33" y="198"/>
                    </a:lnTo>
                    <a:lnTo>
                      <a:pt x="28" y="193"/>
                    </a:lnTo>
                    <a:lnTo>
                      <a:pt x="27" y="190"/>
                    </a:lnTo>
                    <a:lnTo>
                      <a:pt x="27" y="186"/>
                    </a:lnTo>
                    <a:lnTo>
                      <a:pt x="27" y="186"/>
                    </a:lnTo>
                    <a:lnTo>
                      <a:pt x="27" y="182"/>
                    </a:lnTo>
                    <a:lnTo>
                      <a:pt x="31" y="178"/>
                    </a:lnTo>
                    <a:lnTo>
                      <a:pt x="33" y="178"/>
                    </a:lnTo>
                    <a:lnTo>
                      <a:pt x="39" y="178"/>
                    </a:lnTo>
                    <a:lnTo>
                      <a:pt x="39" y="178"/>
                    </a:lnTo>
                    <a:lnTo>
                      <a:pt x="39" y="177"/>
                    </a:lnTo>
                    <a:lnTo>
                      <a:pt x="39" y="177"/>
                    </a:lnTo>
                    <a:lnTo>
                      <a:pt x="40" y="174"/>
                    </a:lnTo>
                    <a:lnTo>
                      <a:pt x="41" y="172"/>
                    </a:lnTo>
                    <a:lnTo>
                      <a:pt x="44" y="171"/>
                    </a:lnTo>
                    <a:lnTo>
                      <a:pt x="44" y="171"/>
                    </a:lnTo>
                    <a:lnTo>
                      <a:pt x="44" y="169"/>
                    </a:lnTo>
                    <a:lnTo>
                      <a:pt x="44" y="169"/>
                    </a:lnTo>
                    <a:lnTo>
                      <a:pt x="46" y="165"/>
                    </a:lnTo>
                    <a:lnTo>
                      <a:pt x="52" y="163"/>
                    </a:lnTo>
                    <a:lnTo>
                      <a:pt x="52" y="163"/>
                    </a:lnTo>
                    <a:lnTo>
                      <a:pt x="54" y="161"/>
                    </a:lnTo>
                    <a:lnTo>
                      <a:pt x="54" y="161"/>
                    </a:lnTo>
                    <a:lnTo>
                      <a:pt x="56" y="160"/>
                    </a:lnTo>
                    <a:lnTo>
                      <a:pt x="56" y="159"/>
                    </a:lnTo>
                    <a:lnTo>
                      <a:pt x="56" y="159"/>
                    </a:lnTo>
                    <a:lnTo>
                      <a:pt x="56" y="156"/>
                    </a:lnTo>
                    <a:lnTo>
                      <a:pt x="54" y="153"/>
                    </a:lnTo>
                    <a:lnTo>
                      <a:pt x="48" y="144"/>
                    </a:lnTo>
                    <a:lnTo>
                      <a:pt x="48" y="140"/>
                    </a:lnTo>
                    <a:lnTo>
                      <a:pt x="48" y="140"/>
                    </a:lnTo>
                    <a:lnTo>
                      <a:pt x="46" y="139"/>
                    </a:lnTo>
                    <a:lnTo>
                      <a:pt x="44" y="139"/>
                    </a:lnTo>
                    <a:lnTo>
                      <a:pt x="44" y="139"/>
                    </a:lnTo>
                    <a:lnTo>
                      <a:pt x="43" y="139"/>
                    </a:lnTo>
                    <a:lnTo>
                      <a:pt x="40" y="139"/>
                    </a:lnTo>
                    <a:lnTo>
                      <a:pt x="40" y="139"/>
                    </a:lnTo>
                    <a:lnTo>
                      <a:pt x="40" y="139"/>
                    </a:lnTo>
                    <a:lnTo>
                      <a:pt x="40" y="139"/>
                    </a:lnTo>
                    <a:lnTo>
                      <a:pt x="37" y="143"/>
                    </a:lnTo>
                    <a:lnTo>
                      <a:pt x="35" y="144"/>
                    </a:lnTo>
                    <a:lnTo>
                      <a:pt x="32" y="144"/>
                    </a:lnTo>
                    <a:lnTo>
                      <a:pt x="32" y="144"/>
                    </a:lnTo>
                    <a:lnTo>
                      <a:pt x="29" y="144"/>
                    </a:lnTo>
                    <a:lnTo>
                      <a:pt x="27" y="143"/>
                    </a:lnTo>
                    <a:lnTo>
                      <a:pt x="27" y="143"/>
                    </a:lnTo>
                    <a:lnTo>
                      <a:pt x="24" y="140"/>
                    </a:lnTo>
                    <a:lnTo>
                      <a:pt x="23" y="137"/>
                    </a:lnTo>
                    <a:lnTo>
                      <a:pt x="23" y="137"/>
                    </a:lnTo>
                    <a:lnTo>
                      <a:pt x="23" y="135"/>
                    </a:lnTo>
                    <a:lnTo>
                      <a:pt x="24" y="132"/>
                    </a:lnTo>
                    <a:lnTo>
                      <a:pt x="27" y="130"/>
                    </a:lnTo>
                    <a:lnTo>
                      <a:pt x="27" y="130"/>
                    </a:lnTo>
                    <a:lnTo>
                      <a:pt x="28" y="130"/>
                    </a:lnTo>
                    <a:lnTo>
                      <a:pt x="28" y="130"/>
                    </a:lnTo>
                    <a:lnTo>
                      <a:pt x="25" y="128"/>
                    </a:lnTo>
                    <a:lnTo>
                      <a:pt x="25" y="128"/>
                    </a:lnTo>
                    <a:lnTo>
                      <a:pt x="24" y="130"/>
                    </a:lnTo>
                    <a:lnTo>
                      <a:pt x="17" y="124"/>
                    </a:lnTo>
                    <a:lnTo>
                      <a:pt x="17" y="124"/>
                    </a:lnTo>
                    <a:lnTo>
                      <a:pt x="19" y="119"/>
                    </a:lnTo>
                    <a:lnTo>
                      <a:pt x="20" y="118"/>
                    </a:lnTo>
                    <a:lnTo>
                      <a:pt x="20" y="118"/>
                    </a:lnTo>
                    <a:lnTo>
                      <a:pt x="20" y="118"/>
                    </a:lnTo>
                    <a:lnTo>
                      <a:pt x="20" y="118"/>
                    </a:lnTo>
                    <a:lnTo>
                      <a:pt x="19" y="119"/>
                    </a:lnTo>
                    <a:lnTo>
                      <a:pt x="23" y="114"/>
                    </a:lnTo>
                    <a:lnTo>
                      <a:pt x="23" y="114"/>
                    </a:lnTo>
                    <a:lnTo>
                      <a:pt x="24" y="115"/>
                    </a:lnTo>
                    <a:lnTo>
                      <a:pt x="19" y="108"/>
                    </a:lnTo>
                    <a:lnTo>
                      <a:pt x="19" y="106"/>
                    </a:lnTo>
                    <a:lnTo>
                      <a:pt x="19" y="106"/>
                    </a:lnTo>
                    <a:lnTo>
                      <a:pt x="17" y="106"/>
                    </a:lnTo>
                    <a:lnTo>
                      <a:pt x="12" y="102"/>
                    </a:lnTo>
                    <a:lnTo>
                      <a:pt x="12" y="102"/>
                    </a:lnTo>
                    <a:lnTo>
                      <a:pt x="11" y="99"/>
                    </a:lnTo>
                    <a:lnTo>
                      <a:pt x="11" y="95"/>
                    </a:lnTo>
                    <a:lnTo>
                      <a:pt x="11" y="95"/>
                    </a:lnTo>
                    <a:lnTo>
                      <a:pt x="11" y="95"/>
                    </a:lnTo>
                    <a:lnTo>
                      <a:pt x="11" y="95"/>
                    </a:lnTo>
                    <a:lnTo>
                      <a:pt x="9" y="91"/>
                    </a:lnTo>
                    <a:lnTo>
                      <a:pt x="9" y="91"/>
                    </a:lnTo>
                    <a:lnTo>
                      <a:pt x="11" y="93"/>
                    </a:lnTo>
                    <a:lnTo>
                      <a:pt x="12" y="94"/>
                    </a:lnTo>
                    <a:lnTo>
                      <a:pt x="8" y="87"/>
                    </a:lnTo>
                    <a:lnTo>
                      <a:pt x="8" y="87"/>
                    </a:lnTo>
                    <a:lnTo>
                      <a:pt x="8" y="89"/>
                    </a:lnTo>
                    <a:lnTo>
                      <a:pt x="8" y="89"/>
                    </a:lnTo>
                    <a:lnTo>
                      <a:pt x="4" y="87"/>
                    </a:lnTo>
                    <a:lnTo>
                      <a:pt x="3" y="85"/>
                    </a:lnTo>
                    <a:lnTo>
                      <a:pt x="2" y="82"/>
                    </a:lnTo>
                    <a:lnTo>
                      <a:pt x="2" y="81"/>
                    </a:lnTo>
                    <a:lnTo>
                      <a:pt x="2" y="79"/>
                    </a:lnTo>
                    <a:lnTo>
                      <a:pt x="5" y="75"/>
                    </a:lnTo>
                    <a:lnTo>
                      <a:pt x="4" y="75"/>
                    </a:lnTo>
                    <a:lnTo>
                      <a:pt x="4" y="75"/>
                    </a:lnTo>
                    <a:lnTo>
                      <a:pt x="3" y="78"/>
                    </a:lnTo>
                    <a:lnTo>
                      <a:pt x="3" y="78"/>
                    </a:lnTo>
                    <a:lnTo>
                      <a:pt x="3" y="77"/>
                    </a:lnTo>
                    <a:lnTo>
                      <a:pt x="3" y="77"/>
                    </a:lnTo>
                    <a:lnTo>
                      <a:pt x="3" y="74"/>
                    </a:lnTo>
                    <a:lnTo>
                      <a:pt x="3" y="74"/>
                    </a:lnTo>
                    <a:lnTo>
                      <a:pt x="3" y="70"/>
                    </a:lnTo>
                    <a:lnTo>
                      <a:pt x="3" y="70"/>
                    </a:lnTo>
                    <a:lnTo>
                      <a:pt x="4" y="69"/>
                    </a:lnTo>
                    <a:lnTo>
                      <a:pt x="3" y="65"/>
                    </a:lnTo>
                    <a:lnTo>
                      <a:pt x="3" y="65"/>
                    </a:lnTo>
                    <a:lnTo>
                      <a:pt x="0" y="58"/>
                    </a:lnTo>
                    <a:lnTo>
                      <a:pt x="0" y="53"/>
                    </a:lnTo>
                    <a:lnTo>
                      <a:pt x="2" y="49"/>
                    </a:lnTo>
                    <a:lnTo>
                      <a:pt x="2" y="49"/>
                    </a:lnTo>
                    <a:lnTo>
                      <a:pt x="2" y="45"/>
                    </a:lnTo>
                    <a:lnTo>
                      <a:pt x="3" y="41"/>
                    </a:lnTo>
                    <a:lnTo>
                      <a:pt x="4" y="38"/>
                    </a:lnTo>
                    <a:lnTo>
                      <a:pt x="8" y="36"/>
                    </a:lnTo>
                    <a:lnTo>
                      <a:pt x="16" y="37"/>
                    </a:lnTo>
                    <a:lnTo>
                      <a:pt x="16" y="37"/>
                    </a:lnTo>
                    <a:lnTo>
                      <a:pt x="16" y="37"/>
                    </a:lnTo>
                    <a:lnTo>
                      <a:pt x="16" y="37"/>
                    </a:lnTo>
                    <a:lnTo>
                      <a:pt x="16" y="37"/>
                    </a:lnTo>
                    <a:lnTo>
                      <a:pt x="17" y="37"/>
                    </a:lnTo>
                    <a:lnTo>
                      <a:pt x="17" y="37"/>
                    </a:lnTo>
                    <a:lnTo>
                      <a:pt x="19" y="37"/>
                    </a:lnTo>
                    <a:lnTo>
                      <a:pt x="20" y="37"/>
                    </a:lnTo>
                    <a:lnTo>
                      <a:pt x="20" y="37"/>
                    </a:lnTo>
                    <a:lnTo>
                      <a:pt x="20" y="36"/>
                    </a:lnTo>
                    <a:lnTo>
                      <a:pt x="20" y="36"/>
                    </a:lnTo>
                    <a:lnTo>
                      <a:pt x="20" y="37"/>
                    </a:lnTo>
                    <a:lnTo>
                      <a:pt x="20" y="37"/>
                    </a:lnTo>
                    <a:lnTo>
                      <a:pt x="20" y="37"/>
                    </a:lnTo>
                    <a:lnTo>
                      <a:pt x="19" y="37"/>
                    </a:lnTo>
                    <a:lnTo>
                      <a:pt x="19" y="37"/>
                    </a:lnTo>
                    <a:lnTo>
                      <a:pt x="19" y="38"/>
                    </a:lnTo>
                    <a:lnTo>
                      <a:pt x="25" y="33"/>
                    </a:lnTo>
                    <a:lnTo>
                      <a:pt x="25" y="33"/>
                    </a:lnTo>
                    <a:lnTo>
                      <a:pt x="27" y="30"/>
                    </a:lnTo>
                    <a:lnTo>
                      <a:pt x="27" y="30"/>
                    </a:lnTo>
                    <a:lnTo>
                      <a:pt x="27" y="26"/>
                    </a:lnTo>
                    <a:lnTo>
                      <a:pt x="32" y="22"/>
                    </a:lnTo>
                    <a:lnTo>
                      <a:pt x="37" y="22"/>
                    </a:lnTo>
                    <a:lnTo>
                      <a:pt x="39" y="22"/>
                    </a:lnTo>
                    <a:lnTo>
                      <a:pt x="39" y="22"/>
                    </a:lnTo>
                    <a:lnTo>
                      <a:pt x="40" y="22"/>
                    </a:lnTo>
                    <a:lnTo>
                      <a:pt x="40" y="17"/>
                    </a:lnTo>
                    <a:lnTo>
                      <a:pt x="45" y="12"/>
                    </a:lnTo>
                    <a:lnTo>
                      <a:pt x="50" y="12"/>
                    </a:lnTo>
                    <a:lnTo>
                      <a:pt x="52" y="12"/>
                    </a:lnTo>
                    <a:lnTo>
                      <a:pt x="52" y="12"/>
                    </a:lnTo>
                    <a:lnTo>
                      <a:pt x="57" y="15"/>
                    </a:lnTo>
                    <a:lnTo>
                      <a:pt x="61" y="18"/>
                    </a:lnTo>
                    <a:lnTo>
                      <a:pt x="62" y="22"/>
                    </a:lnTo>
                    <a:lnTo>
                      <a:pt x="64" y="26"/>
                    </a:lnTo>
                    <a:lnTo>
                      <a:pt x="64" y="26"/>
                    </a:lnTo>
                    <a:lnTo>
                      <a:pt x="65" y="28"/>
                    </a:lnTo>
                    <a:lnTo>
                      <a:pt x="65" y="28"/>
                    </a:lnTo>
                    <a:lnTo>
                      <a:pt x="69" y="26"/>
                    </a:lnTo>
                    <a:lnTo>
                      <a:pt x="69" y="26"/>
                    </a:lnTo>
                    <a:lnTo>
                      <a:pt x="70" y="26"/>
                    </a:lnTo>
                    <a:lnTo>
                      <a:pt x="72" y="28"/>
                    </a:lnTo>
                    <a:lnTo>
                      <a:pt x="72" y="28"/>
                    </a:lnTo>
                    <a:lnTo>
                      <a:pt x="76" y="26"/>
                    </a:lnTo>
                    <a:lnTo>
                      <a:pt x="76" y="26"/>
                    </a:lnTo>
                    <a:lnTo>
                      <a:pt x="76" y="26"/>
                    </a:lnTo>
                    <a:lnTo>
                      <a:pt x="76" y="26"/>
                    </a:lnTo>
                    <a:lnTo>
                      <a:pt x="78" y="24"/>
                    </a:lnTo>
                    <a:lnTo>
                      <a:pt x="82" y="22"/>
                    </a:lnTo>
                    <a:lnTo>
                      <a:pt x="82" y="22"/>
                    </a:lnTo>
                    <a:lnTo>
                      <a:pt x="83" y="22"/>
                    </a:lnTo>
                    <a:lnTo>
                      <a:pt x="87" y="22"/>
                    </a:lnTo>
                    <a:lnTo>
                      <a:pt x="87" y="22"/>
                    </a:lnTo>
                    <a:lnTo>
                      <a:pt x="90" y="22"/>
                    </a:lnTo>
                    <a:lnTo>
                      <a:pt x="90" y="22"/>
                    </a:lnTo>
                    <a:lnTo>
                      <a:pt x="94" y="20"/>
                    </a:lnTo>
                    <a:lnTo>
                      <a:pt x="98" y="20"/>
                    </a:lnTo>
                    <a:lnTo>
                      <a:pt x="98" y="20"/>
                    </a:lnTo>
                    <a:lnTo>
                      <a:pt x="102" y="20"/>
                    </a:lnTo>
                    <a:lnTo>
                      <a:pt x="105" y="22"/>
                    </a:lnTo>
                    <a:lnTo>
                      <a:pt x="105" y="22"/>
                    </a:lnTo>
                    <a:lnTo>
                      <a:pt x="106" y="22"/>
                    </a:lnTo>
                    <a:lnTo>
                      <a:pt x="106" y="21"/>
                    </a:lnTo>
                    <a:lnTo>
                      <a:pt x="107" y="20"/>
                    </a:lnTo>
                    <a:lnTo>
                      <a:pt x="107" y="20"/>
                    </a:lnTo>
                    <a:lnTo>
                      <a:pt x="109" y="17"/>
                    </a:lnTo>
                    <a:lnTo>
                      <a:pt x="109" y="17"/>
                    </a:lnTo>
                    <a:lnTo>
                      <a:pt x="107" y="18"/>
                    </a:lnTo>
                    <a:lnTo>
                      <a:pt x="113" y="13"/>
                    </a:lnTo>
                    <a:lnTo>
                      <a:pt x="113" y="13"/>
                    </a:lnTo>
                    <a:lnTo>
                      <a:pt x="113" y="13"/>
                    </a:lnTo>
                    <a:lnTo>
                      <a:pt x="113" y="13"/>
                    </a:lnTo>
                    <a:lnTo>
                      <a:pt x="115" y="11"/>
                    </a:lnTo>
                    <a:lnTo>
                      <a:pt x="121" y="11"/>
                    </a:lnTo>
                    <a:lnTo>
                      <a:pt x="121" y="11"/>
                    </a:lnTo>
                    <a:lnTo>
                      <a:pt x="122" y="11"/>
                    </a:lnTo>
                    <a:lnTo>
                      <a:pt x="124" y="11"/>
                    </a:lnTo>
                    <a:lnTo>
                      <a:pt x="124" y="11"/>
                    </a:lnTo>
                    <a:lnTo>
                      <a:pt x="122" y="12"/>
                    </a:lnTo>
                    <a:lnTo>
                      <a:pt x="122" y="13"/>
                    </a:lnTo>
                    <a:lnTo>
                      <a:pt x="126" y="9"/>
                    </a:lnTo>
                    <a:lnTo>
                      <a:pt x="127" y="9"/>
                    </a:lnTo>
                    <a:lnTo>
                      <a:pt x="127" y="9"/>
                    </a:lnTo>
                    <a:lnTo>
                      <a:pt x="131" y="9"/>
                    </a:lnTo>
                    <a:lnTo>
                      <a:pt x="131" y="9"/>
                    </a:lnTo>
                    <a:lnTo>
                      <a:pt x="132" y="9"/>
                    </a:lnTo>
                    <a:lnTo>
                      <a:pt x="132" y="9"/>
                    </a:lnTo>
                    <a:lnTo>
                      <a:pt x="132" y="11"/>
                    </a:lnTo>
                    <a:lnTo>
                      <a:pt x="134" y="9"/>
                    </a:lnTo>
                    <a:lnTo>
                      <a:pt x="134" y="9"/>
                    </a:lnTo>
                    <a:lnTo>
                      <a:pt x="134" y="7"/>
                    </a:lnTo>
                    <a:lnTo>
                      <a:pt x="135" y="3"/>
                    </a:lnTo>
                    <a:lnTo>
                      <a:pt x="135" y="3"/>
                    </a:lnTo>
                    <a:lnTo>
                      <a:pt x="136" y="1"/>
                    </a:lnTo>
                    <a:lnTo>
                      <a:pt x="140" y="0"/>
                    </a:lnTo>
                    <a:lnTo>
                      <a:pt x="140" y="0"/>
                    </a:lnTo>
                    <a:lnTo>
                      <a:pt x="140" y="0"/>
                    </a:lnTo>
                    <a:lnTo>
                      <a:pt x="140" y="0"/>
                    </a:lnTo>
                    <a:lnTo>
                      <a:pt x="142" y="0"/>
                    </a:lnTo>
                    <a:lnTo>
                      <a:pt x="142" y="0"/>
                    </a:lnTo>
                    <a:lnTo>
                      <a:pt x="144" y="0"/>
                    </a:lnTo>
                    <a:lnTo>
                      <a:pt x="147" y="1"/>
                    </a:lnTo>
                    <a:lnTo>
                      <a:pt x="150" y="5"/>
                    </a:lnTo>
                    <a:lnTo>
                      <a:pt x="151" y="11"/>
                    </a:lnTo>
                    <a:lnTo>
                      <a:pt x="151" y="13"/>
                    </a:lnTo>
                    <a:lnTo>
                      <a:pt x="151" y="13"/>
                    </a:lnTo>
                    <a:lnTo>
                      <a:pt x="152" y="17"/>
                    </a:lnTo>
                    <a:lnTo>
                      <a:pt x="152" y="17"/>
                    </a:lnTo>
                    <a:lnTo>
                      <a:pt x="151" y="16"/>
                    </a:lnTo>
                    <a:lnTo>
                      <a:pt x="151" y="17"/>
                    </a:lnTo>
                    <a:lnTo>
                      <a:pt x="151" y="17"/>
                    </a:lnTo>
                    <a:lnTo>
                      <a:pt x="148" y="16"/>
                    </a:lnTo>
                    <a:lnTo>
                      <a:pt x="152" y="20"/>
                    </a:lnTo>
                    <a:lnTo>
                      <a:pt x="152" y="21"/>
                    </a:lnTo>
                    <a:lnTo>
                      <a:pt x="152" y="21"/>
                    </a:lnTo>
                    <a:lnTo>
                      <a:pt x="152" y="20"/>
                    </a:lnTo>
                    <a:lnTo>
                      <a:pt x="154" y="21"/>
                    </a:lnTo>
                    <a:lnTo>
                      <a:pt x="154" y="24"/>
                    </a:lnTo>
                    <a:lnTo>
                      <a:pt x="151" y="29"/>
                    </a:lnTo>
                    <a:lnTo>
                      <a:pt x="151" y="29"/>
                    </a:lnTo>
                    <a:lnTo>
                      <a:pt x="150" y="29"/>
                    </a:lnTo>
                    <a:lnTo>
                      <a:pt x="150" y="29"/>
                    </a:lnTo>
                    <a:lnTo>
                      <a:pt x="151" y="28"/>
                    </a:lnTo>
                    <a:lnTo>
                      <a:pt x="148" y="32"/>
                    </a:lnTo>
                    <a:lnTo>
                      <a:pt x="148" y="32"/>
                    </a:lnTo>
                    <a:lnTo>
                      <a:pt x="147" y="34"/>
                    </a:lnTo>
                    <a:lnTo>
                      <a:pt x="147" y="34"/>
                    </a:lnTo>
                    <a:lnTo>
                      <a:pt x="143" y="38"/>
                    </a:lnTo>
                    <a:lnTo>
                      <a:pt x="143" y="38"/>
                    </a:lnTo>
                    <a:lnTo>
                      <a:pt x="140" y="41"/>
                    </a:lnTo>
                    <a:lnTo>
                      <a:pt x="140" y="41"/>
                    </a:lnTo>
                    <a:lnTo>
                      <a:pt x="140" y="44"/>
                    </a:lnTo>
                    <a:lnTo>
                      <a:pt x="140" y="44"/>
                    </a:lnTo>
                    <a:lnTo>
                      <a:pt x="139" y="46"/>
                    </a:lnTo>
                    <a:lnTo>
                      <a:pt x="138" y="48"/>
                    </a:lnTo>
                    <a:lnTo>
                      <a:pt x="138" y="48"/>
                    </a:lnTo>
                    <a:lnTo>
                      <a:pt x="138" y="48"/>
                    </a:lnTo>
                    <a:lnTo>
                      <a:pt x="139" y="46"/>
                    </a:lnTo>
                    <a:lnTo>
                      <a:pt x="135" y="52"/>
                    </a:lnTo>
                    <a:lnTo>
                      <a:pt x="135" y="52"/>
                    </a:lnTo>
                    <a:lnTo>
                      <a:pt x="134" y="54"/>
                    </a:lnTo>
                    <a:lnTo>
                      <a:pt x="134" y="54"/>
                    </a:lnTo>
                    <a:lnTo>
                      <a:pt x="132" y="58"/>
                    </a:lnTo>
                    <a:lnTo>
                      <a:pt x="132" y="58"/>
                    </a:lnTo>
                    <a:lnTo>
                      <a:pt x="131" y="61"/>
                    </a:lnTo>
                    <a:lnTo>
                      <a:pt x="130" y="63"/>
                    </a:lnTo>
                    <a:lnTo>
                      <a:pt x="130" y="63"/>
                    </a:lnTo>
                    <a:lnTo>
                      <a:pt x="130" y="63"/>
                    </a:lnTo>
                    <a:lnTo>
                      <a:pt x="126" y="67"/>
                    </a:lnTo>
                    <a:lnTo>
                      <a:pt x="126" y="67"/>
                    </a:lnTo>
                    <a:lnTo>
                      <a:pt x="127" y="67"/>
                    </a:lnTo>
                    <a:lnTo>
                      <a:pt x="127" y="67"/>
                    </a:lnTo>
                    <a:lnTo>
                      <a:pt x="126" y="69"/>
                    </a:lnTo>
                    <a:lnTo>
                      <a:pt x="126" y="69"/>
                    </a:lnTo>
                    <a:lnTo>
                      <a:pt x="123" y="73"/>
                    </a:lnTo>
                    <a:lnTo>
                      <a:pt x="123" y="73"/>
                    </a:lnTo>
                    <a:lnTo>
                      <a:pt x="121" y="74"/>
                    </a:lnTo>
                    <a:lnTo>
                      <a:pt x="121" y="74"/>
                    </a:lnTo>
                    <a:lnTo>
                      <a:pt x="121" y="75"/>
                    </a:lnTo>
                    <a:lnTo>
                      <a:pt x="121" y="75"/>
                    </a:lnTo>
                    <a:lnTo>
                      <a:pt x="122" y="74"/>
                    </a:lnTo>
                    <a:lnTo>
                      <a:pt x="122" y="74"/>
                    </a:lnTo>
                    <a:lnTo>
                      <a:pt x="122" y="75"/>
                    </a:lnTo>
                    <a:lnTo>
                      <a:pt x="122" y="75"/>
                    </a:lnTo>
                    <a:lnTo>
                      <a:pt x="121" y="77"/>
                    </a:lnTo>
                    <a:lnTo>
                      <a:pt x="121" y="77"/>
                    </a:lnTo>
                    <a:lnTo>
                      <a:pt x="121" y="79"/>
                    </a:lnTo>
                    <a:lnTo>
                      <a:pt x="119" y="81"/>
                    </a:lnTo>
                    <a:lnTo>
                      <a:pt x="119" y="81"/>
                    </a:lnTo>
                    <a:lnTo>
                      <a:pt x="119" y="81"/>
                    </a:lnTo>
                    <a:lnTo>
                      <a:pt x="119" y="79"/>
                    </a:lnTo>
                    <a:lnTo>
                      <a:pt x="117" y="85"/>
                    </a:lnTo>
                    <a:lnTo>
                      <a:pt x="117" y="85"/>
                    </a:lnTo>
                    <a:lnTo>
                      <a:pt x="118" y="83"/>
                    </a:lnTo>
                    <a:lnTo>
                      <a:pt x="118" y="83"/>
                    </a:lnTo>
                    <a:lnTo>
                      <a:pt x="118" y="85"/>
                    </a:lnTo>
                    <a:lnTo>
                      <a:pt x="118" y="89"/>
                    </a:lnTo>
                    <a:lnTo>
                      <a:pt x="114" y="91"/>
                    </a:lnTo>
                    <a:lnTo>
                      <a:pt x="114" y="91"/>
                    </a:lnTo>
                    <a:lnTo>
                      <a:pt x="111" y="90"/>
                    </a:lnTo>
                    <a:lnTo>
                      <a:pt x="113" y="93"/>
                    </a:lnTo>
                    <a:lnTo>
                      <a:pt x="111" y="95"/>
                    </a:lnTo>
                    <a:lnTo>
                      <a:pt x="111" y="95"/>
                    </a:lnTo>
                    <a:lnTo>
                      <a:pt x="111" y="95"/>
                    </a:lnTo>
                    <a:lnTo>
                      <a:pt x="111" y="95"/>
                    </a:lnTo>
                    <a:lnTo>
                      <a:pt x="114" y="94"/>
                    </a:lnTo>
                    <a:lnTo>
                      <a:pt x="118" y="96"/>
                    </a:lnTo>
                    <a:lnTo>
                      <a:pt x="118" y="100"/>
                    </a:lnTo>
                    <a:lnTo>
                      <a:pt x="118" y="100"/>
                    </a:lnTo>
                    <a:lnTo>
                      <a:pt x="117" y="104"/>
                    </a:lnTo>
                    <a:lnTo>
                      <a:pt x="115" y="110"/>
                    </a:lnTo>
                    <a:lnTo>
                      <a:pt x="109" y="119"/>
                    </a:lnTo>
                    <a:lnTo>
                      <a:pt x="99" y="128"/>
                    </a:lnTo>
                    <a:lnTo>
                      <a:pt x="90" y="137"/>
                    </a:lnTo>
                    <a:lnTo>
                      <a:pt x="90" y="137"/>
                    </a:lnTo>
                    <a:lnTo>
                      <a:pt x="77" y="151"/>
                    </a:lnTo>
                    <a:lnTo>
                      <a:pt x="77" y="151"/>
                    </a:lnTo>
                    <a:lnTo>
                      <a:pt x="76" y="153"/>
                    </a:lnTo>
                    <a:lnTo>
                      <a:pt x="73" y="156"/>
                    </a:lnTo>
                    <a:lnTo>
                      <a:pt x="73" y="156"/>
                    </a:lnTo>
                    <a:lnTo>
                      <a:pt x="73" y="156"/>
                    </a:lnTo>
                    <a:lnTo>
                      <a:pt x="74" y="153"/>
                    </a:lnTo>
                    <a:lnTo>
                      <a:pt x="70" y="159"/>
                    </a:lnTo>
                    <a:lnTo>
                      <a:pt x="70" y="159"/>
                    </a:lnTo>
                    <a:lnTo>
                      <a:pt x="69" y="163"/>
                    </a:lnTo>
                    <a:lnTo>
                      <a:pt x="69" y="163"/>
                    </a:lnTo>
                    <a:lnTo>
                      <a:pt x="69" y="167"/>
                    </a:lnTo>
                    <a:lnTo>
                      <a:pt x="68" y="168"/>
                    </a:lnTo>
                    <a:lnTo>
                      <a:pt x="68" y="168"/>
                    </a:lnTo>
                    <a:lnTo>
                      <a:pt x="68" y="168"/>
                    </a:lnTo>
                    <a:lnTo>
                      <a:pt x="68" y="167"/>
                    </a:lnTo>
                    <a:lnTo>
                      <a:pt x="66" y="171"/>
                    </a:lnTo>
                    <a:lnTo>
                      <a:pt x="66" y="171"/>
                    </a:lnTo>
                    <a:lnTo>
                      <a:pt x="58" y="180"/>
                    </a:lnTo>
                    <a:lnTo>
                      <a:pt x="54" y="192"/>
                    </a:lnTo>
                    <a:lnTo>
                      <a:pt x="54" y="192"/>
                    </a:lnTo>
                    <a:lnTo>
                      <a:pt x="52" y="196"/>
                    </a:lnTo>
                    <a:lnTo>
                      <a:pt x="52" y="196"/>
                    </a:lnTo>
                    <a:lnTo>
                      <a:pt x="48" y="202"/>
                    </a:lnTo>
                    <a:lnTo>
                      <a:pt x="37" y="201"/>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9" name="Freeform 45">
                <a:extLst>
                  <a:ext uri="{FF2B5EF4-FFF2-40B4-BE49-F238E27FC236}">
                    <a16:creationId xmlns:a16="http://schemas.microsoft.com/office/drawing/2014/main" xmlns="" id="{5940C52F-171B-4DF3-9277-76A4F0E2AC6B}"/>
                  </a:ext>
                </a:extLst>
              </p:cNvPr>
              <p:cNvSpPr>
                <a:spLocks/>
              </p:cNvSpPr>
              <p:nvPr/>
            </p:nvSpPr>
            <p:spPr bwMode="auto">
              <a:xfrm>
                <a:off x="6572494" y="4372244"/>
                <a:ext cx="534510" cy="501430"/>
              </a:xfrm>
              <a:custGeom>
                <a:avLst/>
                <a:gdLst>
                  <a:gd name="T0" fmla="*/ 133 w 307"/>
                  <a:gd name="T1" fmla="*/ 274 h 288"/>
                  <a:gd name="T2" fmla="*/ 131 w 307"/>
                  <a:gd name="T3" fmla="*/ 259 h 288"/>
                  <a:gd name="T4" fmla="*/ 124 w 307"/>
                  <a:gd name="T5" fmla="*/ 236 h 288"/>
                  <a:gd name="T6" fmla="*/ 112 w 307"/>
                  <a:gd name="T7" fmla="*/ 225 h 288"/>
                  <a:gd name="T8" fmla="*/ 99 w 307"/>
                  <a:gd name="T9" fmla="*/ 219 h 288"/>
                  <a:gd name="T10" fmla="*/ 86 w 307"/>
                  <a:gd name="T11" fmla="*/ 206 h 288"/>
                  <a:gd name="T12" fmla="*/ 77 w 307"/>
                  <a:gd name="T13" fmla="*/ 201 h 288"/>
                  <a:gd name="T14" fmla="*/ 63 w 307"/>
                  <a:gd name="T15" fmla="*/ 195 h 288"/>
                  <a:gd name="T16" fmla="*/ 50 w 307"/>
                  <a:gd name="T17" fmla="*/ 182 h 288"/>
                  <a:gd name="T18" fmla="*/ 33 w 307"/>
                  <a:gd name="T19" fmla="*/ 182 h 288"/>
                  <a:gd name="T20" fmla="*/ 17 w 307"/>
                  <a:gd name="T21" fmla="*/ 176 h 288"/>
                  <a:gd name="T22" fmla="*/ 1 w 307"/>
                  <a:gd name="T23" fmla="*/ 165 h 288"/>
                  <a:gd name="T24" fmla="*/ 13 w 307"/>
                  <a:gd name="T25" fmla="*/ 140 h 288"/>
                  <a:gd name="T26" fmla="*/ 32 w 307"/>
                  <a:gd name="T27" fmla="*/ 127 h 288"/>
                  <a:gd name="T28" fmla="*/ 52 w 307"/>
                  <a:gd name="T29" fmla="*/ 125 h 288"/>
                  <a:gd name="T30" fmla="*/ 63 w 307"/>
                  <a:gd name="T31" fmla="*/ 133 h 288"/>
                  <a:gd name="T32" fmla="*/ 73 w 307"/>
                  <a:gd name="T33" fmla="*/ 139 h 288"/>
                  <a:gd name="T34" fmla="*/ 78 w 307"/>
                  <a:gd name="T35" fmla="*/ 139 h 288"/>
                  <a:gd name="T36" fmla="*/ 90 w 307"/>
                  <a:gd name="T37" fmla="*/ 145 h 288"/>
                  <a:gd name="T38" fmla="*/ 100 w 307"/>
                  <a:gd name="T39" fmla="*/ 129 h 288"/>
                  <a:gd name="T40" fmla="*/ 102 w 307"/>
                  <a:gd name="T41" fmla="*/ 125 h 288"/>
                  <a:gd name="T42" fmla="*/ 111 w 307"/>
                  <a:gd name="T43" fmla="*/ 116 h 288"/>
                  <a:gd name="T44" fmla="*/ 114 w 307"/>
                  <a:gd name="T45" fmla="*/ 116 h 288"/>
                  <a:gd name="T46" fmla="*/ 136 w 307"/>
                  <a:gd name="T47" fmla="*/ 99 h 288"/>
                  <a:gd name="T48" fmla="*/ 157 w 307"/>
                  <a:gd name="T49" fmla="*/ 95 h 288"/>
                  <a:gd name="T50" fmla="*/ 167 w 307"/>
                  <a:gd name="T51" fmla="*/ 91 h 288"/>
                  <a:gd name="T52" fmla="*/ 178 w 307"/>
                  <a:gd name="T53" fmla="*/ 84 h 288"/>
                  <a:gd name="T54" fmla="*/ 188 w 307"/>
                  <a:gd name="T55" fmla="*/ 69 h 288"/>
                  <a:gd name="T56" fmla="*/ 196 w 307"/>
                  <a:gd name="T57" fmla="*/ 59 h 288"/>
                  <a:gd name="T58" fmla="*/ 208 w 307"/>
                  <a:gd name="T59" fmla="*/ 45 h 288"/>
                  <a:gd name="T60" fmla="*/ 206 w 307"/>
                  <a:gd name="T61" fmla="*/ 30 h 288"/>
                  <a:gd name="T62" fmla="*/ 218 w 307"/>
                  <a:gd name="T63" fmla="*/ 18 h 288"/>
                  <a:gd name="T64" fmla="*/ 230 w 307"/>
                  <a:gd name="T65" fmla="*/ 22 h 288"/>
                  <a:gd name="T66" fmla="*/ 245 w 307"/>
                  <a:gd name="T67" fmla="*/ 32 h 288"/>
                  <a:gd name="T68" fmla="*/ 262 w 307"/>
                  <a:gd name="T69" fmla="*/ 18 h 288"/>
                  <a:gd name="T70" fmla="*/ 268 w 307"/>
                  <a:gd name="T71" fmla="*/ 20 h 288"/>
                  <a:gd name="T72" fmla="*/ 270 w 307"/>
                  <a:gd name="T73" fmla="*/ 17 h 288"/>
                  <a:gd name="T74" fmla="*/ 271 w 307"/>
                  <a:gd name="T75" fmla="*/ 4 h 288"/>
                  <a:gd name="T76" fmla="*/ 278 w 307"/>
                  <a:gd name="T77" fmla="*/ 4 h 288"/>
                  <a:gd name="T78" fmla="*/ 287 w 307"/>
                  <a:gd name="T79" fmla="*/ 0 h 288"/>
                  <a:gd name="T80" fmla="*/ 300 w 307"/>
                  <a:gd name="T81" fmla="*/ 6 h 288"/>
                  <a:gd name="T82" fmla="*/ 304 w 307"/>
                  <a:gd name="T83" fmla="*/ 14 h 288"/>
                  <a:gd name="T84" fmla="*/ 301 w 307"/>
                  <a:gd name="T85" fmla="*/ 33 h 288"/>
                  <a:gd name="T86" fmla="*/ 282 w 307"/>
                  <a:gd name="T87" fmla="*/ 39 h 288"/>
                  <a:gd name="T88" fmla="*/ 276 w 307"/>
                  <a:gd name="T89" fmla="*/ 45 h 288"/>
                  <a:gd name="T90" fmla="*/ 280 w 307"/>
                  <a:gd name="T91" fmla="*/ 55 h 288"/>
                  <a:gd name="T92" fmla="*/ 290 w 307"/>
                  <a:gd name="T93" fmla="*/ 71 h 288"/>
                  <a:gd name="T94" fmla="*/ 284 w 307"/>
                  <a:gd name="T95" fmla="*/ 88 h 288"/>
                  <a:gd name="T96" fmla="*/ 274 w 307"/>
                  <a:gd name="T97" fmla="*/ 104 h 288"/>
                  <a:gd name="T98" fmla="*/ 262 w 307"/>
                  <a:gd name="T99" fmla="*/ 124 h 288"/>
                  <a:gd name="T100" fmla="*/ 252 w 307"/>
                  <a:gd name="T101" fmla="*/ 140 h 288"/>
                  <a:gd name="T102" fmla="*/ 243 w 307"/>
                  <a:gd name="T103" fmla="*/ 153 h 288"/>
                  <a:gd name="T104" fmla="*/ 237 w 307"/>
                  <a:gd name="T105" fmla="*/ 162 h 288"/>
                  <a:gd name="T106" fmla="*/ 225 w 307"/>
                  <a:gd name="T107" fmla="*/ 181 h 288"/>
                  <a:gd name="T108" fmla="*/ 218 w 307"/>
                  <a:gd name="T109" fmla="*/ 190 h 288"/>
                  <a:gd name="T110" fmla="*/ 192 w 307"/>
                  <a:gd name="T111" fmla="*/ 230 h 288"/>
                  <a:gd name="T112" fmla="*/ 153 w 307"/>
                  <a:gd name="T113" fmla="*/ 28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7" h="288">
                    <a:moveTo>
                      <a:pt x="144" y="288"/>
                    </a:moveTo>
                    <a:lnTo>
                      <a:pt x="144" y="288"/>
                    </a:lnTo>
                    <a:lnTo>
                      <a:pt x="140" y="287"/>
                    </a:lnTo>
                    <a:lnTo>
                      <a:pt x="136" y="284"/>
                    </a:lnTo>
                    <a:lnTo>
                      <a:pt x="136" y="284"/>
                    </a:lnTo>
                    <a:lnTo>
                      <a:pt x="133" y="280"/>
                    </a:lnTo>
                    <a:lnTo>
                      <a:pt x="133" y="275"/>
                    </a:lnTo>
                    <a:lnTo>
                      <a:pt x="133" y="274"/>
                    </a:lnTo>
                    <a:lnTo>
                      <a:pt x="133" y="274"/>
                    </a:lnTo>
                    <a:lnTo>
                      <a:pt x="132" y="272"/>
                    </a:lnTo>
                    <a:lnTo>
                      <a:pt x="131" y="268"/>
                    </a:lnTo>
                    <a:lnTo>
                      <a:pt x="131" y="268"/>
                    </a:lnTo>
                    <a:lnTo>
                      <a:pt x="130" y="264"/>
                    </a:lnTo>
                    <a:lnTo>
                      <a:pt x="131" y="260"/>
                    </a:lnTo>
                    <a:lnTo>
                      <a:pt x="131" y="259"/>
                    </a:lnTo>
                    <a:lnTo>
                      <a:pt x="131" y="259"/>
                    </a:lnTo>
                    <a:lnTo>
                      <a:pt x="130" y="254"/>
                    </a:lnTo>
                    <a:lnTo>
                      <a:pt x="130" y="247"/>
                    </a:lnTo>
                    <a:lnTo>
                      <a:pt x="130" y="247"/>
                    </a:lnTo>
                    <a:lnTo>
                      <a:pt x="130" y="242"/>
                    </a:lnTo>
                    <a:lnTo>
                      <a:pt x="127" y="239"/>
                    </a:lnTo>
                    <a:lnTo>
                      <a:pt x="124" y="236"/>
                    </a:lnTo>
                    <a:lnTo>
                      <a:pt x="124" y="236"/>
                    </a:lnTo>
                    <a:lnTo>
                      <a:pt x="124" y="236"/>
                    </a:lnTo>
                    <a:lnTo>
                      <a:pt x="122" y="235"/>
                    </a:lnTo>
                    <a:lnTo>
                      <a:pt x="122" y="235"/>
                    </a:lnTo>
                    <a:lnTo>
                      <a:pt x="120" y="231"/>
                    </a:lnTo>
                    <a:lnTo>
                      <a:pt x="119" y="229"/>
                    </a:lnTo>
                    <a:lnTo>
                      <a:pt x="115" y="227"/>
                    </a:lnTo>
                    <a:lnTo>
                      <a:pt x="115" y="227"/>
                    </a:lnTo>
                    <a:lnTo>
                      <a:pt x="115" y="226"/>
                    </a:lnTo>
                    <a:lnTo>
                      <a:pt x="112" y="225"/>
                    </a:lnTo>
                    <a:lnTo>
                      <a:pt x="107" y="225"/>
                    </a:lnTo>
                    <a:lnTo>
                      <a:pt x="100" y="219"/>
                    </a:lnTo>
                    <a:lnTo>
                      <a:pt x="100" y="219"/>
                    </a:lnTo>
                    <a:lnTo>
                      <a:pt x="102" y="221"/>
                    </a:lnTo>
                    <a:lnTo>
                      <a:pt x="103" y="222"/>
                    </a:lnTo>
                    <a:lnTo>
                      <a:pt x="103" y="222"/>
                    </a:lnTo>
                    <a:lnTo>
                      <a:pt x="99" y="219"/>
                    </a:lnTo>
                    <a:lnTo>
                      <a:pt x="99" y="219"/>
                    </a:lnTo>
                    <a:lnTo>
                      <a:pt x="96" y="219"/>
                    </a:lnTo>
                    <a:lnTo>
                      <a:pt x="90" y="214"/>
                    </a:lnTo>
                    <a:lnTo>
                      <a:pt x="90" y="213"/>
                    </a:lnTo>
                    <a:lnTo>
                      <a:pt x="90" y="211"/>
                    </a:lnTo>
                    <a:lnTo>
                      <a:pt x="90" y="211"/>
                    </a:lnTo>
                    <a:lnTo>
                      <a:pt x="87" y="210"/>
                    </a:lnTo>
                    <a:lnTo>
                      <a:pt x="87" y="210"/>
                    </a:lnTo>
                    <a:lnTo>
                      <a:pt x="86" y="206"/>
                    </a:lnTo>
                    <a:lnTo>
                      <a:pt x="86" y="203"/>
                    </a:lnTo>
                    <a:lnTo>
                      <a:pt x="86" y="203"/>
                    </a:lnTo>
                    <a:lnTo>
                      <a:pt x="86" y="202"/>
                    </a:lnTo>
                    <a:lnTo>
                      <a:pt x="82" y="202"/>
                    </a:lnTo>
                    <a:lnTo>
                      <a:pt x="82" y="202"/>
                    </a:lnTo>
                    <a:lnTo>
                      <a:pt x="81" y="202"/>
                    </a:lnTo>
                    <a:lnTo>
                      <a:pt x="81" y="202"/>
                    </a:lnTo>
                    <a:lnTo>
                      <a:pt x="77" y="201"/>
                    </a:lnTo>
                    <a:lnTo>
                      <a:pt x="74" y="199"/>
                    </a:lnTo>
                    <a:lnTo>
                      <a:pt x="74" y="199"/>
                    </a:lnTo>
                    <a:lnTo>
                      <a:pt x="73" y="199"/>
                    </a:lnTo>
                    <a:lnTo>
                      <a:pt x="73" y="199"/>
                    </a:lnTo>
                    <a:lnTo>
                      <a:pt x="71" y="199"/>
                    </a:lnTo>
                    <a:lnTo>
                      <a:pt x="71" y="199"/>
                    </a:lnTo>
                    <a:lnTo>
                      <a:pt x="67" y="198"/>
                    </a:lnTo>
                    <a:lnTo>
                      <a:pt x="63" y="195"/>
                    </a:lnTo>
                    <a:lnTo>
                      <a:pt x="63" y="195"/>
                    </a:lnTo>
                    <a:lnTo>
                      <a:pt x="59" y="192"/>
                    </a:lnTo>
                    <a:lnTo>
                      <a:pt x="57" y="186"/>
                    </a:lnTo>
                    <a:lnTo>
                      <a:pt x="57" y="186"/>
                    </a:lnTo>
                    <a:lnTo>
                      <a:pt x="54" y="182"/>
                    </a:lnTo>
                    <a:lnTo>
                      <a:pt x="50" y="182"/>
                    </a:lnTo>
                    <a:lnTo>
                      <a:pt x="50" y="182"/>
                    </a:lnTo>
                    <a:lnTo>
                      <a:pt x="50" y="182"/>
                    </a:lnTo>
                    <a:lnTo>
                      <a:pt x="49" y="181"/>
                    </a:lnTo>
                    <a:lnTo>
                      <a:pt x="42" y="185"/>
                    </a:lnTo>
                    <a:lnTo>
                      <a:pt x="41" y="185"/>
                    </a:lnTo>
                    <a:lnTo>
                      <a:pt x="40" y="185"/>
                    </a:lnTo>
                    <a:lnTo>
                      <a:pt x="40" y="185"/>
                    </a:lnTo>
                    <a:lnTo>
                      <a:pt x="37" y="185"/>
                    </a:lnTo>
                    <a:lnTo>
                      <a:pt x="33" y="182"/>
                    </a:lnTo>
                    <a:lnTo>
                      <a:pt x="33" y="182"/>
                    </a:lnTo>
                    <a:lnTo>
                      <a:pt x="28" y="178"/>
                    </a:lnTo>
                    <a:lnTo>
                      <a:pt x="25" y="176"/>
                    </a:lnTo>
                    <a:lnTo>
                      <a:pt x="25" y="176"/>
                    </a:lnTo>
                    <a:lnTo>
                      <a:pt x="24" y="173"/>
                    </a:lnTo>
                    <a:lnTo>
                      <a:pt x="24" y="173"/>
                    </a:lnTo>
                    <a:lnTo>
                      <a:pt x="20" y="174"/>
                    </a:lnTo>
                    <a:lnTo>
                      <a:pt x="17" y="176"/>
                    </a:lnTo>
                    <a:lnTo>
                      <a:pt x="17" y="176"/>
                    </a:lnTo>
                    <a:lnTo>
                      <a:pt x="14" y="176"/>
                    </a:lnTo>
                    <a:lnTo>
                      <a:pt x="11" y="177"/>
                    </a:lnTo>
                    <a:lnTo>
                      <a:pt x="9" y="177"/>
                    </a:lnTo>
                    <a:lnTo>
                      <a:pt x="3" y="170"/>
                    </a:lnTo>
                    <a:lnTo>
                      <a:pt x="3" y="170"/>
                    </a:lnTo>
                    <a:lnTo>
                      <a:pt x="3" y="168"/>
                    </a:lnTo>
                    <a:lnTo>
                      <a:pt x="3" y="168"/>
                    </a:lnTo>
                    <a:lnTo>
                      <a:pt x="1" y="165"/>
                    </a:lnTo>
                    <a:lnTo>
                      <a:pt x="0" y="162"/>
                    </a:lnTo>
                    <a:lnTo>
                      <a:pt x="0" y="158"/>
                    </a:lnTo>
                    <a:lnTo>
                      <a:pt x="1" y="153"/>
                    </a:lnTo>
                    <a:lnTo>
                      <a:pt x="1" y="153"/>
                    </a:lnTo>
                    <a:lnTo>
                      <a:pt x="3" y="151"/>
                    </a:lnTo>
                    <a:lnTo>
                      <a:pt x="3" y="151"/>
                    </a:lnTo>
                    <a:lnTo>
                      <a:pt x="8" y="147"/>
                    </a:lnTo>
                    <a:lnTo>
                      <a:pt x="13" y="140"/>
                    </a:lnTo>
                    <a:lnTo>
                      <a:pt x="13" y="140"/>
                    </a:lnTo>
                    <a:lnTo>
                      <a:pt x="16" y="137"/>
                    </a:lnTo>
                    <a:lnTo>
                      <a:pt x="16" y="137"/>
                    </a:lnTo>
                    <a:lnTo>
                      <a:pt x="17" y="136"/>
                    </a:lnTo>
                    <a:lnTo>
                      <a:pt x="17" y="133"/>
                    </a:lnTo>
                    <a:lnTo>
                      <a:pt x="22" y="127"/>
                    </a:lnTo>
                    <a:lnTo>
                      <a:pt x="22" y="127"/>
                    </a:lnTo>
                    <a:lnTo>
                      <a:pt x="32" y="127"/>
                    </a:lnTo>
                    <a:lnTo>
                      <a:pt x="32" y="127"/>
                    </a:lnTo>
                    <a:lnTo>
                      <a:pt x="42" y="125"/>
                    </a:lnTo>
                    <a:lnTo>
                      <a:pt x="44" y="125"/>
                    </a:lnTo>
                    <a:lnTo>
                      <a:pt x="45" y="125"/>
                    </a:lnTo>
                    <a:lnTo>
                      <a:pt x="45" y="125"/>
                    </a:lnTo>
                    <a:lnTo>
                      <a:pt x="48" y="125"/>
                    </a:lnTo>
                    <a:lnTo>
                      <a:pt x="48" y="125"/>
                    </a:lnTo>
                    <a:lnTo>
                      <a:pt x="52" y="125"/>
                    </a:lnTo>
                    <a:lnTo>
                      <a:pt x="54" y="127"/>
                    </a:lnTo>
                    <a:lnTo>
                      <a:pt x="59" y="129"/>
                    </a:lnTo>
                    <a:lnTo>
                      <a:pt x="59" y="129"/>
                    </a:lnTo>
                    <a:lnTo>
                      <a:pt x="61" y="132"/>
                    </a:lnTo>
                    <a:lnTo>
                      <a:pt x="61" y="132"/>
                    </a:lnTo>
                    <a:lnTo>
                      <a:pt x="65" y="135"/>
                    </a:lnTo>
                    <a:lnTo>
                      <a:pt x="65" y="135"/>
                    </a:lnTo>
                    <a:lnTo>
                      <a:pt x="63" y="133"/>
                    </a:lnTo>
                    <a:lnTo>
                      <a:pt x="63" y="133"/>
                    </a:lnTo>
                    <a:lnTo>
                      <a:pt x="65" y="135"/>
                    </a:lnTo>
                    <a:lnTo>
                      <a:pt x="65" y="135"/>
                    </a:lnTo>
                    <a:lnTo>
                      <a:pt x="70" y="137"/>
                    </a:lnTo>
                    <a:lnTo>
                      <a:pt x="71" y="139"/>
                    </a:lnTo>
                    <a:lnTo>
                      <a:pt x="71" y="139"/>
                    </a:lnTo>
                    <a:lnTo>
                      <a:pt x="73" y="139"/>
                    </a:lnTo>
                    <a:lnTo>
                      <a:pt x="73" y="139"/>
                    </a:lnTo>
                    <a:lnTo>
                      <a:pt x="74" y="139"/>
                    </a:lnTo>
                    <a:lnTo>
                      <a:pt x="79" y="141"/>
                    </a:lnTo>
                    <a:lnTo>
                      <a:pt x="79" y="141"/>
                    </a:lnTo>
                    <a:lnTo>
                      <a:pt x="78" y="140"/>
                    </a:lnTo>
                    <a:lnTo>
                      <a:pt x="77" y="140"/>
                    </a:lnTo>
                    <a:lnTo>
                      <a:pt x="77" y="140"/>
                    </a:lnTo>
                    <a:lnTo>
                      <a:pt x="78" y="139"/>
                    </a:lnTo>
                    <a:lnTo>
                      <a:pt x="78" y="139"/>
                    </a:lnTo>
                    <a:lnTo>
                      <a:pt x="83" y="139"/>
                    </a:lnTo>
                    <a:lnTo>
                      <a:pt x="89" y="141"/>
                    </a:lnTo>
                    <a:lnTo>
                      <a:pt x="89" y="141"/>
                    </a:lnTo>
                    <a:lnTo>
                      <a:pt x="89" y="143"/>
                    </a:lnTo>
                    <a:lnTo>
                      <a:pt x="89" y="143"/>
                    </a:lnTo>
                    <a:lnTo>
                      <a:pt x="86" y="141"/>
                    </a:lnTo>
                    <a:lnTo>
                      <a:pt x="90" y="145"/>
                    </a:lnTo>
                    <a:lnTo>
                      <a:pt x="90" y="145"/>
                    </a:lnTo>
                    <a:lnTo>
                      <a:pt x="90" y="145"/>
                    </a:lnTo>
                    <a:lnTo>
                      <a:pt x="93" y="140"/>
                    </a:lnTo>
                    <a:lnTo>
                      <a:pt x="95" y="139"/>
                    </a:lnTo>
                    <a:lnTo>
                      <a:pt x="98" y="137"/>
                    </a:lnTo>
                    <a:lnTo>
                      <a:pt x="99" y="137"/>
                    </a:lnTo>
                    <a:lnTo>
                      <a:pt x="99" y="137"/>
                    </a:lnTo>
                    <a:lnTo>
                      <a:pt x="100" y="135"/>
                    </a:lnTo>
                    <a:lnTo>
                      <a:pt x="100" y="129"/>
                    </a:lnTo>
                    <a:lnTo>
                      <a:pt x="100" y="129"/>
                    </a:lnTo>
                    <a:lnTo>
                      <a:pt x="106" y="123"/>
                    </a:lnTo>
                    <a:lnTo>
                      <a:pt x="106" y="123"/>
                    </a:lnTo>
                    <a:lnTo>
                      <a:pt x="103" y="124"/>
                    </a:lnTo>
                    <a:lnTo>
                      <a:pt x="102" y="127"/>
                    </a:lnTo>
                    <a:lnTo>
                      <a:pt x="102" y="127"/>
                    </a:lnTo>
                    <a:lnTo>
                      <a:pt x="102" y="125"/>
                    </a:lnTo>
                    <a:lnTo>
                      <a:pt x="102" y="125"/>
                    </a:lnTo>
                    <a:lnTo>
                      <a:pt x="102" y="123"/>
                    </a:lnTo>
                    <a:lnTo>
                      <a:pt x="108" y="119"/>
                    </a:lnTo>
                    <a:lnTo>
                      <a:pt x="108" y="117"/>
                    </a:lnTo>
                    <a:lnTo>
                      <a:pt x="108" y="117"/>
                    </a:lnTo>
                    <a:lnTo>
                      <a:pt x="108" y="117"/>
                    </a:lnTo>
                    <a:lnTo>
                      <a:pt x="110" y="116"/>
                    </a:lnTo>
                    <a:lnTo>
                      <a:pt x="110" y="116"/>
                    </a:lnTo>
                    <a:lnTo>
                      <a:pt x="111" y="116"/>
                    </a:lnTo>
                    <a:lnTo>
                      <a:pt x="111" y="116"/>
                    </a:lnTo>
                    <a:lnTo>
                      <a:pt x="114" y="116"/>
                    </a:lnTo>
                    <a:lnTo>
                      <a:pt x="114" y="116"/>
                    </a:lnTo>
                    <a:lnTo>
                      <a:pt x="111" y="117"/>
                    </a:lnTo>
                    <a:lnTo>
                      <a:pt x="110" y="120"/>
                    </a:lnTo>
                    <a:lnTo>
                      <a:pt x="114" y="116"/>
                    </a:lnTo>
                    <a:lnTo>
                      <a:pt x="114" y="116"/>
                    </a:lnTo>
                    <a:lnTo>
                      <a:pt x="114" y="116"/>
                    </a:lnTo>
                    <a:lnTo>
                      <a:pt x="119" y="112"/>
                    </a:lnTo>
                    <a:lnTo>
                      <a:pt x="119" y="112"/>
                    </a:lnTo>
                    <a:lnTo>
                      <a:pt x="124" y="107"/>
                    </a:lnTo>
                    <a:lnTo>
                      <a:pt x="127" y="104"/>
                    </a:lnTo>
                    <a:lnTo>
                      <a:pt x="131" y="104"/>
                    </a:lnTo>
                    <a:lnTo>
                      <a:pt x="131" y="104"/>
                    </a:lnTo>
                    <a:lnTo>
                      <a:pt x="133" y="100"/>
                    </a:lnTo>
                    <a:lnTo>
                      <a:pt x="136" y="99"/>
                    </a:lnTo>
                    <a:lnTo>
                      <a:pt x="140" y="99"/>
                    </a:lnTo>
                    <a:lnTo>
                      <a:pt x="140" y="99"/>
                    </a:lnTo>
                    <a:lnTo>
                      <a:pt x="143" y="99"/>
                    </a:lnTo>
                    <a:lnTo>
                      <a:pt x="148" y="99"/>
                    </a:lnTo>
                    <a:lnTo>
                      <a:pt x="151" y="100"/>
                    </a:lnTo>
                    <a:lnTo>
                      <a:pt x="151" y="100"/>
                    </a:lnTo>
                    <a:lnTo>
                      <a:pt x="152" y="99"/>
                    </a:lnTo>
                    <a:lnTo>
                      <a:pt x="157" y="95"/>
                    </a:lnTo>
                    <a:lnTo>
                      <a:pt x="159" y="95"/>
                    </a:lnTo>
                    <a:lnTo>
                      <a:pt x="159" y="95"/>
                    </a:lnTo>
                    <a:lnTo>
                      <a:pt x="159" y="94"/>
                    </a:lnTo>
                    <a:lnTo>
                      <a:pt x="164" y="91"/>
                    </a:lnTo>
                    <a:lnTo>
                      <a:pt x="165" y="91"/>
                    </a:lnTo>
                    <a:lnTo>
                      <a:pt x="165" y="91"/>
                    </a:lnTo>
                    <a:lnTo>
                      <a:pt x="167" y="91"/>
                    </a:lnTo>
                    <a:lnTo>
                      <a:pt x="167" y="91"/>
                    </a:lnTo>
                    <a:lnTo>
                      <a:pt x="171" y="91"/>
                    </a:lnTo>
                    <a:lnTo>
                      <a:pt x="173" y="92"/>
                    </a:lnTo>
                    <a:lnTo>
                      <a:pt x="173" y="92"/>
                    </a:lnTo>
                    <a:lnTo>
                      <a:pt x="174" y="90"/>
                    </a:lnTo>
                    <a:lnTo>
                      <a:pt x="174" y="90"/>
                    </a:lnTo>
                    <a:lnTo>
                      <a:pt x="177" y="86"/>
                    </a:lnTo>
                    <a:lnTo>
                      <a:pt x="178" y="84"/>
                    </a:lnTo>
                    <a:lnTo>
                      <a:pt x="178" y="84"/>
                    </a:lnTo>
                    <a:lnTo>
                      <a:pt x="182" y="80"/>
                    </a:lnTo>
                    <a:lnTo>
                      <a:pt x="186" y="74"/>
                    </a:lnTo>
                    <a:lnTo>
                      <a:pt x="186" y="74"/>
                    </a:lnTo>
                    <a:lnTo>
                      <a:pt x="186" y="70"/>
                    </a:lnTo>
                    <a:lnTo>
                      <a:pt x="188" y="69"/>
                    </a:lnTo>
                    <a:lnTo>
                      <a:pt x="188" y="69"/>
                    </a:lnTo>
                    <a:lnTo>
                      <a:pt x="188" y="69"/>
                    </a:lnTo>
                    <a:lnTo>
                      <a:pt x="188" y="69"/>
                    </a:lnTo>
                    <a:lnTo>
                      <a:pt x="188" y="70"/>
                    </a:lnTo>
                    <a:lnTo>
                      <a:pt x="190" y="65"/>
                    </a:lnTo>
                    <a:lnTo>
                      <a:pt x="190" y="65"/>
                    </a:lnTo>
                    <a:lnTo>
                      <a:pt x="189" y="66"/>
                    </a:lnTo>
                    <a:lnTo>
                      <a:pt x="189" y="66"/>
                    </a:lnTo>
                    <a:lnTo>
                      <a:pt x="190" y="65"/>
                    </a:lnTo>
                    <a:lnTo>
                      <a:pt x="196" y="59"/>
                    </a:lnTo>
                    <a:lnTo>
                      <a:pt x="196" y="59"/>
                    </a:lnTo>
                    <a:lnTo>
                      <a:pt x="194" y="61"/>
                    </a:lnTo>
                    <a:lnTo>
                      <a:pt x="194" y="61"/>
                    </a:lnTo>
                    <a:lnTo>
                      <a:pt x="194" y="55"/>
                    </a:lnTo>
                    <a:lnTo>
                      <a:pt x="201" y="49"/>
                    </a:lnTo>
                    <a:lnTo>
                      <a:pt x="201" y="49"/>
                    </a:lnTo>
                    <a:lnTo>
                      <a:pt x="204" y="49"/>
                    </a:lnTo>
                    <a:lnTo>
                      <a:pt x="208" y="45"/>
                    </a:lnTo>
                    <a:lnTo>
                      <a:pt x="208" y="45"/>
                    </a:lnTo>
                    <a:lnTo>
                      <a:pt x="209" y="42"/>
                    </a:lnTo>
                    <a:lnTo>
                      <a:pt x="209" y="42"/>
                    </a:lnTo>
                    <a:lnTo>
                      <a:pt x="209" y="42"/>
                    </a:lnTo>
                    <a:lnTo>
                      <a:pt x="209" y="42"/>
                    </a:lnTo>
                    <a:lnTo>
                      <a:pt x="208" y="38"/>
                    </a:lnTo>
                    <a:lnTo>
                      <a:pt x="206" y="34"/>
                    </a:lnTo>
                    <a:lnTo>
                      <a:pt x="206" y="30"/>
                    </a:lnTo>
                    <a:lnTo>
                      <a:pt x="206" y="30"/>
                    </a:lnTo>
                    <a:lnTo>
                      <a:pt x="208" y="26"/>
                    </a:lnTo>
                    <a:lnTo>
                      <a:pt x="209" y="24"/>
                    </a:lnTo>
                    <a:lnTo>
                      <a:pt x="209" y="24"/>
                    </a:lnTo>
                    <a:lnTo>
                      <a:pt x="209" y="24"/>
                    </a:lnTo>
                    <a:lnTo>
                      <a:pt x="209" y="24"/>
                    </a:lnTo>
                    <a:lnTo>
                      <a:pt x="209" y="24"/>
                    </a:lnTo>
                    <a:lnTo>
                      <a:pt x="218" y="18"/>
                    </a:lnTo>
                    <a:lnTo>
                      <a:pt x="218" y="18"/>
                    </a:lnTo>
                    <a:lnTo>
                      <a:pt x="219" y="20"/>
                    </a:lnTo>
                    <a:lnTo>
                      <a:pt x="219" y="20"/>
                    </a:lnTo>
                    <a:lnTo>
                      <a:pt x="223" y="21"/>
                    </a:lnTo>
                    <a:lnTo>
                      <a:pt x="223" y="21"/>
                    </a:lnTo>
                    <a:lnTo>
                      <a:pt x="227" y="22"/>
                    </a:lnTo>
                    <a:lnTo>
                      <a:pt x="227" y="22"/>
                    </a:lnTo>
                    <a:lnTo>
                      <a:pt x="229" y="24"/>
                    </a:lnTo>
                    <a:lnTo>
                      <a:pt x="230" y="22"/>
                    </a:lnTo>
                    <a:lnTo>
                      <a:pt x="231" y="22"/>
                    </a:lnTo>
                    <a:lnTo>
                      <a:pt x="235" y="24"/>
                    </a:lnTo>
                    <a:lnTo>
                      <a:pt x="235" y="24"/>
                    </a:lnTo>
                    <a:lnTo>
                      <a:pt x="238" y="28"/>
                    </a:lnTo>
                    <a:lnTo>
                      <a:pt x="238" y="28"/>
                    </a:lnTo>
                    <a:lnTo>
                      <a:pt x="239" y="29"/>
                    </a:lnTo>
                    <a:lnTo>
                      <a:pt x="242" y="29"/>
                    </a:lnTo>
                    <a:lnTo>
                      <a:pt x="245" y="32"/>
                    </a:lnTo>
                    <a:lnTo>
                      <a:pt x="246" y="30"/>
                    </a:lnTo>
                    <a:lnTo>
                      <a:pt x="246" y="30"/>
                    </a:lnTo>
                    <a:lnTo>
                      <a:pt x="250" y="26"/>
                    </a:lnTo>
                    <a:lnTo>
                      <a:pt x="252" y="22"/>
                    </a:lnTo>
                    <a:lnTo>
                      <a:pt x="255" y="21"/>
                    </a:lnTo>
                    <a:lnTo>
                      <a:pt x="255" y="21"/>
                    </a:lnTo>
                    <a:lnTo>
                      <a:pt x="258" y="20"/>
                    </a:lnTo>
                    <a:lnTo>
                      <a:pt x="262" y="18"/>
                    </a:lnTo>
                    <a:lnTo>
                      <a:pt x="262" y="18"/>
                    </a:lnTo>
                    <a:lnTo>
                      <a:pt x="266" y="20"/>
                    </a:lnTo>
                    <a:lnTo>
                      <a:pt x="266" y="20"/>
                    </a:lnTo>
                    <a:lnTo>
                      <a:pt x="266" y="20"/>
                    </a:lnTo>
                    <a:lnTo>
                      <a:pt x="268" y="20"/>
                    </a:lnTo>
                    <a:lnTo>
                      <a:pt x="268" y="20"/>
                    </a:lnTo>
                    <a:lnTo>
                      <a:pt x="268" y="20"/>
                    </a:lnTo>
                    <a:lnTo>
                      <a:pt x="268" y="20"/>
                    </a:lnTo>
                    <a:lnTo>
                      <a:pt x="268" y="20"/>
                    </a:lnTo>
                    <a:lnTo>
                      <a:pt x="268" y="20"/>
                    </a:lnTo>
                    <a:lnTo>
                      <a:pt x="268" y="20"/>
                    </a:lnTo>
                    <a:lnTo>
                      <a:pt x="270" y="21"/>
                    </a:lnTo>
                    <a:lnTo>
                      <a:pt x="268" y="18"/>
                    </a:lnTo>
                    <a:lnTo>
                      <a:pt x="272" y="16"/>
                    </a:lnTo>
                    <a:lnTo>
                      <a:pt x="272" y="16"/>
                    </a:lnTo>
                    <a:lnTo>
                      <a:pt x="270" y="17"/>
                    </a:lnTo>
                    <a:lnTo>
                      <a:pt x="270" y="17"/>
                    </a:lnTo>
                    <a:lnTo>
                      <a:pt x="268" y="18"/>
                    </a:lnTo>
                    <a:lnTo>
                      <a:pt x="266" y="14"/>
                    </a:lnTo>
                    <a:lnTo>
                      <a:pt x="266" y="10"/>
                    </a:lnTo>
                    <a:lnTo>
                      <a:pt x="267" y="8"/>
                    </a:lnTo>
                    <a:lnTo>
                      <a:pt x="267" y="8"/>
                    </a:lnTo>
                    <a:lnTo>
                      <a:pt x="268" y="5"/>
                    </a:lnTo>
                    <a:lnTo>
                      <a:pt x="271" y="4"/>
                    </a:lnTo>
                    <a:lnTo>
                      <a:pt x="274" y="2"/>
                    </a:lnTo>
                    <a:lnTo>
                      <a:pt x="275" y="4"/>
                    </a:lnTo>
                    <a:lnTo>
                      <a:pt x="275" y="4"/>
                    </a:lnTo>
                    <a:lnTo>
                      <a:pt x="275" y="4"/>
                    </a:lnTo>
                    <a:lnTo>
                      <a:pt x="280" y="8"/>
                    </a:lnTo>
                    <a:lnTo>
                      <a:pt x="280" y="8"/>
                    </a:lnTo>
                    <a:lnTo>
                      <a:pt x="280" y="6"/>
                    </a:lnTo>
                    <a:lnTo>
                      <a:pt x="278" y="4"/>
                    </a:lnTo>
                    <a:lnTo>
                      <a:pt x="279" y="4"/>
                    </a:lnTo>
                    <a:lnTo>
                      <a:pt x="279" y="4"/>
                    </a:lnTo>
                    <a:lnTo>
                      <a:pt x="282" y="6"/>
                    </a:lnTo>
                    <a:lnTo>
                      <a:pt x="282" y="6"/>
                    </a:lnTo>
                    <a:lnTo>
                      <a:pt x="283" y="4"/>
                    </a:lnTo>
                    <a:lnTo>
                      <a:pt x="286" y="1"/>
                    </a:lnTo>
                    <a:lnTo>
                      <a:pt x="287" y="0"/>
                    </a:lnTo>
                    <a:lnTo>
                      <a:pt x="287" y="0"/>
                    </a:lnTo>
                    <a:lnTo>
                      <a:pt x="290" y="0"/>
                    </a:lnTo>
                    <a:lnTo>
                      <a:pt x="290" y="0"/>
                    </a:lnTo>
                    <a:lnTo>
                      <a:pt x="293" y="0"/>
                    </a:lnTo>
                    <a:lnTo>
                      <a:pt x="296" y="2"/>
                    </a:lnTo>
                    <a:lnTo>
                      <a:pt x="300" y="6"/>
                    </a:lnTo>
                    <a:lnTo>
                      <a:pt x="300" y="6"/>
                    </a:lnTo>
                    <a:lnTo>
                      <a:pt x="300" y="6"/>
                    </a:lnTo>
                    <a:lnTo>
                      <a:pt x="300" y="6"/>
                    </a:lnTo>
                    <a:lnTo>
                      <a:pt x="299" y="6"/>
                    </a:lnTo>
                    <a:lnTo>
                      <a:pt x="303" y="9"/>
                    </a:lnTo>
                    <a:lnTo>
                      <a:pt x="303" y="9"/>
                    </a:lnTo>
                    <a:lnTo>
                      <a:pt x="304" y="10"/>
                    </a:lnTo>
                    <a:lnTo>
                      <a:pt x="304" y="14"/>
                    </a:lnTo>
                    <a:lnTo>
                      <a:pt x="304" y="14"/>
                    </a:lnTo>
                    <a:lnTo>
                      <a:pt x="304" y="14"/>
                    </a:lnTo>
                    <a:lnTo>
                      <a:pt x="304" y="14"/>
                    </a:lnTo>
                    <a:lnTo>
                      <a:pt x="307" y="20"/>
                    </a:lnTo>
                    <a:lnTo>
                      <a:pt x="307" y="24"/>
                    </a:lnTo>
                    <a:lnTo>
                      <a:pt x="305" y="26"/>
                    </a:lnTo>
                    <a:lnTo>
                      <a:pt x="305" y="26"/>
                    </a:lnTo>
                    <a:lnTo>
                      <a:pt x="305" y="30"/>
                    </a:lnTo>
                    <a:lnTo>
                      <a:pt x="304" y="32"/>
                    </a:lnTo>
                    <a:lnTo>
                      <a:pt x="304" y="32"/>
                    </a:lnTo>
                    <a:lnTo>
                      <a:pt x="301" y="33"/>
                    </a:lnTo>
                    <a:lnTo>
                      <a:pt x="297" y="34"/>
                    </a:lnTo>
                    <a:lnTo>
                      <a:pt x="297" y="34"/>
                    </a:lnTo>
                    <a:lnTo>
                      <a:pt x="296" y="38"/>
                    </a:lnTo>
                    <a:lnTo>
                      <a:pt x="292" y="41"/>
                    </a:lnTo>
                    <a:lnTo>
                      <a:pt x="290" y="41"/>
                    </a:lnTo>
                    <a:lnTo>
                      <a:pt x="286" y="41"/>
                    </a:lnTo>
                    <a:lnTo>
                      <a:pt x="282" y="39"/>
                    </a:lnTo>
                    <a:lnTo>
                      <a:pt x="282" y="39"/>
                    </a:lnTo>
                    <a:lnTo>
                      <a:pt x="282" y="39"/>
                    </a:lnTo>
                    <a:lnTo>
                      <a:pt x="282" y="39"/>
                    </a:lnTo>
                    <a:lnTo>
                      <a:pt x="282" y="39"/>
                    </a:lnTo>
                    <a:lnTo>
                      <a:pt x="282" y="39"/>
                    </a:lnTo>
                    <a:lnTo>
                      <a:pt x="282" y="39"/>
                    </a:lnTo>
                    <a:lnTo>
                      <a:pt x="276" y="45"/>
                    </a:lnTo>
                    <a:lnTo>
                      <a:pt x="276" y="45"/>
                    </a:lnTo>
                    <a:lnTo>
                      <a:pt x="276" y="45"/>
                    </a:lnTo>
                    <a:lnTo>
                      <a:pt x="276" y="45"/>
                    </a:lnTo>
                    <a:lnTo>
                      <a:pt x="276" y="45"/>
                    </a:lnTo>
                    <a:lnTo>
                      <a:pt x="276" y="45"/>
                    </a:lnTo>
                    <a:lnTo>
                      <a:pt x="276" y="49"/>
                    </a:lnTo>
                    <a:lnTo>
                      <a:pt x="276" y="51"/>
                    </a:lnTo>
                    <a:lnTo>
                      <a:pt x="276" y="51"/>
                    </a:lnTo>
                    <a:lnTo>
                      <a:pt x="278" y="54"/>
                    </a:lnTo>
                    <a:lnTo>
                      <a:pt x="280" y="55"/>
                    </a:lnTo>
                    <a:lnTo>
                      <a:pt x="280" y="55"/>
                    </a:lnTo>
                    <a:lnTo>
                      <a:pt x="286" y="61"/>
                    </a:lnTo>
                    <a:lnTo>
                      <a:pt x="286" y="61"/>
                    </a:lnTo>
                    <a:lnTo>
                      <a:pt x="286" y="61"/>
                    </a:lnTo>
                    <a:lnTo>
                      <a:pt x="287" y="63"/>
                    </a:lnTo>
                    <a:lnTo>
                      <a:pt x="288" y="67"/>
                    </a:lnTo>
                    <a:lnTo>
                      <a:pt x="288" y="67"/>
                    </a:lnTo>
                    <a:lnTo>
                      <a:pt x="290" y="71"/>
                    </a:lnTo>
                    <a:lnTo>
                      <a:pt x="290" y="75"/>
                    </a:lnTo>
                    <a:lnTo>
                      <a:pt x="287" y="82"/>
                    </a:lnTo>
                    <a:lnTo>
                      <a:pt x="287" y="82"/>
                    </a:lnTo>
                    <a:lnTo>
                      <a:pt x="286" y="84"/>
                    </a:lnTo>
                    <a:lnTo>
                      <a:pt x="286" y="84"/>
                    </a:lnTo>
                    <a:lnTo>
                      <a:pt x="284" y="87"/>
                    </a:lnTo>
                    <a:lnTo>
                      <a:pt x="284" y="88"/>
                    </a:lnTo>
                    <a:lnTo>
                      <a:pt x="284" y="88"/>
                    </a:lnTo>
                    <a:lnTo>
                      <a:pt x="284" y="88"/>
                    </a:lnTo>
                    <a:lnTo>
                      <a:pt x="284" y="87"/>
                    </a:lnTo>
                    <a:lnTo>
                      <a:pt x="283" y="91"/>
                    </a:lnTo>
                    <a:lnTo>
                      <a:pt x="283" y="91"/>
                    </a:lnTo>
                    <a:lnTo>
                      <a:pt x="278" y="98"/>
                    </a:lnTo>
                    <a:lnTo>
                      <a:pt x="278" y="98"/>
                    </a:lnTo>
                    <a:lnTo>
                      <a:pt x="275" y="102"/>
                    </a:lnTo>
                    <a:lnTo>
                      <a:pt x="274" y="104"/>
                    </a:lnTo>
                    <a:lnTo>
                      <a:pt x="274" y="104"/>
                    </a:lnTo>
                    <a:lnTo>
                      <a:pt x="270" y="108"/>
                    </a:lnTo>
                    <a:lnTo>
                      <a:pt x="268" y="112"/>
                    </a:lnTo>
                    <a:lnTo>
                      <a:pt x="266" y="116"/>
                    </a:lnTo>
                    <a:lnTo>
                      <a:pt x="266" y="116"/>
                    </a:lnTo>
                    <a:lnTo>
                      <a:pt x="263" y="121"/>
                    </a:lnTo>
                    <a:lnTo>
                      <a:pt x="262" y="124"/>
                    </a:lnTo>
                    <a:lnTo>
                      <a:pt x="262" y="124"/>
                    </a:lnTo>
                    <a:lnTo>
                      <a:pt x="259" y="128"/>
                    </a:lnTo>
                    <a:lnTo>
                      <a:pt x="259" y="128"/>
                    </a:lnTo>
                    <a:lnTo>
                      <a:pt x="258" y="129"/>
                    </a:lnTo>
                    <a:lnTo>
                      <a:pt x="258" y="132"/>
                    </a:lnTo>
                    <a:lnTo>
                      <a:pt x="255" y="137"/>
                    </a:lnTo>
                    <a:lnTo>
                      <a:pt x="255" y="137"/>
                    </a:lnTo>
                    <a:lnTo>
                      <a:pt x="252" y="140"/>
                    </a:lnTo>
                    <a:lnTo>
                      <a:pt x="252" y="140"/>
                    </a:lnTo>
                    <a:lnTo>
                      <a:pt x="250" y="144"/>
                    </a:lnTo>
                    <a:lnTo>
                      <a:pt x="247" y="145"/>
                    </a:lnTo>
                    <a:lnTo>
                      <a:pt x="247" y="145"/>
                    </a:lnTo>
                    <a:lnTo>
                      <a:pt x="246" y="147"/>
                    </a:lnTo>
                    <a:lnTo>
                      <a:pt x="245" y="149"/>
                    </a:lnTo>
                    <a:lnTo>
                      <a:pt x="245" y="149"/>
                    </a:lnTo>
                    <a:lnTo>
                      <a:pt x="243" y="151"/>
                    </a:lnTo>
                    <a:lnTo>
                      <a:pt x="243" y="153"/>
                    </a:lnTo>
                    <a:lnTo>
                      <a:pt x="241" y="158"/>
                    </a:lnTo>
                    <a:lnTo>
                      <a:pt x="241" y="158"/>
                    </a:lnTo>
                    <a:lnTo>
                      <a:pt x="239" y="158"/>
                    </a:lnTo>
                    <a:lnTo>
                      <a:pt x="239" y="158"/>
                    </a:lnTo>
                    <a:lnTo>
                      <a:pt x="241" y="157"/>
                    </a:lnTo>
                    <a:lnTo>
                      <a:pt x="238" y="161"/>
                    </a:lnTo>
                    <a:lnTo>
                      <a:pt x="238" y="161"/>
                    </a:lnTo>
                    <a:lnTo>
                      <a:pt x="237" y="162"/>
                    </a:lnTo>
                    <a:lnTo>
                      <a:pt x="235" y="165"/>
                    </a:lnTo>
                    <a:lnTo>
                      <a:pt x="233" y="169"/>
                    </a:lnTo>
                    <a:lnTo>
                      <a:pt x="233" y="169"/>
                    </a:lnTo>
                    <a:lnTo>
                      <a:pt x="230" y="173"/>
                    </a:lnTo>
                    <a:lnTo>
                      <a:pt x="230" y="173"/>
                    </a:lnTo>
                    <a:lnTo>
                      <a:pt x="227" y="177"/>
                    </a:lnTo>
                    <a:lnTo>
                      <a:pt x="227" y="177"/>
                    </a:lnTo>
                    <a:lnTo>
                      <a:pt x="225" y="181"/>
                    </a:lnTo>
                    <a:lnTo>
                      <a:pt x="225" y="181"/>
                    </a:lnTo>
                    <a:lnTo>
                      <a:pt x="225" y="181"/>
                    </a:lnTo>
                    <a:lnTo>
                      <a:pt x="226" y="178"/>
                    </a:lnTo>
                    <a:lnTo>
                      <a:pt x="222" y="184"/>
                    </a:lnTo>
                    <a:lnTo>
                      <a:pt x="222" y="184"/>
                    </a:lnTo>
                    <a:lnTo>
                      <a:pt x="219" y="188"/>
                    </a:lnTo>
                    <a:lnTo>
                      <a:pt x="219" y="188"/>
                    </a:lnTo>
                    <a:lnTo>
                      <a:pt x="218" y="190"/>
                    </a:lnTo>
                    <a:lnTo>
                      <a:pt x="217" y="193"/>
                    </a:lnTo>
                    <a:lnTo>
                      <a:pt x="217" y="193"/>
                    </a:lnTo>
                    <a:lnTo>
                      <a:pt x="206" y="205"/>
                    </a:lnTo>
                    <a:lnTo>
                      <a:pt x="198" y="218"/>
                    </a:lnTo>
                    <a:lnTo>
                      <a:pt x="198" y="218"/>
                    </a:lnTo>
                    <a:lnTo>
                      <a:pt x="196" y="225"/>
                    </a:lnTo>
                    <a:lnTo>
                      <a:pt x="192" y="230"/>
                    </a:lnTo>
                    <a:lnTo>
                      <a:pt x="192" y="230"/>
                    </a:lnTo>
                    <a:lnTo>
                      <a:pt x="189" y="233"/>
                    </a:lnTo>
                    <a:lnTo>
                      <a:pt x="189" y="234"/>
                    </a:lnTo>
                    <a:lnTo>
                      <a:pt x="189" y="234"/>
                    </a:lnTo>
                    <a:lnTo>
                      <a:pt x="181" y="242"/>
                    </a:lnTo>
                    <a:lnTo>
                      <a:pt x="173" y="251"/>
                    </a:lnTo>
                    <a:lnTo>
                      <a:pt x="160" y="272"/>
                    </a:lnTo>
                    <a:lnTo>
                      <a:pt x="160" y="272"/>
                    </a:lnTo>
                    <a:lnTo>
                      <a:pt x="153" y="281"/>
                    </a:lnTo>
                    <a:lnTo>
                      <a:pt x="152" y="283"/>
                    </a:lnTo>
                    <a:lnTo>
                      <a:pt x="152" y="283"/>
                    </a:lnTo>
                    <a:lnTo>
                      <a:pt x="149" y="287"/>
                    </a:lnTo>
                    <a:lnTo>
                      <a:pt x="144" y="288"/>
                    </a:lnTo>
                    <a:lnTo>
                      <a:pt x="144" y="288"/>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4" name="Group 23">
              <a:extLst>
                <a:ext uri="{FF2B5EF4-FFF2-40B4-BE49-F238E27FC236}">
                  <a16:creationId xmlns:a16="http://schemas.microsoft.com/office/drawing/2014/main" xmlns="" id="{FE25A424-8DED-4D3C-AFFD-878F68FD8C60}"/>
                </a:ext>
              </a:extLst>
            </p:cNvPr>
            <p:cNvGrpSpPr/>
            <p:nvPr/>
          </p:nvGrpSpPr>
          <p:grpSpPr>
            <a:xfrm>
              <a:off x="5715273" y="4715772"/>
              <a:ext cx="2341305" cy="1483743"/>
              <a:chOff x="3758919" y="4335683"/>
              <a:chExt cx="3062548" cy="1983079"/>
            </a:xfrm>
            <a:solidFill>
              <a:srgbClr val="B2B2B2"/>
            </a:solidFill>
          </p:grpSpPr>
          <p:sp>
            <p:nvSpPr>
              <p:cNvPr id="51" name="Freeform 44">
                <a:extLst>
                  <a:ext uri="{FF2B5EF4-FFF2-40B4-BE49-F238E27FC236}">
                    <a16:creationId xmlns:a16="http://schemas.microsoft.com/office/drawing/2014/main" xmlns="" id="{2AB75CEF-A854-4546-81AD-907FBFE53BDF}"/>
                  </a:ext>
                </a:extLst>
              </p:cNvPr>
              <p:cNvSpPr>
                <a:spLocks/>
              </p:cNvSpPr>
              <p:nvPr/>
            </p:nvSpPr>
            <p:spPr bwMode="auto">
              <a:xfrm>
                <a:off x="6013609" y="4335683"/>
                <a:ext cx="807858" cy="618081"/>
              </a:xfrm>
              <a:custGeom>
                <a:avLst/>
                <a:gdLst>
                  <a:gd name="T0" fmla="*/ 223 w 464"/>
                  <a:gd name="T1" fmla="*/ 333 h 355"/>
                  <a:gd name="T2" fmla="*/ 211 w 464"/>
                  <a:gd name="T3" fmla="*/ 316 h 355"/>
                  <a:gd name="T4" fmla="*/ 197 w 464"/>
                  <a:gd name="T5" fmla="*/ 293 h 355"/>
                  <a:gd name="T6" fmla="*/ 179 w 464"/>
                  <a:gd name="T7" fmla="*/ 284 h 355"/>
                  <a:gd name="T8" fmla="*/ 170 w 464"/>
                  <a:gd name="T9" fmla="*/ 288 h 355"/>
                  <a:gd name="T10" fmla="*/ 149 w 464"/>
                  <a:gd name="T11" fmla="*/ 277 h 355"/>
                  <a:gd name="T12" fmla="*/ 140 w 464"/>
                  <a:gd name="T13" fmla="*/ 257 h 355"/>
                  <a:gd name="T14" fmla="*/ 125 w 464"/>
                  <a:gd name="T15" fmla="*/ 239 h 355"/>
                  <a:gd name="T16" fmla="*/ 100 w 464"/>
                  <a:gd name="T17" fmla="*/ 218 h 355"/>
                  <a:gd name="T18" fmla="*/ 84 w 464"/>
                  <a:gd name="T19" fmla="*/ 194 h 355"/>
                  <a:gd name="T20" fmla="*/ 79 w 464"/>
                  <a:gd name="T21" fmla="*/ 176 h 355"/>
                  <a:gd name="T22" fmla="*/ 78 w 464"/>
                  <a:gd name="T23" fmla="*/ 144 h 355"/>
                  <a:gd name="T24" fmla="*/ 96 w 464"/>
                  <a:gd name="T25" fmla="*/ 128 h 355"/>
                  <a:gd name="T26" fmla="*/ 70 w 464"/>
                  <a:gd name="T27" fmla="*/ 123 h 355"/>
                  <a:gd name="T28" fmla="*/ 60 w 464"/>
                  <a:gd name="T29" fmla="*/ 113 h 355"/>
                  <a:gd name="T30" fmla="*/ 27 w 464"/>
                  <a:gd name="T31" fmla="*/ 105 h 355"/>
                  <a:gd name="T32" fmla="*/ 0 w 464"/>
                  <a:gd name="T33" fmla="*/ 75 h 355"/>
                  <a:gd name="T34" fmla="*/ 20 w 464"/>
                  <a:gd name="T35" fmla="*/ 64 h 355"/>
                  <a:gd name="T36" fmla="*/ 29 w 464"/>
                  <a:gd name="T37" fmla="*/ 57 h 355"/>
                  <a:gd name="T38" fmla="*/ 49 w 464"/>
                  <a:gd name="T39" fmla="*/ 34 h 355"/>
                  <a:gd name="T40" fmla="*/ 72 w 464"/>
                  <a:gd name="T41" fmla="*/ 33 h 355"/>
                  <a:gd name="T42" fmla="*/ 101 w 464"/>
                  <a:gd name="T43" fmla="*/ 31 h 355"/>
                  <a:gd name="T44" fmla="*/ 113 w 464"/>
                  <a:gd name="T45" fmla="*/ 31 h 355"/>
                  <a:gd name="T46" fmla="*/ 135 w 464"/>
                  <a:gd name="T47" fmla="*/ 25 h 355"/>
                  <a:gd name="T48" fmla="*/ 149 w 464"/>
                  <a:gd name="T49" fmla="*/ 23 h 355"/>
                  <a:gd name="T50" fmla="*/ 169 w 464"/>
                  <a:gd name="T51" fmla="*/ 13 h 355"/>
                  <a:gd name="T52" fmla="*/ 207 w 464"/>
                  <a:gd name="T53" fmla="*/ 9 h 355"/>
                  <a:gd name="T54" fmla="*/ 219 w 464"/>
                  <a:gd name="T55" fmla="*/ 46 h 355"/>
                  <a:gd name="T56" fmla="*/ 223 w 464"/>
                  <a:gd name="T57" fmla="*/ 68 h 355"/>
                  <a:gd name="T58" fmla="*/ 244 w 464"/>
                  <a:gd name="T59" fmla="*/ 87 h 355"/>
                  <a:gd name="T60" fmla="*/ 260 w 464"/>
                  <a:gd name="T61" fmla="*/ 86 h 355"/>
                  <a:gd name="T62" fmla="*/ 250 w 464"/>
                  <a:gd name="T63" fmla="*/ 115 h 355"/>
                  <a:gd name="T64" fmla="*/ 239 w 464"/>
                  <a:gd name="T65" fmla="*/ 121 h 355"/>
                  <a:gd name="T66" fmla="*/ 218 w 464"/>
                  <a:gd name="T67" fmla="*/ 160 h 355"/>
                  <a:gd name="T68" fmla="*/ 230 w 464"/>
                  <a:gd name="T69" fmla="*/ 174 h 355"/>
                  <a:gd name="T70" fmla="*/ 263 w 464"/>
                  <a:gd name="T71" fmla="*/ 179 h 355"/>
                  <a:gd name="T72" fmla="*/ 284 w 464"/>
                  <a:gd name="T73" fmla="*/ 177 h 355"/>
                  <a:gd name="T74" fmla="*/ 291 w 464"/>
                  <a:gd name="T75" fmla="*/ 177 h 355"/>
                  <a:gd name="T76" fmla="*/ 316 w 464"/>
                  <a:gd name="T77" fmla="*/ 181 h 355"/>
                  <a:gd name="T78" fmla="*/ 337 w 464"/>
                  <a:gd name="T79" fmla="*/ 193 h 355"/>
                  <a:gd name="T80" fmla="*/ 366 w 464"/>
                  <a:gd name="T81" fmla="*/ 202 h 355"/>
                  <a:gd name="T82" fmla="*/ 398 w 464"/>
                  <a:gd name="T83" fmla="*/ 223 h 355"/>
                  <a:gd name="T84" fmla="*/ 414 w 464"/>
                  <a:gd name="T85" fmla="*/ 236 h 355"/>
                  <a:gd name="T86" fmla="*/ 440 w 464"/>
                  <a:gd name="T87" fmla="*/ 251 h 355"/>
                  <a:gd name="T88" fmla="*/ 454 w 464"/>
                  <a:gd name="T89" fmla="*/ 284 h 355"/>
                  <a:gd name="T90" fmla="*/ 448 w 464"/>
                  <a:gd name="T91" fmla="*/ 291 h 355"/>
                  <a:gd name="T92" fmla="*/ 460 w 464"/>
                  <a:gd name="T93" fmla="*/ 297 h 355"/>
                  <a:gd name="T94" fmla="*/ 448 w 464"/>
                  <a:gd name="T95" fmla="*/ 332 h 355"/>
                  <a:gd name="T96" fmla="*/ 408 w 464"/>
                  <a:gd name="T97" fmla="*/ 345 h 355"/>
                  <a:gd name="T98" fmla="*/ 390 w 464"/>
                  <a:gd name="T99" fmla="*/ 332 h 355"/>
                  <a:gd name="T100" fmla="*/ 375 w 464"/>
                  <a:gd name="T101" fmla="*/ 324 h 355"/>
                  <a:gd name="T102" fmla="*/ 353 w 464"/>
                  <a:gd name="T103" fmla="*/ 310 h 355"/>
                  <a:gd name="T104" fmla="*/ 328 w 464"/>
                  <a:gd name="T105" fmla="*/ 297 h 355"/>
                  <a:gd name="T106" fmla="*/ 314 w 464"/>
                  <a:gd name="T107" fmla="*/ 271 h 355"/>
                  <a:gd name="T108" fmla="*/ 296 w 464"/>
                  <a:gd name="T109" fmla="*/ 260 h 355"/>
                  <a:gd name="T110" fmla="*/ 281 w 464"/>
                  <a:gd name="T111" fmla="*/ 280 h 355"/>
                  <a:gd name="T112" fmla="*/ 283 w 464"/>
                  <a:gd name="T113" fmla="*/ 283 h 355"/>
                  <a:gd name="T114" fmla="*/ 275 w 464"/>
                  <a:gd name="T115" fmla="*/ 309 h 355"/>
                  <a:gd name="T116" fmla="*/ 268 w 464"/>
                  <a:gd name="T117" fmla="*/ 317 h 355"/>
                  <a:gd name="T118" fmla="*/ 243 w 464"/>
                  <a:gd name="T119" fmla="*/ 333 h 355"/>
                  <a:gd name="T120" fmla="*/ 236 w 464"/>
                  <a:gd name="T121" fmla="*/ 34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4" h="355">
                    <a:moveTo>
                      <a:pt x="227" y="355"/>
                    </a:moveTo>
                    <a:lnTo>
                      <a:pt x="227" y="355"/>
                    </a:lnTo>
                    <a:lnTo>
                      <a:pt x="223" y="353"/>
                    </a:lnTo>
                    <a:lnTo>
                      <a:pt x="220" y="349"/>
                    </a:lnTo>
                    <a:lnTo>
                      <a:pt x="219" y="346"/>
                    </a:lnTo>
                    <a:lnTo>
                      <a:pt x="218" y="341"/>
                    </a:lnTo>
                    <a:lnTo>
                      <a:pt x="218" y="341"/>
                    </a:lnTo>
                    <a:lnTo>
                      <a:pt x="218" y="339"/>
                    </a:lnTo>
                    <a:lnTo>
                      <a:pt x="223" y="334"/>
                    </a:lnTo>
                    <a:lnTo>
                      <a:pt x="223" y="334"/>
                    </a:lnTo>
                    <a:lnTo>
                      <a:pt x="223" y="334"/>
                    </a:lnTo>
                    <a:lnTo>
                      <a:pt x="223" y="334"/>
                    </a:lnTo>
                    <a:lnTo>
                      <a:pt x="223" y="334"/>
                    </a:lnTo>
                    <a:lnTo>
                      <a:pt x="223" y="334"/>
                    </a:lnTo>
                    <a:lnTo>
                      <a:pt x="223" y="333"/>
                    </a:lnTo>
                    <a:lnTo>
                      <a:pt x="223" y="333"/>
                    </a:lnTo>
                    <a:lnTo>
                      <a:pt x="224" y="330"/>
                    </a:lnTo>
                    <a:lnTo>
                      <a:pt x="224" y="329"/>
                    </a:lnTo>
                    <a:lnTo>
                      <a:pt x="224" y="329"/>
                    </a:lnTo>
                    <a:lnTo>
                      <a:pt x="226" y="325"/>
                    </a:lnTo>
                    <a:lnTo>
                      <a:pt x="226" y="325"/>
                    </a:lnTo>
                    <a:lnTo>
                      <a:pt x="226" y="325"/>
                    </a:lnTo>
                    <a:lnTo>
                      <a:pt x="219" y="324"/>
                    </a:lnTo>
                    <a:lnTo>
                      <a:pt x="219" y="324"/>
                    </a:lnTo>
                    <a:lnTo>
                      <a:pt x="219" y="324"/>
                    </a:lnTo>
                    <a:lnTo>
                      <a:pt x="219" y="324"/>
                    </a:lnTo>
                    <a:lnTo>
                      <a:pt x="219" y="324"/>
                    </a:lnTo>
                    <a:lnTo>
                      <a:pt x="214" y="321"/>
                    </a:lnTo>
                    <a:lnTo>
                      <a:pt x="214" y="321"/>
                    </a:lnTo>
                    <a:lnTo>
                      <a:pt x="211" y="316"/>
                    </a:lnTo>
                    <a:lnTo>
                      <a:pt x="211" y="309"/>
                    </a:lnTo>
                    <a:lnTo>
                      <a:pt x="211" y="309"/>
                    </a:lnTo>
                    <a:lnTo>
                      <a:pt x="210" y="304"/>
                    </a:lnTo>
                    <a:lnTo>
                      <a:pt x="210" y="304"/>
                    </a:lnTo>
                    <a:lnTo>
                      <a:pt x="209" y="302"/>
                    </a:lnTo>
                    <a:lnTo>
                      <a:pt x="209" y="302"/>
                    </a:lnTo>
                    <a:lnTo>
                      <a:pt x="207" y="301"/>
                    </a:lnTo>
                    <a:lnTo>
                      <a:pt x="207" y="302"/>
                    </a:lnTo>
                    <a:lnTo>
                      <a:pt x="201" y="296"/>
                    </a:lnTo>
                    <a:lnTo>
                      <a:pt x="201" y="296"/>
                    </a:lnTo>
                    <a:lnTo>
                      <a:pt x="202" y="297"/>
                    </a:lnTo>
                    <a:lnTo>
                      <a:pt x="202" y="297"/>
                    </a:lnTo>
                    <a:lnTo>
                      <a:pt x="201" y="296"/>
                    </a:lnTo>
                    <a:lnTo>
                      <a:pt x="201" y="296"/>
                    </a:lnTo>
                    <a:lnTo>
                      <a:pt x="197" y="293"/>
                    </a:lnTo>
                    <a:lnTo>
                      <a:pt x="194" y="291"/>
                    </a:lnTo>
                    <a:lnTo>
                      <a:pt x="194" y="287"/>
                    </a:lnTo>
                    <a:lnTo>
                      <a:pt x="194" y="287"/>
                    </a:lnTo>
                    <a:lnTo>
                      <a:pt x="193" y="283"/>
                    </a:lnTo>
                    <a:lnTo>
                      <a:pt x="189" y="280"/>
                    </a:lnTo>
                    <a:lnTo>
                      <a:pt x="189" y="280"/>
                    </a:lnTo>
                    <a:lnTo>
                      <a:pt x="186" y="279"/>
                    </a:lnTo>
                    <a:lnTo>
                      <a:pt x="186" y="279"/>
                    </a:lnTo>
                    <a:lnTo>
                      <a:pt x="186" y="279"/>
                    </a:lnTo>
                    <a:lnTo>
                      <a:pt x="186" y="279"/>
                    </a:lnTo>
                    <a:lnTo>
                      <a:pt x="187" y="279"/>
                    </a:lnTo>
                    <a:lnTo>
                      <a:pt x="186" y="279"/>
                    </a:lnTo>
                    <a:lnTo>
                      <a:pt x="186" y="279"/>
                    </a:lnTo>
                    <a:lnTo>
                      <a:pt x="185" y="281"/>
                    </a:lnTo>
                    <a:lnTo>
                      <a:pt x="179" y="284"/>
                    </a:lnTo>
                    <a:lnTo>
                      <a:pt x="178" y="284"/>
                    </a:lnTo>
                    <a:lnTo>
                      <a:pt x="178" y="284"/>
                    </a:lnTo>
                    <a:lnTo>
                      <a:pt x="178" y="285"/>
                    </a:lnTo>
                    <a:lnTo>
                      <a:pt x="172" y="292"/>
                    </a:lnTo>
                    <a:lnTo>
                      <a:pt x="172" y="292"/>
                    </a:lnTo>
                    <a:lnTo>
                      <a:pt x="168" y="289"/>
                    </a:lnTo>
                    <a:lnTo>
                      <a:pt x="168" y="289"/>
                    </a:lnTo>
                    <a:lnTo>
                      <a:pt x="169" y="291"/>
                    </a:lnTo>
                    <a:lnTo>
                      <a:pt x="168" y="289"/>
                    </a:lnTo>
                    <a:lnTo>
                      <a:pt x="168" y="289"/>
                    </a:lnTo>
                    <a:lnTo>
                      <a:pt x="168" y="289"/>
                    </a:lnTo>
                    <a:lnTo>
                      <a:pt x="168" y="289"/>
                    </a:lnTo>
                    <a:lnTo>
                      <a:pt x="169" y="289"/>
                    </a:lnTo>
                    <a:lnTo>
                      <a:pt x="169" y="289"/>
                    </a:lnTo>
                    <a:lnTo>
                      <a:pt x="170" y="288"/>
                    </a:lnTo>
                    <a:lnTo>
                      <a:pt x="168" y="289"/>
                    </a:lnTo>
                    <a:lnTo>
                      <a:pt x="164" y="285"/>
                    </a:lnTo>
                    <a:lnTo>
                      <a:pt x="164" y="285"/>
                    </a:lnTo>
                    <a:lnTo>
                      <a:pt x="165" y="288"/>
                    </a:lnTo>
                    <a:lnTo>
                      <a:pt x="168" y="289"/>
                    </a:lnTo>
                    <a:lnTo>
                      <a:pt x="164" y="292"/>
                    </a:lnTo>
                    <a:lnTo>
                      <a:pt x="162" y="292"/>
                    </a:lnTo>
                    <a:lnTo>
                      <a:pt x="162" y="292"/>
                    </a:lnTo>
                    <a:lnTo>
                      <a:pt x="160" y="293"/>
                    </a:lnTo>
                    <a:lnTo>
                      <a:pt x="157" y="293"/>
                    </a:lnTo>
                    <a:lnTo>
                      <a:pt x="153" y="284"/>
                    </a:lnTo>
                    <a:lnTo>
                      <a:pt x="153" y="284"/>
                    </a:lnTo>
                    <a:lnTo>
                      <a:pt x="153" y="284"/>
                    </a:lnTo>
                    <a:lnTo>
                      <a:pt x="149" y="279"/>
                    </a:lnTo>
                    <a:lnTo>
                      <a:pt x="149" y="277"/>
                    </a:lnTo>
                    <a:lnTo>
                      <a:pt x="149" y="277"/>
                    </a:lnTo>
                    <a:lnTo>
                      <a:pt x="149" y="275"/>
                    </a:lnTo>
                    <a:lnTo>
                      <a:pt x="149" y="275"/>
                    </a:lnTo>
                    <a:lnTo>
                      <a:pt x="149" y="275"/>
                    </a:lnTo>
                    <a:lnTo>
                      <a:pt x="149" y="275"/>
                    </a:lnTo>
                    <a:lnTo>
                      <a:pt x="149" y="275"/>
                    </a:lnTo>
                    <a:lnTo>
                      <a:pt x="148" y="272"/>
                    </a:lnTo>
                    <a:lnTo>
                      <a:pt x="146" y="269"/>
                    </a:lnTo>
                    <a:lnTo>
                      <a:pt x="146" y="267"/>
                    </a:lnTo>
                    <a:lnTo>
                      <a:pt x="148" y="264"/>
                    </a:lnTo>
                    <a:lnTo>
                      <a:pt x="148" y="260"/>
                    </a:lnTo>
                    <a:lnTo>
                      <a:pt x="148" y="260"/>
                    </a:lnTo>
                    <a:lnTo>
                      <a:pt x="145" y="260"/>
                    </a:lnTo>
                    <a:lnTo>
                      <a:pt x="145" y="260"/>
                    </a:lnTo>
                    <a:lnTo>
                      <a:pt x="140" y="257"/>
                    </a:lnTo>
                    <a:lnTo>
                      <a:pt x="137" y="256"/>
                    </a:lnTo>
                    <a:lnTo>
                      <a:pt x="136" y="254"/>
                    </a:lnTo>
                    <a:lnTo>
                      <a:pt x="136" y="252"/>
                    </a:lnTo>
                    <a:lnTo>
                      <a:pt x="136" y="252"/>
                    </a:lnTo>
                    <a:lnTo>
                      <a:pt x="135" y="250"/>
                    </a:lnTo>
                    <a:lnTo>
                      <a:pt x="133" y="247"/>
                    </a:lnTo>
                    <a:lnTo>
                      <a:pt x="133" y="247"/>
                    </a:lnTo>
                    <a:lnTo>
                      <a:pt x="133" y="246"/>
                    </a:lnTo>
                    <a:lnTo>
                      <a:pt x="133" y="246"/>
                    </a:lnTo>
                    <a:lnTo>
                      <a:pt x="133" y="246"/>
                    </a:lnTo>
                    <a:lnTo>
                      <a:pt x="132" y="243"/>
                    </a:lnTo>
                    <a:lnTo>
                      <a:pt x="132" y="243"/>
                    </a:lnTo>
                    <a:lnTo>
                      <a:pt x="132" y="243"/>
                    </a:lnTo>
                    <a:lnTo>
                      <a:pt x="132" y="243"/>
                    </a:lnTo>
                    <a:lnTo>
                      <a:pt x="125" y="239"/>
                    </a:lnTo>
                    <a:lnTo>
                      <a:pt x="121" y="235"/>
                    </a:lnTo>
                    <a:lnTo>
                      <a:pt x="121" y="235"/>
                    </a:lnTo>
                    <a:lnTo>
                      <a:pt x="117" y="232"/>
                    </a:lnTo>
                    <a:lnTo>
                      <a:pt x="113" y="230"/>
                    </a:lnTo>
                    <a:lnTo>
                      <a:pt x="113" y="230"/>
                    </a:lnTo>
                    <a:lnTo>
                      <a:pt x="113" y="230"/>
                    </a:lnTo>
                    <a:lnTo>
                      <a:pt x="113" y="230"/>
                    </a:lnTo>
                    <a:lnTo>
                      <a:pt x="112" y="230"/>
                    </a:lnTo>
                    <a:lnTo>
                      <a:pt x="113" y="230"/>
                    </a:lnTo>
                    <a:lnTo>
                      <a:pt x="107" y="224"/>
                    </a:lnTo>
                    <a:lnTo>
                      <a:pt x="107" y="224"/>
                    </a:lnTo>
                    <a:lnTo>
                      <a:pt x="105" y="223"/>
                    </a:lnTo>
                    <a:lnTo>
                      <a:pt x="105" y="223"/>
                    </a:lnTo>
                    <a:lnTo>
                      <a:pt x="101" y="220"/>
                    </a:lnTo>
                    <a:lnTo>
                      <a:pt x="100" y="218"/>
                    </a:lnTo>
                    <a:lnTo>
                      <a:pt x="99" y="215"/>
                    </a:lnTo>
                    <a:lnTo>
                      <a:pt x="99" y="215"/>
                    </a:lnTo>
                    <a:lnTo>
                      <a:pt x="98" y="213"/>
                    </a:lnTo>
                    <a:lnTo>
                      <a:pt x="96" y="209"/>
                    </a:lnTo>
                    <a:lnTo>
                      <a:pt x="96" y="209"/>
                    </a:lnTo>
                    <a:lnTo>
                      <a:pt x="95" y="207"/>
                    </a:lnTo>
                    <a:lnTo>
                      <a:pt x="92" y="205"/>
                    </a:lnTo>
                    <a:lnTo>
                      <a:pt x="90" y="203"/>
                    </a:lnTo>
                    <a:lnTo>
                      <a:pt x="90" y="203"/>
                    </a:lnTo>
                    <a:lnTo>
                      <a:pt x="88" y="201"/>
                    </a:lnTo>
                    <a:lnTo>
                      <a:pt x="87" y="197"/>
                    </a:lnTo>
                    <a:lnTo>
                      <a:pt x="87" y="197"/>
                    </a:lnTo>
                    <a:lnTo>
                      <a:pt x="86" y="195"/>
                    </a:lnTo>
                    <a:lnTo>
                      <a:pt x="84" y="194"/>
                    </a:lnTo>
                    <a:lnTo>
                      <a:pt x="84" y="194"/>
                    </a:lnTo>
                    <a:lnTo>
                      <a:pt x="82" y="194"/>
                    </a:lnTo>
                    <a:lnTo>
                      <a:pt x="82" y="194"/>
                    </a:lnTo>
                    <a:lnTo>
                      <a:pt x="79" y="191"/>
                    </a:lnTo>
                    <a:lnTo>
                      <a:pt x="78" y="190"/>
                    </a:lnTo>
                    <a:lnTo>
                      <a:pt x="76" y="186"/>
                    </a:lnTo>
                    <a:lnTo>
                      <a:pt x="76" y="186"/>
                    </a:lnTo>
                    <a:lnTo>
                      <a:pt x="76" y="186"/>
                    </a:lnTo>
                    <a:lnTo>
                      <a:pt x="78" y="187"/>
                    </a:lnTo>
                    <a:lnTo>
                      <a:pt x="80" y="189"/>
                    </a:lnTo>
                    <a:lnTo>
                      <a:pt x="75" y="183"/>
                    </a:lnTo>
                    <a:lnTo>
                      <a:pt x="75" y="182"/>
                    </a:lnTo>
                    <a:lnTo>
                      <a:pt x="79" y="177"/>
                    </a:lnTo>
                    <a:lnTo>
                      <a:pt x="79" y="177"/>
                    </a:lnTo>
                    <a:lnTo>
                      <a:pt x="79" y="176"/>
                    </a:lnTo>
                    <a:lnTo>
                      <a:pt x="79" y="176"/>
                    </a:lnTo>
                    <a:lnTo>
                      <a:pt x="78" y="169"/>
                    </a:lnTo>
                    <a:lnTo>
                      <a:pt x="78" y="168"/>
                    </a:lnTo>
                    <a:lnTo>
                      <a:pt x="78" y="168"/>
                    </a:lnTo>
                    <a:lnTo>
                      <a:pt x="76" y="165"/>
                    </a:lnTo>
                    <a:lnTo>
                      <a:pt x="74" y="160"/>
                    </a:lnTo>
                    <a:lnTo>
                      <a:pt x="74" y="160"/>
                    </a:lnTo>
                    <a:lnTo>
                      <a:pt x="74" y="160"/>
                    </a:lnTo>
                    <a:lnTo>
                      <a:pt x="74" y="158"/>
                    </a:lnTo>
                    <a:lnTo>
                      <a:pt x="70" y="153"/>
                    </a:lnTo>
                    <a:lnTo>
                      <a:pt x="70" y="152"/>
                    </a:lnTo>
                    <a:lnTo>
                      <a:pt x="76" y="145"/>
                    </a:lnTo>
                    <a:lnTo>
                      <a:pt x="76" y="145"/>
                    </a:lnTo>
                    <a:lnTo>
                      <a:pt x="76" y="146"/>
                    </a:lnTo>
                    <a:lnTo>
                      <a:pt x="76" y="146"/>
                    </a:lnTo>
                    <a:lnTo>
                      <a:pt x="78" y="144"/>
                    </a:lnTo>
                    <a:lnTo>
                      <a:pt x="78" y="144"/>
                    </a:lnTo>
                    <a:lnTo>
                      <a:pt x="79" y="141"/>
                    </a:lnTo>
                    <a:lnTo>
                      <a:pt x="82" y="137"/>
                    </a:lnTo>
                    <a:lnTo>
                      <a:pt x="83" y="137"/>
                    </a:lnTo>
                    <a:lnTo>
                      <a:pt x="83" y="137"/>
                    </a:lnTo>
                    <a:lnTo>
                      <a:pt x="83" y="137"/>
                    </a:lnTo>
                    <a:lnTo>
                      <a:pt x="83" y="137"/>
                    </a:lnTo>
                    <a:lnTo>
                      <a:pt x="84" y="132"/>
                    </a:lnTo>
                    <a:lnTo>
                      <a:pt x="87" y="129"/>
                    </a:lnTo>
                    <a:lnTo>
                      <a:pt x="90" y="128"/>
                    </a:lnTo>
                    <a:lnTo>
                      <a:pt x="90" y="128"/>
                    </a:lnTo>
                    <a:lnTo>
                      <a:pt x="92" y="127"/>
                    </a:lnTo>
                    <a:lnTo>
                      <a:pt x="92" y="127"/>
                    </a:lnTo>
                    <a:lnTo>
                      <a:pt x="96" y="128"/>
                    </a:lnTo>
                    <a:lnTo>
                      <a:pt x="96" y="128"/>
                    </a:lnTo>
                    <a:lnTo>
                      <a:pt x="96" y="128"/>
                    </a:lnTo>
                    <a:lnTo>
                      <a:pt x="91" y="124"/>
                    </a:lnTo>
                    <a:lnTo>
                      <a:pt x="91" y="124"/>
                    </a:lnTo>
                    <a:lnTo>
                      <a:pt x="91" y="125"/>
                    </a:lnTo>
                    <a:lnTo>
                      <a:pt x="91" y="125"/>
                    </a:lnTo>
                    <a:lnTo>
                      <a:pt x="90" y="124"/>
                    </a:lnTo>
                    <a:lnTo>
                      <a:pt x="90" y="124"/>
                    </a:lnTo>
                    <a:lnTo>
                      <a:pt x="86" y="121"/>
                    </a:lnTo>
                    <a:lnTo>
                      <a:pt x="86" y="120"/>
                    </a:lnTo>
                    <a:lnTo>
                      <a:pt x="86" y="120"/>
                    </a:lnTo>
                    <a:lnTo>
                      <a:pt x="82" y="120"/>
                    </a:lnTo>
                    <a:lnTo>
                      <a:pt x="79" y="123"/>
                    </a:lnTo>
                    <a:lnTo>
                      <a:pt x="74" y="124"/>
                    </a:lnTo>
                    <a:lnTo>
                      <a:pt x="74" y="124"/>
                    </a:lnTo>
                    <a:lnTo>
                      <a:pt x="70" y="123"/>
                    </a:lnTo>
                    <a:lnTo>
                      <a:pt x="70" y="123"/>
                    </a:lnTo>
                    <a:lnTo>
                      <a:pt x="72" y="123"/>
                    </a:lnTo>
                    <a:lnTo>
                      <a:pt x="68" y="119"/>
                    </a:lnTo>
                    <a:lnTo>
                      <a:pt x="67" y="119"/>
                    </a:lnTo>
                    <a:lnTo>
                      <a:pt x="67" y="119"/>
                    </a:lnTo>
                    <a:lnTo>
                      <a:pt x="63" y="115"/>
                    </a:lnTo>
                    <a:lnTo>
                      <a:pt x="63" y="113"/>
                    </a:lnTo>
                    <a:lnTo>
                      <a:pt x="59" y="111"/>
                    </a:lnTo>
                    <a:lnTo>
                      <a:pt x="59" y="111"/>
                    </a:lnTo>
                    <a:lnTo>
                      <a:pt x="60" y="113"/>
                    </a:lnTo>
                    <a:lnTo>
                      <a:pt x="62" y="113"/>
                    </a:lnTo>
                    <a:lnTo>
                      <a:pt x="62" y="113"/>
                    </a:lnTo>
                    <a:lnTo>
                      <a:pt x="62" y="113"/>
                    </a:lnTo>
                    <a:lnTo>
                      <a:pt x="62" y="113"/>
                    </a:lnTo>
                    <a:lnTo>
                      <a:pt x="60" y="113"/>
                    </a:lnTo>
                    <a:lnTo>
                      <a:pt x="60" y="113"/>
                    </a:lnTo>
                    <a:lnTo>
                      <a:pt x="58" y="115"/>
                    </a:lnTo>
                    <a:lnTo>
                      <a:pt x="58" y="115"/>
                    </a:lnTo>
                    <a:lnTo>
                      <a:pt x="55" y="113"/>
                    </a:lnTo>
                    <a:lnTo>
                      <a:pt x="55" y="113"/>
                    </a:lnTo>
                    <a:lnTo>
                      <a:pt x="53" y="113"/>
                    </a:lnTo>
                    <a:lnTo>
                      <a:pt x="49" y="112"/>
                    </a:lnTo>
                    <a:lnTo>
                      <a:pt x="49" y="112"/>
                    </a:lnTo>
                    <a:lnTo>
                      <a:pt x="42" y="108"/>
                    </a:lnTo>
                    <a:lnTo>
                      <a:pt x="33" y="107"/>
                    </a:lnTo>
                    <a:lnTo>
                      <a:pt x="33" y="107"/>
                    </a:lnTo>
                    <a:lnTo>
                      <a:pt x="33" y="107"/>
                    </a:lnTo>
                    <a:lnTo>
                      <a:pt x="33" y="107"/>
                    </a:lnTo>
                    <a:lnTo>
                      <a:pt x="30" y="105"/>
                    </a:lnTo>
                    <a:lnTo>
                      <a:pt x="27" y="105"/>
                    </a:lnTo>
                    <a:lnTo>
                      <a:pt x="25" y="103"/>
                    </a:lnTo>
                    <a:lnTo>
                      <a:pt x="25" y="103"/>
                    </a:lnTo>
                    <a:lnTo>
                      <a:pt x="20" y="100"/>
                    </a:lnTo>
                    <a:lnTo>
                      <a:pt x="16" y="96"/>
                    </a:lnTo>
                    <a:lnTo>
                      <a:pt x="10" y="88"/>
                    </a:lnTo>
                    <a:lnTo>
                      <a:pt x="10" y="88"/>
                    </a:lnTo>
                    <a:lnTo>
                      <a:pt x="6" y="83"/>
                    </a:lnTo>
                    <a:lnTo>
                      <a:pt x="6" y="83"/>
                    </a:lnTo>
                    <a:lnTo>
                      <a:pt x="4" y="79"/>
                    </a:lnTo>
                    <a:lnTo>
                      <a:pt x="4" y="79"/>
                    </a:lnTo>
                    <a:lnTo>
                      <a:pt x="4" y="82"/>
                    </a:lnTo>
                    <a:lnTo>
                      <a:pt x="4" y="82"/>
                    </a:lnTo>
                    <a:lnTo>
                      <a:pt x="1" y="79"/>
                    </a:lnTo>
                    <a:lnTo>
                      <a:pt x="0" y="75"/>
                    </a:lnTo>
                    <a:lnTo>
                      <a:pt x="0" y="75"/>
                    </a:lnTo>
                    <a:lnTo>
                      <a:pt x="0" y="70"/>
                    </a:lnTo>
                    <a:lnTo>
                      <a:pt x="1" y="67"/>
                    </a:lnTo>
                    <a:lnTo>
                      <a:pt x="1" y="67"/>
                    </a:lnTo>
                    <a:lnTo>
                      <a:pt x="4" y="64"/>
                    </a:lnTo>
                    <a:lnTo>
                      <a:pt x="6" y="64"/>
                    </a:lnTo>
                    <a:lnTo>
                      <a:pt x="6" y="64"/>
                    </a:lnTo>
                    <a:lnTo>
                      <a:pt x="12" y="63"/>
                    </a:lnTo>
                    <a:lnTo>
                      <a:pt x="12" y="63"/>
                    </a:lnTo>
                    <a:lnTo>
                      <a:pt x="12" y="63"/>
                    </a:lnTo>
                    <a:lnTo>
                      <a:pt x="9" y="64"/>
                    </a:lnTo>
                    <a:lnTo>
                      <a:pt x="9" y="66"/>
                    </a:lnTo>
                    <a:lnTo>
                      <a:pt x="14" y="62"/>
                    </a:lnTo>
                    <a:lnTo>
                      <a:pt x="16" y="62"/>
                    </a:lnTo>
                    <a:lnTo>
                      <a:pt x="20" y="64"/>
                    </a:lnTo>
                    <a:lnTo>
                      <a:pt x="20" y="64"/>
                    </a:lnTo>
                    <a:lnTo>
                      <a:pt x="18" y="67"/>
                    </a:lnTo>
                    <a:lnTo>
                      <a:pt x="20" y="66"/>
                    </a:lnTo>
                    <a:lnTo>
                      <a:pt x="21" y="67"/>
                    </a:lnTo>
                    <a:lnTo>
                      <a:pt x="21" y="67"/>
                    </a:lnTo>
                    <a:lnTo>
                      <a:pt x="21" y="64"/>
                    </a:lnTo>
                    <a:lnTo>
                      <a:pt x="23" y="62"/>
                    </a:lnTo>
                    <a:lnTo>
                      <a:pt x="23" y="62"/>
                    </a:lnTo>
                    <a:lnTo>
                      <a:pt x="23" y="62"/>
                    </a:lnTo>
                    <a:lnTo>
                      <a:pt x="23" y="62"/>
                    </a:lnTo>
                    <a:lnTo>
                      <a:pt x="23" y="62"/>
                    </a:lnTo>
                    <a:lnTo>
                      <a:pt x="23" y="62"/>
                    </a:lnTo>
                    <a:lnTo>
                      <a:pt x="23" y="62"/>
                    </a:lnTo>
                    <a:lnTo>
                      <a:pt x="26" y="58"/>
                    </a:lnTo>
                    <a:lnTo>
                      <a:pt x="26" y="58"/>
                    </a:lnTo>
                    <a:lnTo>
                      <a:pt x="29" y="57"/>
                    </a:lnTo>
                    <a:lnTo>
                      <a:pt x="31" y="55"/>
                    </a:lnTo>
                    <a:lnTo>
                      <a:pt x="31" y="55"/>
                    </a:lnTo>
                    <a:lnTo>
                      <a:pt x="31" y="54"/>
                    </a:lnTo>
                    <a:lnTo>
                      <a:pt x="31" y="54"/>
                    </a:lnTo>
                    <a:lnTo>
                      <a:pt x="34" y="49"/>
                    </a:lnTo>
                    <a:lnTo>
                      <a:pt x="34" y="49"/>
                    </a:lnTo>
                    <a:lnTo>
                      <a:pt x="33" y="49"/>
                    </a:lnTo>
                    <a:lnTo>
                      <a:pt x="33" y="49"/>
                    </a:lnTo>
                    <a:lnTo>
                      <a:pt x="34" y="47"/>
                    </a:lnTo>
                    <a:lnTo>
                      <a:pt x="34" y="45"/>
                    </a:lnTo>
                    <a:lnTo>
                      <a:pt x="39" y="38"/>
                    </a:lnTo>
                    <a:lnTo>
                      <a:pt x="43" y="38"/>
                    </a:lnTo>
                    <a:lnTo>
                      <a:pt x="49" y="34"/>
                    </a:lnTo>
                    <a:lnTo>
                      <a:pt x="49" y="34"/>
                    </a:lnTo>
                    <a:lnTo>
                      <a:pt x="49" y="34"/>
                    </a:lnTo>
                    <a:lnTo>
                      <a:pt x="51" y="34"/>
                    </a:lnTo>
                    <a:lnTo>
                      <a:pt x="54" y="34"/>
                    </a:lnTo>
                    <a:lnTo>
                      <a:pt x="54" y="34"/>
                    </a:lnTo>
                    <a:lnTo>
                      <a:pt x="55" y="34"/>
                    </a:lnTo>
                    <a:lnTo>
                      <a:pt x="55" y="34"/>
                    </a:lnTo>
                    <a:lnTo>
                      <a:pt x="58" y="35"/>
                    </a:lnTo>
                    <a:lnTo>
                      <a:pt x="60" y="35"/>
                    </a:lnTo>
                    <a:lnTo>
                      <a:pt x="60" y="35"/>
                    </a:lnTo>
                    <a:lnTo>
                      <a:pt x="62" y="35"/>
                    </a:lnTo>
                    <a:lnTo>
                      <a:pt x="62" y="35"/>
                    </a:lnTo>
                    <a:lnTo>
                      <a:pt x="63" y="37"/>
                    </a:lnTo>
                    <a:lnTo>
                      <a:pt x="63" y="37"/>
                    </a:lnTo>
                    <a:lnTo>
                      <a:pt x="68" y="35"/>
                    </a:lnTo>
                    <a:lnTo>
                      <a:pt x="72" y="33"/>
                    </a:lnTo>
                    <a:lnTo>
                      <a:pt x="72" y="33"/>
                    </a:lnTo>
                    <a:lnTo>
                      <a:pt x="79" y="30"/>
                    </a:lnTo>
                    <a:lnTo>
                      <a:pt x="87" y="29"/>
                    </a:lnTo>
                    <a:lnTo>
                      <a:pt x="87" y="29"/>
                    </a:lnTo>
                    <a:lnTo>
                      <a:pt x="90" y="29"/>
                    </a:lnTo>
                    <a:lnTo>
                      <a:pt x="90" y="29"/>
                    </a:lnTo>
                    <a:lnTo>
                      <a:pt x="94" y="29"/>
                    </a:lnTo>
                    <a:lnTo>
                      <a:pt x="98" y="31"/>
                    </a:lnTo>
                    <a:lnTo>
                      <a:pt x="99" y="31"/>
                    </a:lnTo>
                    <a:lnTo>
                      <a:pt x="99" y="31"/>
                    </a:lnTo>
                    <a:lnTo>
                      <a:pt x="99" y="31"/>
                    </a:lnTo>
                    <a:lnTo>
                      <a:pt x="99" y="31"/>
                    </a:lnTo>
                    <a:lnTo>
                      <a:pt x="99" y="31"/>
                    </a:lnTo>
                    <a:lnTo>
                      <a:pt x="100" y="31"/>
                    </a:lnTo>
                    <a:lnTo>
                      <a:pt x="100" y="31"/>
                    </a:lnTo>
                    <a:lnTo>
                      <a:pt x="101" y="31"/>
                    </a:lnTo>
                    <a:lnTo>
                      <a:pt x="101" y="31"/>
                    </a:lnTo>
                    <a:lnTo>
                      <a:pt x="104" y="31"/>
                    </a:lnTo>
                    <a:lnTo>
                      <a:pt x="107" y="33"/>
                    </a:lnTo>
                    <a:lnTo>
                      <a:pt x="107" y="33"/>
                    </a:lnTo>
                    <a:lnTo>
                      <a:pt x="108" y="31"/>
                    </a:lnTo>
                    <a:lnTo>
                      <a:pt x="108" y="31"/>
                    </a:lnTo>
                    <a:lnTo>
                      <a:pt x="111" y="33"/>
                    </a:lnTo>
                    <a:lnTo>
                      <a:pt x="111" y="33"/>
                    </a:lnTo>
                    <a:lnTo>
                      <a:pt x="112" y="33"/>
                    </a:lnTo>
                    <a:lnTo>
                      <a:pt x="112" y="33"/>
                    </a:lnTo>
                    <a:lnTo>
                      <a:pt x="111" y="33"/>
                    </a:lnTo>
                    <a:lnTo>
                      <a:pt x="108" y="34"/>
                    </a:lnTo>
                    <a:lnTo>
                      <a:pt x="108" y="34"/>
                    </a:lnTo>
                    <a:lnTo>
                      <a:pt x="107" y="38"/>
                    </a:lnTo>
                    <a:lnTo>
                      <a:pt x="113" y="31"/>
                    </a:lnTo>
                    <a:lnTo>
                      <a:pt x="113" y="31"/>
                    </a:lnTo>
                    <a:lnTo>
                      <a:pt x="113" y="31"/>
                    </a:lnTo>
                    <a:lnTo>
                      <a:pt x="113" y="31"/>
                    </a:lnTo>
                    <a:lnTo>
                      <a:pt x="112" y="31"/>
                    </a:lnTo>
                    <a:lnTo>
                      <a:pt x="112" y="31"/>
                    </a:lnTo>
                    <a:lnTo>
                      <a:pt x="115" y="30"/>
                    </a:lnTo>
                    <a:lnTo>
                      <a:pt x="117" y="30"/>
                    </a:lnTo>
                    <a:lnTo>
                      <a:pt x="119" y="30"/>
                    </a:lnTo>
                    <a:lnTo>
                      <a:pt x="119" y="30"/>
                    </a:lnTo>
                    <a:lnTo>
                      <a:pt x="121" y="29"/>
                    </a:lnTo>
                    <a:lnTo>
                      <a:pt x="125" y="27"/>
                    </a:lnTo>
                    <a:lnTo>
                      <a:pt x="127" y="26"/>
                    </a:lnTo>
                    <a:lnTo>
                      <a:pt x="127" y="26"/>
                    </a:lnTo>
                    <a:lnTo>
                      <a:pt x="131" y="25"/>
                    </a:lnTo>
                    <a:lnTo>
                      <a:pt x="135" y="25"/>
                    </a:lnTo>
                    <a:lnTo>
                      <a:pt x="135" y="25"/>
                    </a:lnTo>
                    <a:lnTo>
                      <a:pt x="137" y="27"/>
                    </a:lnTo>
                    <a:lnTo>
                      <a:pt x="137" y="27"/>
                    </a:lnTo>
                    <a:lnTo>
                      <a:pt x="137" y="29"/>
                    </a:lnTo>
                    <a:lnTo>
                      <a:pt x="136" y="31"/>
                    </a:lnTo>
                    <a:lnTo>
                      <a:pt x="138" y="29"/>
                    </a:lnTo>
                    <a:lnTo>
                      <a:pt x="141" y="31"/>
                    </a:lnTo>
                    <a:lnTo>
                      <a:pt x="141" y="31"/>
                    </a:lnTo>
                    <a:lnTo>
                      <a:pt x="141" y="29"/>
                    </a:lnTo>
                    <a:lnTo>
                      <a:pt x="140" y="27"/>
                    </a:lnTo>
                    <a:lnTo>
                      <a:pt x="141" y="26"/>
                    </a:lnTo>
                    <a:lnTo>
                      <a:pt x="140" y="26"/>
                    </a:lnTo>
                    <a:lnTo>
                      <a:pt x="140" y="26"/>
                    </a:lnTo>
                    <a:lnTo>
                      <a:pt x="145" y="23"/>
                    </a:lnTo>
                    <a:lnTo>
                      <a:pt x="149" y="23"/>
                    </a:lnTo>
                    <a:lnTo>
                      <a:pt x="149" y="23"/>
                    </a:lnTo>
                    <a:lnTo>
                      <a:pt x="152" y="22"/>
                    </a:lnTo>
                    <a:lnTo>
                      <a:pt x="152" y="22"/>
                    </a:lnTo>
                    <a:lnTo>
                      <a:pt x="152" y="23"/>
                    </a:lnTo>
                    <a:lnTo>
                      <a:pt x="153" y="22"/>
                    </a:lnTo>
                    <a:lnTo>
                      <a:pt x="153" y="22"/>
                    </a:lnTo>
                    <a:lnTo>
                      <a:pt x="158" y="20"/>
                    </a:lnTo>
                    <a:lnTo>
                      <a:pt x="162" y="17"/>
                    </a:lnTo>
                    <a:lnTo>
                      <a:pt x="162" y="17"/>
                    </a:lnTo>
                    <a:lnTo>
                      <a:pt x="165" y="16"/>
                    </a:lnTo>
                    <a:lnTo>
                      <a:pt x="166" y="14"/>
                    </a:lnTo>
                    <a:lnTo>
                      <a:pt x="166" y="14"/>
                    </a:lnTo>
                    <a:lnTo>
                      <a:pt x="166" y="14"/>
                    </a:lnTo>
                    <a:lnTo>
                      <a:pt x="166" y="14"/>
                    </a:lnTo>
                    <a:lnTo>
                      <a:pt x="169" y="13"/>
                    </a:lnTo>
                    <a:lnTo>
                      <a:pt x="173" y="12"/>
                    </a:lnTo>
                    <a:lnTo>
                      <a:pt x="173" y="12"/>
                    </a:lnTo>
                    <a:lnTo>
                      <a:pt x="181" y="9"/>
                    </a:lnTo>
                    <a:lnTo>
                      <a:pt x="181" y="9"/>
                    </a:lnTo>
                    <a:lnTo>
                      <a:pt x="187" y="6"/>
                    </a:lnTo>
                    <a:lnTo>
                      <a:pt x="190" y="2"/>
                    </a:lnTo>
                    <a:lnTo>
                      <a:pt x="197" y="0"/>
                    </a:lnTo>
                    <a:lnTo>
                      <a:pt x="197" y="0"/>
                    </a:lnTo>
                    <a:lnTo>
                      <a:pt x="199" y="0"/>
                    </a:lnTo>
                    <a:lnTo>
                      <a:pt x="202" y="2"/>
                    </a:lnTo>
                    <a:lnTo>
                      <a:pt x="205" y="5"/>
                    </a:lnTo>
                    <a:lnTo>
                      <a:pt x="205" y="5"/>
                    </a:lnTo>
                    <a:lnTo>
                      <a:pt x="206" y="6"/>
                    </a:lnTo>
                    <a:lnTo>
                      <a:pt x="207" y="9"/>
                    </a:lnTo>
                    <a:lnTo>
                      <a:pt x="207" y="9"/>
                    </a:lnTo>
                    <a:lnTo>
                      <a:pt x="207" y="9"/>
                    </a:lnTo>
                    <a:lnTo>
                      <a:pt x="210" y="12"/>
                    </a:lnTo>
                    <a:lnTo>
                      <a:pt x="210" y="12"/>
                    </a:lnTo>
                    <a:lnTo>
                      <a:pt x="211" y="13"/>
                    </a:lnTo>
                    <a:lnTo>
                      <a:pt x="214" y="16"/>
                    </a:lnTo>
                    <a:lnTo>
                      <a:pt x="215" y="16"/>
                    </a:lnTo>
                    <a:lnTo>
                      <a:pt x="215" y="16"/>
                    </a:lnTo>
                    <a:lnTo>
                      <a:pt x="217" y="18"/>
                    </a:lnTo>
                    <a:lnTo>
                      <a:pt x="218" y="20"/>
                    </a:lnTo>
                    <a:lnTo>
                      <a:pt x="219" y="25"/>
                    </a:lnTo>
                    <a:lnTo>
                      <a:pt x="219" y="25"/>
                    </a:lnTo>
                    <a:lnTo>
                      <a:pt x="219" y="27"/>
                    </a:lnTo>
                    <a:lnTo>
                      <a:pt x="220" y="30"/>
                    </a:lnTo>
                    <a:lnTo>
                      <a:pt x="220" y="42"/>
                    </a:lnTo>
                    <a:lnTo>
                      <a:pt x="219" y="46"/>
                    </a:lnTo>
                    <a:lnTo>
                      <a:pt x="219" y="46"/>
                    </a:lnTo>
                    <a:lnTo>
                      <a:pt x="218" y="49"/>
                    </a:lnTo>
                    <a:lnTo>
                      <a:pt x="218" y="51"/>
                    </a:lnTo>
                    <a:lnTo>
                      <a:pt x="218" y="51"/>
                    </a:lnTo>
                    <a:lnTo>
                      <a:pt x="218" y="55"/>
                    </a:lnTo>
                    <a:lnTo>
                      <a:pt x="219" y="58"/>
                    </a:lnTo>
                    <a:lnTo>
                      <a:pt x="222" y="62"/>
                    </a:lnTo>
                    <a:lnTo>
                      <a:pt x="222" y="62"/>
                    </a:lnTo>
                    <a:lnTo>
                      <a:pt x="222" y="62"/>
                    </a:lnTo>
                    <a:lnTo>
                      <a:pt x="222" y="63"/>
                    </a:lnTo>
                    <a:lnTo>
                      <a:pt x="222" y="63"/>
                    </a:lnTo>
                    <a:lnTo>
                      <a:pt x="222" y="67"/>
                    </a:lnTo>
                    <a:lnTo>
                      <a:pt x="223" y="67"/>
                    </a:lnTo>
                    <a:lnTo>
                      <a:pt x="223" y="68"/>
                    </a:lnTo>
                    <a:lnTo>
                      <a:pt x="223" y="68"/>
                    </a:lnTo>
                    <a:lnTo>
                      <a:pt x="224" y="71"/>
                    </a:lnTo>
                    <a:lnTo>
                      <a:pt x="228" y="74"/>
                    </a:lnTo>
                    <a:lnTo>
                      <a:pt x="228" y="74"/>
                    </a:lnTo>
                    <a:lnTo>
                      <a:pt x="230" y="76"/>
                    </a:lnTo>
                    <a:lnTo>
                      <a:pt x="231" y="78"/>
                    </a:lnTo>
                    <a:lnTo>
                      <a:pt x="231" y="78"/>
                    </a:lnTo>
                    <a:lnTo>
                      <a:pt x="232" y="78"/>
                    </a:lnTo>
                    <a:lnTo>
                      <a:pt x="232" y="78"/>
                    </a:lnTo>
                    <a:lnTo>
                      <a:pt x="236" y="78"/>
                    </a:lnTo>
                    <a:lnTo>
                      <a:pt x="238" y="79"/>
                    </a:lnTo>
                    <a:lnTo>
                      <a:pt x="238" y="79"/>
                    </a:lnTo>
                    <a:lnTo>
                      <a:pt x="238" y="79"/>
                    </a:lnTo>
                    <a:lnTo>
                      <a:pt x="238" y="79"/>
                    </a:lnTo>
                    <a:lnTo>
                      <a:pt x="238" y="79"/>
                    </a:lnTo>
                    <a:lnTo>
                      <a:pt x="244" y="87"/>
                    </a:lnTo>
                    <a:lnTo>
                      <a:pt x="244" y="87"/>
                    </a:lnTo>
                    <a:lnTo>
                      <a:pt x="244" y="86"/>
                    </a:lnTo>
                    <a:lnTo>
                      <a:pt x="246" y="86"/>
                    </a:lnTo>
                    <a:lnTo>
                      <a:pt x="246" y="86"/>
                    </a:lnTo>
                    <a:lnTo>
                      <a:pt x="246" y="86"/>
                    </a:lnTo>
                    <a:lnTo>
                      <a:pt x="246" y="86"/>
                    </a:lnTo>
                    <a:lnTo>
                      <a:pt x="246" y="87"/>
                    </a:lnTo>
                    <a:lnTo>
                      <a:pt x="246" y="87"/>
                    </a:lnTo>
                    <a:lnTo>
                      <a:pt x="246" y="86"/>
                    </a:lnTo>
                    <a:lnTo>
                      <a:pt x="252" y="80"/>
                    </a:lnTo>
                    <a:lnTo>
                      <a:pt x="252" y="80"/>
                    </a:lnTo>
                    <a:lnTo>
                      <a:pt x="255" y="82"/>
                    </a:lnTo>
                    <a:lnTo>
                      <a:pt x="257" y="83"/>
                    </a:lnTo>
                    <a:lnTo>
                      <a:pt x="260" y="86"/>
                    </a:lnTo>
                    <a:lnTo>
                      <a:pt x="260" y="86"/>
                    </a:lnTo>
                    <a:lnTo>
                      <a:pt x="260" y="87"/>
                    </a:lnTo>
                    <a:lnTo>
                      <a:pt x="260" y="87"/>
                    </a:lnTo>
                    <a:lnTo>
                      <a:pt x="259" y="86"/>
                    </a:lnTo>
                    <a:lnTo>
                      <a:pt x="263" y="91"/>
                    </a:lnTo>
                    <a:lnTo>
                      <a:pt x="263" y="91"/>
                    </a:lnTo>
                    <a:lnTo>
                      <a:pt x="263" y="95"/>
                    </a:lnTo>
                    <a:lnTo>
                      <a:pt x="261" y="98"/>
                    </a:lnTo>
                    <a:lnTo>
                      <a:pt x="261" y="98"/>
                    </a:lnTo>
                    <a:lnTo>
                      <a:pt x="261" y="98"/>
                    </a:lnTo>
                    <a:lnTo>
                      <a:pt x="261" y="101"/>
                    </a:lnTo>
                    <a:lnTo>
                      <a:pt x="261" y="104"/>
                    </a:lnTo>
                    <a:lnTo>
                      <a:pt x="256" y="108"/>
                    </a:lnTo>
                    <a:lnTo>
                      <a:pt x="256" y="108"/>
                    </a:lnTo>
                    <a:lnTo>
                      <a:pt x="256" y="109"/>
                    </a:lnTo>
                    <a:lnTo>
                      <a:pt x="250" y="115"/>
                    </a:lnTo>
                    <a:lnTo>
                      <a:pt x="250" y="115"/>
                    </a:lnTo>
                    <a:lnTo>
                      <a:pt x="248" y="115"/>
                    </a:lnTo>
                    <a:lnTo>
                      <a:pt x="248" y="115"/>
                    </a:lnTo>
                    <a:lnTo>
                      <a:pt x="247" y="115"/>
                    </a:lnTo>
                    <a:lnTo>
                      <a:pt x="247" y="115"/>
                    </a:lnTo>
                    <a:lnTo>
                      <a:pt x="248" y="115"/>
                    </a:lnTo>
                    <a:lnTo>
                      <a:pt x="250" y="111"/>
                    </a:lnTo>
                    <a:lnTo>
                      <a:pt x="246" y="116"/>
                    </a:lnTo>
                    <a:lnTo>
                      <a:pt x="246" y="116"/>
                    </a:lnTo>
                    <a:lnTo>
                      <a:pt x="246" y="116"/>
                    </a:lnTo>
                    <a:lnTo>
                      <a:pt x="243" y="119"/>
                    </a:lnTo>
                    <a:lnTo>
                      <a:pt x="240" y="120"/>
                    </a:lnTo>
                    <a:lnTo>
                      <a:pt x="240" y="120"/>
                    </a:lnTo>
                    <a:lnTo>
                      <a:pt x="239" y="121"/>
                    </a:lnTo>
                    <a:lnTo>
                      <a:pt x="239" y="121"/>
                    </a:lnTo>
                    <a:lnTo>
                      <a:pt x="236" y="124"/>
                    </a:lnTo>
                    <a:lnTo>
                      <a:pt x="236" y="124"/>
                    </a:lnTo>
                    <a:lnTo>
                      <a:pt x="236" y="124"/>
                    </a:lnTo>
                    <a:lnTo>
                      <a:pt x="235" y="132"/>
                    </a:lnTo>
                    <a:lnTo>
                      <a:pt x="232" y="138"/>
                    </a:lnTo>
                    <a:lnTo>
                      <a:pt x="228" y="142"/>
                    </a:lnTo>
                    <a:lnTo>
                      <a:pt x="224" y="145"/>
                    </a:lnTo>
                    <a:lnTo>
                      <a:pt x="224" y="145"/>
                    </a:lnTo>
                    <a:lnTo>
                      <a:pt x="224" y="145"/>
                    </a:lnTo>
                    <a:lnTo>
                      <a:pt x="224" y="145"/>
                    </a:lnTo>
                    <a:lnTo>
                      <a:pt x="223" y="148"/>
                    </a:lnTo>
                    <a:lnTo>
                      <a:pt x="223" y="148"/>
                    </a:lnTo>
                    <a:lnTo>
                      <a:pt x="224" y="150"/>
                    </a:lnTo>
                    <a:lnTo>
                      <a:pt x="224" y="154"/>
                    </a:lnTo>
                    <a:lnTo>
                      <a:pt x="218" y="160"/>
                    </a:lnTo>
                    <a:lnTo>
                      <a:pt x="218" y="160"/>
                    </a:lnTo>
                    <a:lnTo>
                      <a:pt x="219" y="160"/>
                    </a:lnTo>
                    <a:lnTo>
                      <a:pt x="218" y="161"/>
                    </a:lnTo>
                    <a:lnTo>
                      <a:pt x="218" y="161"/>
                    </a:lnTo>
                    <a:lnTo>
                      <a:pt x="219" y="162"/>
                    </a:lnTo>
                    <a:lnTo>
                      <a:pt x="219" y="162"/>
                    </a:lnTo>
                    <a:lnTo>
                      <a:pt x="220" y="166"/>
                    </a:lnTo>
                    <a:lnTo>
                      <a:pt x="223" y="166"/>
                    </a:lnTo>
                    <a:lnTo>
                      <a:pt x="223" y="166"/>
                    </a:lnTo>
                    <a:lnTo>
                      <a:pt x="230" y="173"/>
                    </a:lnTo>
                    <a:lnTo>
                      <a:pt x="230" y="174"/>
                    </a:lnTo>
                    <a:lnTo>
                      <a:pt x="230" y="174"/>
                    </a:lnTo>
                    <a:lnTo>
                      <a:pt x="231" y="173"/>
                    </a:lnTo>
                    <a:lnTo>
                      <a:pt x="231" y="173"/>
                    </a:lnTo>
                    <a:lnTo>
                      <a:pt x="230" y="174"/>
                    </a:lnTo>
                    <a:lnTo>
                      <a:pt x="230" y="174"/>
                    </a:lnTo>
                    <a:lnTo>
                      <a:pt x="235" y="170"/>
                    </a:lnTo>
                    <a:lnTo>
                      <a:pt x="235" y="170"/>
                    </a:lnTo>
                    <a:lnTo>
                      <a:pt x="239" y="170"/>
                    </a:lnTo>
                    <a:lnTo>
                      <a:pt x="239" y="170"/>
                    </a:lnTo>
                    <a:lnTo>
                      <a:pt x="247" y="172"/>
                    </a:lnTo>
                    <a:lnTo>
                      <a:pt x="251" y="173"/>
                    </a:lnTo>
                    <a:lnTo>
                      <a:pt x="254" y="176"/>
                    </a:lnTo>
                    <a:lnTo>
                      <a:pt x="254" y="176"/>
                    </a:lnTo>
                    <a:lnTo>
                      <a:pt x="254" y="176"/>
                    </a:lnTo>
                    <a:lnTo>
                      <a:pt x="256" y="176"/>
                    </a:lnTo>
                    <a:lnTo>
                      <a:pt x="256" y="176"/>
                    </a:lnTo>
                    <a:lnTo>
                      <a:pt x="259" y="176"/>
                    </a:lnTo>
                    <a:lnTo>
                      <a:pt x="259" y="176"/>
                    </a:lnTo>
                    <a:lnTo>
                      <a:pt x="263" y="179"/>
                    </a:lnTo>
                    <a:lnTo>
                      <a:pt x="265" y="182"/>
                    </a:lnTo>
                    <a:lnTo>
                      <a:pt x="265" y="182"/>
                    </a:lnTo>
                    <a:lnTo>
                      <a:pt x="268" y="185"/>
                    </a:lnTo>
                    <a:lnTo>
                      <a:pt x="268" y="185"/>
                    </a:lnTo>
                    <a:lnTo>
                      <a:pt x="269" y="183"/>
                    </a:lnTo>
                    <a:lnTo>
                      <a:pt x="269" y="183"/>
                    </a:lnTo>
                    <a:lnTo>
                      <a:pt x="272" y="181"/>
                    </a:lnTo>
                    <a:lnTo>
                      <a:pt x="276" y="179"/>
                    </a:lnTo>
                    <a:lnTo>
                      <a:pt x="277" y="179"/>
                    </a:lnTo>
                    <a:lnTo>
                      <a:pt x="277" y="179"/>
                    </a:lnTo>
                    <a:lnTo>
                      <a:pt x="277" y="179"/>
                    </a:lnTo>
                    <a:lnTo>
                      <a:pt x="277" y="179"/>
                    </a:lnTo>
                    <a:lnTo>
                      <a:pt x="276" y="181"/>
                    </a:lnTo>
                    <a:lnTo>
                      <a:pt x="281" y="177"/>
                    </a:lnTo>
                    <a:lnTo>
                      <a:pt x="284" y="177"/>
                    </a:lnTo>
                    <a:lnTo>
                      <a:pt x="285" y="179"/>
                    </a:lnTo>
                    <a:lnTo>
                      <a:pt x="285" y="179"/>
                    </a:lnTo>
                    <a:lnTo>
                      <a:pt x="284" y="181"/>
                    </a:lnTo>
                    <a:lnTo>
                      <a:pt x="284" y="181"/>
                    </a:lnTo>
                    <a:lnTo>
                      <a:pt x="284" y="183"/>
                    </a:lnTo>
                    <a:lnTo>
                      <a:pt x="284" y="185"/>
                    </a:lnTo>
                    <a:lnTo>
                      <a:pt x="287" y="181"/>
                    </a:lnTo>
                    <a:lnTo>
                      <a:pt x="291" y="185"/>
                    </a:lnTo>
                    <a:lnTo>
                      <a:pt x="291" y="185"/>
                    </a:lnTo>
                    <a:lnTo>
                      <a:pt x="291" y="183"/>
                    </a:lnTo>
                    <a:lnTo>
                      <a:pt x="289" y="181"/>
                    </a:lnTo>
                    <a:lnTo>
                      <a:pt x="289" y="181"/>
                    </a:lnTo>
                    <a:lnTo>
                      <a:pt x="288" y="179"/>
                    </a:lnTo>
                    <a:lnTo>
                      <a:pt x="289" y="177"/>
                    </a:lnTo>
                    <a:lnTo>
                      <a:pt x="291" y="177"/>
                    </a:lnTo>
                    <a:lnTo>
                      <a:pt x="291" y="177"/>
                    </a:lnTo>
                    <a:lnTo>
                      <a:pt x="295" y="176"/>
                    </a:lnTo>
                    <a:lnTo>
                      <a:pt x="298" y="173"/>
                    </a:lnTo>
                    <a:lnTo>
                      <a:pt x="300" y="173"/>
                    </a:lnTo>
                    <a:lnTo>
                      <a:pt x="300" y="173"/>
                    </a:lnTo>
                    <a:lnTo>
                      <a:pt x="301" y="173"/>
                    </a:lnTo>
                    <a:lnTo>
                      <a:pt x="301" y="173"/>
                    </a:lnTo>
                    <a:lnTo>
                      <a:pt x="306" y="174"/>
                    </a:lnTo>
                    <a:lnTo>
                      <a:pt x="309" y="176"/>
                    </a:lnTo>
                    <a:lnTo>
                      <a:pt x="312" y="178"/>
                    </a:lnTo>
                    <a:lnTo>
                      <a:pt x="312" y="178"/>
                    </a:lnTo>
                    <a:lnTo>
                      <a:pt x="312" y="178"/>
                    </a:lnTo>
                    <a:lnTo>
                      <a:pt x="312" y="179"/>
                    </a:lnTo>
                    <a:lnTo>
                      <a:pt x="312" y="179"/>
                    </a:lnTo>
                    <a:lnTo>
                      <a:pt x="316" y="181"/>
                    </a:lnTo>
                    <a:lnTo>
                      <a:pt x="318" y="182"/>
                    </a:lnTo>
                    <a:lnTo>
                      <a:pt x="318" y="182"/>
                    </a:lnTo>
                    <a:lnTo>
                      <a:pt x="318" y="182"/>
                    </a:lnTo>
                    <a:lnTo>
                      <a:pt x="320" y="182"/>
                    </a:lnTo>
                    <a:lnTo>
                      <a:pt x="325" y="183"/>
                    </a:lnTo>
                    <a:lnTo>
                      <a:pt x="325" y="183"/>
                    </a:lnTo>
                    <a:lnTo>
                      <a:pt x="328" y="187"/>
                    </a:lnTo>
                    <a:lnTo>
                      <a:pt x="330" y="191"/>
                    </a:lnTo>
                    <a:lnTo>
                      <a:pt x="330" y="193"/>
                    </a:lnTo>
                    <a:lnTo>
                      <a:pt x="330" y="193"/>
                    </a:lnTo>
                    <a:lnTo>
                      <a:pt x="333" y="193"/>
                    </a:lnTo>
                    <a:lnTo>
                      <a:pt x="334" y="193"/>
                    </a:lnTo>
                    <a:lnTo>
                      <a:pt x="335" y="193"/>
                    </a:lnTo>
                    <a:lnTo>
                      <a:pt x="335" y="193"/>
                    </a:lnTo>
                    <a:lnTo>
                      <a:pt x="337" y="193"/>
                    </a:lnTo>
                    <a:lnTo>
                      <a:pt x="337" y="193"/>
                    </a:lnTo>
                    <a:lnTo>
                      <a:pt x="339" y="191"/>
                    </a:lnTo>
                    <a:lnTo>
                      <a:pt x="339" y="191"/>
                    </a:lnTo>
                    <a:lnTo>
                      <a:pt x="345" y="191"/>
                    </a:lnTo>
                    <a:lnTo>
                      <a:pt x="351" y="197"/>
                    </a:lnTo>
                    <a:lnTo>
                      <a:pt x="351" y="197"/>
                    </a:lnTo>
                    <a:lnTo>
                      <a:pt x="354" y="198"/>
                    </a:lnTo>
                    <a:lnTo>
                      <a:pt x="355" y="198"/>
                    </a:lnTo>
                    <a:lnTo>
                      <a:pt x="355" y="198"/>
                    </a:lnTo>
                    <a:lnTo>
                      <a:pt x="359" y="201"/>
                    </a:lnTo>
                    <a:lnTo>
                      <a:pt x="359" y="201"/>
                    </a:lnTo>
                    <a:lnTo>
                      <a:pt x="361" y="203"/>
                    </a:lnTo>
                    <a:lnTo>
                      <a:pt x="363" y="202"/>
                    </a:lnTo>
                    <a:lnTo>
                      <a:pt x="366" y="202"/>
                    </a:lnTo>
                    <a:lnTo>
                      <a:pt x="366" y="202"/>
                    </a:lnTo>
                    <a:lnTo>
                      <a:pt x="369" y="201"/>
                    </a:lnTo>
                    <a:lnTo>
                      <a:pt x="373" y="199"/>
                    </a:lnTo>
                    <a:lnTo>
                      <a:pt x="378" y="206"/>
                    </a:lnTo>
                    <a:lnTo>
                      <a:pt x="378" y="206"/>
                    </a:lnTo>
                    <a:lnTo>
                      <a:pt x="378" y="206"/>
                    </a:lnTo>
                    <a:lnTo>
                      <a:pt x="380" y="209"/>
                    </a:lnTo>
                    <a:lnTo>
                      <a:pt x="380" y="209"/>
                    </a:lnTo>
                    <a:lnTo>
                      <a:pt x="384" y="211"/>
                    </a:lnTo>
                    <a:lnTo>
                      <a:pt x="387" y="215"/>
                    </a:lnTo>
                    <a:lnTo>
                      <a:pt x="388" y="214"/>
                    </a:lnTo>
                    <a:lnTo>
                      <a:pt x="390" y="214"/>
                    </a:lnTo>
                    <a:lnTo>
                      <a:pt x="396" y="219"/>
                    </a:lnTo>
                    <a:lnTo>
                      <a:pt x="396" y="219"/>
                    </a:lnTo>
                    <a:lnTo>
                      <a:pt x="396" y="222"/>
                    </a:lnTo>
                    <a:lnTo>
                      <a:pt x="398" y="223"/>
                    </a:lnTo>
                    <a:lnTo>
                      <a:pt x="403" y="227"/>
                    </a:lnTo>
                    <a:lnTo>
                      <a:pt x="403" y="227"/>
                    </a:lnTo>
                    <a:lnTo>
                      <a:pt x="407" y="228"/>
                    </a:lnTo>
                    <a:lnTo>
                      <a:pt x="407" y="228"/>
                    </a:lnTo>
                    <a:lnTo>
                      <a:pt x="410" y="230"/>
                    </a:lnTo>
                    <a:lnTo>
                      <a:pt x="412" y="234"/>
                    </a:lnTo>
                    <a:lnTo>
                      <a:pt x="412" y="234"/>
                    </a:lnTo>
                    <a:lnTo>
                      <a:pt x="412" y="232"/>
                    </a:lnTo>
                    <a:lnTo>
                      <a:pt x="410" y="231"/>
                    </a:lnTo>
                    <a:lnTo>
                      <a:pt x="415" y="238"/>
                    </a:lnTo>
                    <a:lnTo>
                      <a:pt x="415" y="238"/>
                    </a:lnTo>
                    <a:lnTo>
                      <a:pt x="414" y="235"/>
                    </a:lnTo>
                    <a:lnTo>
                      <a:pt x="414" y="235"/>
                    </a:lnTo>
                    <a:lnTo>
                      <a:pt x="414" y="236"/>
                    </a:lnTo>
                    <a:lnTo>
                      <a:pt x="414" y="236"/>
                    </a:lnTo>
                    <a:lnTo>
                      <a:pt x="416" y="236"/>
                    </a:lnTo>
                    <a:lnTo>
                      <a:pt x="416" y="236"/>
                    </a:lnTo>
                    <a:lnTo>
                      <a:pt x="423" y="239"/>
                    </a:lnTo>
                    <a:lnTo>
                      <a:pt x="427" y="243"/>
                    </a:lnTo>
                    <a:lnTo>
                      <a:pt x="429" y="240"/>
                    </a:lnTo>
                    <a:lnTo>
                      <a:pt x="432" y="240"/>
                    </a:lnTo>
                    <a:lnTo>
                      <a:pt x="433" y="240"/>
                    </a:lnTo>
                    <a:lnTo>
                      <a:pt x="433" y="240"/>
                    </a:lnTo>
                    <a:lnTo>
                      <a:pt x="436" y="243"/>
                    </a:lnTo>
                    <a:lnTo>
                      <a:pt x="439" y="246"/>
                    </a:lnTo>
                    <a:lnTo>
                      <a:pt x="439" y="250"/>
                    </a:lnTo>
                    <a:lnTo>
                      <a:pt x="439" y="250"/>
                    </a:lnTo>
                    <a:lnTo>
                      <a:pt x="439" y="250"/>
                    </a:lnTo>
                    <a:lnTo>
                      <a:pt x="440" y="251"/>
                    </a:lnTo>
                    <a:lnTo>
                      <a:pt x="440" y="251"/>
                    </a:lnTo>
                    <a:lnTo>
                      <a:pt x="440" y="251"/>
                    </a:lnTo>
                    <a:lnTo>
                      <a:pt x="440" y="251"/>
                    </a:lnTo>
                    <a:lnTo>
                      <a:pt x="444" y="254"/>
                    </a:lnTo>
                    <a:lnTo>
                      <a:pt x="448" y="256"/>
                    </a:lnTo>
                    <a:lnTo>
                      <a:pt x="453" y="261"/>
                    </a:lnTo>
                    <a:lnTo>
                      <a:pt x="454" y="263"/>
                    </a:lnTo>
                    <a:lnTo>
                      <a:pt x="456" y="265"/>
                    </a:lnTo>
                    <a:lnTo>
                      <a:pt x="456" y="265"/>
                    </a:lnTo>
                    <a:lnTo>
                      <a:pt x="456" y="272"/>
                    </a:lnTo>
                    <a:lnTo>
                      <a:pt x="453" y="276"/>
                    </a:lnTo>
                    <a:lnTo>
                      <a:pt x="453" y="276"/>
                    </a:lnTo>
                    <a:lnTo>
                      <a:pt x="453" y="276"/>
                    </a:lnTo>
                    <a:lnTo>
                      <a:pt x="453" y="276"/>
                    </a:lnTo>
                    <a:lnTo>
                      <a:pt x="454" y="280"/>
                    </a:lnTo>
                    <a:lnTo>
                      <a:pt x="454" y="284"/>
                    </a:lnTo>
                    <a:lnTo>
                      <a:pt x="454" y="287"/>
                    </a:lnTo>
                    <a:lnTo>
                      <a:pt x="454" y="287"/>
                    </a:lnTo>
                    <a:lnTo>
                      <a:pt x="454" y="287"/>
                    </a:lnTo>
                    <a:lnTo>
                      <a:pt x="454" y="287"/>
                    </a:lnTo>
                    <a:lnTo>
                      <a:pt x="453" y="288"/>
                    </a:lnTo>
                    <a:lnTo>
                      <a:pt x="453" y="288"/>
                    </a:lnTo>
                    <a:lnTo>
                      <a:pt x="452" y="288"/>
                    </a:lnTo>
                    <a:lnTo>
                      <a:pt x="452" y="288"/>
                    </a:lnTo>
                    <a:lnTo>
                      <a:pt x="451" y="287"/>
                    </a:lnTo>
                    <a:lnTo>
                      <a:pt x="448" y="287"/>
                    </a:lnTo>
                    <a:lnTo>
                      <a:pt x="448" y="288"/>
                    </a:lnTo>
                    <a:lnTo>
                      <a:pt x="448" y="287"/>
                    </a:lnTo>
                    <a:lnTo>
                      <a:pt x="448" y="288"/>
                    </a:lnTo>
                    <a:lnTo>
                      <a:pt x="451" y="289"/>
                    </a:lnTo>
                    <a:lnTo>
                      <a:pt x="448" y="291"/>
                    </a:lnTo>
                    <a:lnTo>
                      <a:pt x="448" y="293"/>
                    </a:lnTo>
                    <a:lnTo>
                      <a:pt x="448" y="293"/>
                    </a:lnTo>
                    <a:lnTo>
                      <a:pt x="451" y="292"/>
                    </a:lnTo>
                    <a:lnTo>
                      <a:pt x="452" y="291"/>
                    </a:lnTo>
                    <a:lnTo>
                      <a:pt x="453" y="292"/>
                    </a:lnTo>
                    <a:lnTo>
                      <a:pt x="453" y="292"/>
                    </a:lnTo>
                    <a:lnTo>
                      <a:pt x="452" y="291"/>
                    </a:lnTo>
                    <a:lnTo>
                      <a:pt x="452" y="291"/>
                    </a:lnTo>
                    <a:lnTo>
                      <a:pt x="453" y="289"/>
                    </a:lnTo>
                    <a:lnTo>
                      <a:pt x="453" y="289"/>
                    </a:lnTo>
                    <a:lnTo>
                      <a:pt x="456" y="291"/>
                    </a:lnTo>
                    <a:lnTo>
                      <a:pt x="457" y="293"/>
                    </a:lnTo>
                    <a:lnTo>
                      <a:pt x="460" y="296"/>
                    </a:lnTo>
                    <a:lnTo>
                      <a:pt x="460" y="297"/>
                    </a:lnTo>
                    <a:lnTo>
                      <a:pt x="460" y="297"/>
                    </a:lnTo>
                    <a:lnTo>
                      <a:pt x="460" y="301"/>
                    </a:lnTo>
                    <a:lnTo>
                      <a:pt x="461" y="302"/>
                    </a:lnTo>
                    <a:lnTo>
                      <a:pt x="461" y="302"/>
                    </a:lnTo>
                    <a:lnTo>
                      <a:pt x="464" y="310"/>
                    </a:lnTo>
                    <a:lnTo>
                      <a:pt x="464" y="310"/>
                    </a:lnTo>
                    <a:lnTo>
                      <a:pt x="461" y="316"/>
                    </a:lnTo>
                    <a:lnTo>
                      <a:pt x="458" y="320"/>
                    </a:lnTo>
                    <a:lnTo>
                      <a:pt x="458" y="320"/>
                    </a:lnTo>
                    <a:lnTo>
                      <a:pt x="457" y="322"/>
                    </a:lnTo>
                    <a:lnTo>
                      <a:pt x="456" y="325"/>
                    </a:lnTo>
                    <a:lnTo>
                      <a:pt x="451" y="329"/>
                    </a:lnTo>
                    <a:lnTo>
                      <a:pt x="451" y="329"/>
                    </a:lnTo>
                    <a:lnTo>
                      <a:pt x="451" y="329"/>
                    </a:lnTo>
                    <a:lnTo>
                      <a:pt x="448" y="332"/>
                    </a:lnTo>
                    <a:lnTo>
                      <a:pt x="448" y="332"/>
                    </a:lnTo>
                    <a:lnTo>
                      <a:pt x="447" y="334"/>
                    </a:lnTo>
                    <a:lnTo>
                      <a:pt x="447" y="334"/>
                    </a:lnTo>
                    <a:lnTo>
                      <a:pt x="433" y="347"/>
                    </a:lnTo>
                    <a:lnTo>
                      <a:pt x="433" y="347"/>
                    </a:lnTo>
                    <a:lnTo>
                      <a:pt x="432" y="350"/>
                    </a:lnTo>
                    <a:lnTo>
                      <a:pt x="432" y="350"/>
                    </a:lnTo>
                    <a:lnTo>
                      <a:pt x="429" y="353"/>
                    </a:lnTo>
                    <a:lnTo>
                      <a:pt x="425" y="354"/>
                    </a:lnTo>
                    <a:lnTo>
                      <a:pt x="425" y="354"/>
                    </a:lnTo>
                    <a:lnTo>
                      <a:pt x="424" y="354"/>
                    </a:lnTo>
                    <a:lnTo>
                      <a:pt x="420" y="351"/>
                    </a:lnTo>
                    <a:lnTo>
                      <a:pt x="420" y="351"/>
                    </a:lnTo>
                    <a:lnTo>
                      <a:pt x="416" y="349"/>
                    </a:lnTo>
                    <a:lnTo>
                      <a:pt x="410" y="345"/>
                    </a:lnTo>
                    <a:lnTo>
                      <a:pt x="408" y="345"/>
                    </a:lnTo>
                    <a:lnTo>
                      <a:pt x="402" y="338"/>
                    </a:lnTo>
                    <a:lnTo>
                      <a:pt x="402" y="338"/>
                    </a:lnTo>
                    <a:lnTo>
                      <a:pt x="402" y="338"/>
                    </a:lnTo>
                    <a:lnTo>
                      <a:pt x="402" y="338"/>
                    </a:lnTo>
                    <a:lnTo>
                      <a:pt x="400" y="337"/>
                    </a:lnTo>
                    <a:lnTo>
                      <a:pt x="400" y="337"/>
                    </a:lnTo>
                    <a:lnTo>
                      <a:pt x="396" y="334"/>
                    </a:lnTo>
                    <a:lnTo>
                      <a:pt x="395" y="334"/>
                    </a:lnTo>
                    <a:lnTo>
                      <a:pt x="395" y="334"/>
                    </a:lnTo>
                    <a:lnTo>
                      <a:pt x="395" y="334"/>
                    </a:lnTo>
                    <a:lnTo>
                      <a:pt x="395" y="334"/>
                    </a:lnTo>
                    <a:lnTo>
                      <a:pt x="395" y="334"/>
                    </a:lnTo>
                    <a:lnTo>
                      <a:pt x="395" y="334"/>
                    </a:lnTo>
                    <a:lnTo>
                      <a:pt x="391" y="333"/>
                    </a:lnTo>
                    <a:lnTo>
                      <a:pt x="390" y="332"/>
                    </a:lnTo>
                    <a:lnTo>
                      <a:pt x="390" y="332"/>
                    </a:lnTo>
                    <a:lnTo>
                      <a:pt x="390" y="332"/>
                    </a:lnTo>
                    <a:lnTo>
                      <a:pt x="391" y="333"/>
                    </a:lnTo>
                    <a:lnTo>
                      <a:pt x="388" y="332"/>
                    </a:lnTo>
                    <a:lnTo>
                      <a:pt x="388" y="332"/>
                    </a:lnTo>
                    <a:lnTo>
                      <a:pt x="383" y="328"/>
                    </a:lnTo>
                    <a:lnTo>
                      <a:pt x="380" y="324"/>
                    </a:lnTo>
                    <a:lnTo>
                      <a:pt x="380" y="324"/>
                    </a:lnTo>
                    <a:lnTo>
                      <a:pt x="378" y="322"/>
                    </a:lnTo>
                    <a:lnTo>
                      <a:pt x="378" y="322"/>
                    </a:lnTo>
                    <a:lnTo>
                      <a:pt x="378" y="322"/>
                    </a:lnTo>
                    <a:lnTo>
                      <a:pt x="378" y="322"/>
                    </a:lnTo>
                    <a:lnTo>
                      <a:pt x="378" y="322"/>
                    </a:lnTo>
                    <a:lnTo>
                      <a:pt x="378" y="321"/>
                    </a:lnTo>
                    <a:lnTo>
                      <a:pt x="375" y="324"/>
                    </a:lnTo>
                    <a:lnTo>
                      <a:pt x="375" y="317"/>
                    </a:lnTo>
                    <a:lnTo>
                      <a:pt x="375" y="324"/>
                    </a:lnTo>
                    <a:lnTo>
                      <a:pt x="369" y="316"/>
                    </a:lnTo>
                    <a:lnTo>
                      <a:pt x="369" y="316"/>
                    </a:lnTo>
                    <a:lnTo>
                      <a:pt x="369" y="318"/>
                    </a:lnTo>
                    <a:lnTo>
                      <a:pt x="367" y="317"/>
                    </a:lnTo>
                    <a:lnTo>
                      <a:pt x="367" y="317"/>
                    </a:lnTo>
                    <a:lnTo>
                      <a:pt x="366" y="317"/>
                    </a:lnTo>
                    <a:lnTo>
                      <a:pt x="366" y="317"/>
                    </a:lnTo>
                    <a:lnTo>
                      <a:pt x="362" y="317"/>
                    </a:lnTo>
                    <a:lnTo>
                      <a:pt x="362" y="317"/>
                    </a:lnTo>
                    <a:lnTo>
                      <a:pt x="357" y="317"/>
                    </a:lnTo>
                    <a:lnTo>
                      <a:pt x="353" y="312"/>
                    </a:lnTo>
                    <a:lnTo>
                      <a:pt x="353" y="310"/>
                    </a:lnTo>
                    <a:lnTo>
                      <a:pt x="353" y="310"/>
                    </a:lnTo>
                    <a:lnTo>
                      <a:pt x="351" y="308"/>
                    </a:lnTo>
                    <a:lnTo>
                      <a:pt x="351" y="308"/>
                    </a:lnTo>
                    <a:lnTo>
                      <a:pt x="347" y="308"/>
                    </a:lnTo>
                    <a:lnTo>
                      <a:pt x="346" y="306"/>
                    </a:lnTo>
                    <a:lnTo>
                      <a:pt x="346" y="306"/>
                    </a:lnTo>
                    <a:lnTo>
                      <a:pt x="345" y="305"/>
                    </a:lnTo>
                    <a:lnTo>
                      <a:pt x="341" y="302"/>
                    </a:lnTo>
                    <a:lnTo>
                      <a:pt x="341" y="302"/>
                    </a:lnTo>
                    <a:lnTo>
                      <a:pt x="341" y="301"/>
                    </a:lnTo>
                    <a:lnTo>
                      <a:pt x="338" y="300"/>
                    </a:lnTo>
                    <a:lnTo>
                      <a:pt x="338" y="300"/>
                    </a:lnTo>
                    <a:lnTo>
                      <a:pt x="335" y="301"/>
                    </a:lnTo>
                    <a:lnTo>
                      <a:pt x="335" y="301"/>
                    </a:lnTo>
                    <a:lnTo>
                      <a:pt x="333" y="301"/>
                    </a:lnTo>
                    <a:lnTo>
                      <a:pt x="328" y="297"/>
                    </a:lnTo>
                    <a:lnTo>
                      <a:pt x="328" y="297"/>
                    </a:lnTo>
                    <a:lnTo>
                      <a:pt x="325" y="295"/>
                    </a:lnTo>
                    <a:lnTo>
                      <a:pt x="325" y="295"/>
                    </a:lnTo>
                    <a:lnTo>
                      <a:pt x="321" y="292"/>
                    </a:lnTo>
                    <a:lnTo>
                      <a:pt x="321" y="292"/>
                    </a:lnTo>
                    <a:lnTo>
                      <a:pt x="320" y="289"/>
                    </a:lnTo>
                    <a:lnTo>
                      <a:pt x="320" y="289"/>
                    </a:lnTo>
                    <a:lnTo>
                      <a:pt x="318" y="284"/>
                    </a:lnTo>
                    <a:lnTo>
                      <a:pt x="318" y="280"/>
                    </a:lnTo>
                    <a:lnTo>
                      <a:pt x="321" y="276"/>
                    </a:lnTo>
                    <a:lnTo>
                      <a:pt x="321" y="276"/>
                    </a:lnTo>
                    <a:lnTo>
                      <a:pt x="321" y="276"/>
                    </a:lnTo>
                    <a:lnTo>
                      <a:pt x="321" y="276"/>
                    </a:lnTo>
                    <a:lnTo>
                      <a:pt x="317" y="272"/>
                    </a:lnTo>
                    <a:lnTo>
                      <a:pt x="314" y="271"/>
                    </a:lnTo>
                    <a:lnTo>
                      <a:pt x="314" y="271"/>
                    </a:lnTo>
                    <a:lnTo>
                      <a:pt x="313" y="268"/>
                    </a:lnTo>
                    <a:lnTo>
                      <a:pt x="313" y="268"/>
                    </a:lnTo>
                    <a:lnTo>
                      <a:pt x="310" y="267"/>
                    </a:lnTo>
                    <a:lnTo>
                      <a:pt x="310" y="267"/>
                    </a:lnTo>
                    <a:lnTo>
                      <a:pt x="304" y="261"/>
                    </a:lnTo>
                    <a:lnTo>
                      <a:pt x="304" y="261"/>
                    </a:lnTo>
                    <a:lnTo>
                      <a:pt x="305" y="263"/>
                    </a:lnTo>
                    <a:lnTo>
                      <a:pt x="305" y="263"/>
                    </a:lnTo>
                    <a:lnTo>
                      <a:pt x="302" y="261"/>
                    </a:lnTo>
                    <a:lnTo>
                      <a:pt x="302" y="261"/>
                    </a:lnTo>
                    <a:lnTo>
                      <a:pt x="301" y="261"/>
                    </a:lnTo>
                    <a:lnTo>
                      <a:pt x="301" y="261"/>
                    </a:lnTo>
                    <a:lnTo>
                      <a:pt x="297" y="260"/>
                    </a:lnTo>
                    <a:lnTo>
                      <a:pt x="296" y="260"/>
                    </a:lnTo>
                    <a:lnTo>
                      <a:pt x="295" y="259"/>
                    </a:lnTo>
                    <a:lnTo>
                      <a:pt x="295" y="259"/>
                    </a:lnTo>
                    <a:lnTo>
                      <a:pt x="295" y="259"/>
                    </a:lnTo>
                    <a:lnTo>
                      <a:pt x="295" y="259"/>
                    </a:lnTo>
                    <a:lnTo>
                      <a:pt x="293" y="261"/>
                    </a:lnTo>
                    <a:lnTo>
                      <a:pt x="293" y="263"/>
                    </a:lnTo>
                    <a:lnTo>
                      <a:pt x="293" y="263"/>
                    </a:lnTo>
                    <a:lnTo>
                      <a:pt x="292" y="267"/>
                    </a:lnTo>
                    <a:lnTo>
                      <a:pt x="289" y="269"/>
                    </a:lnTo>
                    <a:lnTo>
                      <a:pt x="285" y="275"/>
                    </a:lnTo>
                    <a:lnTo>
                      <a:pt x="285" y="275"/>
                    </a:lnTo>
                    <a:lnTo>
                      <a:pt x="283" y="276"/>
                    </a:lnTo>
                    <a:lnTo>
                      <a:pt x="283" y="276"/>
                    </a:lnTo>
                    <a:lnTo>
                      <a:pt x="281" y="280"/>
                    </a:lnTo>
                    <a:lnTo>
                      <a:pt x="281" y="280"/>
                    </a:lnTo>
                    <a:lnTo>
                      <a:pt x="281" y="280"/>
                    </a:lnTo>
                    <a:lnTo>
                      <a:pt x="281" y="279"/>
                    </a:lnTo>
                    <a:lnTo>
                      <a:pt x="280" y="280"/>
                    </a:lnTo>
                    <a:lnTo>
                      <a:pt x="280" y="280"/>
                    </a:lnTo>
                    <a:lnTo>
                      <a:pt x="279" y="279"/>
                    </a:lnTo>
                    <a:lnTo>
                      <a:pt x="276" y="279"/>
                    </a:lnTo>
                    <a:lnTo>
                      <a:pt x="276" y="279"/>
                    </a:lnTo>
                    <a:lnTo>
                      <a:pt x="280" y="280"/>
                    </a:lnTo>
                    <a:lnTo>
                      <a:pt x="277" y="284"/>
                    </a:lnTo>
                    <a:lnTo>
                      <a:pt x="277" y="284"/>
                    </a:lnTo>
                    <a:lnTo>
                      <a:pt x="279" y="283"/>
                    </a:lnTo>
                    <a:lnTo>
                      <a:pt x="280" y="281"/>
                    </a:lnTo>
                    <a:lnTo>
                      <a:pt x="283" y="281"/>
                    </a:lnTo>
                    <a:lnTo>
                      <a:pt x="283" y="281"/>
                    </a:lnTo>
                    <a:lnTo>
                      <a:pt x="283" y="283"/>
                    </a:lnTo>
                    <a:lnTo>
                      <a:pt x="283" y="283"/>
                    </a:lnTo>
                    <a:lnTo>
                      <a:pt x="280" y="281"/>
                    </a:lnTo>
                    <a:lnTo>
                      <a:pt x="285" y="287"/>
                    </a:lnTo>
                    <a:lnTo>
                      <a:pt x="285" y="287"/>
                    </a:lnTo>
                    <a:lnTo>
                      <a:pt x="285" y="291"/>
                    </a:lnTo>
                    <a:lnTo>
                      <a:pt x="284" y="293"/>
                    </a:lnTo>
                    <a:lnTo>
                      <a:pt x="284" y="293"/>
                    </a:lnTo>
                    <a:lnTo>
                      <a:pt x="284" y="293"/>
                    </a:lnTo>
                    <a:lnTo>
                      <a:pt x="284" y="293"/>
                    </a:lnTo>
                    <a:lnTo>
                      <a:pt x="284" y="291"/>
                    </a:lnTo>
                    <a:lnTo>
                      <a:pt x="284" y="295"/>
                    </a:lnTo>
                    <a:lnTo>
                      <a:pt x="284" y="295"/>
                    </a:lnTo>
                    <a:lnTo>
                      <a:pt x="281" y="298"/>
                    </a:lnTo>
                    <a:lnTo>
                      <a:pt x="281" y="298"/>
                    </a:lnTo>
                    <a:lnTo>
                      <a:pt x="275" y="309"/>
                    </a:lnTo>
                    <a:lnTo>
                      <a:pt x="273" y="309"/>
                    </a:lnTo>
                    <a:lnTo>
                      <a:pt x="273" y="309"/>
                    </a:lnTo>
                    <a:lnTo>
                      <a:pt x="273" y="308"/>
                    </a:lnTo>
                    <a:lnTo>
                      <a:pt x="273" y="309"/>
                    </a:lnTo>
                    <a:lnTo>
                      <a:pt x="269" y="312"/>
                    </a:lnTo>
                    <a:lnTo>
                      <a:pt x="269" y="312"/>
                    </a:lnTo>
                    <a:lnTo>
                      <a:pt x="269" y="312"/>
                    </a:lnTo>
                    <a:lnTo>
                      <a:pt x="272" y="310"/>
                    </a:lnTo>
                    <a:lnTo>
                      <a:pt x="271" y="313"/>
                    </a:lnTo>
                    <a:lnTo>
                      <a:pt x="271" y="313"/>
                    </a:lnTo>
                    <a:lnTo>
                      <a:pt x="267" y="314"/>
                    </a:lnTo>
                    <a:lnTo>
                      <a:pt x="267" y="314"/>
                    </a:lnTo>
                    <a:lnTo>
                      <a:pt x="267" y="314"/>
                    </a:lnTo>
                    <a:lnTo>
                      <a:pt x="267" y="314"/>
                    </a:lnTo>
                    <a:lnTo>
                      <a:pt x="268" y="317"/>
                    </a:lnTo>
                    <a:lnTo>
                      <a:pt x="267" y="321"/>
                    </a:lnTo>
                    <a:lnTo>
                      <a:pt x="267" y="321"/>
                    </a:lnTo>
                    <a:lnTo>
                      <a:pt x="264" y="324"/>
                    </a:lnTo>
                    <a:lnTo>
                      <a:pt x="260" y="325"/>
                    </a:lnTo>
                    <a:lnTo>
                      <a:pt x="259" y="325"/>
                    </a:lnTo>
                    <a:lnTo>
                      <a:pt x="257" y="324"/>
                    </a:lnTo>
                    <a:lnTo>
                      <a:pt x="257" y="324"/>
                    </a:lnTo>
                    <a:lnTo>
                      <a:pt x="255" y="328"/>
                    </a:lnTo>
                    <a:lnTo>
                      <a:pt x="248" y="330"/>
                    </a:lnTo>
                    <a:lnTo>
                      <a:pt x="248" y="330"/>
                    </a:lnTo>
                    <a:lnTo>
                      <a:pt x="250" y="328"/>
                    </a:lnTo>
                    <a:lnTo>
                      <a:pt x="244" y="332"/>
                    </a:lnTo>
                    <a:lnTo>
                      <a:pt x="244" y="333"/>
                    </a:lnTo>
                    <a:lnTo>
                      <a:pt x="244" y="333"/>
                    </a:lnTo>
                    <a:lnTo>
                      <a:pt x="243" y="333"/>
                    </a:lnTo>
                    <a:lnTo>
                      <a:pt x="243" y="333"/>
                    </a:lnTo>
                    <a:lnTo>
                      <a:pt x="239" y="333"/>
                    </a:lnTo>
                    <a:lnTo>
                      <a:pt x="239" y="333"/>
                    </a:lnTo>
                    <a:lnTo>
                      <a:pt x="240" y="334"/>
                    </a:lnTo>
                    <a:lnTo>
                      <a:pt x="240" y="334"/>
                    </a:lnTo>
                    <a:lnTo>
                      <a:pt x="240" y="335"/>
                    </a:lnTo>
                    <a:lnTo>
                      <a:pt x="242" y="339"/>
                    </a:lnTo>
                    <a:lnTo>
                      <a:pt x="242" y="339"/>
                    </a:lnTo>
                    <a:lnTo>
                      <a:pt x="240" y="342"/>
                    </a:lnTo>
                    <a:lnTo>
                      <a:pt x="239" y="345"/>
                    </a:lnTo>
                    <a:lnTo>
                      <a:pt x="239" y="345"/>
                    </a:lnTo>
                    <a:lnTo>
                      <a:pt x="232" y="351"/>
                    </a:lnTo>
                    <a:lnTo>
                      <a:pt x="232" y="351"/>
                    </a:lnTo>
                    <a:lnTo>
                      <a:pt x="236" y="350"/>
                    </a:lnTo>
                    <a:lnTo>
                      <a:pt x="236" y="347"/>
                    </a:lnTo>
                    <a:lnTo>
                      <a:pt x="236" y="349"/>
                    </a:lnTo>
                    <a:lnTo>
                      <a:pt x="236" y="349"/>
                    </a:lnTo>
                    <a:lnTo>
                      <a:pt x="236" y="353"/>
                    </a:lnTo>
                    <a:lnTo>
                      <a:pt x="235" y="354"/>
                    </a:lnTo>
                    <a:lnTo>
                      <a:pt x="232" y="355"/>
                    </a:lnTo>
                    <a:lnTo>
                      <a:pt x="227" y="355"/>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2" name="Freeform 46">
                <a:extLst>
                  <a:ext uri="{FF2B5EF4-FFF2-40B4-BE49-F238E27FC236}">
                    <a16:creationId xmlns:a16="http://schemas.microsoft.com/office/drawing/2014/main" xmlns="" id="{5F6CC920-88B9-4544-BA9C-A4CAD3D5F2B9}"/>
                  </a:ext>
                </a:extLst>
              </p:cNvPr>
              <p:cNvSpPr>
                <a:spLocks/>
              </p:cNvSpPr>
              <p:nvPr/>
            </p:nvSpPr>
            <p:spPr bwMode="auto">
              <a:xfrm>
                <a:off x="4831421" y="4461041"/>
                <a:ext cx="1378930" cy="571072"/>
              </a:xfrm>
              <a:custGeom>
                <a:avLst/>
                <a:gdLst>
                  <a:gd name="T0" fmla="*/ 679 w 792"/>
                  <a:gd name="T1" fmla="*/ 291 h 328"/>
                  <a:gd name="T2" fmla="*/ 631 w 792"/>
                  <a:gd name="T3" fmla="*/ 275 h 328"/>
                  <a:gd name="T4" fmla="*/ 611 w 792"/>
                  <a:gd name="T5" fmla="*/ 261 h 328"/>
                  <a:gd name="T6" fmla="*/ 570 w 792"/>
                  <a:gd name="T7" fmla="*/ 249 h 328"/>
                  <a:gd name="T8" fmla="*/ 541 w 792"/>
                  <a:gd name="T9" fmla="*/ 257 h 328"/>
                  <a:gd name="T10" fmla="*/ 499 w 792"/>
                  <a:gd name="T11" fmla="*/ 265 h 328"/>
                  <a:gd name="T12" fmla="*/ 494 w 792"/>
                  <a:gd name="T13" fmla="*/ 291 h 328"/>
                  <a:gd name="T14" fmla="*/ 451 w 792"/>
                  <a:gd name="T15" fmla="*/ 289 h 328"/>
                  <a:gd name="T16" fmla="*/ 398 w 792"/>
                  <a:gd name="T17" fmla="*/ 289 h 328"/>
                  <a:gd name="T18" fmla="*/ 356 w 792"/>
                  <a:gd name="T19" fmla="*/ 302 h 328"/>
                  <a:gd name="T20" fmla="*/ 327 w 792"/>
                  <a:gd name="T21" fmla="*/ 306 h 328"/>
                  <a:gd name="T22" fmla="*/ 295 w 792"/>
                  <a:gd name="T23" fmla="*/ 298 h 328"/>
                  <a:gd name="T24" fmla="*/ 304 w 792"/>
                  <a:gd name="T25" fmla="*/ 286 h 328"/>
                  <a:gd name="T26" fmla="*/ 314 w 792"/>
                  <a:gd name="T27" fmla="*/ 250 h 328"/>
                  <a:gd name="T28" fmla="*/ 286 w 792"/>
                  <a:gd name="T29" fmla="*/ 250 h 328"/>
                  <a:gd name="T30" fmla="*/ 261 w 792"/>
                  <a:gd name="T31" fmla="*/ 248 h 328"/>
                  <a:gd name="T32" fmla="*/ 225 w 792"/>
                  <a:gd name="T33" fmla="*/ 256 h 328"/>
                  <a:gd name="T34" fmla="*/ 200 w 792"/>
                  <a:gd name="T35" fmla="*/ 260 h 328"/>
                  <a:gd name="T36" fmla="*/ 156 w 792"/>
                  <a:gd name="T37" fmla="*/ 279 h 328"/>
                  <a:gd name="T38" fmla="*/ 130 w 792"/>
                  <a:gd name="T39" fmla="*/ 312 h 328"/>
                  <a:gd name="T40" fmla="*/ 113 w 792"/>
                  <a:gd name="T41" fmla="*/ 312 h 328"/>
                  <a:gd name="T42" fmla="*/ 77 w 792"/>
                  <a:gd name="T43" fmla="*/ 314 h 328"/>
                  <a:gd name="T44" fmla="*/ 49 w 792"/>
                  <a:gd name="T45" fmla="*/ 285 h 328"/>
                  <a:gd name="T46" fmla="*/ 32 w 792"/>
                  <a:gd name="T47" fmla="*/ 256 h 328"/>
                  <a:gd name="T48" fmla="*/ 4 w 792"/>
                  <a:gd name="T49" fmla="*/ 226 h 328"/>
                  <a:gd name="T50" fmla="*/ 28 w 792"/>
                  <a:gd name="T51" fmla="*/ 185 h 328"/>
                  <a:gd name="T52" fmla="*/ 35 w 792"/>
                  <a:gd name="T53" fmla="*/ 137 h 328"/>
                  <a:gd name="T54" fmla="*/ 32 w 792"/>
                  <a:gd name="T55" fmla="*/ 78 h 328"/>
                  <a:gd name="T56" fmla="*/ 61 w 792"/>
                  <a:gd name="T57" fmla="*/ 88 h 328"/>
                  <a:gd name="T58" fmla="*/ 78 w 792"/>
                  <a:gd name="T59" fmla="*/ 93 h 328"/>
                  <a:gd name="T60" fmla="*/ 111 w 792"/>
                  <a:gd name="T61" fmla="*/ 82 h 328"/>
                  <a:gd name="T62" fmla="*/ 141 w 792"/>
                  <a:gd name="T63" fmla="*/ 57 h 328"/>
                  <a:gd name="T64" fmla="*/ 167 w 792"/>
                  <a:gd name="T65" fmla="*/ 52 h 328"/>
                  <a:gd name="T66" fmla="*/ 200 w 792"/>
                  <a:gd name="T67" fmla="*/ 52 h 328"/>
                  <a:gd name="T68" fmla="*/ 217 w 792"/>
                  <a:gd name="T69" fmla="*/ 66 h 328"/>
                  <a:gd name="T70" fmla="*/ 236 w 792"/>
                  <a:gd name="T71" fmla="*/ 72 h 328"/>
                  <a:gd name="T72" fmla="*/ 269 w 792"/>
                  <a:gd name="T73" fmla="*/ 82 h 328"/>
                  <a:gd name="T74" fmla="*/ 295 w 792"/>
                  <a:gd name="T75" fmla="*/ 92 h 328"/>
                  <a:gd name="T76" fmla="*/ 316 w 792"/>
                  <a:gd name="T77" fmla="*/ 98 h 328"/>
                  <a:gd name="T78" fmla="*/ 372 w 792"/>
                  <a:gd name="T79" fmla="*/ 94 h 328"/>
                  <a:gd name="T80" fmla="*/ 397 w 792"/>
                  <a:gd name="T81" fmla="*/ 76 h 328"/>
                  <a:gd name="T82" fmla="*/ 402 w 792"/>
                  <a:gd name="T83" fmla="*/ 59 h 328"/>
                  <a:gd name="T84" fmla="*/ 437 w 792"/>
                  <a:gd name="T85" fmla="*/ 55 h 328"/>
                  <a:gd name="T86" fmla="*/ 464 w 792"/>
                  <a:gd name="T87" fmla="*/ 48 h 328"/>
                  <a:gd name="T88" fmla="*/ 484 w 792"/>
                  <a:gd name="T89" fmla="*/ 23 h 328"/>
                  <a:gd name="T90" fmla="*/ 509 w 792"/>
                  <a:gd name="T91" fmla="*/ 19 h 328"/>
                  <a:gd name="T92" fmla="*/ 558 w 792"/>
                  <a:gd name="T93" fmla="*/ 70 h 328"/>
                  <a:gd name="T94" fmla="*/ 614 w 792"/>
                  <a:gd name="T95" fmla="*/ 94 h 328"/>
                  <a:gd name="T96" fmla="*/ 654 w 792"/>
                  <a:gd name="T97" fmla="*/ 102 h 328"/>
                  <a:gd name="T98" fmla="*/ 654 w 792"/>
                  <a:gd name="T99" fmla="*/ 93 h 328"/>
                  <a:gd name="T100" fmla="*/ 667 w 792"/>
                  <a:gd name="T101" fmla="*/ 65 h 328"/>
                  <a:gd name="T102" fmla="*/ 688 w 792"/>
                  <a:gd name="T103" fmla="*/ 33 h 328"/>
                  <a:gd name="T104" fmla="*/ 749 w 792"/>
                  <a:gd name="T105" fmla="*/ 43 h 328"/>
                  <a:gd name="T106" fmla="*/ 773 w 792"/>
                  <a:gd name="T107" fmla="*/ 57 h 328"/>
                  <a:gd name="T108" fmla="*/ 759 w 792"/>
                  <a:gd name="T109" fmla="*/ 107 h 328"/>
                  <a:gd name="T110" fmla="*/ 786 w 792"/>
                  <a:gd name="T111" fmla="*/ 150 h 328"/>
                  <a:gd name="T112" fmla="*/ 770 w 792"/>
                  <a:gd name="T113" fmla="*/ 182 h 328"/>
                  <a:gd name="T114" fmla="*/ 749 w 792"/>
                  <a:gd name="T115" fmla="*/ 223 h 328"/>
                  <a:gd name="T116" fmla="*/ 774 w 792"/>
                  <a:gd name="T117" fmla="*/ 261 h 328"/>
                  <a:gd name="T118" fmla="*/ 733 w 792"/>
                  <a:gd name="T119" fmla="*/ 283 h 328"/>
                  <a:gd name="T120" fmla="*/ 724 w 792"/>
                  <a:gd name="T121" fmla="*/ 31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2" h="328">
                    <a:moveTo>
                      <a:pt x="710" y="328"/>
                    </a:moveTo>
                    <a:lnTo>
                      <a:pt x="710" y="328"/>
                    </a:lnTo>
                    <a:lnTo>
                      <a:pt x="708" y="328"/>
                    </a:lnTo>
                    <a:lnTo>
                      <a:pt x="706" y="327"/>
                    </a:lnTo>
                    <a:lnTo>
                      <a:pt x="701" y="326"/>
                    </a:lnTo>
                    <a:lnTo>
                      <a:pt x="701" y="326"/>
                    </a:lnTo>
                    <a:lnTo>
                      <a:pt x="697" y="320"/>
                    </a:lnTo>
                    <a:lnTo>
                      <a:pt x="697" y="320"/>
                    </a:lnTo>
                    <a:lnTo>
                      <a:pt x="695" y="318"/>
                    </a:lnTo>
                    <a:lnTo>
                      <a:pt x="693" y="315"/>
                    </a:lnTo>
                    <a:lnTo>
                      <a:pt x="693" y="315"/>
                    </a:lnTo>
                    <a:lnTo>
                      <a:pt x="689" y="314"/>
                    </a:lnTo>
                    <a:lnTo>
                      <a:pt x="689" y="314"/>
                    </a:lnTo>
                    <a:lnTo>
                      <a:pt x="688" y="311"/>
                    </a:lnTo>
                    <a:lnTo>
                      <a:pt x="688" y="311"/>
                    </a:lnTo>
                    <a:lnTo>
                      <a:pt x="687" y="310"/>
                    </a:lnTo>
                    <a:lnTo>
                      <a:pt x="685" y="308"/>
                    </a:lnTo>
                    <a:lnTo>
                      <a:pt x="685" y="308"/>
                    </a:lnTo>
                    <a:lnTo>
                      <a:pt x="684" y="304"/>
                    </a:lnTo>
                    <a:lnTo>
                      <a:pt x="684" y="304"/>
                    </a:lnTo>
                    <a:lnTo>
                      <a:pt x="681" y="302"/>
                    </a:lnTo>
                    <a:lnTo>
                      <a:pt x="680" y="299"/>
                    </a:lnTo>
                    <a:lnTo>
                      <a:pt x="679" y="294"/>
                    </a:lnTo>
                    <a:lnTo>
                      <a:pt x="679" y="294"/>
                    </a:lnTo>
                    <a:lnTo>
                      <a:pt x="679" y="291"/>
                    </a:lnTo>
                    <a:lnTo>
                      <a:pt x="679" y="291"/>
                    </a:lnTo>
                    <a:lnTo>
                      <a:pt x="675" y="290"/>
                    </a:lnTo>
                    <a:lnTo>
                      <a:pt x="672" y="287"/>
                    </a:lnTo>
                    <a:lnTo>
                      <a:pt x="672" y="287"/>
                    </a:lnTo>
                    <a:lnTo>
                      <a:pt x="669" y="285"/>
                    </a:lnTo>
                    <a:lnTo>
                      <a:pt x="669" y="285"/>
                    </a:lnTo>
                    <a:lnTo>
                      <a:pt x="669" y="285"/>
                    </a:lnTo>
                    <a:lnTo>
                      <a:pt x="669" y="285"/>
                    </a:lnTo>
                    <a:lnTo>
                      <a:pt x="664" y="283"/>
                    </a:lnTo>
                    <a:lnTo>
                      <a:pt x="660" y="283"/>
                    </a:lnTo>
                    <a:lnTo>
                      <a:pt x="660" y="283"/>
                    </a:lnTo>
                    <a:lnTo>
                      <a:pt x="659" y="283"/>
                    </a:lnTo>
                    <a:lnTo>
                      <a:pt x="659" y="283"/>
                    </a:lnTo>
                    <a:lnTo>
                      <a:pt x="655" y="282"/>
                    </a:lnTo>
                    <a:lnTo>
                      <a:pt x="654" y="281"/>
                    </a:lnTo>
                    <a:lnTo>
                      <a:pt x="652" y="281"/>
                    </a:lnTo>
                    <a:lnTo>
                      <a:pt x="651" y="281"/>
                    </a:lnTo>
                    <a:lnTo>
                      <a:pt x="648" y="279"/>
                    </a:lnTo>
                    <a:lnTo>
                      <a:pt x="643" y="286"/>
                    </a:lnTo>
                    <a:lnTo>
                      <a:pt x="642" y="286"/>
                    </a:lnTo>
                    <a:lnTo>
                      <a:pt x="636" y="283"/>
                    </a:lnTo>
                    <a:lnTo>
                      <a:pt x="636" y="283"/>
                    </a:lnTo>
                    <a:lnTo>
                      <a:pt x="635" y="281"/>
                    </a:lnTo>
                    <a:lnTo>
                      <a:pt x="632" y="278"/>
                    </a:lnTo>
                    <a:lnTo>
                      <a:pt x="632" y="278"/>
                    </a:lnTo>
                    <a:lnTo>
                      <a:pt x="631" y="275"/>
                    </a:lnTo>
                    <a:lnTo>
                      <a:pt x="631" y="275"/>
                    </a:lnTo>
                    <a:lnTo>
                      <a:pt x="626" y="270"/>
                    </a:lnTo>
                    <a:lnTo>
                      <a:pt x="626" y="270"/>
                    </a:lnTo>
                    <a:lnTo>
                      <a:pt x="626" y="270"/>
                    </a:lnTo>
                    <a:lnTo>
                      <a:pt x="626" y="270"/>
                    </a:lnTo>
                    <a:lnTo>
                      <a:pt x="626" y="269"/>
                    </a:lnTo>
                    <a:lnTo>
                      <a:pt x="626" y="269"/>
                    </a:lnTo>
                    <a:lnTo>
                      <a:pt x="624" y="269"/>
                    </a:lnTo>
                    <a:lnTo>
                      <a:pt x="623" y="269"/>
                    </a:lnTo>
                    <a:lnTo>
                      <a:pt x="623" y="269"/>
                    </a:lnTo>
                    <a:lnTo>
                      <a:pt x="620" y="266"/>
                    </a:lnTo>
                    <a:lnTo>
                      <a:pt x="618" y="263"/>
                    </a:lnTo>
                    <a:lnTo>
                      <a:pt x="618" y="263"/>
                    </a:lnTo>
                    <a:lnTo>
                      <a:pt x="618" y="262"/>
                    </a:lnTo>
                    <a:lnTo>
                      <a:pt x="618" y="262"/>
                    </a:lnTo>
                    <a:lnTo>
                      <a:pt x="617" y="262"/>
                    </a:lnTo>
                    <a:lnTo>
                      <a:pt x="615" y="263"/>
                    </a:lnTo>
                    <a:lnTo>
                      <a:pt x="614" y="263"/>
                    </a:lnTo>
                    <a:lnTo>
                      <a:pt x="609" y="257"/>
                    </a:lnTo>
                    <a:lnTo>
                      <a:pt x="609" y="257"/>
                    </a:lnTo>
                    <a:lnTo>
                      <a:pt x="610" y="260"/>
                    </a:lnTo>
                    <a:lnTo>
                      <a:pt x="610" y="260"/>
                    </a:lnTo>
                    <a:lnTo>
                      <a:pt x="611" y="261"/>
                    </a:lnTo>
                    <a:lnTo>
                      <a:pt x="613" y="261"/>
                    </a:lnTo>
                    <a:lnTo>
                      <a:pt x="613" y="261"/>
                    </a:lnTo>
                    <a:lnTo>
                      <a:pt x="611" y="261"/>
                    </a:lnTo>
                    <a:lnTo>
                      <a:pt x="611" y="261"/>
                    </a:lnTo>
                    <a:lnTo>
                      <a:pt x="609" y="262"/>
                    </a:lnTo>
                    <a:lnTo>
                      <a:pt x="609" y="262"/>
                    </a:lnTo>
                    <a:lnTo>
                      <a:pt x="609" y="262"/>
                    </a:lnTo>
                    <a:lnTo>
                      <a:pt x="609" y="262"/>
                    </a:lnTo>
                    <a:lnTo>
                      <a:pt x="605" y="262"/>
                    </a:lnTo>
                    <a:lnTo>
                      <a:pt x="605" y="262"/>
                    </a:lnTo>
                    <a:lnTo>
                      <a:pt x="603" y="263"/>
                    </a:lnTo>
                    <a:lnTo>
                      <a:pt x="603" y="263"/>
                    </a:lnTo>
                    <a:lnTo>
                      <a:pt x="599" y="262"/>
                    </a:lnTo>
                    <a:lnTo>
                      <a:pt x="598" y="260"/>
                    </a:lnTo>
                    <a:lnTo>
                      <a:pt x="595" y="257"/>
                    </a:lnTo>
                    <a:lnTo>
                      <a:pt x="595" y="257"/>
                    </a:lnTo>
                    <a:lnTo>
                      <a:pt x="594" y="254"/>
                    </a:lnTo>
                    <a:lnTo>
                      <a:pt x="594" y="254"/>
                    </a:lnTo>
                    <a:lnTo>
                      <a:pt x="590" y="253"/>
                    </a:lnTo>
                    <a:lnTo>
                      <a:pt x="590" y="253"/>
                    </a:lnTo>
                    <a:lnTo>
                      <a:pt x="587" y="253"/>
                    </a:lnTo>
                    <a:lnTo>
                      <a:pt x="587" y="253"/>
                    </a:lnTo>
                    <a:lnTo>
                      <a:pt x="583" y="253"/>
                    </a:lnTo>
                    <a:lnTo>
                      <a:pt x="583" y="253"/>
                    </a:lnTo>
                    <a:lnTo>
                      <a:pt x="581" y="253"/>
                    </a:lnTo>
                    <a:lnTo>
                      <a:pt x="581" y="253"/>
                    </a:lnTo>
                    <a:lnTo>
                      <a:pt x="583" y="250"/>
                    </a:lnTo>
                    <a:lnTo>
                      <a:pt x="578" y="254"/>
                    </a:lnTo>
                    <a:lnTo>
                      <a:pt x="577" y="254"/>
                    </a:lnTo>
                    <a:lnTo>
                      <a:pt x="570" y="249"/>
                    </a:lnTo>
                    <a:lnTo>
                      <a:pt x="570" y="249"/>
                    </a:lnTo>
                    <a:lnTo>
                      <a:pt x="572" y="252"/>
                    </a:lnTo>
                    <a:lnTo>
                      <a:pt x="572" y="252"/>
                    </a:lnTo>
                    <a:lnTo>
                      <a:pt x="569" y="252"/>
                    </a:lnTo>
                    <a:lnTo>
                      <a:pt x="569" y="252"/>
                    </a:lnTo>
                    <a:lnTo>
                      <a:pt x="569" y="252"/>
                    </a:lnTo>
                    <a:lnTo>
                      <a:pt x="568" y="252"/>
                    </a:lnTo>
                    <a:lnTo>
                      <a:pt x="568" y="252"/>
                    </a:lnTo>
                    <a:lnTo>
                      <a:pt x="568" y="253"/>
                    </a:lnTo>
                    <a:lnTo>
                      <a:pt x="568" y="253"/>
                    </a:lnTo>
                    <a:lnTo>
                      <a:pt x="569" y="250"/>
                    </a:lnTo>
                    <a:lnTo>
                      <a:pt x="565" y="254"/>
                    </a:lnTo>
                    <a:lnTo>
                      <a:pt x="565" y="254"/>
                    </a:lnTo>
                    <a:lnTo>
                      <a:pt x="564" y="256"/>
                    </a:lnTo>
                    <a:lnTo>
                      <a:pt x="554" y="257"/>
                    </a:lnTo>
                    <a:lnTo>
                      <a:pt x="554" y="257"/>
                    </a:lnTo>
                    <a:lnTo>
                      <a:pt x="552" y="256"/>
                    </a:lnTo>
                    <a:lnTo>
                      <a:pt x="548" y="258"/>
                    </a:lnTo>
                    <a:lnTo>
                      <a:pt x="544" y="258"/>
                    </a:lnTo>
                    <a:lnTo>
                      <a:pt x="537" y="252"/>
                    </a:lnTo>
                    <a:lnTo>
                      <a:pt x="537" y="252"/>
                    </a:lnTo>
                    <a:lnTo>
                      <a:pt x="539" y="254"/>
                    </a:lnTo>
                    <a:lnTo>
                      <a:pt x="539" y="254"/>
                    </a:lnTo>
                    <a:lnTo>
                      <a:pt x="540" y="256"/>
                    </a:lnTo>
                    <a:lnTo>
                      <a:pt x="541" y="257"/>
                    </a:lnTo>
                    <a:lnTo>
                      <a:pt x="541" y="257"/>
                    </a:lnTo>
                    <a:lnTo>
                      <a:pt x="541" y="257"/>
                    </a:lnTo>
                    <a:lnTo>
                      <a:pt x="541" y="257"/>
                    </a:lnTo>
                    <a:lnTo>
                      <a:pt x="539" y="257"/>
                    </a:lnTo>
                    <a:lnTo>
                      <a:pt x="539" y="257"/>
                    </a:lnTo>
                    <a:lnTo>
                      <a:pt x="536" y="257"/>
                    </a:lnTo>
                    <a:lnTo>
                      <a:pt x="535" y="257"/>
                    </a:lnTo>
                    <a:lnTo>
                      <a:pt x="531" y="256"/>
                    </a:lnTo>
                    <a:lnTo>
                      <a:pt x="531" y="256"/>
                    </a:lnTo>
                    <a:lnTo>
                      <a:pt x="529" y="254"/>
                    </a:lnTo>
                    <a:lnTo>
                      <a:pt x="529" y="254"/>
                    </a:lnTo>
                    <a:lnTo>
                      <a:pt x="527" y="253"/>
                    </a:lnTo>
                    <a:lnTo>
                      <a:pt x="527" y="253"/>
                    </a:lnTo>
                    <a:lnTo>
                      <a:pt x="527" y="253"/>
                    </a:lnTo>
                    <a:lnTo>
                      <a:pt x="525" y="253"/>
                    </a:lnTo>
                    <a:lnTo>
                      <a:pt x="521" y="253"/>
                    </a:lnTo>
                    <a:lnTo>
                      <a:pt x="521" y="253"/>
                    </a:lnTo>
                    <a:lnTo>
                      <a:pt x="517" y="256"/>
                    </a:lnTo>
                    <a:lnTo>
                      <a:pt x="513" y="257"/>
                    </a:lnTo>
                    <a:lnTo>
                      <a:pt x="513" y="257"/>
                    </a:lnTo>
                    <a:lnTo>
                      <a:pt x="509" y="258"/>
                    </a:lnTo>
                    <a:lnTo>
                      <a:pt x="507" y="261"/>
                    </a:lnTo>
                    <a:lnTo>
                      <a:pt x="507" y="261"/>
                    </a:lnTo>
                    <a:lnTo>
                      <a:pt x="505" y="261"/>
                    </a:lnTo>
                    <a:lnTo>
                      <a:pt x="505" y="261"/>
                    </a:lnTo>
                    <a:lnTo>
                      <a:pt x="503" y="263"/>
                    </a:lnTo>
                    <a:lnTo>
                      <a:pt x="499" y="265"/>
                    </a:lnTo>
                    <a:lnTo>
                      <a:pt x="499" y="265"/>
                    </a:lnTo>
                    <a:lnTo>
                      <a:pt x="496" y="263"/>
                    </a:lnTo>
                    <a:lnTo>
                      <a:pt x="496" y="263"/>
                    </a:lnTo>
                    <a:lnTo>
                      <a:pt x="494" y="263"/>
                    </a:lnTo>
                    <a:lnTo>
                      <a:pt x="494" y="263"/>
                    </a:lnTo>
                    <a:lnTo>
                      <a:pt x="495" y="263"/>
                    </a:lnTo>
                    <a:lnTo>
                      <a:pt x="496" y="262"/>
                    </a:lnTo>
                    <a:lnTo>
                      <a:pt x="492" y="265"/>
                    </a:lnTo>
                    <a:lnTo>
                      <a:pt x="492" y="265"/>
                    </a:lnTo>
                    <a:lnTo>
                      <a:pt x="492" y="265"/>
                    </a:lnTo>
                    <a:lnTo>
                      <a:pt x="491" y="269"/>
                    </a:lnTo>
                    <a:lnTo>
                      <a:pt x="491" y="269"/>
                    </a:lnTo>
                    <a:lnTo>
                      <a:pt x="491" y="267"/>
                    </a:lnTo>
                    <a:lnTo>
                      <a:pt x="495" y="273"/>
                    </a:lnTo>
                    <a:lnTo>
                      <a:pt x="495" y="281"/>
                    </a:lnTo>
                    <a:lnTo>
                      <a:pt x="491" y="286"/>
                    </a:lnTo>
                    <a:lnTo>
                      <a:pt x="492" y="286"/>
                    </a:lnTo>
                    <a:lnTo>
                      <a:pt x="492" y="286"/>
                    </a:lnTo>
                    <a:lnTo>
                      <a:pt x="494" y="283"/>
                    </a:lnTo>
                    <a:lnTo>
                      <a:pt x="494" y="283"/>
                    </a:lnTo>
                    <a:lnTo>
                      <a:pt x="494" y="285"/>
                    </a:lnTo>
                    <a:lnTo>
                      <a:pt x="494" y="285"/>
                    </a:lnTo>
                    <a:lnTo>
                      <a:pt x="494" y="286"/>
                    </a:lnTo>
                    <a:lnTo>
                      <a:pt x="494" y="289"/>
                    </a:lnTo>
                    <a:lnTo>
                      <a:pt x="494" y="291"/>
                    </a:lnTo>
                    <a:lnTo>
                      <a:pt x="494" y="291"/>
                    </a:lnTo>
                    <a:lnTo>
                      <a:pt x="486" y="304"/>
                    </a:lnTo>
                    <a:lnTo>
                      <a:pt x="480" y="307"/>
                    </a:lnTo>
                    <a:lnTo>
                      <a:pt x="480" y="307"/>
                    </a:lnTo>
                    <a:lnTo>
                      <a:pt x="480" y="307"/>
                    </a:lnTo>
                    <a:lnTo>
                      <a:pt x="476" y="307"/>
                    </a:lnTo>
                    <a:lnTo>
                      <a:pt x="476" y="307"/>
                    </a:lnTo>
                    <a:lnTo>
                      <a:pt x="472" y="307"/>
                    </a:lnTo>
                    <a:lnTo>
                      <a:pt x="470" y="306"/>
                    </a:lnTo>
                    <a:lnTo>
                      <a:pt x="467" y="304"/>
                    </a:lnTo>
                    <a:lnTo>
                      <a:pt x="466" y="302"/>
                    </a:lnTo>
                    <a:lnTo>
                      <a:pt x="466" y="302"/>
                    </a:lnTo>
                    <a:lnTo>
                      <a:pt x="466" y="303"/>
                    </a:lnTo>
                    <a:lnTo>
                      <a:pt x="466" y="303"/>
                    </a:lnTo>
                    <a:lnTo>
                      <a:pt x="464" y="301"/>
                    </a:lnTo>
                    <a:lnTo>
                      <a:pt x="463" y="298"/>
                    </a:lnTo>
                    <a:lnTo>
                      <a:pt x="463" y="297"/>
                    </a:lnTo>
                    <a:lnTo>
                      <a:pt x="463" y="297"/>
                    </a:lnTo>
                    <a:lnTo>
                      <a:pt x="462" y="295"/>
                    </a:lnTo>
                    <a:lnTo>
                      <a:pt x="462" y="295"/>
                    </a:lnTo>
                    <a:lnTo>
                      <a:pt x="459" y="294"/>
                    </a:lnTo>
                    <a:lnTo>
                      <a:pt x="455" y="290"/>
                    </a:lnTo>
                    <a:lnTo>
                      <a:pt x="455" y="289"/>
                    </a:lnTo>
                    <a:lnTo>
                      <a:pt x="455" y="289"/>
                    </a:lnTo>
                    <a:lnTo>
                      <a:pt x="455" y="289"/>
                    </a:lnTo>
                    <a:lnTo>
                      <a:pt x="455" y="289"/>
                    </a:lnTo>
                    <a:lnTo>
                      <a:pt x="451" y="289"/>
                    </a:lnTo>
                    <a:lnTo>
                      <a:pt x="449" y="287"/>
                    </a:lnTo>
                    <a:lnTo>
                      <a:pt x="447" y="287"/>
                    </a:lnTo>
                    <a:lnTo>
                      <a:pt x="447" y="287"/>
                    </a:lnTo>
                    <a:lnTo>
                      <a:pt x="443" y="287"/>
                    </a:lnTo>
                    <a:lnTo>
                      <a:pt x="441" y="289"/>
                    </a:lnTo>
                    <a:lnTo>
                      <a:pt x="441" y="289"/>
                    </a:lnTo>
                    <a:lnTo>
                      <a:pt x="438" y="290"/>
                    </a:lnTo>
                    <a:lnTo>
                      <a:pt x="438" y="290"/>
                    </a:lnTo>
                    <a:lnTo>
                      <a:pt x="434" y="293"/>
                    </a:lnTo>
                    <a:lnTo>
                      <a:pt x="427" y="293"/>
                    </a:lnTo>
                    <a:lnTo>
                      <a:pt x="427" y="293"/>
                    </a:lnTo>
                    <a:lnTo>
                      <a:pt x="426" y="295"/>
                    </a:lnTo>
                    <a:lnTo>
                      <a:pt x="423" y="299"/>
                    </a:lnTo>
                    <a:lnTo>
                      <a:pt x="423" y="299"/>
                    </a:lnTo>
                    <a:lnTo>
                      <a:pt x="420" y="304"/>
                    </a:lnTo>
                    <a:lnTo>
                      <a:pt x="413" y="307"/>
                    </a:lnTo>
                    <a:lnTo>
                      <a:pt x="413" y="307"/>
                    </a:lnTo>
                    <a:lnTo>
                      <a:pt x="409" y="304"/>
                    </a:lnTo>
                    <a:lnTo>
                      <a:pt x="408" y="301"/>
                    </a:lnTo>
                    <a:lnTo>
                      <a:pt x="402" y="298"/>
                    </a:lnTo>
                    <a:lnTo>
                      <a:pt x="402" y="298"/>
                    </a:lnTo>
                    <a:lnTo>
                      <a:pt x="401" y="297"/>
                    </a:lnTo>
                    <a:lnTo>
                      <a:pt x="401" y="297"/>
                    </a:lnTo>
                    <a:lnTo>
                      <a:pt x="400" y="295"/>
                    </a:lnTo>
                    <a:lnTo>
                      <a:pt x="398" y="290"/>
                    </a:lnTo>
                    <a:lnTo>
                      <a:pt x="398" y="289"/>
                    </a:lnTo>
                    <a:lnTo>
                      <a:pt x="398" y="289"/>
                    </a:lnTo>
                    <a:lnTo>
                      <a:pt x="396" y="287"/>
                    </a:lnTo>
                    <a:lnTo>
                      <a:pt x="390" y="290"/>
                    </a:lnTo>
                    <a:lnTo>
                      <a:pt x="390" y="290"/>
                    </a:lnTo>
                    <a:lnTo>
                      <a:pt x="388" y="289"/>
                    </a:lnTo>
                    <a:lnTo>
                      <a:pt x="388" y="289"/>
                    </a:lnTo>
                    <a:lnTo>
                      <a:pt x="384" y="287"/>
                    </a:lnTo>
                    <a:lnTo>
                      <a:pt x="384" y="287"/>
                    </a:lnTo>
                    <a:lnTo>
                      <a:pt x="384" y="287"/>
                    </a:lnTo>
                    <a:lnTo>
                      <a:pt x="384" y="287"/>
                    </a:lnTo>
                    <a:lnTo>
                      <a:pt x="380" y="286"/>
                    </a:lnTo>
                    <a:lnTo>
                      <a:pt x="380" y="286"/>
                    </a:lnTo>
                    <a:lnTo>
                      <a:pt x="380" y="286"/>
                    </a:lnTo>
                    <a:lnTo>
                      <a:pt x="373" y="286"/>
                    </a:lnTo>
                    <a:lnTo>
                      <a:pt x="367" y="287"/>
                    </a:lnTo>
                    <a:lnTo>
                      <a:pt x="363" y="290"/>
                    </a:lnTo>
                    <a:lnTo>
                      <a:pt x="360" y="294"/>
                    </a:lnTo>
                    <a:lnTo>
                      <a:pt x="359" y="294"/>
                    </a:lnTo>
                    <a:lnTo>
                      <a:pt x="355" y="298"/>
                    </a:lnTo>
                    <a:lnTo>
                      <a:pt x="355" y="298"/>
                    </a:lnTo>
                    <a:lnTo>
                      <a:pt x="357" y="297"/>
                    </a:lnTo>
                    <a:lnTo>
                      <a:pt x="359" y="295"/>
                    </a:lnTo>
                    <a:lnTo>
                      <a:pt x="359" y="295"/>
                    </a:lnTo>
                    <a:lnTo>
                      <a:pt x="359" y="295"/>
                    </a:lnTo>
                    <a:lnTo>
                      <a:pt x="357" y="299"/>
                    </a:lnTo>
                    <a:lnTo>
                      <a:pt x="356" y="302"/>
                    </a:lnTo>
                    <a:lnTo>
                      <a:pt x="355" y="303"/>
                    </a:lnTo>
                    <a:lnTo>
                      <a:pt x="352" y="303"/>
                    </a:lnTo>
                    <a:lnTo>
                      <a:pt x="352" y="303"/>
                    </a:lnTo>
                    <a:lnTo>
                      <a:pt x="347" y="310"/>
                    </a:lnTo>
                    <a:lnTo>
                      <a:pt x="339" y="310"/>
                    </a:lnTo>
                    <a:lnTo>
                      <a:pt x="334" y="306"/>
                    </a:lnTo>
                    <a:lnTo>
                      <a:pt x="334" y="306"/>
                    </a:lnTo>
                    <a:lnTo>
                      <a:pt x="335" y="307"/>
                    </a:lnTo>
                    <a:lnTo>
                      <a:pt x="335" y="307"/>
                    </a:lnTo>
                    <a:lnTo>
                      <a:pt x="334" y="307"/>
                    </a:lnTo>
                    <a:lnTo>
                      <a:pt x="328" y="307"/>
                    </a:lnTo>
                    <a:lnTo>
                      <a:pt x="323" y="301"/>
                    </a:lnTo>
                    <a:lnTo>
                      <a:pt x="323" y="301"/>
                    </a:lnTo>
                    <a:lnTo>
                      <a:pt x="323" y="301"/>
                    </a:lnTo>
                    <a:lnTo>
                      <a:pt x="324" y="303"/>
                    </a:lnTo>
                    <a:lnTo>
                      <a:pt x="324" y="303"/>
                    </a:lnTo>
                    <a:lnTo>
                      <a:pt x="324" y="304"/>
                    </a:lnTo>
                    <a:lnTo>
                      <a:pt x="324" y="304"/>
                    </a:lnTo>
                    <a:lnTo>
                      <a:pt x="326" y="306"/>
                    </a:lnTo>
                    <a:lnTo>
                      <a:pt x="326" y="306"/>
                    </a:lnTo>
                    <a:lnTo>
                      <a:pt x="326" y="304"/>
                    </a:lnTo>
                    <a:lnTo>
                      <a:pt x="326" y="304"/>
                    </a:lnTo>
                    <a:lnTo>
                      <a:pt x="326" y="306"/>
                    </a:lnTo>
                    <a:lnTo>
                      <a:pt x="326" y="306"/>
                    </a:lnTo>
                    <a:lnTo>
                      <a:pt x="327" y="306"/>
                    </a:lnTo>
                    <a:lnTo>
                      <a:pt x="327" y="306"/>
                    </a:lnTo>
                    <a:lnTo>
                      <a:pt x="326" y="306"/>
                    </a:lnTo>
                    <a:lnTo>
                      <a:pt x="326" y="306"/>
                    </a:lnTo>
                    <a:lnTo>
                      <a:pt x="324" y="306"/>
                    </a:lnTo>
                    <a:lnTo>
                      <a:pt x="324" y="306"/>
                    </a:lnTo>
                    <a:lnTo>
                      <a:pt x="324" y="307"/>
                    </a:lnTo>
                    <a:lnTo>
                      <a:pt x="324" y="307"/>
                    </a:lnTo>
                    <a:lnTo>
                      <a:pt x="322" y="311"/>
                    </a:lnTo>
                    <a:lnTo>
                      <a:pt x="318" y="314"/>
                    </a:lnTo>
                    <a:lnTo>
                      <a:pt x="316" y="314"/>
                    </a:lnTo>
                    <a:lnTo>
                      <a:pt x="316" y="314"/>
                    </a:lnTo>
                    <a:lnTo>
                      <a:pt x="315" y="314"/>
                    </a:lnTo>
                    <a:lnTo>
                      <a:pt x="315" y="314"/>
                    </a:lnTo>
                    <a:lnTo>
                      <a:pt x="312" y="312"/>
                    </a:lnTo>
                    <a:lnTo>
                      <a:pt x="310" y="311"/>
                    </a:lnTo>
                    <a:lnTo>
                      <a:pt x="310" y="311"/>
                    </a:lnTo>
                    <a:lnTo>
                      <a:pt x="306" y="312"/>
                    </a:lnTo>
                    <a:lnTo>
                      <a:pt x="306" y="312"/>
                    </a:lnTo>
                    <a:lnTo>
                      <a:pt x="304" y="314"/>
                    </a:lnTo>
                    <a:lnTo>
                      <a:pt x="302" y="314"/>
                    </a:lnTo>
                    <a:lnTo>
                      <a:pt x="301" y="314"/>
                    </a:lnTo>
                    <a:lnTo>
                      <a:pt x="295" y="307"/>
                    </a:lnTo>
                    <a:lnTo>
                      <a:pt x="295" y="302"/>
                    </a:lnTo>
                    <a:lnTo>
                      <a:pt x="295" y="302"/>
                    </a:lnTo>
                    <a:lnTo>
                      <a:pt x="295" y="299"/>
                    </a:lnTo>
                    <a:lnTo>
                      <a:pt x="295" y="299"/>
                    </a:lnTo>
                    <a:lnTo>
                      <a:pt x="295" y="298"/>
                    </a:lnTo>
                    <a:lnTo>
                      <a:pt x="295" y="298"/>
                    </a:lnTo>
                    <a:lnTo>
                      <a:pt x="297" y="301"/>
                    </a:lnTo>
                    <a:lnTo>
                      <a:pt x="299" y="302"/>
                    </a:lnTo>
                    <a:lnTo>
                      <a:pt x="294" y="297"/>
                    </a:lnTo>
                    <a:lnTo>
                      <a:pt x="294" y="295"/>
                    </a:lnTo>
                    <a:lnTo>
                      <a:pt x="294" y="295"/>
                    </a:lnTo>
                    <a:lnTo>
                      <a:pt x="294" y="293"/>
                    </a:lnTo>
                    <a:lnTo>
                      <a:pt x="295" y="290"/>
                    </a:lnTo>
                    <a:lnTo>
                      <a:pt x="295" y="290"/>
                    </a:lnTo>
                    <a:lnTo>
                      <a:pt x="298" y="289"/>
                    </a:lnTo>
                    <a:lnTo>
                      <a:pt x="301" y="287"/>
                    </a:lnTo>
                    <a:lnTo>
                      <a:pt x="301" y="287"/>
                    </a:lnTo>
                    <a:lnTo>
                      <a:pt x="303" y="287"/>
                    </a:lnTo>
                    <a:lnTo>
                      <a:pt x="303" y="287"/>
                    </a:lnTo>
                    <a:lnTo>
                      <a:pt x="303" y="287"/>
                    </a:lnTo>
                    <a:lnTo>
                      <a:pt x="304" y="287"/>
                    </a:lnTo>
                    <a:lnTo>
                      <a:pt x="304" y="287"/>
                    </a:lnTo>
                    <a:lnTo>
                      <a:pt x="303" y="287"/>
                    </a:lnTo>
                    <a:lnTo>
                      <a:pt x="303" y="287"/>
                    </a:lnTo>
                    <a:lnTo>
                      <a:pt x="303" y="287"/>
                    </a:lnTo>
                    <a:lnTo>
                      <a:pt x="304" y="286"/>
                    </a:lnTo>
                    <a:lnTo>
                      <a:pt x="304" y="286"/>
                    </a:lnTo>
                    <a:lnTo>
                      <a:pt x="304" y="285"/>
                    </a:lnTo>
                    <a:lnTo>
                      <a:pt x="304" y="285"/>
                    </a:lnTo>
                    <a:lnTo>
                      <a:pt x="304" y="286"/>
                    </a:lnTo>
                    <a:lnTo>
                      <a:pt x="304" y="286"/>
                    </a:lnTo>
                    <a:lnTo>
                      <a:pt x="304" y="285"/>
                    </a:lnTo>
                    <a:lnTo>
                      <a:pt x="304" y="285"/>
                    </a:lnTo>
                    <a:lnTo>
                      <a:pt x="304" y="283"/>
                    </a:lnTo>
                    <a:lnTo>
                      <a:pt x="304" y="283"/>
                    </a:lnTo>
                    <a:lnTo>
                      <a:pt x="306" y="283"/>
                    </a:lnTo>
                    <a:lnTo>
                      <a:pt x="306" y="283"/>
                    </a:lnTo>
                    <a:lnTo>
                      <a:pt x="306" y="283"/>
                    </a:lnTo>
                    <a:lnTo>
                      <a:pt x="306" y="283"/>
                    </a:lnTo>
                    <a:lnTo>
                      <a:pt x="306" y="283"/>
                    </a:lnTo>
                    <a:lnTo>
                      <a:pt x="303" y="281"/>
                    </a:lnTo>
                    <a:lnTo>
                      <a:pt x="303" y="277"/>
                    </a:lnTo>
                    <a:lnTo>
                      <a:pt x="306" y="273"/>
                    </a:lnTo>
                    <a:lnTo>
                      <a:pt x="306" y="273"/>
                    </a:lnTo>
                    <a:lnTo>
                      <a:pt x="310" y="269"/>
                    </a:lnTo>
                    <a:lnTo>
                      <a:pt x="312" y="266"/>
                    </a:lnTo>
                    <a:lnTo>
                      <a:pt x="312" y="263"/>
                    </a:lnTo>
                    <a:lnTo>
                      <a:pt x="318" y="257"/>
                    </a:lnTo>
                    <a:lnTo>
                      <a:pt x="318" y="257"/>
                    </a:lnTo>
                    <a:lnTo>
                      <a:pt x="315" y="258"/>
                    </a:lnTo>
                    <a:lnTo>
                      <a:pt x="314" y="261"/>
                    </a:lnTo>
                    <a:lnTo>
                      <a:pt x="314" y="261"/>
                    </a:lnTo>
                    <a:lnTo>
                      <a:pt x="314" y="258"/>
                    </a:lnTo>
                    <a:lnTo>
                      <a:pt x="314" y="258"/>
                    </a:lnTo>
                    <a:lnTo>
                      <a:pt x="314" y="254"/>
                    </a:lnTo>
                    <a:lnTo>
                      <a:pt x="314" y="254"/>
                    </a:lnTo>
                    <a:lnTo>
                      <a:pt x="314" y="250"/>
                    </a:lnTo>
                    <a:lnTo>
                      <a:pt x="314" y="250"/>
                    </a:lnTo>
                    <a:lnTo>
                      <a:pt x="314" y="248"/>
                    </a:lnTo>
                    <a:lnTo>
                      <a:pt x="314" y="248"/>
                    </a:lnTo>
                    <a:lnTo>
                      <a:pt x="315" y="250"/>
                    </a:lnTo>
                    <a:lnTo>
                      <a:pt x="318" y="252"/>
                    </a:lnTo>
                    <a:lnTo>
                      <a:pt x="312" y="245"/>
                    </a:lnTo>
                    <a:lnTo>
                      <a:pt x="312" y="245"/>
                    </a:lnTo>
                    <a:lnTo>
                      <a:pt x="312" y="245"/>
                    </a:lnTo>
                    <a:lnTo>
                      <a:pt x="312" y="244"/>
                    </a:lnTo>
                    <a:lnTo>
                      <a:pt x="310" y="245"/>
                    </a:lnTo>
                    <a:lnTo>
                      <a:pt x="310" y="245"/>
                    </a:lnTo>
                    <a:lnTo>
                      <a:pt x="307" y="246"/>
                    </a:lnTo>
                    <a:lnTo>
                      <a:pt x="307" y="246"/>
                    </a:lnTo>
                    <a:lnTo>
                      <a:pt x="304" y="248"/>
                    </a:lnTo>
                    <a:lnTo>
                      <a:pt x="302" y="249"/>
                    </a:lnTo>
                    <a:lnTo>
                      <a:pt x="297" y="253"/>
                    </a:lnTo>
                    <a:lnTo>
                      <a:pt x="293" y="253"/>
                    </a:lnTo>
                    <a:lnTo>
                      <a:pt x="291" y="253"/>
                    </a:lnTo>
                    <a:lnTo>
                      <a:pt x="291" y="253"/>
                    </a:lnTo>
                    <a:lnTo>
                      <a:pt x="287" y="250"/>
                    </a:lnTo>
                    <a:lnTo>
                      <a:pt x="287" y="250"/>
                    </a:lnTo>
                    <a:lnTo>
                      <a:pt x="290" y="252"/>
                    </a:lnTo>
                    <a:lnTo>
                      <a:pt x="287" y="250"/>
                    </a:lnTo>
                    <a:lnTo>
                      <a:pt x="287" y="250"/>
                    </a:lnTo>
                    <a:lnTo>
                      <a:pt x="286" y="250"/>
                    </a:lnTo>
                    <a:lnTo>
                      <a:pt x="286" y="250"/>
                    </a:lnTo>
                    <a:lnTo>
                      <a:pt x="283" y="252"/>
                    </a:lnTo>
                    <a:lnTo>
                      <a:pt x="279" y="253"/>
                    </a:lnTo>
                    <a:lnTo>
                      <a:pt x="279" y="253"/>
                    </a:lnTo>
                    <a:lnTo>
                      <a:pt x="277" y="252"/>
                    </a:lnTo>
                    <a:lnTo>
                      <a:pt x="273" y="249"/>
                    </a:lnTo>
                    <a:lnTo>
                      <a:pt x="273" y="246"/>
                    </a:lnTo>
                    <a:lnTo>
                      <a:pt x="273" y="246"/>
                    </a:lnTo>
                    <a:lnTo>
                      <a:pt x="271" y="246"/>
                    </a:lnTo>
                    <a:lnTo>
                      <a:pt x="271" y="246"/>
                    </a:lnTo>
                    <a:lnTo>
                      <a:pt x="270" y="246"/>
                    </a:lnTo>
                    <a:lnTo>
                      <a:pt x="270" y="246"/>
                    </a:lnTo>
                    <a:lnTo>
                      <a:pt x="271" y="245"/>
                    </a:lnTo>
                    <a:lnTo>
                      <a:pt x="271" y="245"/>
                    </a:lnTo>
                    <a:lnTo>
                      <a:pt x="271" y="244"/>
                    </a:lnTo>
                    <a:lnTo>
                      <a:pt x="267" y="248"/>
                    </a:lnTo>
                    <a:lnTo>
                      <a:pt x="267" y="248"/>
                    </a:lnTo>
                    <a:lnTo>
                      <a:pt x="267" y="248"/>
                    </a:lnTo>
                    <a:lnTo>
                      <a:pt x="267" y="248"/>
                    </a:lnTo>
                    <a:lnTo>
                      <a:pt x="266" y="248"/>
                    </a:lnTo>
                    <a:lnTo>
                      <a:pt x="266" y="248"/>
                    </a:lnTo>
                    <a:lnTo>
                      <a:pt x="266" y="248"/>
                    </a:lnTo>
                    <a:lnTo>
                      <a:pt x="265" y="248"/>
                    </a:lnTo>
                    <a:lnTo>
                      <a:pt x="265" y="248"/>
                    </a:lnTo>
                    <a:lnTo>
                      <a:pt x="262" y="248"/>
                    </a:lnTo>
                    <a:lnTo>
                      <a:pt x="262" y="248"/>
                    </a:lnTo>
                    <a:lnTo>
                      <a:pt x="261" y="248"/>
                    </a:lnTo>
                    <a:lnTo>
                      <a:pt x="261" y="248"/>
                    </a:lnTo>
                    <a:lnTo>
                      <a:pt x="262" y="248"/>
                    </a:lnTo>
                    <a:lnTo>
                      <a:pt x="264" y="246"/>
                    </a:lnTo>
                    <a:lnTo>
                      <a:pt x="264" y="246"/>
                    </a:lnTo>
                    <a:lnTo>
                      <a:pt x="265" y="242"/>
                    </a:lnTo>
                    <a:lnTo>
                      <a:pt x="260" y="249"/>
                    </a:lnTo>
                    <a:lnTo>
                      <a:pt x="252" y="249"/>
                    </a:lnTo>
                    <a:lnTo>
                      <a:pt x="245" y="242"/>
                    </a:lnTo>
                    <a:lnTo>
                      <a:pt x="245" y="242"/>
                    </a:lnTo>
                    <a:lnTo>
                      <a:pt x="246" y="240"/>
                    </a:lnTo>
                    <a:lnTo>
                      <a:pt x="245" y="240"/>
                    </a:lnTo>
                    <a:lnTo>
                      <a:pt x="245" y="240"/>
                    </a:lnTo>
                    <a:lnTo>
                      <a:pt x="244" y="240"/>
                    </a:lnTo>
                    <a:lnTo>
                      <a:pt x="244" y="240"/>
                    </a:lnTo>
                    <a:lnTo>
                      <a:pt x="241" y="240"/>
                    </a:lnTo>
                    <a:lnTo>
                      <a:pt x="241" y="240"/>
                    </a:lnTo>
                    <a:lnTo>
                      <a:pt x="237" y="241"/>
                    </a:lnTo>
                    <a:lnTo>
                      <a:pt x="236" y="245"/>
                    </a:lnTo>
                    <a:lnTo>
                      <a:pt x="233" y="249"/>
                    </a:lnTo>
                    <a:lnTo>
                      <a:pt x="233" y="249"/>
                    </a:lnTo>
                    <a:lnTo>
                      <a:pt x="233" y="250"/>
                    </a:lnTo>
                    <a:lnTo>
                      <a:pt x="232" y="253"/>
                    </a:lnTo>
                    <a:lnTo>
                      <a:pt x="232" y="253"/>
                    </a:lnTo>
                    <a:lnTo>
                      <a:pt x="229" y="254"/>
                    </a:lnTo>
                    <a:lnTo>
                      <a:pt x="225" y="256"/>
                    </a:lnTo>
                    <a:lnTo>
                      <a:pt x="225" y="256"/>
                    </a:lnTo>
                    <a:lnTo>
                      <a:pt x="223" y="254"/>
                    </a:lnTo>
                    <a:lnTo>
                      <a:pt x="220" y="253"/>
                    </a:lnTo>
                    <a:lnTo>
                      <a:pt x="219" y="249"/>
                    </a:lnTo>
                    <a:lnTo>
                      <a:pt x="215" y="249"/>
                    </a:lnTo>
                    <a:lnTo>
                      <a:pt x="215" y="249"/>
                    </a:lnTo>
                    <a:lnTo>
                      <a:pt x="212" y="249"/>
                    </a:lnTo>
                    <a:lnTo>
                      <a:pt x="212" y="249"/>
                    </a:lnTo>
                    <a:lnTo>
                      <a:pt x="209" y="249"/>
                    </a:lnTo>
                    <a:lnTo>
                      <a:pt x="209" y="249"/>
                    </a:lnTo>
                    <a:lnTo>
                      <a:pt x="209" y="249"/>
                    </a:lnTo>
                    <a:lnTo>
                      <a:pt x="209" y="249"/>
                    </a:lnTo>
                    <a:lnTo>
                      <a:pt x="211" y="249"/>
                    </a:lnTo>
                    <a:lnTo>
                      <a:pt x="212" y="248"/>
                    </a:lnTo>
                    <a:lnTo>
                      <a:pt x="212" y="248"/>
                    </a:lnTo>
                    <a:lnTo>
                      <a:pt x="213" y="244"/>
                    </a:lnTo>
                    <a:lnTo>
                      <a:pt x="207" y="250"/>
                    </a:lnTo>
                    <a:lnTo>
                      <a:pt x="207" y="250"/>
                    </a:lnTo>
                    <a:lnTo>
                      <a:pt x="207" y="250"/>
                    </a:lnTo>
                    <a:lnTo>
                      <a:pt x="205" y="252"/>
                    </a:lnTo>
                    <a:lnTo>
                      <a:pt x="205" y="252"/>
                    </a:lnTo>
                    <a:lnTo>
                      <a:pt x="203" y="257"/>
                    </a:lnTo>
                    <a:lnTo>
                      <a:pt x="203" y="257"/>
                    </a:lnTo>
                    <a:lnTo>
                      <a:pt x="201" y="260"/>
                    </a:lnTo>
                    <a:lnTo>
                      <a:pt x="201" y="260"/>
                    </a:lnTo>
                    <a:lnTo>
                      <a:pt x="200" y="260"/>
                    </a:lnTo>
                    <a:lnTo>
                      <a:pt x="200" y="260"/>
                    </a:lnTo>
                    <a:lnTo>
                      <a:pt x="201" y="258"/>
                    </a:lnTo>
                    <a:lnTo>
                      <a:pt x="196" y="263"/>
                    </a:lnTo>
                    <a:lnTo>
                      <a:pt x="192" y="263"/>
                    </a:lnTo>
                    <a:lnTo>
                      <a:pt x="187" y="260"/>
                    </a:lnTo>
                    <a:lnTo>
                      <a:pt x="187" y="260"/>
                    </a:lnTo>
                    <a:lnTo>
                      <a:pt x="187" y="261"/>
                    </a:lnTo>
                    <a:lnTo>
                      <a:pt x="187" y="261"/>
                    </a:lnTo>
                    <a:lnTo>
                      <a:pt x="186" y="260"/>
                    </a:lnTo>
                    <a:lnTo>
                      <a:pt x="186" y="260"/>
                    </a:lnTo>
                    <a:lnTo>
                      <a:pt x="183" y="258"/>
                    </a:lnTo>
                    <a:lnTo>
                      <a:pt x="183" y="258"/>
                    </a:lnTo>
                    <a:lnTo>
                      <a:pt x="183" y="261"/>
                    </a:lnTo>
                    <a:lnTo>
                      <a:pt x="183" y="261"/>
                    </a:lnTo>
                    <a:lnTo>
                      <a:pt x="180" y="265"/>
                    </a:lnTo>
                    <a:lnTo>
                      <a:pt x="179" y="267"/>
                    </a:lnTo>
                    <a:lnTo>
                      <a:pt x="174" y="271"/>
                    </a:lnTo>
                    <a:lnTo>
                      <a:pt x="174" y="271"/>
                    </a:lnTo>
                    <a:lnTo>
                      <a:pt x="171" y="273"/>
                    </a:lnTo>
                    <a:lnTo>
                      <a:pt x="170" y="273"/>
                    </a:lnTo>
                    <a:lnTo>
                      <a:pt x="170" y="273"/>
                    </a:lnTo>
                    <a:lnTo>
                      <a:pt x="166" y="275"/>
                    </a:lnTo>
                    <a:lnTo>
                      <a:pt x="166" y="275"/>
                    </a:lnTo>
                    <a:lnTo>
                      <a:pt x="162" y="277"/>
                    </a:lnTo>
                    <a:lnTo>
                      <a:pt x="159" y="279"/>
                    </a:lnTo>
                    <a:lnTo>
                      <a:pt x="159" y="279"/>
                    </a:lnTo>
                    <a:lnTo>
                      <a:pt x="156" y="279"/>
                    </a:lnTo>
                    <a:lnTo>
                      <a:pt x="156" y="279"/>
                    </a:lnTo>
                    <a:lnTo>
                      <a:pt x="154" y="279"/>
                    </a:lnTo>
                    <a:lnTo>
                      <a:pt x="152" y="278"/>
                    </a:lnTo>
                    <a:lnTo>
                      <a:pt x="152" y="282"/>
                    </a:lnTo>
                    <a:lnTo>
                      <a:pt x="152" y="297"/>
                    </a:lnTo>
                    <a:lnTo>
                      <a:pt x="148" y="302"/>
                    </a:lnTo>
                    <a:lnTo>
                      <a:pt x="148" y="302"/>
                    </a:lnTo>
                    <a:lnTo>
                      <a:pt x="148" y="302"/>
                    </a:lnTo>
                    <a:lnTo>
                      <a:pt x="148" y="302"/>
                    </a:lnTo>
                    <a:lnTo>
                      <a:pt x="148" y="304"/>
                    </a:lnTo>
                    <a:lnTo>
                      <a:pt x="148" y="304"/>
                    </a:lnTo>
                    <a:lnTo>
                      <a:pt x="147" y="308"/>
                    </a:lnTo>
                    <a:lnTo>
                      <a:pt x="146" y="311"/>
                    </a:lnTo>
                    <a:lnTo>
                      <a:pt x="146" y="311"/>
                    </a:lnTo>
                    <a:lnTo>
                      <a:pt x="146" y="311"/>
                    </a:lnTo>
                    <a:lnTo>
                      <a:pt x="146" y="311"/>
                    </a:lnTo>
                    <a:lnTo>
                      <a:pt x="147" y="310"/>
                    </a:lnTo>
                    <a:lnTo>
                      <a:pt x="143" y="315"/>
                    </a:lnTo>
                    <a:lnTo>
                      <a:pt x="143" y="315"/>
                    </a:lnTo>
                    <a:lnTo>
                      <a:pt x="143" y="314"/>
                    </a:lnTo>
                    <a:lnTo>
                      <a:pt x="143" y="314"/>
                    </a:lnTo>
                    <a:lnTo>
                      <a:pt x="142" y="316"/>
                    </a:lnTo>
                    <a:lnTo>
                      <a:pt x="138" y="318"/>
                    </a:lnTo>
                    <a:lnTo>
                      <a:pt x="137" y="318"/>
                    </a:lnTo>
                    <a:lnTo>
                      <a:pt x="135" y="318"/>
                    </a:lnTo>
                    <a:lnTo>
                      <a:pt x="130" y="312"/>
                    </a:lnTo>
                    <a:lnTo>
                      <a:pt x="130" y="312"/>
                    </a:lnTo>
                    <a:lnTo>
                      <a:pt x="131" y="315"/>
                    </a:lnTo>
                    <a:lnTo>
                      <a:pt x="134" y="316"/>
                    </a:lnTo>
                    <a:lnTo>
                      <a:pt x="134" y="316"/>
                    </a:lnTo>
                    <a:lnTo>
                      <a:pt x="134" y="316"/>
                    </a:lnTo>
                    <a:lnTo>
                      <a:pt x="134" y="316"/>
                    </a:lnTo>
                    <a:lnTo>
                      <a:pt x="131" y="316"/>
                    </a:lnTo>
                    <a:lnTo>
                      <a:pt x="131" y="316"/>
                    </a:lnTo>
                    <a:lnTo>
                      <a:pt x="129" y="316"/>
                    </a:lnTo>
                    <a:lnTo>
                      <a:pt x="129" y="316"/>
                    </a:lnTo>
                    <a:lnTo>
                      <a:pt x="126" y="316"/>
                    </a:lnTo>
                    <a:lnTo>
                      <a:pt x="126" y="316"/>
                    </a:lnTo>
                    <a:lnTo>
                      <a:pt x="121" y="312"/>
                    </a:lnTo>
                    <a:lnTo>
                      <a:pt x="121" y="312"/>
                    </a:lnTo>
                    <a:lnTo>
                      <a:pt x="121" y="314"/>
                    </a:lnTo>
                    <a:lnTo>
                      <a:pt x="121" y="314"/>
                    </a:lnTo>
                    <a:lnTo>
                      <a:pt x="121" y="314"/>
                    </a:lnTo>
                    <a:lnTo>
                      <a:pt x="117" y="314"/>
                    </a:lnTo>
                    <a:lnTo>
                      <a:pt x="113" y="311"/>
                    </a:lnTo>
                    <a:lnTo>
                      <a:pt x="114" y="312"/>
                    </a:lnTo>
                    <a:lnTo>
                      <a:pt x="114" y="312"/>
                    </a:lnTo>
                    <a:lnTo>
                      <a:pt x="114" y="312"/>
                    </a:lnTo>
                    <a:lnTo>
                      <a:pt x="114" y="312"/>
                    </a:lnTo>
                    <a:lnTo>
                      <a:pt x="113" y="312"/>
                    </a:lnTo>
                    <a:lnTo>
                      <a:pt x="113" y="312"/>
                    </a:lnTo>
                    <a:lnTo>
                      <a:pt x="113" y="312"/>
                    </a:lnTo>
                    <a:lnTo>
                      <a:pt x="113" y="312"/>
                    </a:lnTo>
                    <a:lnTo>
                      <a:pt x="113" y="312"/>
                    </a:lnTo>
                    <a:lnTo>
                      <a:pt x="113" y="312"/>
                    </a:lnTo>
                    <a:lnTo>
                      <a:pt x="113" y="312"/>
                    </a:lnTo>
                    <a:lnTo>
                      <a:pt x="113" y="312"/>
                    </a:lnTo>
                    <a:lnTo>
                      <a:pt x="107" y="315"/>
                    </a:lnTo>
                    <a:lnTo>
                      <a:pt x="106" y="315"/>
                    </a:lnTo>
                    <a:lnTo>
                      <a:pt x="104" y="314"/>
                    </a:lnTo>
                    <a:lnTo>
                      <a:pt x="104" y="314"/>
                    </a:lnTo>
                    <a:lnTo>
                      <a:pt x="100" y="311"/>
                    </a:lnTo>
                    <a:lnTo>
                      <a:pt x="96" y="310"/>
                    </a:lnTo>
                    <a:lnTo>
                      <a:pt x="96" y="310"/>
                    </a:lnTo>
                    <a:lnTo>
                      <a:pt x="93" y="310"/>
                    </a:lnTo>
                    <a:lnTo>
                      <a:pt x="93" y="310"/>
                    </a:lnTo>
                    <a:lnTo>
                      <a:pt x="92" y="310"/>
                    </a:lnTo>
                    <a:lnTo>
                      <a:pt x="92" y="310"/>
                    </a:lnTo>
                    <a:lnTo>
                      <a:pt x="93" y="308"/>
                    </a:lnTo>
                    <a:lnTo>
                      <a:pt x="94" y="306"/>
                    </a:lnTo>
                    <a:lnTo>
                      <a:pt x="89" y="311"/>
                    </a:lnTo>
                    <a:lnTo>
                      <a:pt x="88" y="311"/>
                    </a:lnTo>
                    <a:lnTo>
                      <a:pt x="88" y="311"/>
                    </a:lnTo>
                    <a:lnTo>
                      <a:pt x="88" y="311"/>
                    </a:lnTo>
                    <a:lnTo>
                      <a:pt x="88" y="311"/>
                    </a:lnTo>
                    <a:lnTo>
                      <a:pt x="86" y="312"/>
                    </a:lnTo>
                    <a:lnTo>
                      <a:pt x="77" y="314"/>
                    </a:lnTo>
                    <a:lnTo>
                      <a:pt x="77" y="314"/>
                    </a:lnTo>
                    <a:lnTo>
                      <a:pt x="74" y="312"/>
                    </a:lnTo>
                    <a:lnTo>
                      <a:pt x="69" y="311"/>
                    </a:lnTo>
                    <a:lnTo>
                      <a:pt x="69" y="311"/>
                    </a:lnTo>
                    <a:lnTo>
                      <a:pt x="67" y="311"/>
                    </a:lnTo>
                    <a:lnTo>
                      <a:pt x="61" y="318"/>
                    </a:lnTo>
                    <a:lnTo>
                      <a:pt x="56" y="318"/>
                    </a:lnTo>
                    <a:lnTo>
                      <a:pt x="55" y="318"/>
                    </a:lnTo>
                    <a:lnTo>
                      <a:pt x="55" y="318"/>
                    </a:lnTo>
                    <a:lnTo>
                      <a:pt x="52" y="316"/>
                    </a:lnTo>
                    <a:lnTo>
                      <a:pt x="49" y="314"/>
                    </a:lnTo>
                    <a:lnTo>
                      <a:pt x="49" y="310"/>
                    </a:lnTo>
                    <a:lnTo>
                      <a:pt x="49" y="306"/>
                    </a:lnTo>
                    <a:lnTo>
                      <a:pt x="49" y="306"/>
                    </a:lnTo>
                    <a:lnTo>
                      <a:pt x="49" y="304"/>
                    </a:lnTo>
                    <a:lnTo>
                      <a:pt x="49" y="303"/>
                    </a:lnTo>
                    <a:lnTo>
                      <a:pt x="49" y="302"/>
                    </a:lnTo>
                    <a:lnTo>
                      <a:pt x="52" y="297"/>
                    </a:lnTo>
                    <a:lnTo>
                      <a:pt x="52" y="297"/>
                    </a:lnTo>
                    <a:lnTo>
                      <a:pt x="49" y="298"/>
                    </a:lnTo>
                    <a:lnTo>
                      <a:pt x="49" y="298"/>
                    </a:lnTo>
                    <a:lnTo>
                      <a:pt x="49" y="293"/>
                    </a:lnTo>
                    <a:lnTo>
                      <a:pt x="49" y="293"/>
                    </a:lnTo>
                    <a:lnTo>
                      <a:pt x="52" y="294"/>
                    </a:lnTo>
                    <a:lnTo>
                      <a:pt x="49" y="289"/>
                    </a:lnTo>
                    <a:lnTo>
                      <a:pt x="49" y="286"/>
                    </a:lnTo>
                    <a:lnTo>
                      <a:pt x="49" y="285"/>
                    </a:lnTo>
                    <a:lnTo>
                      <a:pt x="49" y="285"/>
                    </a:lnTo>
                    <a:lnTo>
                      <a:pt x="49" y="283"/>
                    </a:lnTo>
                    <a:lnTo>
                      <a:pt x="49" y="283"/>
                    </a:lnTo>
                    <a:lnTo>
                      <a:pt x="44" y="285"/>
                    </a:lnTo>
                    <a:lnTo>
                      <a:pt x="44" y="285"/>
                    </a:lnTo>
                    <a:lnTo>
                      <a:pt x="40" y="285"/>
                    </a:lnTo>
                    <a:lnTo>
                      <a:pt x="40" y="285"/>
                    </a:lnTo>
                    <a:lnTo>
                      <a:pt x="37" y="282"/>
                    </a:lnTo>
                    <a:lnTo>
                      <a:pt x="37" y="282"/>
                    </a:lnTo>
                    <a:lnTo>
                      <a:pt x="40" y="283"/>
                    </a:lnTo>
                    <a:lnTo>
                      <a:pt x="33" y="278"/>
                    </a:lnTo>
                    <a:lnTo>
                      <a:pt x="33" y="278"/>
                    </a:lnTo>
                    <a:lnTo>
                      <a:pt x="35" y="281"/>
                    </a:lnTo>
                    <a:lnTo>
                      <a:pt x="37" y="282"/>
                    </a:lnTo>
                    <a:lnTo>
                      <a:pt x="36" y="282"/>
                    </a:lnTo>
                    <a:lnTo>
                      <a:pt x="36" y="282"/>
                    </a:lnTo>
                    <a:lnTo>
                      <a:pt x="35" y="282"/>
                    </a:lnTo>
                    <a:lnTo>
                      <a:pt x="31" y="273"/>
                    </a:lnTo>
                    <a:lnTo>
                      <a:pt x="31" y="273"/>
                    </a:lnTo>
                    <a:lnTo>
                      <a:pt x="37" y="263"/>
                    </a:lnTo>
                    <a:lnTo>
                      <a:pt x="37" y="263"/>
                    </a:lnTo>
                    <a:lnTo>
                      <a:pt x="40" y="261"/>
                    </a:lnTo>
                    <a:lnTo>
                      <a:pt x="40" y="261"/>
                    </a:lnTo>
                    <a:lnTo>
                      <a:pt x="36" y="258"/>
                    </a:lnTo>
                    <a:lnTo>
                      <a:pt x="36" y="258"/>
                    </a:lnTo>
                    <a:lnTo>
                      <a:pt x="32" y="256"/>
                    </a:lnTo>
                    <a:lnTo>
                      <a:pt x="27" y="252"/>
                    </a:lnTo>
                    <a:lnTo>
                      <a:pt x="27" y="252"/>
                    </a:lnTo>
                    <a:lnTo>
                      <a:pt x="27" y="252"/>
                    </a:lnTo>
                    <a:lnTo>
                      <a:pt x="27" y="252"/>
                    </a:lnTo>
                    <a:lnTo>
                      <a:pt x="26" y="253"/>
                    </a:lnTo>
                    <a:lnTo>
                      <a:pt x="23" y="254"/>
                    </a:lnTo>
                    <a:lnTo>
                      <a:pt x="20" y="256"/>
                    </a:lnTo>
                    <a:lnTo>
                      <a:pt x="20" y="256"/>
                    </a:lnTo>
                    <a:lnTo>
                      <a:pt x="18" y="254"/>
                    </a:lnTo>
                    <a:lnTo>
                      <a:pt x="15" y="252"/>
                    </a:lnTo>
                    <a:lnTo>
                      <a:pt x="14" y="249"/>
                    </a:lnTo>
                    <a:lnTo>
                      <a:pt x="14" y="249"/>
                    </a:lnTo>
                    <a:lnTo>
                      <a:pt x="14" y="250"/>
                    </a:lnTo>
                    <a:lnTo>
                      <a:pt x="14" y="250"/>
                    </a:lnTo>
                    <a:lnTo>
                      <a:pt x="12" y="248"/>
                    </a:lnTo>
                    <a:lnTo>
                      <a:pt x="10" y="245"/>
                    </a:lnTo>
                    <a:lnTo>
                      <a:pt x="10" y="245"/>
                    </a:lnTo>
                    <a:lnTo>
                      <a:pt x="8" y="245"/>
                    </a:lnTo>
                    <a:lnTo>
                      <a:pt x="4" y="244"/>
                    </a:lnTo>
                    <a:lnTo>
                      <a:pt x="0" y="238"/>
                    </a:lnTo>
                    <a:lnTo>
                      <a:pt x="0" y="232"/>
                    </a:lnTo>
                    <a:lnTo>
                      <a:pt x="7" y="225"/>
                    </a:lnTo>
                    <a:lnTo>
                      <a:pt x="7" y="225"/>
                    </a:lnTo>
                    <a:lnTo>
                      <a:pt x="7" y="225"/>
                    </a:lnTo>
                    <a:lnTo>
                      <a:pt x="7" y="225"/>
                    </a:lnTo>
                    <a:lnTo>
                      <a:pt x="4" y="226"/>
                    </a:lnTo>
                    <a:lnTo>
                      <a:pt x="3" y="226"/>
                    </a:lnTo>
                    <a:lnTo>
                      <a:pt x="3" y="226"/>
                    </a:lnTo>
                    <a:lnTo>
                      <a:pt x="2" y="229"/>
                    </a:lnTo>
                    <a:lnTo>
                      <a:pt x="2" y="229"/>
                    </a:lnTo>
                    <a:lnTo>
                      <a:pt x="2" y="229"/>
                    </a:lnTo>
                    <a:lnTo>
                      <a:pt x="2" y="229"/>
                    </a:lnTo>
                    <a:lnTo>
                      <a:pt x="2" y="226"/>
                    </a:lnTo>
                    <a:lnTo>
                      <a:pt x="2" y="223"/>
                    </a:lnTo>
                    <a:lnTo>
                      <a:pt x="7" y="220"/>
                    </a:lnTo>
                    <a:lnTo>
                      <a:pt x="7" y="220"/>
                    </a:lnTo>
                    <a:lnTo>
                      <a:pt x="10" y="219"/>
                    </a:lnTo>
                    <a:lnTo>
                      <a:pt x="12" y="216"/>
                    </a:lnTo>
                    <a:lnTo>
                      <a:pt x="15" y="213"/>
                    </a:lnTo>
                    <a:lnTo>
                      <a:pt x="18" y="209"/>
                    </a:lnTo>
                    <a:lnTo>
                      <a:pt x="18" y="208"/>
                    </a:lnTo>
                    <a:lnTo>
                      <a:pt x="18" y="208"/>
                    </a:lnTo>
                    <a:lnTo>
                      <a:pt x="18" y="204"/>
                    </a:lnTo>
                    <a:lnTo>
                      <a:pt x="20" y="200"/>
                    </a:lnTo>
                    <a:lnTo>
                      <a:pt x="24" y="195"/>
                    </a:lnTo>
                    <a:lnTo>
                      <a:pt x="24" y="195"/>
                    </a:lnTo>
                    <a:lnTo>
                      <a:pt x="27" y="191"/>
                    </a:lnTo>
                    <a:lnTo>
                      <a:pt x="27" y="191"/>
                    </a:lnTo>
                    <a:lnTo>
                      <a:pt x="28" y="187"/>
                    </a:lnTo>
                    <a:lnTo>
                      <a:pt x="28" y="187"/>
                    </a:lnTo>
                    <a:lnTo>
                      <a:pt x="28" y="185"/>
                    </a:lnTo>
                    <a:lnTo>
                      <a:pt x="28" y="185"/>
                    </a:lnTo>
                    <a:lnTo>
                      <a:pt x="29" y="187"/>
                    </a:lnTo>
                    <a:lnTo>
                      <a:pt x="31" y="188"/>
                    </a:lnTo>
                    <a:lnTo>
                      <a:pt x="24" y="182"/>
                    </a:lnTo>
                    <a:lnTo>
                      <a:pt x="24" y="182"/>
                    </a:lnTo>
                    <a:lnTo>
                      <a:pt x="26" y="178"/>
                    </a:lnTo>
                    <a:lnTo>
                      <a:pt x="27" y="175"/>
                    </a:lnTo>
                    <a:lnTo>
                      <a:pt x="31" y="172"/>
                    </a:lnTo>
                    <a:lnTo>
                      <a:pt x="31" y="172"/>
                    </a:lnTo>
                    <a:lnTo>
                      <a:pt x="31" y="171"/>
                    </a:lnTo>
                    <a:lnTo>
                      <a:pt x="31" y="171"/>
                    </a:lnTo>
                    <a:lnTo>
                      <a:pt x="31" y="170"/>
                    </a:lnTo>
                    <a:lnTo>
                      <a:pt x="31" y="170"/>
                    </a:lnTo>
                    <a:lnTo>
                      <a:pt x="31" y="164"/>
                    </a:lnTo>
                    <a:lnTo>
                      <a:pt x="32" y="162"/>
                    </a:lnTo>
                    <a:lnTo>
                      <a:pt x="33" y="159"/>
                    </a:lnTo>
                    <a:lnTo>
                      <a:pt x="33" y="159"/>
                    </a:lnTo>
                    <a:lnTo>
                      <a:pt x="33" y="158"/>
                    </a:lnTo>
                    <a:lnTo>
                      <a:pt x="29" y="154"/>
                    </a:lnTo>
                    <a:lnTo>
                      <a:pt x="29" y="154"/>
                    </a:lnTo>
                    <a:lnTo>
                      <a:pt x="26" y="150"/>
                    </a:lnTo>
                    <a:lnTo>
                      <a:pt x="24" y="146"/>
                    </a:lnTo>
                    <a:lnTo>
                      <a:pt x="24" y="144"/>
                    </a:lnTo>
                    <a:lnTo>
                      <a:pt x="29" y="139"/>
                    </a:lnTo>
                    <a:lnTo>
                      <a:pt x="29" y="139"/>
                    </a:lnTo>
                    <a:lnTo>
                      <a:pt x="32" y="138"/>
                    </a:lnTo>
                    <a:lnTo>
                      <a:pt x="35" y="137"/>
                    </a:lnTo>
                    <a:lnTo>
                      <a:pt x="40" y="130"/>
                    </a:lnTo>
                    <a:lnTo>
                      <a:pt x="40" y="130"/>
                    </a:lnTo>
                    <a:lnTo>
                      <a:pt x="39" y="130"/>
                    </a:lnTo>
                    <a:lnTo>
                      <a:pt x="39" y="130"/>
                    </a:lnTo>
                    <a:lnTo>
                      <a:pt x="35" y="129"/>
                    </a:lnTo>
                    <a:lnTo>
                      <a:pt x="32" y="127"/>
                    </a:lnTo>
                    <a:lnTo>
                      <a:pt x="31" y="127"/>
                    </a:lnTo>
                    <a:lnTo>
                      <a:pt x="24" y="121"/>
                    </a:lnTo>
                    <a:lnTo>
                      <a:pt x="24" y="117"/>
                    </a:lnTo>
                    <a:lnTo>
                      <a:pt x="24" y="117"/>
                    </a:lnTo>
                    <a:lnTo>
                      <a:pt x="23" y="109"/>
                    </a:lnTo>
                    <a:lnTo>
                      <a:pt x="23" y="102"/>
                    </a:lnTo>
                    <a:lnTo>
                      <a:pt x="23" y="102"/>
                    </a:lnTo>
                    <a:lnTo>
                      <a:pt x="23" y="94"/>
                    </a:lnTo>
                    <a:lnTo>
                      <a:pt x="22" y="89"/>
                    </a:lnTo>
                    <a:lnTo>
                      <a:pt x="28" y="81"/>
                    </a:lnTo>
                    <a:lnTo>
                      <a:pt x="28" y="81"/>
                    </a:lnTo>
                    <a:lnTo>
                      <a:pt x="28" y="81"/>
                    </a:lnTo>
                    <a:lnTo>
                      <a:pt x="28" y="81"/>
                    </a:lnTo>
                    <a:lnTo>
                      <a:pt x="27" y="81"/>
                    </a:lnTo>
                    <a:lnTo>
                      <a:pt x="28" y="80"/>
                    </a:lnTo>
                    <a:lnTo>
                      <a:pt x="28" y="80"/>
                    </a:lnTo>
                    <a:lnTo>
                      <a:pt x="27" y="81"/>
                    </a:lnTo>
                    <a:lnTo>
                      <a:pt x="27" y="81"/>
                    </a:lnTo>
                    <a:lnTo>
                      <a:pt x="28" y="80"/>
                    </a:lnTo>
                    <a:lnTo>
                      <a:pt x="32" y="78"/>
                    </a:lnTo>
                    <a:lnTo>
                      <a:pt x="32" y="78"/>
                    </a:lnTo>
                    <a:lnTo>
                      <a:pt x="35" y="77"/>
                    </a:lnTo>
                    <a:lnTo>
                      <a:pt x="35" y="77"/>
                    </a:lnTo>
                    <a:lnTo>
                      <a:pt x="39" y="76"/>
                    </a:lnTo>
                    <a:lnTo>
                      <a:pt x="43" y="76"/>
                    </a:lnTo>
                    <a:lnTo>
                      <a:pt x="43" y="76"/>
                    </a:lnTo>
                    <a:lnTo>
                      <a:pt x="45" y="76"/>
                    </a:lnTo>
                    <a:lnTo>
                      <a:pt x="48" y="76"/>
                    </a:lnTo>
                    <a:lnTo>
                      <a:pt x="48" y="76"/>
                    </a:lnTo>
                    <a:lnTo>
                      <a:pt x="51" y="73"/>
                    </a:lnTo>
                    <a:lnTo>
                      <a:pt x="55" y="72"/>
                    </a:lnTo>
                    <a:lnTo>
                      <a:pt x="55" y="72"/>
                    </a:lnTo>
                    <a:lnTo>
                      <a:pt x="57" y="72"/>
                    </a:lnTo>
                    <a:lnTo>
                      <a:pt x="63" y="77"/>
                    </a:lnTo>
                    <a:lnTo>
                      <a:pt x="63" y="77"/>
                    </a:lnTo>
                    <a:lnTo>
                      <a:pt x="63" y="78"/>
                    </a:lnTo>
                    <a:lnTo>
                      <a:pt x="63" y="78"/>
                    </a:lnTo>
                    <a:lnTo>
                      <a:pt x="63" y="82"/>
                    </a:lnTo>
                    <a:lnTo>
                      <a:pt x="63" y="85"/>
                    </a:lnTo>
                    <a:lnTo>
                      <a:pt x="63" y="88"/>
                    </a:lnTo>
                    <a:lnTo>
                      <a:pt x="63" y="88"/>
                    </a:lnTo>
                    <a:lnTo>
                      <a:pt x="63" y="88"/>
                    </a:lnTo>
                    <a:lnTo>
                      <a:pt x="63" y="88"/>
                    </a:lnTo>
                    <a:lnTo>
                      <a:pt x="63" y="88"/>
                    </a:lnTo>
                    <a:lnTo>
                      <a:pt x="63" y="88"/>
                    </a:lnTo>
                    <a:lnTo>
                      <a:pt x="61" y="88"/>
                    </a:lnTo>
                    <a:lnTo>
                      <a:pt x="63" y="88"/>
                    </a:lnTo>
                    <a:lnTo>
                      <a:pt x="63" y="88"/>
                    </a:lnTo>
                    <a:lnTo>
                      <a:pt x="63" y="88"/>
                    </a:lnTo>
                    <a:lnTo>
                      <a:pt x="63" y="88"/>
                    </a:lnTo>
                    <a:lnTo>
                      <a:pt x="61" y="88"/>
                    </a:lnTo>
                    <a:lnTo>
                      <a:pt x="61" y="88"/>
                    </a:lnTo>
                    <a:lnTo>
                      <a:pt x="61" y="88"/>
                    </a:lnTo>
                    <a:lnTo>
                      <a:pt x="63" y="89"/>
                    </a:lnTo>
                    <a:lnTo>
                      <a:pt x="63" y="89"/>
                    </a:lnTo>
                    <a:lnTo>
                      <a:pt x="61" y="90"/>
                    </a:lnTo>
                    <a:lnTo>
                      <a:pt x="61" y="90"/>
                    </a:lnTo>
                    <a:lnTo>
                      <a:pt x="60" y="93"/>
                    </a:lnTo>
                    <a:lnTo>
                      <a:pt x="61" y="96"/>
                    </a:lnTo>
                    <a:lnTo>
                      <a:pt x="64" y="90"/>
                    </a:lnTo>
                    <a:lnTo>
                      <a:pt x="67" y="96"/>
                    </a:lnTo>
                    <a:lnTo>
                      <a:pt x="67" y="96"/>
                    </a:lnTo>
                    <a:lnTo>
                      <a:pt x="67" y="93"/>
                    </a:lnTo>
                    <a:lnTo>
                      <a:pt x="67" y="90"/>
                    </a:lnTo>
                    <a:lnTo>
                      <a:pt x="67" y="90"/>
                    </a:lnTo>
                    <a:lnTo>
                      <a:pt x="65" y="89"/>
                    </a:lnTo>
                    <a:lnTo>
                      <a:pt x="72" y="86"/>
                    </a:lnTo>
                    <a:lnTo>
                      <a:pt x="72" y="86"/>
                    </a:lnTo>
                    <a:lnTo>
                      <a:pt x="74" y="88"/>
                    </a:lnTo>
                    <a:lnTo>
                      <a:pt x="74" y="88"/>
                    </a:lnTo>
                    <a:lnTo>
                      <a:pt x="72" y="88"/>
                    </a:lnTo>
                    <a:lnTo>
                      <a:pt x="78" y="93"/>
                    </a:lnTo>
                    <a:lnTo>
                      <a:pt x="78" y="93"/>
                    </a:lnTo>
                    <a:lnTo>
                      <a:pt x="78" y="93"/>
                    </a:lnTo>
                    <a:lnTo>
                      <a:pt x="80" y="93"/>
                    </a:lnTo>
                    <a:lnTo>
                      <a:pt x="81" y="94"/>
                    </a:lnTo>
                    <a:lnTo>
                      <a:pt x="88" y="94"/>
                    </a:lnTo>
                    <a:lnTo>
                      <a:pt x="88" y="94"/>
                    </a:lnTo>
                    <a:lnTo>
                      <a:pt x="94" y="96"/>
                    </a:lnTo>
                    <a:lnTo>
                      <a:pt x="94" y="96"/>
                    </a:lnTo>
                    <a:lnTo>
                      <a:pt x="96" y="96"/>
                    </a:lnTo>
                    <a:lnTo>
                      <a:pt x="96" y="96"/>
                    </a:lnTo>
                    <a:lnTo>
                      <a:pt x="97" y="96"/>
                    </a:lnTo>
                    <a:lnTo>
                      <a:pt x="97" y="96"/>
                    </a:lnTo>
                    <a:lnTo>
                      <a:pt x="97" y="94"/>
                    </a:lnTo>
                    <a:lnTo>
                      <a:pt x="97" y="90"/>
                    </a:lnTo>
                    <a:lnTo>
                      <a:pt x="97" y="90"/>
                    </a:lnTo>
                    <a:lnTo>
                      <a:pt x="97" y="88"/>
                    </a:lnTo>
                    <a:lnTo>
                      <a:pt x="98" y="85"/>
                    </a:lnTo>
                    <a:lnTo>
                      <a:pt x="98" y="85"/>
                    </a:lnTo>
                    <a:lnTo>
                      <a:pt x="101" y="82"/>
                    </a:lnTo>
                    <a:lnTo>
                      <a:pt x="104" y="82"/>
                    </a:lnTo>
                    <a:lnTo>
                      <a:pt x="104" y="82"/>
                    </a:lnTo>
                    <a:lnTo>
                      <a:pt x="106" y="82"/>
                    </a:lnTo>
                    <a:lnTo>
                      <a:pt x="106" y="82"/>
                    </a:lnTo>
                    <a:lnTo>
                      <a:pt x="110" y="82"/>
                    </a:lnTo>
                    <a:lnTo>
                      <a:pt x="110" y="82"/>
                    </a:lnTo>
                    <a:lnTo>
                      <a:pt x="111" y="82"/>
                    </a:lnTo>
                    <a:lnTo>
                      <a:pt x="111" y="82"/>
                    </a:lnTo>
                    <a:lnTo>
                      <a:pt x="110" y="84"/>
                    </a:lnTo>
                    <a:lnTo>
                      <a:pt x="113" y="81"/>
                    </a:lnTo>
                    <a:lnTo>
                      <a:pt x="113" y="81"/>
                    </a:lnTo>
                    <a:lnTo>
                      <a:pt x="114" y="81"/>
                    </a:lnTo>
                    <a:lnTo>
                      <a:pt x="114" y="80"/>
                    </a:lnTo>
                    <a:lnTo>
                      <a:pt x="114" y="80"/>
                    </a:lnTo>
                    <a:lnTo>
                      <a:pt x="117" y="77"/>
                    </a:lnTo>
                    <a:lnTo>
                      <a:pt x="119" y="76"/>
                    </a:lnTo>
                    <a:lnTo>
                      <a:pt x="123" y="76"/>
                    </a:lnTo>
                    <a:lnTo>
                      <a:pt x="123" y="76"/>
                    </a:lnTo>
                    <a:lnTo>
                      <a:pt x="123" y="76"/>
                    </a:lnTo>
                    <a:lnTo>
                      <a:pt x="123" y="76"/>
                    </a:lnTo>
                    <a:lnTo>
                      <a:pt x="123" y="73"/>
                    </a:lnTo>
                    <a:lnTo>
                      <a:pt x="123" y="73"/>
                    </a:lnTo>
                    <a:lnTo>
                      <a:pt x="123" y="72"/>
                    </a:lnTo>
                    <a:lnTo>
                      <a:pt x="134" y="68"/>
                    </a:lnTo>
                    <a:lnTo>
                      <a:pt x="134" y="68"/>
                    </a:lnTo>
                    <a:lnTo>
                      <a:pt x="134" y="68"/>
                    </a:lnTo>
                    <a:lnTo>
                      <a:pt x="134" y="68"/>
                    </a:lnTo>
                    <a:lnTo>
                      <a:pt x="135" y="68"/>
                    </a:lnTo>
                    <a:lnTo>
                      <a:pt x="135" y="68"/>
                    </a:lnTo>
                    <a:lnTo>
                      <a:pt x="135" y="64"/>
                    </a:lnTo>
                    <a:lnTo>
                      <a:pt x="138" y="60"/>
                    </a:lnTo>
                    <a:lnTo>
                      <a:pt x="138" y="60"/>
                    </a:lnTo>
                    <a:lnTo>
                      <a:pt x="141" y="57"/>
                    </a:lnTo>
                    <a:lnTo>
                      <a:pt x="143" y="56"/>
                    </a:lnTo>
                    <a:lnTo>
                      <a:pt x="148" y="56"/>
                    </a:lnTo>
                    <a:lnTo>
                      <a:pt x="148" y="56"/>
                    </a:lnTo>
                    <a:lnTo>
                      <a:pt x="150" y="55"/>
                    </a:lnTo>
                    <a:lnTo>
                      <a:pt x="150" y="55"/>
                    </a:lnTo>
                    <a:lnTo>
                      <a:pt x="152" y="56"/>
                    </a:lnTo>
                    <a:lnTo>
                      <a:pt x="152" y="56"/>
                    </a:lnTo>
                    <a:lnTo>
                      <a:pt x="154" y="56"/>
                    </a:lnTo>
                    <a:lnTo>
                      <a:pt x="154" y="56"/>
                    </a:lnTo>
                    <a:lnTo>
                      <a:pt x="152" y="56"/>
                    </a:lnTo>
                    <a:lnTo>
                      <a:pt x="152" y="56"/>
                    </a:lnTo>
                    <a:lnTo>
                      <a:pt x="151" y="57"/>
                    </a:lnTo>
                    <a:lnTo>
                      <a:pt x="150" y="60"/>
                    </a:lnTo>
                    <a:lnTo>
                      <a:pt x="156" y="55"/>
                    </a:lnTo>
                    <a:lnTo>
                      <a:pt x="156" y="55"/>
                    </a:lnTo>
                    <a:lnTo>
                      <a:pt x="156" y="55"/>
                    </a:lnTo>
                    <a:lnTo>
                      <a:pt x="156" y="55"/>
                    </a:lnTo>
                    <a:lnTo>
                      <a:pt x="158" y="53"/>
                    </a:lnTo>
                    <a:lnTo>
                      <a:pt x="160" y="53"/>
                    </a:lnTo>
                    <a:lnTo>
                      <a:pt x="160" y="53"/>
                    </a:lnTo>
                    <a:lnTo>
                      <a:pt x="160" y="53"/>
                    </a:lnTo>
                    <a:lnTo>
                      <a:pt x="160" y="53"/>
                    </a:lnTo>
                    <a:lnTo>
                      <a:pt x="160" y="53"/>
                    </a:lnTo>
                    <a:lnTo>
                      <a:pt x="170" y="52"/>
                    </a:lnTo>
                    <a:lnTo>
                      <a:pt x="170" y="52"/>
                    </a:lnTo>
                    <a:lnTo>
                      <a:pt x="167" y="52"/>
                    </a:lnTo>
                    <a:lnTo>
                      <a:pt x="167" y="52"/>
                    </a:lnTo>
                    <a:lnTo>
                      <a:pt x="166" y="52"/>
                    </a:lnTo>
                    <a:lnTo>
                      <a:pt x="166" y="52"/>
                    </a:lnTo>
                    <a:lnTo>
                      <a:pt x="171" y="51"/>
                    </a:lnTo>
                    <a:lnTo>
                      <a:pt x="175" y="51"/>
                    </a:lnTo>
                    <a:lnTo>
                      <a:pt x="182" y="57"/>
                    </a:lnTo>
                    <a:lnTo>
                      <a:pt x="182" y="57"/>
                    </a:lnTo>
                    <a:lnTo>
                      <a:pt x="182" y="56"/>
                    </a:lnTo>
                    <a:lnTo>
                      <a:pt x="182" y="56"/>
                    </a:lnTo>
                    <a:lnTo>
                      <a:pt x="184" y="57"/>
                    </a:lnTo>
                    <a:lnTo>
                      <a:pt x="184" y="57"/>
                    </a:lnTo>
                    <a:lnTo>
                      <a:pt x="184" y="57"/>
                    </a:lnTo>
                    <a:lnTo>
                      <a:pt x="184" y="53"/>
                    </a:lnTo>
                    <a:lnTo>
                      <a:pt x="184" y="53"/>
                    </a:lnTo>
                    <a:lnTo>
                      <a:pt x="183" y="51"/>
                    </a:lnTo>
                    <a:lnTo>
                      <a:pt x="182" y="47"/>
                    </a:lnTo>
                    <a:lnTo>
                      <a:pt x="182" y="47"/>
                    </a:lnTo>
                    <a:lnTo>
                      <a:pt x="183" y="44"/>
                    </a:lnTo>
                    <a:lnTo>
                      <a:pt x="186" y="43"/>
                    </a:lnTo>
                    <a:lnTo>
                      <a:pt x="188" y="41"/>
                    </a:lnTo>
                    <a:lnTo>
                      <a:pt x="189" y="41"/>
                    </a:lnTo>
                    <a:lnTo>
                      <a:pt x="192" y="41"/>
                    </a:lnTo>
                    <a:lnTo>
                      <a:pt x="196" y="44"/>
                    </a:lnTo>
                    <a:lnTo>
                      <a:pt x="196" y="44"/>
                    </a:lnTo>
                    <a:lnTo>
                      <a:pt x="199" y="48"/>
                    </a:lnTo>
                    <a:lnTo>
                      <a:pt x="200" y="52"/>
                    </a:lnTo>
                    <a:lnTo>
                      <a:pt x="200" y="52"/>
                    </a:lnTo>
                    <a:lnTo>
                      <a:pt x="201" y="56"/>
                    </a:lnTo>
                    <a:lnTo>
                      <a:pt x="201" y="56"/>
                    </a:lnTo>
                    <a:lnTo>
                      <a:pt x="201" y="56"/>
                    </a:lnTo>
                    <a:lnTo>
                      <a:pt x="201" y="56"/>
                    </a:lnTo>
                    <a:lnTo>
                      <a:pt x="203" y="56"/>
                    </a:lnTo>
                    <a:lnTo>
                      <a:pt x="203" y="56"/>
                    </a:lnTo>
                    <a:lnTo>
                      <a:pt x="204" y="56"/>
                    </a:lnTo>
                    <a:lnTo>
                      <a:pt x="205" y="56"/>
                    </a:lnTo>
                    <a:lnTo>
                      <a:pt x="207" y="56"/>
                    </a:lnTo>
                    <a:lnTo>
                      <a:pt x="213" y="61"/>
                    </a:lnTo>
                    <a:lnTo>
                      <a:pt x="213" y="61"/>
                    </a:lnTo>
                    <a:lnTo>
                      <a:pt x="212" y="57"/>
                    </a:lnTo>
                    <a:lnTo>
                      <a:pt x="209" y="56"/>
                    </a:lnTo>
                    <a:lnTo>
                      <a:pt x="209" y="57"/>
                    </a:lnTo>
                    <a:lnTo>
                      <a:pt x="209" y="57"/>
                    </a:lnTo>
                    <a:lnTo>
                      <a:pt x="212" y="57"/>
                    </a:lnTo>
                    <a:lnTo>
                      <a:pt x="217" y="63"/>
                    </a:lnTo>
                    <a:lnTo>
                      <a:pt x="217" y="63"/>
                    </a:lnTo>
                    <a:lnTo>
                      <a:pt x="217" y="64"/>
                    </a:lnTo>
                    <a:lnTo>
                      <a:pt x="217" y="64"/>
                    </a:lnTo>
                    <a:lnTo>
                      <a:pt x="217" y="65"/>
                    </a:lnTo>
                    <a:lnTo>
                      <a:pt x="217" y="65"/>
                    </a:lnTo>
                    <a:lnTo>
                      <a:pt x="216" y="64"/>
                    </a:lnTo>
                    <a:lnTo>
                      <a:pt x="213" y="61"/>
                    </a:lnTo>
                    <a:lnTo>
                      <a:pt x="217" y="66"/>
                    </a:lnTo>
                    <a:lnTo>
                      <a:pt x="217" y="66"/>
                    </a:lnTo>
                    <a:lnTo>
                      <a:pt x="217" y="66"/>
                    </a:lnTo>
                    <a:lnTo>
                      <a:pt x="219" y="68"/>
                    </a:lnTo>
                    <a:lnTo>
                      <a:pt x="219" y="68"/>
                    </a:lnTo>
                    <a:lnTo>
                      <a:pt x="219" y="68"/>
                    </a:lnTo>
                    <a:lnTo>
                      <a:pt x="219" y="68"/>
                    </a:lnTo>
                    <a:lnTo>
                      <a:pt x="220" y="70"/>
                    </a:lnTo>
                    <a:lnTo>
                      <a:pt x="220" y="70"/>
                    </a:lnTo>
                    <a:lnTo>
                      <a:pt x="223" y="70"/>
                    </a:lnTo>
                    <a:lnTo>
                      <a:pt x="223" y="70"/>
                    </a:lnTo>
                    <a:lnTo>
                      <a:pt x="220" y="72"/>
                    </a:lnTo>
                    <a:lnTo>
                      <a:pt x="220" y="72"/>
                    </a:lnTo>
                    <a:lnTo>
                      <a:pt x="221" y="72"/>
                    </a:lnTo>
                    <a:lnTo>
                      <a:pt x="221" y="72"/>
                    </a:lnTo>
                    <a:lnTo>
                      <a:pt x="220" y="72"/>
                    </a:lnTo>
                    <a:lnTo>
                      <a:pt x="220" y="72"/>
                    </a:lnTo>
                    <a:lnTo>
                      <a:pt x="220" y="73"/>
                    </a:lnTo>
                    <a:lnTo>
                      <a:pt x="226" y="68"/>
                    </a:lnTo>
                    <a:lnTo>
                      <a:pt x="228" y="68"/>
                    </a:lnTo>
                    <a:lnTo>
                      <a:pt x="233" y="72"/>
                    </a:lnTo>
                    <a:lnTo>
                      <a:pt x="233" y="72"/>
                    </a:lnTo>
                    <a:lnTo>
                      <a:pt x="232" y="70"/>
                    </a:lnTo>
                    <a:lnTo>
                      <a:pt x="232" y="70"/>
                    </a:lnTo>
                    <a:lnTo>
                      <a:pt x="233" y="70"/>
                    </a:lnTo>
                    <a:lnTo>
                      <a:pt x="236" y="72"/>
                    </a:lnTo>
                    <a:lnTo>
                      <a:pt x="236" y="72"/>
                    </a:lnTo>
                    <a:lnTo>
                      <a:pt x="236" y="72"/>
                    </a:lnTo>
                    <a:lnTo>
                      <a:pt x="236" y="72"/>
                    </a:lnTo>
                    <a:lnTo>
                      <a:pt x="236" y="72"/>
                    </a:lnTo>
                    <a:lnTo>
                      <a:pt x="237" y="72"/>
                    </a:lnTo>
                    <a:lnTo>
                      <a:pt x="237" y="72"/>
                    </a:lnTo>
                    <a:lnTo>
                      <a:pt x="240" y="70"/>
                    </a:lnTo>
                    <a:lnTo>
                      <a:pt x="240" y="70"/>
                    </a:lnTo>
                    <a:lnTo>
                      <a:pt x="242" y="69"/>
                    </a:lnTo>
                    <a:lnTo>
                      <a:pt x="244" y="68"/>
                    </a:lnTo>
                    <a:lnTo>
                      <a:pt x="244" y="68"/>
                    </a:lnTo>
                    <a:lnTo>
                      <a:pt x="248" y="66"/>
                    </a:lnTo>
                    <a:lnTo>
                      <a:pt x="248" y="66"/>
                    </a:lnTo>
                    <a:lnTo>
                      <a:pt x="249" y="66"/>
                    </a:lnTo>
                    <a:lnTo>
                      <a:pt x="253" y="64"/>
                    </a:lnTo>
                    <a:lnTo>
                      <a:pt x="254" y="64"/>
                    </a:lnTo>
                    <a:lnTo>
                      <a:pt x="257" y="65"/>
                    </a:lnTo>
                    <a:lnTo>
                      <a:pt x="258" y="65"/>
                    </a:lnTo>
                    <a:lnTo>
                      <a:pt x="258" y="65"/>
                    </a:lnTo>
                    <a:lnTo>
                      <a:pt x="264" y="69"/>
                    </a:lnTo>
                    <a:lnTo>
                      <a:pt x="264" y="69"/>
                    </a:lnTo>
                    <a:lnTo>
                      <a:pt x="270" y="74"/>
                    </a:lnTo>
                    <a:lnTo>
                      <a:pt x="270" y="74"/>
                    </a:lnTo>
                    <a:lnTo>
                      <a:pt x="270" y="80"/>
                    </a:lnTo>
                    <a:lnTo>
                      <a:pt x="269" y="82"/>
                    </a:lnTo>
                    <a:lnTo>
                      <a:pt x="269" y="82"/>
                    </a:lnTo>
                    <a:lnTo>
                      <a:pt x="269" y="82"/>
                    </a:lnTo>
                    <a:lnTo>
                      <a:pt x="271" y="84"/>
                    </a:lnTo>
                    <a:lnTo>
                      <a:pt x="271" y="84"/>
                    </a:lnTo>
                    <a:lnTo>
                      <a:pt x="271" y="84"/>
                    </a:lnTo>
                    <a:lnTo>
                      <a:pt x="271" y="84"/>
                    </a:lnTo>
                    <a:lnTo>
                      <a:pt x="273" y="85"/>
                    </a:lnTo>
                    <a:lnTo>
                      <a:pt x="273" y="85"/>
                    </a:lnTo>
                    <a:lnTo>
                      <a:pt x="275" y="85"/>
                    </a:lnTo>
                    <a:lnTo>
                      <a:pt x="278" y="88"/>
                    </a:lnTo>
                    <a:lnTo>
                      <a:pt x="278" y="88"/>
                    </a:lnTo>
                    <a:lnTo>
                      <a:pt x="281" y="89"/>
                    </a:lnTo>
                    <a:lnTo>
                      <a:pt x="281" y="89"/>
                    </a:lnTo>
                    <a:lnTo>
                      <a:pt x="282" y="90"/>
                    </a:lnTo>
                    <a:lnTo>
                      <a:pt x="285" y="90"/>
                    </a:lnTo>
                    <a:lnTo>
                      <a:pt x="290" y="98"/>
                    </a:lnTo>
                    <a:lnTo>
                      <a:pt x="290" y="98"/>
                    </a:lnTo>
                    <a:lnTo>
                      <a:pt x="290" y="97"/>
                    </a:lnTo>
                    <a:lnTo>
                      <a:pt x="290" y="94"/>
                    </a:lnTo>
                    <a:lnTo>
                      <a:pt x="291" y="96"/>
                    </a:lnTo>
                    <a:lnTo>
                      <a:pt x="291" y="96"/>
                    </a:lnTo>
                    <a:lnTo>
                      <a:pt x="289" y="94"/>
                    </a:lnTo>
                    <a:lnTo>
                      <a:pt x="289" y="94"/>
                    </a:lnTo>
                    <a:lnTo>
                      <a:pt x="289" y="93"/>
                    </a:lnTo>
                    <a:lnTo>
                      <a:pt x="289" y="93"/>
                    </a:lnTo>
                    <a:lnTo>
                      <a:pt x="294" y="92"/>
                    </a:lnTo>
                    <a:lnTo>
                      <a:pt x="294" y="92"/>
                    </a:lnTo>
                    <a:lnTo>
                      <a:pt x="295" y="92"/>
                    </a:lnTo>
                    <a:lnTo>
                      <a:pt x="295" y="92"/>
                    </a:lnTo>
                    <a:lnTo>
                      <a:pt x="297" y="93"/>
                    </a:lnTo>
                    <a:lnTo>
                      <a:pt x="297" y="93"/>
                    </a:lnTo>
                    <a:lnTo>
                      <a:pt x="297" y="93"/>
                    </a:lnTo>
                    <a:lnTo>
                      <a:pt x="297" y="93"/>
                    </a:lnTo>
                    <a:lnTo>
                      <a:pt x="302" y="98"/>
                    </a:lnTo>
                    <a:lnTo>
                      <a:pt x="302" y="98"/>
                    </a:lnTo>
                    <a:lnTo>
                      <a:pt x="302" y="100"/>
                    </a:lnTo>
                    <a:lnTo>
                      <a:pt x="302" y="100"/>
                    </a:lnTo>
                    <a:lnTo>
                      <a:pt x="302" y="100"/>
                    </a:lnTo>
                    <a:lnTo>
                      <a:pt x="302" y="101"/>
                    </a:lnTo>
                    <a:lnTo>
                      <a:pt x="302" y="101"/>
                    </a:lnTo>
                    <a:lnTo>
                      <a:pt x="303" y="101"/>
                    </a:lnTo>
                    <a:lnTo>
                      <a:pt x="304" y="102"/>
                    </a:lnTo>
                    <a:lnTo>
                      <a:pt x="304" y="102"/>
                    </a:lnTo>
                    <a:lnTo>
                      <a:pt x="304" y="102"/>
                    </a:lnTo>
                    <a:lnTo>
                      <a:pt x="304" y="102"/>
                    </a:lnTo>
                    <a:lnTo>
                      <a:pt x="304" y="102"/>
                    </a:lnTo>
                    <a:lnTo>
                      <a:pt x="304" y="102"/>
                    </a:lnTo>
                    <a:lnTo>
                      <a:pt x="304" y="102"/>
                    </a:lnTo>
                    <a:lnTo>
                      <a:pt x="310" y="97"/>
                    </a:lnTo>
                    <a:lnTo>
                      <a:pt x="310" y="97"/>
                    </a:lnTo>
                    <a:lnTo>
                      <a:pt x="310" y="97"/>
                    </a:lnTo>
                    <a:lnTo>
                      <a:pt x="310" y="97"/>
                    </a:lnTo>
                    <a:lnTo>
                      <a:pt x="316" y="98"/>
                    </a:lnTo>
                    <a:lnTo>
                      <a:pt x="316" y="98"/>
                    </a:lnTo>
                    <a:lnTo>
                      <a:pt x="318" y="98"/>
                    </a:lnTo>
                    <a:lnTo>
                      <a:pt x="318" y="98"/>
                    </a:lnTo>
                    <a:lnTo>
                      <a:pt x="324" y="96"/>
                    </a:lnTo>
                    <a:lnTo>
                      <a:pt x="331" y="92"/>
                    </a:lnTo>
                    <a:lnTo>
                      <a:pt x="331" y="92"/>
                    </a:lnTo>
                    <a:lnTo>
                      <a:pt x="340" y="88"/>
                    </a:lnTo>
                    <a:lnTo>
                      <a:pt x="347" y="90"/>
                    </a:lnTo>
                    <a:lnTo>
                      <a:pt x="349" y="93"/>
                    </a:lnTo>
                    <a:lnTo>
                      <a:pt x="349" y="93"/>
                    </a:lnTo>
                    <a:lnTo>
                      <a:pt x="349" y="93"/>
                    </a:lnTo>
                    <a:lnTo>
                      <a:pt x="352" y="97"/>
                    </a:lnTo>
                    <a:lnTo>
                      <a:pt x="352" y="97"/>
                    </a:lnTo>
                    <a:lnTo>
                      <a:pt x="353" y="98"/>
                    </a:lnTo>
                    <a:lnTo>
                      <a:pt x="357" y="98"/>
                    </a:lnTo>
                    <a:lnTo>
                      <a:pt x="357" y="98"/>
                    </a:lnTo>
                    <a:lnTo>
                      <a:pt x="360" y="96"/>
                    </a:lnTo>
                    <a:lnTo>
                      <a:pt x="365" y="94"/>
                    </a:lnTo>
                    <a:lnTo>
                      <a:pt x="365" y="94"/>
                    </a:lnTo>
                    <a:lnTo>
                      <a:pt x="367" y="94"/>
                    </a:lnTo>
                    <a:lnTo>
                      <a:pt x="367" y="94"/>
                    </a:lnTo>
                    <a:lnTo>
                      <a:pt x="367" y="94"/>
                    </a:lnTo>
                    <a:lnTo>
                      <a:pt x="368" y="94"/>
                    </a:lnTo>
                    <a:lnTo>
                      <a:pt x="368" y="94"/>
                    </a:lnTo>
                    <a:lnTo>
                      <a:pt x="371" y="94"/>
                    </a:lnTo>
                    <a:lnTo>
                      <a:pt x="371" y="94"/>
                    </a:lnTo>
                    <a:lnTo>
                      <a:pt x="372" y="94"/>
                    </a:lnTo>
                    <a:lnTo>
                      <a:pt x="372" y="94"/>
                    </a:lnTo>
                    <a:lnTo>
                      <a:pt x="372" y="94"/>
                    </a:lnTo>
                    <a:lnTo>
                      <a:pt x="373" y="93"/>
                    </a:lnTo>
                    <a:lnTo>
                      <a:pt x="373" y="92"/>
                    </a:lnTo>
                    <a:lnTo>
                      <a:pt x="373" y="92"/>
                    </a:lnTo>
                    <a:lnTo>
                      <a:pt x="372" y="88"/>
                    </a:lnTo>
                    <a:lnTo>
                      <a:pt x="372" y="84"/>
                    </a:lnTo>
                    <a:lnTo>
                      <a:pt x="379" y="78"/>
                    </a:lnTo>
                    <a:lnTo>
                      <a:pt x="379" y="78"/>
                    </a:lnTo>
                    <a:lnTo>
                      <a:pt x="379" y="78"/>
                    </a:lnTo>
                    <a:lnTo>
                      <a:pt x="379" y="78"/>
                    </a:lnTo>
                    <a:lnTo>
                      <a:pt x="376" y="80"/>
                    </a:lnTo>
                    <a:lnTo>
                      <a:pt x="377" y="78"/>
                    </a:lnTo>
                    <a:lnTo>
                      <a:pt x="377" y="78"/>
                    </a:lnTo>
                    <a:lnTo>
                      <a:pt x="381" y="76"/>
                    </a:lnTo>
                    <a:lnTo>
                      <a:pt x="385" y="76"/>
                    </a:lnTo>
                    <a:lnTo>
                      <a:pt x="386" y="76"/>
                    </a:lnTo>
                    <a:lnTo>
                      <a:pt x="386" y="76"/>
                    </a:lnTo>
                    <a:lnTo>
                      <a:pt x="386" y="76"/>
                    </a:lnTo>
                    <a:lnTo>
                      <a:pt x="392" y="77"/>
                    </a:lnTo>
                    <a:lnTo>
                      <a:pt x="392" y="77"/>
                    </a:lnTo>
                    <a:lnTo>
                      <a:pt x="394" y="78"/>
                    </a:lnTo>
                    <a:lnTo>
                      <a:pt x="396" y="77"/>
                    </a:lnTo>
                    <a:lnTo>
                      <a:pt x="396" y="77"/>
                    </a:lnTo>
                    <a:lnTo>
                      <a:pt x="396" y="77"/>
                    </a:lnTo>
                    <a:lnTo>
                      <a:pt x="397" y="76"/>
                    </a:lnTo>
                    <a:lnTo>
                      <a:pt x="397" y="76"/>
                    </a:lnTo>
                    <a:lnTo>
                      <a:pt x="397" y="76"/>
                    </a:lnTo>
                    <a:lnTo>
                      <a:pt x="397" y="76"/>
                    </a:lnTo>
                    <a:lnTo>
                      <a:pt x="394" y="74"/>
                    </a:lnTo>
                    <a:lnTo>
                      <a:pt x="392" y="70"/>
                    </a:lnTo>
                    <a:lnTo>
                      <a:pt x="392" y="70"/>
                    </a:lnTo>
                    <a:lnTo>
                      <a:pt x="392" y="72"/>
                    </a:lnTo>
                    <a:lnTo>
                      <a:pt x="392" y="72"/>
                    </a:lnTo>
                    <a:lnTo>
                      <a:pt x="390" y="69"/>
                    </a:lnTo>
                    <a:lnTo>
                      <a:pt x="389" y="66"/>
                    </a:lnTo>
                    <a:lnTo>
                      <a:pt x="393" y="60"/>
                    </a:lnTo>
                    <a:lnTo>
                      <a:pt x="393" y="60"/>
                    </a:lnTo>
                    <a:lnTo>
                      <a:pt x="396" y="59"/>
                    </a:lnTo>
                    <a:lnTo>
                      <a:pt x="396" y="59"/>
                    </a:lnTo>
                    <a:lnTo>
                      <a:pt x="398" y="60"/>
                    </a:lnTo>
                    <a:lnTo>
                      <a:pt x="398" y="60"/>
                    </a:lnTo>
                    <a:lnTo>
                      <a:pt x="400" y="60"/>
                    </a:lnTo>
                    <a:lnTo>
                      <a:pt x="400" y="60"/>
                    </a:lnTo>
                    <a:lnTo>
                      <a:pt x="398" y="60"/>
                    </a:lnTo>
                    <a:lnTo>
                      <a:pt x="397" y="61"/>
                    </a:lnTo>
                    <a:lnTo>
                      <a:pt x="397" y="61"/>
                    </a:lnTo>
                    <a:lnTo>
                      <a:pt x="396" y="64"/>
                    </a:lnTo>
                    <a:lnTo>
                      <a:pt x="402" y="59"/>
                    </a:lnTo>
                    <a:lnTo>
                      <a:pt x="402" y="59"/>
                    </a:lnTo>
                    <a:lnTo>
                      <a:pt x="402" y="59"/>
                    </a:lnTo>
                    <a:lnTo>
                      <a:pt x="402" y="59"/>
                    </a:lnTo>
                    <a:lnTo>
                      <a:pt x="401" y="59"/>
                    </a:lnTo>
                    <a:lnTo>
                      <a:pt x="401" y="59"/>
                    </a:lnTo>
                    <a:lnTo>
                      <a:pt x="404" y="57"/>
                    </a:lnTo>
                    <a:lnTo>
                      <a:pt x="406" y="57"/>
                    </a:lnTo>
                    <a:lnTo>
                      <a:pt x="406" y="57"/>
                    </a:lnTo>
                    <a:lnTo>
                      <a:pt x="409" y="57"/>
                    </a:lnTo>
                    <a:lnTo>
                      <a:pt x="413" y="63"/>
                    </a:lnTo>
                    <a:lnTo>
                      <a:pt x="413" y="65"/>
                    </a:lnTo>
                    <a:lnTo>
                      <a:pt x="413" y="65"/>
                    </a:lnTo>
                    <a:lnTo>
                      <a:pt x="414" y="65"/>
                    </a:lnTo>
                    <a:lnTo>
                      <a:pt x="414" y="65"/>
                    </a:lnTo>
                    <a:lnTo>
                      <a:pt x="414" y="65"/>
                    </a:lnTo>
                    <a:lnTo>
                      <a:pt x="416" y="65"/>
                    </a:lnTo>
                    <a:lnTo>
                      <a:pt x="418" y="63"/>
                    </a:lnTo>
                    <a:lnTo>
                      <a:pt x="418" y="63"/>
                    </a:lnTo>
                    <a:lnTo>
                      <a:pt x="421" y="59"/>
                    </a:lnTo>
                    <a:lnTo>
                      <a:pt x="422" y="57"/>
                    </a:lnTo>
                    <a:lnTo>
                      <a:pt x="422" y="57"/>
                    </a:lnTo>
                    <a:lnTo>
                      <a:pt x="425" y="55"/>
                    </a:lnTo>
                    <a:lnTo>
                      <a:pt x="427" y="55"/>
                    </a:lnTo>
                    <a:lnTo>
                      <a:pt x="427" y="55"/>
                    </a:lnTo>
                    <a:lnTo>
                      <a:pt x="430" y="55"/>
                    </a:lnTo>
                    <a:lnTo>
                      <a:pt x="433" y="56"/>
                    </a:lnTo>
                    <a:lnTo>
                      <a:pt x="434" y="56"/>
                    </a:lnTo>
                    <a:lnTo>
                      <a:pt x="434" y="56"/>
                    </a:lnTo>
                    <a:lnTo>
                      <a:pt x="437" y="55"/>
                    </a:lnTo>
                    <a:lnTo>
                      <a:pt x="442" y="53"/>
                    </a:lnTo>
                    <a:lnTo>
                      <a:pt x="442" y="53"/>
                    </a:lnTo>
                    <a:lnTo>
                      <a:pt x="443" y="53"/>
                    </a:lnTo>
                    <a:lnTo>
                      <a:pt x="445" y="53"/>
                    </a:lnTo>
                    <a:lnTo>
                      <a:pt x="445" y="53"/>
                    </a:lnTo>
                    <a:lnTo>
                      <a:pt x="445" y="52"/>
                    </a:lnTo>
                    <a:lnTo>
                      <a:pt x="445" y="52"/>
                    </a:lnTo>
                    <a:lnTo>
                      <a:pt x="447" y="52"/>
                    </a:lnTo>
                    <a:lnTo>
                      <a:pt x="450" y="52"/>
                    </a:lnTo>
                    <a:lnTo>
                      <a:pt x="450" y="52"/>
                    </a:lnTo>
                    <a:lnTo>
                      <a:pt x="453" y="52"/>
                    </a:lnTo>
                    <a:lnTo>
                      <a:pt x="453" y="52"/>
                    </a:lnTo>
                    <a:lnTo>
                      <a:pt x="454" y="52"/>
                    </a:lnTo>
                    <a:lnTo>
                      <a:pt x="454" y="52"/>
                    </a:lnTo>
                    <a:lnTo>
                      <a:pt x="459" y="52"/>
                    </a:lnTo>
                    <a:lnTo>
                      <a:pt x="459" y="52"/>
                    </a:lnTo>
                    <a:lnTo>
                      <a:pt x="461" y="51"/>
                    </a:lnTo>
                    <a:lnTo>
                      <a:pt x="461" y="51"/>
                    </a:lnTo>
                    <a:lnTo>
                      <a:pt x="461" y="51"/>
                    </a:lnTo>
                    <a:lnTo>
                      <a:pt x="461" y="52"/>
                    </a:lnTo>
                    <a:lnTo>
                      <a:pt x="464" y="48"/>
                    </a:lnTo>
                    <a:lnTo>
                      <a:pt x="464" y="48"/>
                    </a:lnTo>
                    <a:lnTo>
                      <a:pt x="464" y="48"/>
                    </a:lnTo>
                    <a:lnTo>
                      <a:pt x="464" y="48"/>
                    </a:lnTo>
                    <a:lnTo>
                      <a:pt x="464" y="48"/>
                    </a:lnTo>
                    <a:lnTo>
                      <a:pt x="464" y="48"/>
                    </a:lnTo>
                    <a:lnTo>
                      <a:pt x="464" y="48"/>
                    </a:lnTo>
                    <a:lnTo>
                      <a:pt x="464" y="48"/>
                    </a:lnTo>
                    <a:lnTo>
                      <a:pt x="464" y="47"/>
                    </a:lnTo>
                    <a:lnTo>
                      <a:pt x="464" y="47"/>
                    </a:lnTo>
                    <a:lnTo>
                      <a:pt x="464" y="48"/>
                    </a:lnTo>
                    <a:lnTo>
                      <a:pt x="464" y="48"/>
                    </a:lnTo>
                    <a:lnTo>
                      <a:pt x="464" y="47"/>
                    </a:lnTo>
                    <a:lnTo>
                      <a:pt x="466" y="47"/>
                    </a:lnTo>
                    <a:lnTo>
                      <a:pt x="463" y="45"/>
                    </a:lnTo>
                    <a:lnTo>
                      <a:pt x="463" y="45"/>
                    </a:lnTo>
                    <a:lnTo>
                      <a:pt x="464" y="41"/>
                    </a:lnTo>
                    <a:lnTo>
                      <a:pt x="467" y="39"/>
                    </a:lnTo>
                    <a:lnTo>
                      <a:pt x="471" y="37"/>
                    </a:lnTo>
                    <a:lnTo>
                      <a:pt x="471" y="37"/>
                    </a:lnTo>
                    <a:lnTo>
                      <a:pt x="468" y="39"/>
                    </a:lnTo>
                    <a:lnTo>
                      <a:pt x="467" y="41"/>
                    </a:lnTo>
                    <a:lnTo>
                      <a:pt x="474" y="36"/>
                    </a:lnTo>
                    <a:lnTo>
                      <a:pt x="475" y="36"/>
                    </a:lnTo>
                    <a:lnTo>
                      <a:pt x="475" y="36"/>
                    </a:lnTo>
                    <a:lnTo>
                      <a:pt x="475" y="33"/>
                    </a:lnTo>
                    <a:lnTo>
                      <a:pt x="475" y="33"/>
                    </a:lnTo>
                    <a:lnTo>
                      <a:pt x="478" y="28"/>
                    </a:lnTo>
                    <a:lnTo>
                      <a:pt x="479" y="26"/>
                    </a:lnTo>
                    <a:lnTo>
                      <a:pt x="482" y="23"/>
                    </a:lnTo>
                    <a:lnTo>
                      <a:pt x="484" y="23"/>
                    </a:lnTo>
                    <a:lnTo>
                      <a:pt x="484" y="23"/>
                    </a:lnTo>
                    <a:lnTo>
                      <a:pt x="484" y="19"/>
                    </a:lnTo>
                    <a:lnTo>
                      <a:pt x="483" y="16"/>
                    </a:lnTo>
                    <a:lnTo>
                      <a:pt x="482" y="11"/>
                    </a:lnTo>
                    <a:lnTo>
                      <a:pt x="482" y="11"/>
                    </a:lnTo>
                    <a:lnTo>
                      <a:pt x="484" y="8"/>
                    </a:lnTo>
                    <a:lnTo>
                      <a:pt x="486" y="6"/>
                    </a:lnTo>
                    <a:lnTo>
                      <a:pt x="491" y="4"/>
                    </a:lnTo>
                    <a:lnTo>
                      <a:pt x="491" y="4"/>
                    </a:lnTo>
                    <a:lnTo>
                      <a:pt x="492" y="4"/>
                    </a:lnTo>
                    <a:lnTo>
                      <a:pt x="495" y="3"/>
                    </a:lnTo>
                    <a:lnTo>
                      <a:pt x="495" y="3"/>
                    </a:lnTo>
                    <a:lnTo>
                      <a:pt x="498" y="2"/>
                    </a:lnTo>
                    <a:lnTo>
                      <a:pt x="500" y="0"/>
                    </a:lnTo>
                    <a:lnTo>
                      <a:pt x="505" y="6"/>
                    </a:lnTo>
                    <a:lnTo>
                      <a:pt x="505" y="6"/>
                    </a:lnTo>
                    <a:lnTo>
                      <a:pt x="507" y="8"/>
                    </a:lnTo>
                    <a:lnTo>
                      <a:pt x="507" y="11"/>
                    </a:lnTo>
                    <a:lnTo>
                      <a:pt x="507" y="11"/>
                    </a:lnTo>
                    <a:lnTo>
                      <a:pt x="505" y="14"/>
                    </a:lnTo>
                    <a:lnTo>
                      <a:pt x="505" y="14"/>
                    </a:lnTo>
                    <a:lnTo>
                      <a:pt x="505" y="11"/>
                    </a:lnTo>
                    <a:lnTo>
                      <a:pt x="503" y="10"/>
                    </a:lnTo>
                    <a:lnTo>
                      <a:pt x="507" y="15"/>
                    </a:lnTo>
                    <a:lnTo>
                      <a:pt x="507" y="15"/>
                    </a:lnTo>
                    <a:lnTo>
                      <a:pt x="509" y="19"/>
                    </a:lnTo>
                    <a:lnTo>
                      <a:pt x="509" y="19"/>
                    </a:lnTo>
                    <a:lnTo>
                      <a:pt x="512" y="22"/>
                    </a:lnTo>
                    <a:lnTo>
                      <a:pt x="513" y="22"/>
                    </a:lnTo>
                    <a:lnTo>
                      <a:pt x="513" y="22"/>
                    </a:lnTo>
                    <a:lnTo>
                      <a:pt x="516" y="22"/>
                    </a:lnTo>
                    <a:lnTo>
                      <a:pt x="521" y="24"/>
                    </a:lnTo>
                    <a:lnTo>
                      <a:pt x="521" y="24"/>
                    </a:lnTo>
                    <a:lnTo>
                      <a:pt x="527" y="33"/>
                    </a:lnTo>
                    <a:lnTo>
                      <a:pt x="528" y="35"/>
                    </a:lnTo>
                    <a:lnTo>
                      <a:pt x="528" y="35"/>
                    </a:lnTo>
                    <a:lnTo>
                      <a:pt x="529" y="37"/>
                    </a:lnTo>
                    <a:lnTo>
                      <a:pt x="529" y="37"/>
                    </a:lnTo>
                    <a:lnTo>
                      <a:pt x="531" y="39"/>
                    </a:lnTo>
                    <a:lnTo>
                      <a:pt x="531" y="39"/>
                    </a:lnTo>
                    <a:lnTo>
                      <a:pt x="531" y="39"/>
                    </a:lnTo>
                    <a:lnTo>
                      <a:pt x="533" y="40"/>
                    </a:lnTo>
                    <a:lnTo>
                      <a:pt x="536" y="43"/>
                    </a:lnTo>
                    <a:lnTo>
                      <a:pt x="537" y="47"/>
                    </a:lnTo>
                    <a:lnTo>
                      <a:pt x="539" y="53"/>
                    </a:lnTo>
                    <a:lnTo>
                      <a:pt x="539" y="53"/>
                    </a:lnTo>
                    <a:lnTo>
                      <a:pt x="541" y="56"/>
                    </a:lnTo>
                    <a:lnTo>
                      <a:pt x="545" y="59"/>
                    </a:lnTo>
                    <a:lnTo>
                      <a:pt x="545" y="59"/>
                    </a:lnTo>
                    <a:lnTo>
                      <a:pt x="553" y="64"/>
                    </a:lnTo>
                    <a:lnTo>
                      <a:pt x="556" y="66"/>
                    </a:lnTo>
                    <a:lnTo>
                      <a:pt x="558" y="70"/>
                    </a:lnTo>
                    <a:lnTo>
                      <a:pt x="558" y="70"/>
                    </a:lnTo>
                    <a:lnTo>
                      <a:pt x="561" y="73"/>
                    </a:lnTo>
                    <a:lnTo>
                      <a:pt x="564" y="76"/>
                    </a:lnTo>
                    <a:lnTo>
                      <a:pt x="568" y="81"/>
                    </a:lnTo>
                    <a:lnTo>
                      <a:pt x="568" y="82"/>
                    </a:lnTo>
                    <a:lnTo>
                      <a:pt x="568" y="82"/>
                    </a:lnTo>
                    <a:lnTo>
                      <a:pt x="572" y="85"/>
                    </a:lnTo>
                    <a:lnTo>
                      <a:pt x="577" y="86"/>
                    </a:lnTo>
                    <a:lnTo>
                      <a:pt x="580" y="86"/>
                    </a:lnTo>
                    <a:lnTo>
                      <a:pt x="580" y="86"/>
                    </a:lnTo>
                    <a:lnTo>
                      <a:pt x="583" y="85"/>
                    </a:lnTo>
                    <a:lnTo>
                      <a:pt x="583" y="85"/>
                    </a:lnTo>
                    <a:lnTo>
                      <a:pt x="589" y="86"/>
                    </a:lnTo>
                    <a:lnTo>
                      <a:pt x="589" y="86"/>
                    </a:lnTo>
                    <a:lnTo>
                      <a:pt x="593" y="86"/>
                    </a:lnTo>
                    <a:lnTo>
                      <a:pt x="593" y="86"/>
                    </a:lnTo>
                    <a:lnTo>
                      <a:pt x="595" y="86"/>
                    </a:lnTo>
                    <a:lnTo>
                      <a:pt x="595" y="86"/>
                    </a:lnTo>
                    <a:lnTo>
                      <a:pt x="598" y="84"/>
                    </a:lnTo>
                    <a:lnTo>
                      <a:pt x="603" y="84"/>
                    </a:lnTo>
                    <a:lnTo>
                      <a:pt x="605" y="84"/>
                    </a:lnTo>
                    <a:lnTo>
                      <a:pt x="610" y="88"/>
                    </a:lnTo>
                    <a:lnTo>
                      <a:pt x="610" y="88"/>
                    </a:lnTo>
                    <a:lnTo>
                      <a:pt x="613" y="92"/>
                    </a:lnTo>
                    <a:lnTo>
                      <a:pt x="613" y="92"/>
                    </a:lnTo>
                    <a:lnTo>
                      <a:pt x="614" y="94"/>
                    </a:lnTo>
                    <a:lnTo>
                      <a:pt x="614" y="94"/>
                    </a:lnTo>
                    <a:lnTo>
                      <a:pt x="617" y="96"/>
                    </a:lnTo>
                    <a:lnTo>
                      <a:pt x="617" y="96"/>
                    </a:lnTo>
                    <a:lnTo>
                      <a:pt x="617" y="96"/>
                    </a:lnTo>
                    <a:lnTo>
                      <a:pt x="615" y="94"/>
                    </a:lnTo>
                    <a:lnTo>
                      <a:pt x="615" y="94"/>
                    </a:lnTo>
                    <a:lnTo>
                      <a:pt x="619" y="97"/>
                    </a:lnTo>
                    <a:lnTo>
                      <a:pt x="619" y="97"/>
                    </a:lnTo>
                    <a:lnTo>
                      <a:pt x="619" y="97"/>
                    </a:lnTo>
                    <a:lnTo>
                      <a:pt x="619" y="97"/>
                    </a:lnTo>
                    <a:lnTo>
                      <a:pt x="623" y="98"/>
                    </a:lnTo>
                    <a:lnTo>
                      <a:pt x="623" y="98"/>
                    </a:lnTo>
                    <a:lnTo>
                      <a:pt x="630" y="98"/>
                    </a:lnTo>
                    <a:lnTo>
                      <a:pt x="640" y="98"/>
                    </a:lnTo>
                    <a:lnTo>
                      <a:pt x="640" y="98"/>
                    </a:lnTo>
                    <a:lnTo>
                      <a:pt x="643" y="98"/>
                    </a:lnTo>
                    <a:lnTo>
                      <a:pt x="643" y="98"/>
                    </a:lnTo>
                    <a:lnTo>
                      <a:pt x="646" y="98"/>
                    </a:lnTo>
                    <a:lnTo>
                      <a:pt x="648" y="100"/>
                    </a:lnTo>
                    <a:lnTo>
                      <a:pt x="652" y="102"/>
                    </a:lnTo>
                    <a:lnTo>
                      <a:pt x="652" y="102"/>
                    </a:lnTo>
                    <a:lnTo>
                      <a:pt x="652" y="104"/>
                    </a:lnTo>
                    <a:lnTo>
                      <a:pt x="652" y="104"/>
                    </a:lnTo>
                    <a:lnTo>
                      <a:pt x="652" y="104"/>
                    </a:lnTo>
                    <a:lnTo>
                      <a:pt x="652" y="104"/>
                    </a:lnTo>
                    <a:lnTo>
                      <a:pt x="652" y="104"/>
                    </a:lnTo>
                    <a:lnTo>
                      <a:pt x="654" y="102"/>
                    </a:lnTo>
                    <a:lnTo>
                      <a:pt x="654" y="102"/>
                    </a:lnTo>
                    <a:lnTo>
                      <a:pt x="654" y="101"/>
                    </a:lnTo>
                    <a:lnTo>
                      <a:pt x="655" y="101"/>
                    </a:lnTo>
                    <a:lnTo>
                      <a:pt x="655" y="101"/>
                    </a:lnTo>
                    <a:lnTo>
                      <a:pt x="655" y="102"/>
                    </a:lnTo>
                    <a:lnTo>
                      <a:pt x="655" y="102"/>
                    </a:lnTo>
                    <a:lnTo>
                      <a:pt x="658" y="104"/>
                    </a:lnTo>
                    <a:lnTo>
                      <a:pt x="658" y="104"/>
                    </a:lnTo>
                    <a:lnTo>
                      <a:pt x="659" y="104"/>
                    </a:lnTo>
                    <a:lnTo>
                      <a:pt x="659" y="102"/>
                    </a:lnTo>
                    <a:lnTo>
                      <a:pt x="659" y="104"/>
                    </a:lnTo>
                    <a:lnTo>
                      <a:pt x="659" y="102"/>
                    </a:lnTo>
                    <a:lnTo>
                      <a:pt x="656" y="101"/>
                    </a:lnTo>
                    <a:lnTo>
                      <a:pt x="659" y="100"/>
                    </a:lnTo>
                    <a:lnTo>
                      <a:pt x="659" y="97"/>
                    </a:lnTo>
                    <a:lnTo>
                      <a:pt x="659" y="97"/>
                    </a:lnTo>
                    <a:lnTo>
                      <a:pt x="656" y="98"/>
                    </a:lnTo>
                    <a:lnTo>
                      <a:pt x="655" y="100"/>
                    </a:lnTo>
                    <a:lnTo>
                      <a:pt x="654" y="98"/>
                    </a:lnTo>
                    <a:lnTo>
                      <a:pt x="654" y="100"/>
                    </a:lnTo>
                    <a:lnTo>
                      <a:pt x="654" y="100"/>
                    </a:lnTo>
                    <a:lnTo>
                      <a:pt x="654" y="98"/>
                    </a:lnTo>
                    <a:lnTo>
                      <a:pt x="652" y="98"/>
                    </a:lnTo>
                    <a:lnTo>
                      <a:pt x="652" y="98"/>
                    </a:lnTo>
                    <a:lnTo>
                      <a:pt x="652" y="98"/>
                    </a:lnTo>
                    <a:lnTo>
                      <a:pt x="654" y="93"/>
                    </a:lnTo>
                    <a:lnTo>
                      <a:pt x="654" y="93"/>
                    </a:lnTo>
                    <a:lnTo>
                      <a:pt x="654" y="94"/>
                    </a:lnTo>
                    <a:lnTo>
                      <a:pt x="654" y="94"/>
                    </a:lnTo>
                    <a:lnTo>
                      <a:pt x="655" y="96"/>
                    </a:lnTo>
                    <a:lnTo>
                      <a:pt x="655" y="96"/>
                    </a:lnTo>
                    <a:lnTo>
                      <a:pt x="658" y="97"/>
                    </a:lnTo>
                    <a:lnTo>
                      <a:pt x="652" y="89"/>
                    </a:lnTo>
                    <a:lnTo>
                      <a:pt x="652" y="89"/>
                    </a:lnTo>
                    <a:lnTo>
                      <a:pt x="652" y="90"/>
                    </a:lnTo>
                    <a:lnTo>
                      <a:pt x="651" y="89"/>
                    </a:lnTo>
                    <a:lnTo>
                      <a:pt x="651" y="88"/>
                    </a:lnTo>
                    <a:lnTo>
                      <a:pt x="654" y="82"/>
                    </a:lnTo>
                    <a:lnTo>
                      <a:pt x="654" y="82"/>
                    </a:lnTo>
                    <a:lnTo>
                      <a:pt x="656" y="81"/>
                    </a:lnTo>
                    <a:lnTo>
                      <a:pt x="656" y="81"/>
                    </a:lnTo>
                    <a:lnTo>
                      <a:pt x="660" y="80"/>
                    </a:lnTo>
                    <a:lnTo>
                      <a:pt x="660" y="80"/>
                    </a:lnTo>
                    <a:lnTo>
                      <a:pt x="663" y="77"/>
                    </a:lnTo>
                    <a:lnTo>
                      <a:pt x="663" y="77"/>
                    </a:lnTo>
                    <a:lnTo>
                      <a:pt x="661" y="78"/>
                    </a:lnTo>
                    <a:lnTo>
                      <a:pt x="663" y="77"/>
                    </a:lnTo>
                    <a:lnTo>
                      <a:pt x="663" y="77"/>
                    </a:lnTo>
                    <a:lnTo>
                      <a:pt x="663" y="70"/>
                    </a:lnTo>
                    <a:lnTo>
                      <a:pt x="665" y="65"/>
                    </a:lnTo>
                    <a:lnTo>
                      <a:pt x="665" y="65"/>
                    </a:lnTo>
                    <a:lnTo>
                      <a:pt x="667" y="65"/>
                    </a:lnTo>
                    <a:lnTo>
                      <a:pt x="667" y="64"/>
                    </a:lnTo>
                    <a:lnTo>
                      <a:pt x="667" y="64"/>
                    </a:lnTo>
                    <a:lnTo>
                      <a:pt x="667" y="61"/>
                    </a:lnTo>
                    <a:lnTo>
                      <a:pt x="668" y="59"/>
                    </a:lnTo>
                    <a:lnTo>
                      <a:pt x="668" y="57"/>
                    </a:lnTo>
                    <a:lnTo>
                      <a:pt x="668" y="57"/>
                    </a:lnTo>
                    <a:lnTo>
                      <a:pt x="668" y="57"/>
                    </a:lnTo>
                    <a:lnTo>
                      <a:pt x="665" y="55"/>
                    </a:lnTo>
                    <a:lnTo>
                      <a:pt x="664" y="52"/>
                    </a:lnTo>
                    <a:lnTo>
                      <a:pt x="664" y="48"/>
                    </a:lnTo>
                    <a:lnTo>
                      <a:pt x="665" y="45"/>
                    </a:lnTo>
                    <a:lnTo>
                      <a:pt x="665" y="45"/>
                    </a:lnTo>
                    <a:lnTo>
                      <a:pt x="667" y="43"/>
                    </a:lnTo>
                    <a:lnTo>
                      <a:pt x="669" y="41"/>
                    </a:lnTo>
                    <a:lnTo>
                      <a:pt x="675" y="39"/>
                    </a:lnTo>
                    <a:lnTo>
                      <a:pt x="675" y="39"/>
                    </a:lnTo>
                    <a:lnTo>
                      <a:pt x="677" y="39"/>
                    </a:lnTo>
                    <a:lnTo>
                      <a:pt x="680" y="37"/>
                    </a:lnTo>
                    <a:lnTo>
                      <a:pt x="680" y="37"/>
                    </a:lnTo>
                    <a:lnTo>
                      <a:pt x="680" y="37"/>
                    </a:lnTo>
                    <a:lnTo>
                      <a:pt x="683" y="36"/>
                    </a:lnTo>
                    <a:lnTo>
                      <a:pt x="683" y="36"/>
                    </a:lnTo>
                    <a:lnTo>
                      <a:pt x="688" y="35"/>
                    </a:lnTo>
                    <a:lnTo>
                      <a:pt x="688" y="35"/>
                    </a:lnTo>
                    <a:lnTo>
                      <a:pt x="688" y="33"/>
                    </a:lnTo>
                    <a:lnTo>
                      <a:pt x="688" y="33"/>
                    </a:lnTo>
                    <a:lnTo>
                      <a:pt x="688" y="29"/>
                    </a:lnTo>
                    <a:lnTo>
                      <a:pt x="688" y="29"/>
                    </a:lnTo>
                    <a:lnTo>
                      <a:pt x="688" y="29"/>
                    </a:lnTo>
                    <a:lnTo>
                      <a:pt x="688" y="29"/>
                    </a:lnTo>
                    <a:lnTo>
                      <a:pt x="689" y="29"/>
                    </a:lnTo>
                    <a:lnTo>
                      <a:pt x="689" y="29"/>
                    </a:lnTo>
                    <a:lnTo>
                      <a:pt x="695" y="24"/>
                    </a:lnTo>
                    <a:lnTo>
                      <a:pt x="702" y="24"/>
                    </a:lnTo>
                    <a:lnTo>
                      <a:pt x="706" y="26"/>
                    </a:lnTo>
                    <a:lnTo>
                      <a:pt x="706" y="26"/>
                    </a:lnTo>
                    <a:lnTo>
                      <a:pt x="706" y="26"/>
                    </a:lnTo>
                    <a:lnTo>
                      <a:pt x="712" y="29"/>
                    </a:lnTo>
                    <a:lnTo>
                      <a:pt x="714" y="31"/>
                    </a:lnTo>
                    <a:lnTo>
                      <a:pt x="718" y="31"/>
                    </a:lnTo>
                    <a:lnTo>
                      <a:pt x="718" y="31"/>
                    </a:lnTo>
                    <a:lnTo>
                      <a:pt x="721" y="31"/>
                    </a:lnTo>
                    <a:lnTo>
                      <a:pt x="726" y="33"/>
                    </a:lnTo>
                    <a:lnTo>
                      <a:pt x="726" y="33"/>
                    </a:lnTo>
                    <a:lnTo>
                      <a:pt x="730" y="36"/>
                    </a:lnTo>
                    <a:lnTo>
                      <a:pt x="734" y="37"/>
                    </a:lnTo>
                    <a:lnTo>
                      <a:pt x="737" y="37"/>
                    </a:lnTo>
                    <a:lnTo>
                      <a:pt x="742" y="37"/>
                    </a:lnTo>
                    <a:lnTo>
                      <a:pt x="747" y="40"/>
                    </a:lnTo>
                    <a:lnTo>
                      <a:pt x="747" y="40"/>
                    </a:lnTo>
                    <a:lnTo>
                      <a:pt x="749" y="43"/>
                    </a:lnTo>
                    <a:lnTo>
                      <a:pt x="749" y="43"/>
                    </a:lnTo>
                    <a:lnTo>
                      <a:pt x="750" y="44"/>
                    </a:lnTo>
                    <a:lnTo>
                      <a:pt x="753" y="49"/>
                    </a:lnTo>
                    <a:lnTo>
                      <a:pt x="753" y="49"/>
                    </a:lnTo>
                    <a:lnTo>
                      <a:pt x="753" y="51"/>
                    </a:lnTo>
                    <a:lnTo>
                      <a:pt x="753" y="51"/>
                    </a:lnTo>
                    <a:lnTo>
                      <a:pt x="753" y="51"/>
                    </a:lnTo>
                    <a:lnTo>
                      <a:pt x="753" y="51"/>
                    </a:lnTo>
                    <a:lnTo>
                      <a:pt x="753" y="51"/>
                    </a:lnTo>
                    <a:lnTo>
                      <a:pt x="753" y="51"/>
                    </a:lnTo>
                    <a:lnTo>
                      <a:pt x="753" y="51"/>
                    </a:lnTo>
                    <a:lnTo>
                      <a:pt x="753" y="51"/>
                    </a:lnTo>
                    <a:lnTo>
                      <a:pt x="754" y="47"/>
                    </a:lnTo>
                    <a:lnTo>
                      <a:pt x="754" y="47"/>
                    </a:lnTo>
                    <a:lnTo>
                      <a:pt x="758" y="45"/>
                    </a:lnTo>
                    <a:lnTo>
                      <a:pt x="761" y="44"/>
                    </a:lnTo>
                    <a:lnTo>
                      <a:pt x="761" y="44"/>
                    </a:lnTo>
                    <a:lnTo>
                      <a:pt x="763" y="44"/>
                    </a:lnTo>
                    <a:lnTo>
                      <a:pt x="763" y="44"/>
                    </a:lnTo>
                    <a:lnTo>
                      <a:pt x="766" y="44"/>
                    </a:lnTo>
                    <a:lnTo>
                      <a:pt x="767" y="45"/>
                    </a:lnTo>
                    <a:lnTo>
                      <a:pt x="770" y="48"/>
                    </a:lnTo>
                    <a:lnTo>
                      <a:pt x="770" y="48"/>
                    </a:lnTo>
                    <a:lnTo>
                      <a:pt x="769" y="47"/>
                    </a:lnTo>
                    <a:lnTo>
                      <a:pt x="774" y="55"/>
                    </a:lnTo>
                    <a:lnTo>
                      <a:pt x="774" y="55"/>
                    </a:lnTo>
                    <a:lnTo>
                      <a:pt x="773" y="57"/>
                    </a:lnTo>
                    <a:lnTo>
                      <a:pt x="770" y="60"/>
                    </a:lnTo>
                    <a:lnTo>
                      <a:pt x="767" y="61"/>
                    </a:lnTo>
                    <a:lnTo>
                      <a:pt x="767" y="61"/>
                    </a:lnTo>
                    <a:lnTo>
                      <a:pt x="765" y="63"/>
                    </a:lnTo>
                    <a:lnTo>
                      <a:pt x="765" y="63"/>
                    </a:lnTo>
                    <a:lnTo>
                      <a:pt x="765" y="64"/>
                    </a:lnTo>
                    <a:lnTo>
                      <a:pt x="765" y="65"/>
                    </a:lnTo>
                    <a:lnTo>
                      <a:pt x="765" y="68"/>
                    </a:lnTo>
                    <a:lnTo>
                      <a:pt x="765" y="68"/>
                    </a:lnTo>
                    <a:lnTo>
                      <a:pt x="763" y="70"/>
                    </a:lnTo>
                    <a:lnTo>
                      <a:pt x="761" y="73"/>
                    </a:lnTo>
                    <a:lnTo>
                      <a:pt x="755" y="76"/>
                    </a:lnTo>
                    <a:lnTo>
                      <a:pt x="755" y="76"/>
                    </a:lnTo>
                    <a:lnTo>
                      <a:pt x="753" y="78"/>
                    </a:lnTo>
                    <a:lnTo>
                      <a:pt x="753" y="78"/>
                    </a:lnTo>
                    <a:lnTo>
                      <a:pt x="753" y="80"/>
                    </a:lnTo>
                    <a:lnTo>
                      <a:pt x="754" y="82"/>
                    </a:lnTo>
                    <a:lnTo>
                      <a:pt x="754" y="82"/>
                    </a:lnTo>
                    <a:lnTo>
                      <a:pt x="758" y="86"/>
                    </a:lnTo>
                    <a:lnTo>
                      <a:pt x="758" y="88"/>
                    </a:lnTo>
                    <a:lnTo>
                      <a:pt x="758" y="88"/>
                    </a:lnTo>
                    <a:lnTo>
                      <a:pt x="761" y="93"/>
                    </a:lnTo>
                    <a:lnTo>
                      <a:pt x="761" y="98"/>
                    </a:lnTo>
                    <a:lnTo>
                      <a:pt x="759" y="106"/>
                    </a:lnTo>
                    <a:lnTo>
                      <a:pt x="759" y="106"/>
                    </a:lnTo>
                    <a:lnTo>
                      <a:pt x="759" y="107"/>
                    </a:lnTo>
                    <a:lnTo>
                      <a:pt x="759" y="107"/>
                    </a:lnTo>
                    <a:lnTo>
                      <a:pt x="759" y="110"/>
                    </a:lnTo>
                    <a:lnTo>
                      <a:pt x="761" y="114"/>
                    </a:lnTo>
                    <a:lnTo>
                      <a:pt x="761" y="114"/>
                    </a:lnTo>
                    <a:lnTo>
                      <a:pt x="761" y="114"/>
                    </a:lnTo>
                    <a:lnTo>
                      <a:pt x="761" y="117"/>
                    </a:lnTo>
                    <a:lnTo>
                      <a:pt x="762" y="117"/>
                    </a:lnTo>
                    <a:lnTo>
                      <a:pt x="765" y="117"/>
                    </a:lnTo>
                    <a:lnTo>
                      <a:pt x="765" y="117"/>
                    </a:lnTo>
                    <a:lnTo>
                      <a:pt x="767" y="119"/>
                    </a:lnTo>
                    <a:lnTo>
                      <a:pt x="769" y="122"/>
                    </a:lnTo>
                    <a:lnTo>
                      <a:pt x="771" y="127"/>
                    </a:lnTo>
                    <a:lnTo>
                      <a:pt x="771" y="127"/>
                    </a:lnTo>
                    <a:lnTo>
                      <a:pt x="773" y="130"/>
                    </a:lnTo>
                    <a:lnTo>
                      <a:pt x="773" y="130"/>
                    </a:lnTo>
                    <a:lnTo>
                      <a:pt x="773" y="130"/>
                    </a:lnTo>
                    <a:lnTo>
                      <a:pt x="777" y="133"/>
                    </a:lnTo>
                    <a:lnTo>
                      <a:pt x="779" y="135"/>
                    </a:lnTo>
                    <a:lnTo>
                      <a:pt x="779" y="135"/>
                    </a:lnTo>
                    <a:lnTo>
                      <a:pt x="779" y="137"/>
                    </a:lnTo>
                    <a:lnTo>
                      <a:pt x="783" y="142"/>
                    </a:lnTo>
                    <a:lnTo>
                      <a:pt x="783" y="144"/>
                    </a:lnTo>
                    <a:lnTo>
                      <a:pt x="783" y="144"/>
                    </a:lnTo>
                    <a:lnTo>
                      <a:pt x="783" y="147"/>
                    </a:lnTo>
                    <a:lnTo>
                      <a:pt x="786" y="150"/>
                    </a:lnTo>
                    <a:lnTo>
                      <a:pt x="786" y="150"/>
                    </a:lnTo>
                    <a:lnTo>
                      <a:pt x="790" y="152"/>
                    </a:lnTo>
                    <a:lnTo>
                      <a:pt x="790" y="152"/>
                    </a:lnTo>
                    <a:lnTo>
                      <a:pt x="791" y="156"/>
                    </a:lnTo>
                    <a:lnTo>
                      <a:pt x="792" y="160"/>
                    </a:lnTo>
                    <a:lnTo>
                      <a:pt x="791" y="163"/>
                    </a:lnTo>
                    <a:lnTo>
                      <a:pt x="791" y="163"/>
                    </a:lnTo>
                    <a:lnTo>
                      <a:pt x="788" y="166"/>
                    </a:lnTo>
                    <a:lnTo>
                      <a:pt x="784" y="167"/>
                    </a:lnTo>
                    <a:lnTo>
                      <a:pt x="784" y="167"/>
                    </a:lnTo>
                    <a:lnTo>
                      <a:pt x="783" y="167"/>
                    </a:lnTo>
                    <a:lnTo>
                      <a:pt x="783" y="167"/>
                    </a:lnTo>
                    <a:lnTo>
                      <a:pt x="782" y="167"/>
                    </a:lnTo>
                    <a:lnTo>
                      <a:pt x="780" y="168"/>
                    </a:lnTo>
                    <a:lnTo>
                      <a:pt x="780" y="168"/>
                    </a:lnTo>
                    <a:lnTo>
                      <a:pt x="779" y="172"/>
                    </a:lnTo>
                    <a:lnTo>
                      <a:pt x="779" y="172"/>
                    </a:lnTo>
                    <a:lnTo>
                      <a:pt x="780" y="170"/>
                    </a:lnTo>
                    <a:lnTo>
                      <a:pt x="780" y="170"/>
                    </a:lnTo>
                    <a:lnTo>
                      <a:pt x="780" y="171"/>
                    </a:lnTo>
                    <a:lnTo>
                      <a:pt x="780" y="171"/>
                    </a:lnTo>
                    <a:lnTo>
                      <a:pt x="779" y="176"/>
                    </a:lnTo>
                    <a:lnTo>
                      <a:pt x="778" y="179"/>
                    </a:lnTo>
                    <a:lnTo>
                      <a:pt x="775" y="182"/>
                    </a:lnTo>
                    <a:lnTo>
                      <a:pt x="773" y="182"/>
                    </a:lnTo>
                    <a:lnTo>
                      <a:pt x="773" y="182"/>
                    </a:lnTo>
                    <a:lnTo>
                      <a:pt x="770" y="182"/>
                    </a:lnTo>
                    <a:lnTo>
                      <a:pt x="770" y="182"/>
                    </a:lnTo>
                    <a:lnTo>
                      <a:pt x="769" y="182"/>
                    </a:lnTo>
                    <a:lnTo>
                      <a:pt x="769" y="182"/>
                    </a:lnTo>
                    <a:lnTo>
                      <a:pt x="770" y="180"/>
                    </a:lnTo>
                    <a:lnTo>
                      <a:pt x="771" y="178"/>
                    </a:lnTo>
                    <a:lnTo>
                      <a:pt x="766" y="183"/>
                    </a:lnTo>
                    <a:lnTo>
                      <a:pt x="763" y="183"/>
                    </a:lnTo>
                    <a:lnTo>
                      <a:pt x="763" y="193"/>
                    </a:lnTo>
                    <a:lnTo>
                      <a:pt x="757" y="199"/>
                    </a:lnTo>
                    <a:lnTo>
                      <a:pt x="757" y="199"/>
                    </a:lnTo>
                    <a:lnTo>
                      <a:pt x="757" y="199"/>
                    </a:lnTo>
                    <a:lnTo>
                      <a:pt x="757" y="205"/>
                    </a:lnTo>
                    <a:lnTo>
                      <a:pt x="753" y="211"/>
                    </a:lnTo>
                    <a:lnTo>
                      <a:pt x="753" y="211"/>
                    </a:lnTo>
                    <a:lnTo>
                      <a:pt x="753" y="211"/>
                    </a:lnTo>
                    <a:lnTo>
                      <a:pt x="753" y="211"/>
                    </a:lnTo>
                    <a:lnTo>
                      <a:pt x="754" y="208"/>
                    </a:lnTo>
                    <a:lnTo>
                      <a:pt x="750" y="213"/>
                    </a:lnTo>
                    <a:lnTo>
                      <a:pt x="750" y="213"/>
                    </a:lnTo>
                    <a:lnTo>
                      <a:pt x="746" y="213"/>
                    </a:lnTo>
                    <a:lnTo>
                      <a:pt x="746" y="213"/>
                    </a:lnTo>
                    <a:lnTo>
                      <a:pt x="743" y="213"/>
                    </a:lnTo>
                    <a:lnTo>
                      <a:pt x="743" y="213"/>
                    </a:lnTo>
                    <a:lnTo>
                      <a:pt x="747" y="219"/>
                    </a:lnTo>
                    <a:lnTo>
                      <a:pt x="747" y="220"/>
                    </a:lnTo>
                    <a:lnTo>
                      <a:pt x="749" y="223"/>
                    </a:lnTo>
                    <a:lnTo>
                      <a:pt x="749" y="224"/>
                    </a:lnTo>
                    <a:lnTo>
                      <a:pt x="747" y="228"/>
                    </a:lnTo>
                    <a:lnTo>
                      <a:pt x="747" y="226"/>
                    </a:lnTo>
                    <a:lnTo>
                      <a:pt x="747" y="226"/>
                    </a:lnTo>
                    <a:lnTo>
                      <a:pt x="747" y="226"/>
                    </a:lnTo>
                    <a:lnTo>
                      <a:pt x="749" y="225"/>
                    </a:lnTo>
                    <a:lnTo>
                      <a:pt x="749" y="225"/>
                    </a:lnTo>
                    <a:lnTo>
                      <a:pt x="749" y="225"/>
                    </a:lnTo>
                    <a:lnTo>
                      <a:pt x="749" y="225"/>
                    </a:lnTo>
                    <a:lnTo>
                      <a:pt x="758" y="225"/>
                    </a:lnTo>
                    <a:lnTo>
                      <a:pt x="758" y="225"/>
                    </a:lnTo>
                    <a:lnTo>
                      <a:pt x="769" y="225"/>
                    </a:lnTo>
                    <a:lnTo>
                      <a:pt x="777" y="228"/>
                    </a:lnTo>
                    <a:lnTo>
                      <a:pt x="783" y="230"/>
                    </a:lnTo>
                    <a:lnTo>
                      <a:pt x="786" y="236"/>
                    </a:lnTo>
                    <a:lnTo>
                      <a:pt x="786" y="240"/>
                    </a:lnTo>
                    <a:lnTo>
                      <a:pt x="779" y="245"/>
                    </a:lnTo>
                    <a:lnTo>
                      <a:pt x="779" y="246"/>
                    </a:lnTo>
                    <a:lnTo>
                      <a:pt x="779" y="246"/>
                    </a:lnTo>
                    <a:lnTo>
                      <a:pt x="783" y="245"/>
                    </a:lnTo>
                    <a:lnTo>
                      <a:pt x="784" y="242"/>
                    </a:lnTo>
                    <a:lnTo>
                      <a:pt x="784" y="242"/>
                    </a:lnTo>
                    <a:lnTo>
                      <a:pt x="783" y="248"/>
                    </a:lnTo>
                    <a:lnTo>
                      <a:pt x="780" y="253"/>
                    </a:lnTo>
                    <a:lnTo>
                      <a:pt x="778" y="257"/>
                    </a:lnTo>
                    <a:lnTo>
                      <a:pt x="774" y="261"/>
                    </a:lnTo>
                    <a:lnTo>
                      <a:pt x="770" y="263"/>
                    </a:lnTo>
                    <a:lnTo>
                      <a:pt x="766" y="265"/>
                    </a:lnTo>
                    <a:lnTo>
                      <a:pt x="761" y="266"/>
                    </a:lnTo>
                    <a:lnTo>
                      <a:pt x="754" y="266"/>
                    </a:lnTo>
                    <a:lnTo>
                      <a:pt x="754" y="266"/>
                    </a:lnTo>
                    <a:lnTo>
                      <a:pt x="751" y="266"/>
                    </a:lnTo>
                    <a:lnTo>
                      <a:pt x="751" y="266"/>
                    </a:lnTo>
                    <a:lnTo>
                      <a:pt x="747" y="267"/>
                    </a:lnTo>
                    <a:lnTo>
                      <a:pt x="747" y="267"/>
                    </a:lnTo>
                    <a:lnTo>
                      <a:pt x="746" y="267"/>
                    </a:lnTo>
                    <a:lnTo>
                      <a:pt x="746" y="267"/>
                    </a:lnTo>
                    <a:lnTo>
                      <a:pt x="747" y="266"/>
                    </a:lnTo>
                    <a:lnTo>
                      <a:pt x="742" y="269"/>
                    </a:lnTo>
                    <a:lnTo>
                      <a:pt x="741" y="269"/>
                    </a:lnTo>
                    <a:lnTo>
                      <a:pt x="741" y="269"/>
                    </a:lnTo>
                    <a:lnTo>
                      <a:pt x="741" y="270"/>
                    </a:lnTo>
                    <a:lnTo>
                      <a:pt x="739" y="271"/>
                    </a:lnTo>
                    <a:lnTo>
                      <a:pt x="737" y="275"/>
                    </a:lnTo>
                    <a:lnTo>
                      <a:pt x="737" y="275"/>
                    </a:lnTo>
                    <a:lnTo>
                      <a:pt x="734" y="277"/>
                    </a:lnTo>
                    <a:lnTo>
                      <a:pt x="734" y="277"/>
                    </a:lnTo>
                    <a:lnTo>
                      <a:pt x="733" y="279"/>
                    </a:lnTo>
                    <a:lnTo>
                      <a:pt x="733" y="279"/>
                    </a:lnTo>
                    <a:lnTo>
                      <a:pt x="732" y="282"/>
                    </a:lnTo>
                    <a:lnTo>
                      <a:pt x="733" y="283"/>
                    </a:lnTo>
                    <a:lnTo>
                      <a:pt x="733" y="283"/>
                    </a:lnTo>
                    <a:lnTo>
                      <a:pt x="733" y="283"/>
                    </a:lnTo>
                    <a:lnTo>
                      <a:pt x="733" y="285"/>
                    </a:lnTo>
                    <a:lnTo>
                      <a:pt x="737" y="286"/>
                    </a:lnTo>
                    <a:lnTo>
                      <a:pt x="737" y="286"/>
                    </a:lnTo>
                    <a:lnTo>
                      <a:pt x="736" y="285"/>
                    </a:lnTo>
                    <a:lnTo>
                      <a:pt x="736" y="285"/>
                    </a:lnTo>
                    <a:lnTo>
                      <a:pt x="739" y="287"/>
                    </a:lnTo>
                    <a:lnTo>
                      <a:pt x="742" y="290"/>
                    </a:lnTo>
                    <a:lnTo>
                      <a:pt x="742" y="294"/>
                    </a:lnTo>
                    <a:lnTo>
                      <a:pt x="742" y="295"/>
                    </a:lnTo>
                    <a:lnTo>
                      <a:pt x="739" y="298"/>
                    </a:lnTo>
                    <a:lnTo>
                      <a:pt x="739" y="298"/>
                    </a:lnTo>
                    <a:lnTo>
                      <a:pt x="739" y="299"/>
                    </a:lnTo>
                    <a:lnTo>
                      <a:pt x="739" y="299"/>
                    </a:lnTo>
                    <a:lnTo>
                      <a:pt x="737" y="303"/>
                    </a:lnTo>
                    <a:lnTo>
                      <a:pt x="733" y="306"/>
                    </a:lnTo>
                    <a:lnTo>
                      <a:pt x="729" y="306"/>
                    </a:lnTo>
                    <a:lnTo>
                      <a:pt x="729" y="306"/>
                    </a:lnTo>
                    <a:lnTo>
                      <a:pt x="728" y="306"/>
                    </a:lnTo>
                    <a:lnTo>
                      <a:pt x="728" y="306"/>
                    </a:lnTo>
                    <a:lnTo>
                      <a:pt x="728" y="306"/>
                    </a:lnTo>
                    <a:lnTo>
                      <a:pt x="725" y="308"/>
                    </a:lnTo>
                    <a:lnTo>
                      <a:pt x="725" y="308"/>
                    </a:lnTo>
                    <a:lnTo>
                      <a:pt x="725" y="310"/>
                    </a:lnTo>
                    <a:lnTo>
                      <a:pt x="725" y="310"/>
                    </a:lnTo>
                    <a:lnTo>
                      <a:pt x="724" y="312"/>
                    </a:lnTo>
                    <a:lnTo>
                      <a:pt x="722" y="315"/>
                    </a:lnTo>
                    <a:lnTo>
                      <a:pt x="722" y="315"/>
                    </a:lnTo>
                    <a:lnTo>
                      <a:pt x="721" y="316"/>
                    </a:lnTo>
                    <a:lnTo>
                      <a:pt x="718" y="318"/>
                    </a:lnTo>
                    <a:lnTo>
                      <a:pt x="718" y="318"/>
                    </a:lnTo>
                    <a:lnTo>
                      <a:pt x="713" y="323"/>
                    </a:lnTo>
                    <a:lnTo>
                      <a:pt x="713" y="323"/>
                    </a:lnTo>
                    <a:lnTo>
                      <a:pt x="716" y="322"/>
                    </a:lnTo>
                    <a:lnTo>
                      <a:pt x="717" y="320"/>
                    </a:lnTo>
                    <a:lnTo>
                      <a:pt x="717" y="320"/>
                    </a:lnTo>
                    <a:lnTo>
                      <a:pt x="717" y="322"/>
                    </a:lnTo>
                    <a:lnTo>
                      <a:pt x="717" y="322"/>
                    </a:lnTo>
                    <a:lnTo>
                      <a:pt x="717" y="323"/>
                    </a:lnTo>
                    <a:lnTo>
                      <a:pt x="712" y="328"/>
                    </a:lnTo>
                    <a:lnTo>
                      <a:pt x="712" y="328"/>
                    </a:lnTo>
                    <a:lnTo>
                      <a:pt x="710" y="328"/>
                    </a:lnTo>
                    <a:lnTo>
                      <a:pt x="710" y="328"/>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3" name="Freeform 48">
                <a:extLst>
                  <a:ext uri="{FF2B5EF4-FFF2-40B4-BE49-F238E27FC236}">
                    <a16:creationId xmlns:a16="http://schemas.microsoft.com/office/drawing/2014/main" xmlns="" id="{11B5DF3E-D920-4948-977C-FEEF9C759199}"/>
                  </a:ext>
                </a:extLst>
              </p:cNvPr>
              <p:cNvSpPr>
                <a:spLocks/>
              </p:cNvSpPr>
              <p:nvPr/>
            </p:nvSpPr>
            <p:spPr bwMode="auto">
              <a:xfrm>
                <a:off x="6029280" y="4730905"/>
                <a:ext cx="727769" cy="590224"/>
              </a:xfrm>
              <a:custGeom>
                <a:avLst/>
                <a:gdLst>
                  <a:gd name="T0" fmla="*/ 145 w 418"/>
                  <a:gd name="T1" fmla="*/ 309 h 339"/>
                  <a:gd name="T2" fmla="*/ 133 w 418"/>
                  <a:gd name="T3" fmla="*/ 313 h 339"/>
                  <a:gd name="T4" fmla="*/ 115 w 418"/>
                  <a:gd name="T5" fmla="*/ 325 h 339"/>
                  <a:gd name="T6" fmla="*/ 102 w 418"/>
                  <a:gd name="T7" fmla="*/ 328 h 339"/>
                  <a:gd name="T8" fmla="*/ 89 w 418"/>
                  <a:gd name="T9" fmla="*/ 311 h 339"/>
                  <a:gd name="T10" fmla="*/ 67 w 418"/>
                  <a:gd name="T11" fmla="*/ 313 h 339"/>
                  <a:gd name="T12" fmla="*/ 46 w 418"/>
                  <a:gd name="T13" fmla="*/ 302 h 339"/>
                  <a:gd name="T14" fmla="*/ 26 w 418"/>
                  <a:gd name="T15" fmla="*/ 284 h 339"/>
                  <a:gd name="T16" fmla="*/ 8 w 418"/>
                  <a:gd name="T17" fmla="*/ 268 h 339"/>
                  <a:gd name="T18" fmla="*/ 8 w 418"/>
                  <a:gd name="T19" fmla="*/ 239 h 339"/>
                  <a:gd name="T20" fmla="*/ 5 w 418"/>
                  <a:gd name="T21" fmla="*/ 205 h 339"/>
                  <a:gd name="T22" fmla="*/ 12 w 418"/>
                  <a:gd name="T23" fmla="*/ 200 h 339"/>
                  <a:gd name="T24" fmla="*/ 17 w 418"/>
                  <a:gd name="T25" fmla="*/ 186 h 339"/>
                  <a:gd name="T26" fmla="*/ 26 w 418"/>
                  <a:gd name="T27" fmla="*/ 165 h 339"/>
                  <a:gd name="T28" fmla="*/ 36 w 418"/>
                  <a:gd name="T29" fmla="*/ 151 h 339"/>
                  <a:gd name="T30" fmla="*/ 41 w 418"/>
                  <a:gd name="T31" fmla="*/ 124 h 339"/>
                  <a:gd name="T32" fmla="*/ 58 w 418"/>
                  <a:gd name="T33" fmla="*/ 108 h 339"/>
                  <a:gd name="T34" fmla="*/ 75 w 418"/>
                  <a:gd name="T35" fmla="*/ 107 h 339"/>
                  <a:gd name="T36" fmla="*/ 95 w 418"/>
                  <a:gd name="T37" fmla="*/ 93 h 339"/>
                  <a:gd name="T38" fmla="*/ 89 w 418"/>
                  <a:gd name="T39" fmla="*/ 77 h 339"/>
                  <a:gd name="T40" fmla="*/ 66 w 418"/>
                  <a:gd name="T41" fmla="*/ 70 h 339"/>
                  <a:gd name="T42" fmla="*/ 70 w 418"/>
                  <a:gd name="T43" fmla="*/ 38 h 339"/>
                  <a:gd name="T44" fmla="*/ 81 w 418"/>
                  <a:gd name="T45" fmla="*/ 23 h 339"/>
                  <a:gd name="T46" fmla="*/ 98 w 418"/>
                  <a:gd name="T47" fmla="*/ 7 h 339"/>
                  <a:gd name="T48" fmla="*/ 115 w 418"/>
                  <a:gd name="T49" fmla="*/ 7 h 339"/>
                  <a:gd name="T50" fmla="*/ 131 w 418"/>
                  <a:gd name="T51" fmla="*/ 32 h 339"/>
                  <a:gd name="T52" fmla="*/ 145 w 418"/>
                  <a:gd name="T53" fmla="*/ 50 h 339"/>
                  <a:gd name="T54" fmla="*/ 165 w 418"/>
                  <a:gd name="T55" fmla="*/ 62 h 339"/>
                  <a:gd name="T56" fmla="*/ 174 w 418"/>
                  <a:gd name="T57" fmla="*/ 50 h 339"/>
                  <a:gd name="T58" fmla="*/ 205 w 418"/>
                  <a:gd name="T59" fmla="*/ 74 h 339"/>
                  <a:gd name="T60" fmla="*/ 204 w 418"/>
                  <a:gd name="T61" fmla="*/ 79 h 339"/>
                  <a:gd name="T62" fmla="*/ 215 w 418"/>
                  <a:gd name="T63" fmla="*/ 106 h 339"/>
                  <a:gd name="T64" fmla="*/ 218 w 418"/>
                  <a:gd name="T65" fmla="*/ 127 h 339"/>
                  <a:gd name="T66" fmla="*/ 223 w 418"/>
                  <a:gd name="T67" fmla="*/ 120 h 339"/>
                  <a:gd name="T68" fmla="*/ 234 w 418"/>
                  <a:gd name="T69" fmla="*/ 108 h 339"/>
                  <a:gd name="T70" fmla="*/ 248 w 418"/>
                  <a:gd name="T71" fmla="*/ 94 h 339"/>
                  <a:gd name="T72" fmla="*/ 271 w 418"/>
                  <a:gd name="T73" fmla="*/ 78 h 339"/>
                  <a:gd name="T74" fmla="*/ 271 w 418"/>
                  <a:gd name="T75" fmla="*/ 46 h 339"/>
                  <a:gd name="T76" fmla="*/ 282 w 418"/>
                  <a:gd name="T77" fmla="*/ 34 h 339"/>
                  <a:gd name="T78" fmla="*/ 315 w 418"/>
                  <a:gd name="T79" fmla="*/ 45 h 339"/>
                  <a:gd name="T80" fmla="*/ 316 w 418"/>
                  <a:gd name="T81" fmla="*/ 64 h 339"/>
                  <a:gd name="T82" fmla="*/ 330 w 418"/>
                  <a:gd name="T83" fmla="*/ 70 h 339"/>
                  <a:gd name="T84" fmla="*/ 350 w 418"/>
                  <a:gd name="T85" fmla="*/ 89 h 339"/>
                  <a:gd name="T86" fmla="*/ 373 w 418"/>
                  <a:gd name="T87" fmla="*/ 97 h 339"/>
                  <a:gd name="T88" fmla="*/ 390 w 418"/>
                  <a:gd name="T89" fmla="*/ 103 h 339"/>
                  <a:gd name="T90" fmla="*/ 405 w 418"/>
                  <a:gd name="T91" fmla="*/ 114 h 339"/>
                  <a:gd name="T92" fmla="*/ 402 w 418"/>
                  <a:gd name="T93" fmla="*/ 147 h 339"/>
                  <a:gd name="T94" fmla="*/ 365 w 418"/>
                  <a:gd name="T95" fmla="*/ 179 h 339"/>
                  <a:gd name="T96" fmla="*/ 357 w 418"/>
                  <a:gd name="T97" fmla="*/ 176 h 339"/>
                  <a:gd name="T98" fmla="*/ 340 w 418"/>
                  <a:gd name="T99" fmla="*/ 189 h 339"/>
                  <a:gd name="T100" fmla="*/ 323 w 418"/>
                  <a:gd name="T101" fmla="*/ 208 h 339"/>
                  <a:gd name="T102" fmla="*/ 299 w 418"/>
                  <a:gd name="T103" fmla="*/ 226 h 339"/>
                  <a:gd name="T104" fmla="*/ 280 w 418"/>
                  <a:gd name="T105" fmla="*/ 239 h 339"/>
                  <a:gd name="T106" fmla="*/ 276 w 418"/>
                  <a:gd name="T107" fmla="*/ 238 h 339"/>
                  <a:gd name="T108" fmla="*/ 263 w 418"/>
                  <a:gd name="T109" fmla="*/ 249 h 339"/>
                  <a:gd name="T110" fmla="*/ 247 w 418"/>
                  <a:gd name="T111" fmla="*/ 271 h 339"/>
                  <a:gd name="T112" fmla="*/ 222 w 418"/>
                  <a:gd name="T113" fmla="*/ 298 h 339"/>
                  <a:gd name="T114" fmla="*/ 197 w 418"/>
                  <a:gd name="T115" fmla="*/ 324 h 339"/>
                  <a:gd name="T116" fmla="*/ 190 w 418"/>
                  <a:gd name="T117" fmla="*/ 33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8" h="339">
                    <a:moveTo>
                      <a:pt x="181" y="339"/>
                    </a:moveTo>
                    <a:lnTo>
                      <a:pt x="178" y="339"/>
                    </a:lnTo>
                    <a:lnTo>
                      <a:pt x="178" y="339"/>
                    </a:lnTo>
                    <a:lnTo>
                      <a:pt x="172" y="333"/>
                    </a:lnTo>
                    <a:lnTo>
                      <a:pt x="165" y="328"/>
                    </a:lnTo>
                    <a:lnTo>
                      <a:pt x="165" y="328"/>
                    </a:lnTo>
                    <a:lnTo>
                      <a:pt x="161" y="324"/>
                    </a:lnTo>
                    <a:lnTo>
                      <a:pt x="156" y="320"/>
                    </a:lnTo>
                    <a:lnTo>
                      <a:pt x="156" y="320"/>
                    </a:lnTo>
                    <a:lnTo>
                      <a:pt x="152" y="317"/>
                    </a:lnTo>
                    <a:lnTo>
                      <a:pt x="152" y="317"/>
                    </a:lnTo>
                    <a:lnTo>
                      <a:pt x="149" y="313"/>
                    </a:lnTo>
                    <a:lnTo>
                      <a:pt x="145" y="309"/>
                    </a:lnTo>
                    <a:lnTo>
                      <a:pt x="145" y="309"/>
                    </a:lnTo>
                    <a:lnTo>
                      <a:pt x="143" y="311"/>
                    </a:lnTo>
                    <a:lnTo>
                      <a:pt x="140" y="311"/>
                    </a:lnTo>
                    <a:lnTo>
                      <a:pt x="140" y="311"/>
                    </a:lnTo>
                    <a:lnTo>
                      <a:pt x="137" y="311"/>
                    </a:lnTo>
                    <a:lnTo>
                      <a:pt x="137" y="311"/>
                    </a:lnTo>
                    <a:lnTo>
                      <a:pt x="137" y="311"/>
                    </a:lnTo>
                    <a:lnTo>
                      <a:pt x="137" y="311"/>
                    </a:lnTo>
                    <a:lnTo>
                      <a:pt x="137" y="311"/>
                    </a:lnTo>
                    <a:lnTo>
                      <a:pt x="137" y="311"/>
                    </a:lnTo>
                    <a:lnTo>
                      <a:pt x="137" y="311"/>
                    </a:lnTo>
                    <a:lnTo>
                      <a:pt x="137" y="309"/>
                    </a:lnTo>
                    <a:lnTo>
                      <a:pt x="133" y="313"/>
                    </a:lnTo>
                    <a:lnTo>
                      <a:pt x="132" y="313"/>
                    </a:lnTo>
                    <a:lnTo>
                      <a:pt x="132" y="313"/>
                    </a:lnTo>
                    <a:lnTo>
                      <a:pt x="131" y="316"/>
                    </a:lnTo>
                    <a:lnTo>
                      <a:pt x="129" y="319"/>
                    </a:lnTo>
                    <a:lnTo>
                      <a:pt x="129" y="319"/>
                    </a:lnTo>
                    <a:lnTo>
                      <a:pt x="127" y="320"/>
                    </a:lnTo>
                    <a:lnTo>
                      <a:pt x="124" y="321"/>
                    </a:lnTo>
                    <a:lnTo>
                      <a:pt x="124" y="321"/>
                    </a:lnTo>
                    <a:lnTo>
                      <a:pt x="122" y="323"/>
                    </a:lnTo>
                    <a:lnTo>
                      <a:pt x="122" y="323"/>
                    </a:lnTo>
                    <a:lnTo>
                      <a:pt x="120" y="323"/>
                    </a:lnTo>
                    <a:lnTo>
                      <a:pt x="115" y="325"/>
                    </a:lnTo>
                    <a:lnTo>
                      <a:pt x="115" y="325"/>
                    </a:lnTo>
                    <a:lnTo>
                      <a:pt x="115" y="325"/>
                    </a:lnTo>
                    <a:lnTo>
                      <a:pt x="115" y="328"/>
                    </a:lnTo>
                    <a:lnTo>
                      <a:pt x="110" y="333"/>
                    </a:lnTo>
                    <a:lnTo>
                      <a:pt x="110" y="333"/>
                    </a:lnTo>
                    <a:lnTo>
                      <a:pt x="108" y="333"/>
                    </a:lnTo>
                    <a:lnTo>
                      <a:pt x="108" y="333"/>
                    </a:lnTo>
                    <a:lnTo>
                      <a:pt x="106" y="333"/>
                    </a:lnTo>
                    <a:lnTo>
                      <a:pt x="103" y="332"/>
                    </a:lnTo>
                    <a:lnTo>
                      <a:pt x="103" y="332"/>
                    </a:lnTo>
                    <a:lnTo>
                      <a:pt x="103" y="332"/>
                    </a:lnTo>
                    <a:lnTo>
                      <a:pt x="103" y="332"/>
                    </a:lnTo>
                    <a:lnTo>
                      <a:pt x="106" y="332"/>
                    </a:lnTo>
                    <a:lnTo>
                      <a:pt x="102" y="328"/>
                    </a:lnTo>
                    <a:lnTo>
                      <a:pt x="100" y="329"/>
                    </a:lnTo>
                    <a:lnTo>
                      <a:pt x="100" y="329"/>
                    </a:lnTo>
                    <a:lnTo>
                      <a:pt x="99" y="327"/>
                    </a:lnTo>
                    <a:lnTo>
                      <a:pt x="96" y="327"/>
                    </a:lnTo>
                    <a:lnTo>
                      <a:pt x="91" y="320"/>
                    </a:lnTo>
                    <a:lnTo>
                      <a:pt x="91" y="316"/>
                    </a:lnTo>
                    <a:lnTo>
                      <a:pt x="91" y="316"/>
                    </a:lnTo>
                    <a:lnTo>
                      <a:pt x="90" y="312"/>
                    </a:lnTo>
                    <a:lnTo>
                      <a:pt x="90" y="312"/>
                    </a:lnTo>
                    <a:lnTo>
                      <a:pt x="90" y="311"/>
                    </a:lnTo>
                    <a:lnTo>
                      <a:pt x="90" y="311"/>
                    </a:lnTo>
                    <a:lnTo>
                      <a:pt x="89" y="311"/>
                    </a:lnTo>
                    <a:lnTo>
                      <a:pt x="89" y="311"/>
                    </a:lnTo>
                    <a:lnTo>
                      <a:pt x="87" y="311"/>
                    </a:lnTo>
                    <a:lnTo>
                      <a:pt x="86" y="312"/>
                    </a:lnTo>
                    <a:lnTo>
                      <a:pt x="86" y="312"/>
                    </a:lnTo>
                    <a:lnTo>
                      <a:pt x="86" y="311"/>
                    </a:lnTo>
                    <a:lnTo>
                      <a:pt x="81" y="319"/>
                    </a:lnTo>
                    <a:lnTo>
                      <a:pt x="81" y="321"/>
                    </a:lnTo>
                    <a:lnTo>
                      <a:pt x="79" y="323"/>
                    </a:lnTo>
                    <a:lnTo>
                      <a:pt x="79" y="323"/>
                    </a:lnTo>
                    <a:lnTo>
                      <a:pt x="75" y="321"/>
                    </a:lnTo>
                    <a:lnTo>
                      <a:pt x="73" y="320"/>
                    </a:lnTo>
                    <a:lnTo>
                      <a:pt x="69" y="316"/>
                    </a:lnTo>
                    <a:lnTo>
                      <a:pt x="69" y="316"/>
                    </a:lnTo>
                    <a:lnTo>
                      <a:pt x="67" y="313"/>
                    </a:lnTo>
                    <a:lnTo>
                      <a:pt x="67" y="313"/>
                    </a:lnTo>
                    <a:lnTo>
                      <a:pt x="65" y="313"/>
                    </a:lnTo>
                    <a:lnTo>
                      <a:pt x="65" y="313"/>
                    </a:lnTo>
                    <a:lnTo>
                      <a:pt x="65" y="313"/>
                    </a:lnTo>
                    <a:lnTo>
                      <a:pt x="62" y="316"/>
                    </a:lnTo>
                    <a:lnTo>
                      <a:pt x="58" y="316"/>
                    </a:lnTo>
                    <a:lnTo>
                      <a:pt x="53" y="312"/>
                    </a:lnTo>
                    <a:lnTo>
                      <a:pt x="53" y="312"/>
                    </a:lnTo>
                    <a:lnTo>
                      <a:pt x="51" y="309"/>
                    </a:lnTo>
                    <a:lnTo>
                      <a:pt x="49" y="308"/>
                    </a:lnTo>
                    <a:lnTo>
                      <a:pt x="46" y="303"/>
                    </a:lnTo>
                    <a:lnTo>
                      <a:pt x="46" y="302"/>
                    </a:lnTo>
                    <a:lnTo>
                      <a:pt x="46" y="302"/>
                    </a:lnTo>
                    <a:lnTo>
                      <a:pt x="40" y="298"/>
                    </a:lnTo>
                    <a:lnTo>
                      <a:pt x="40" y="298"/>
                    </a:lnTo>
                    <a:lnTo>
                      <a:pt x="38" y="295"/>
                    </a:lnTo>
                    <a:lnTo>
                      <a:pt x="38" y="295"/>
                    </a:lnTo>
                    <a:lnTo>
                      <a:pt x="40" y="295"/>
                    </a:lnTo>
                    <a:lnTo>
                      <a:pt x="40" y="295"/>
                    </a:lnTo>
                    <a:lnTo>
                      <a:pt x="40" y="295"/>
                    </a:lnTo>
                    <a:lnTo>
                      <a:pt x="32" y="292"/>
                    </a:lnTo>
                    <a:lnTo>
                      <a:pt x="30" y="292"/>
                    </a:lnTo>
                    <a:lnTo>
                      <a:pt x="30" y="292"/>
                    </a:lnTo>
                    <a:lnTo>
                      <a:pt x="28" y="287"/>
                    </a:lnTo>
                    <a:lnTo>
                      <a:pt x="28" y="287"/>
                    </a:lnTo>
                    <a:lnTo>
                      <a:pt x="26" y="284"/>
                    </a:lnTo>
                    <a:lnTo>
                      <a:pt x="24" y="279"/>
                    </a:lnTo>
                    <a:lnTo>
                      <a:pt x="24" y="279"/>
                    </a:lnTo>
                    <a:lnTo>
                      <a:pt x="24" y="279"/>
                    </a:lnTo>
                    <a:lnTo>
                      <a:pt x="21" y="278"/>
                    </a:lnTo>
                    <a:lnTo>
                      <a:pt x="21" y="278"/>
                    </a:lnTo>
                    <a:lnTo>
                      <a:pt x="16" y="274"/>
                    </a:lnTo>
                    <a:lnTo>
                      <a:pt x="16" y="274"/>
                    </a:lnTo>
                    <a:lnTo>
                      <a:pt x="16" y="274"/>
                    </a:lnTo>
                    <a:lnTo>
                      <a:pt x="12" y="272"/>
                    </a:lnTo>
                    <a:lnTo>
                      <a:pt x="11" y="271"/>
                    </a:lnTo>
                    <a:lnTo>
                      <a:pt x="9" y="270"/>
                    </a:lnTo>
                    <a:lnTo>
                      <a:pt x="8" y="268"/>
                    </a:lnTo>
                    <a:lnTo>
                      <a:pt x="8" y="268"/>
                    </a:lnTo>
                    <a:lnTo>
                      <a:pt x="8" y="262"/>
                    </a:lnTo>
                    <a:lnTo>
                      <a:pt x="9" y="258"/>
                    </a:lnTo>
                    <a:lnTo>
                      <a:pt x="9" y="258"/>
                    </a:lnTo>
                    <a:lnTo>
                      <a:pt x="9" y="254"/>
                    </a:lnTo>
                    <a:lnTo>
                      <a:pt x="9" y="253"/>
                    </a:lnTo>
                    <a:lnTo>
                      <a:pt x="9" y="253"/>
                    </a:lnTo>
                    <a:lnTo>
                      <a:pt x="9" y="250"/>
                    </a:lnTo>
                    <a:lnTo>
                      <a:pt x="11" y="249"/>
                    </a:lnTo>
                    <a:lnTo>
                      <a:pt x="11" y="249"/>
                    </a:lnTo>
                    <a:lnTo>
                      <a:pt x="8" y="245"/>
                    </a:lnTo>
                    <a:lnTo>
                      <a:pt x="8" y="242"/>
                    </a:lnTo>
                    <a:lnTo>
                      <a:pt x="8" y="239"/>
                    </a:lnTo>
                    <a:lnTo>
                      <a:pt x="8" y="239"/>
                    </a:lnTo>
                    <a:lnTo>
                      <a:pt x="8" y="239"/>
                    </a:lnTo>
                    <a:lnTo>
                      <a:pt x="7" y="235"/>
                    </a:lnTo>
                    <a:lnTo>
                      <a:pt x="7" y="235"/>
                    </a:lnTo>
                    <a:lnTo>
                      <a:pt x="3" y="231"/>
                    </a:lnTo>
                    <a:lnTo>
                      <a:pt x="3" y="227"/>
                    </a:lnTo>
                    <a:lnTo>
                      <a:pt x="3" y="224"/>
                    </a:lnTo>
                    <a:lnTo>
                      <a:pt x="3" y="222"/>
                    </a:lnTo>
                    <a:lnTo>
                      <a:pt x="3" y="222"/>
                    </a:lnTo>
                    <a:lnTo>
                      <a:pt x="4" y="217"/>
                    </a:lnTo>
                    <a:lnTo>
                      <a:pt x="4" y="217"/>
                    </a:lnTo>
                    <a:lnTo>
                      <a:pt x="1" y="216"/>
                    </a:lnTo>
                    <a:lnTo>
                      <a:pt x="0" y="212"/>
                    </a:lnTo>
                    <a:lnTo>
                      <a:pt x="5" y="205"/>
                    </a:lnTo>
                    <a:lnTo>
                      <a:pt x="5" y="205"/>
                    </a:lnTo>
                    <a:lnTo>
                      <a:pt x="4" y="206"/>
                    </a:lnTo>
                    <a:lnTo>
                      <a:pt x="3" y="208"/>
                    </a:lnTo>
                    <a:lnTo>
                      <a:pt x="3" y="206"/>
                    </a:lnTo>
                    <a:lnTo>
                      <a:pt x="3" y="206"/>
                    </a:lnTo>
                    <a:lnTo>
                      <a:pt x="4" y="204"/>
                    </a:lnTo>
                    <a:lnTo>
                      <a:pt x="5" y="201"/>
                    </a:lnTo>
                    <a:lnTo>
                      <a:pt x="9" y="200"/>
                    </a:lnTo>
                    <a:lnTo>
                      <a:pt x="9" y="200"/>
                    </a:lnTo>
                    <a:lnTo>
                      <a:pt x="13" y="198"/>
                    </a:lnTo>
                    <a:lnTo>
                      <a:pt x="14" y="198"/>
                    </a:lnTo>
                    <a:lnTo>
                      <a:pt x="14" y="198"/>
                    </a:lnTo>
                    <a:lnTo>
                      <a:pt x="12" y="200"/>
                    </a:lnTo>
                    <a:lnTo>
                      <a:pt x="12" y="200"/>
                    </a:lnTo>
                    <a:lnTo>
                      <a:pt x="13" y="200"/>
                    </a:lnTo>
                    <a:lnTo>
                      <a:pt x="13" y="201"/>
                    </a:lnTo>
                    <a:lnTo>
                      <a:pt x="14" y="198"/>
                    </a:lnTo>
                    <a:lnTo>
                      <a:pt x="14" y="198"/>
                    </a:lnTo>
                    <a:lnTo>
                      <a:pt x="14" y="198"/>
                    </a:lnTo>
                    <a:lnTo>
                      <a:pt x="18" y="196"/>
                    </a:lnTo>
                    <a:lnTo>
                      <a:pt x="18" y="193"/>
                    </a:lnTo>
                    <a:lnTo>
                      <a:pt x="18" y="193"/>
                    </a:lnTo>
                    <a:lnTo>
                      <a:pt x="17" y="188"/>
                    </a:lnTo>
                    <a:lnTo>
                      <a:pt x="17" y="188"/>
                    </a:lnTo>
                    <a:lnTo>
                      <a:pt x="17" y="186"/>
                    </a:lnTo>
                    <a:lnTo>
                      <a:pt x="17" y="186"/>
                    </a:lnTo>
                    <a:lnTo>
                      <a:pt x="18" y="188"/>
                    </a:lnTo>
                    <a:lnTo>
                      <a:pt x="16" y="183"/>
                    </a:lnTo>
                    <a:lnTo>
                      <a:pt x="16" y="180"/>
                    </a:lnTo>
                    <a:lnTo>
                      <a:pt x="18" y="176"/>
                    </a:lnTo>
                    <a:lnTo>
                      <a:pt x="18" y="176"/>
                    </a:lnTo>
                    <a:lnTo>
                      <a:pt x="18" y="175"/>
                    </a:lnTo>
                    <a:lnTo>
                      <a:pt x="22" y="172"/>
                    </a:lnTo>
                    <a:lnTo>
                      <a:pt x="22" y="172"/>
                    </a:lnTo>
                    <a:lnTo>
                      <a:pt x="22" y="172"/>
                    </a:lnTo>
                    <a:lnTo>
                      <a:pt x="24" y="171"/>
                    </a:lnTo>
                    <a:lnTo>
                      <a:pt x="24" y="171"/>
                    </a:lnTo>
                    <a:lnTo>
                      <a:pt x="28" y="165"/>
                    </a:lnTo>
                    <a:lnTo>
                      <a:pt x="26" y="165"/>
                    </a:lnTo>
                    <a:lnTo>
                      <a:pt x="26" y="165"/>
                    </a:lnTo>
                    <a:lnTo>
                      <a:pt x="25" y="168"/>
                    </a:lnTo>
                    <a:lnTo>
                      <a:pt x="25" y="168"/>
                    </a:lnTo>
                    <a:lnTo>
                      <a:pt x="25" y="167"/>
                    </a:lnTo>
                    <a:lnTo>
                      <a:pt x="25" y="167"/>
                    </a:lnTo>
                    <a:lnTo>
                      <a:pt x="25" y="165"/>
                    </a:lnTo>
                    <a:lnTo>
                      <a:pt x="25" y="165"/>
                    </a:lnTo>
                    <a:lnTo>
                      <a:pt x="25" y="160"/>
                    </a:lnTo>
                    <a:lnTo>
                      <a:pt x="26" y="157"/>
                    </a:lnTo>
                    <a:lnTo>
                      <a:pt x="29" y="156"/>
                    </a:lnTo>
                    <a:lnTo>
                      <a:pt x="30" y="156"/>
                    </a:lnTo>
                    <a:lnTo>
                      <a:pt x="30" y="156"/>
                    </a:lnTo>
                    <a:lnTo>
                      <a:pt x="36" y="151"/>
                    </a:lnTo>
                    <a:lnTo>
                      <a:pt x="41" y="147"/>
                    </a:lnTo>
                    <a:lnTo>
                      <a:pt x="41" y="147"/>
                    </a:lnTo>
                    <a:lnTo>
                      <a:pt x="45" y="144"/>
                    </a:lnTo>
                    <a:lnTo>
                      <a:pt x="48" y="142"/>
                    </a:lnTo>
                    <a:lnTo>
                      <a:pt x="48" y="142"/>
                    </a:lnTo>
                    <a:lnTo>
                      <a:pt x="49" y="139"/>
                    </a:lnTo>
                    <a:lnTo>
                      <a:pt x="49" y="139"/>
                    </a:lnTo>
                    <a:lnTo>
                      <a:pt x="49" y="139"/>
                    </a:lnTo>
                    <a:lnTo>
                      <a:pt x="49" y="139"/>
                    </a:lnTo>
                    <a:lnTo>
                      <a:pt x="49" y="136"/>
                    </a:lnTo>
                    <a:lnTo>
                      <a:pt x="49" y="136"/>
                    </a:lnTo>
                    <a:lnTo>
                      <a:pt x="44" y="131"/>
                    </a:lnTo>
                    <a:lnTo>
                      <a:pt x="41" y="124"/>
                    </a:lnTo>
                    <a:lnTo>
                      <a:pt x="41" y="124"/>
                    </a:lnTo>
                    <a:lnTo>
                      <a:pt x="41" y="124"/>
                    </a:lnTo>
                    <a:lnTo>
                      <a:pt x="41" y="124"/>
                    </a:lnTo>
                    <a:lnTo>
                      <a:pt x="41" y="123"/>
                    </a:lnTo>
                    <a:lnTo>
                      <a:pt x="41" y="122"/>
                    </a:lnTo>
                    <a:lnTo>
                      <a:pt x="44" y="116"/>
                    </a:lnTo>
                    <a:lnTo>
                      <a:pt x="44" y="116"/>
                    </a:lnTo>
                    <a:lnTo>
                      <a:pt x="48" y="114"/>
                    </a:lnTo>
                    <a:lnTo>
                      <a:pt x="48" y="114"/>
                    </a:lnTo>
                    <a:lnTo>
                      <a:pt x="53" y="110"/>
                    </a:lnTo>
                    <a:lnTo>
                      <a:pt x="55" y="108"/>
                    </a:lnTo>
                    <a:lnTo>
                      <a:pt x="57" y="108"/>
                    </a:lnTo>
                    <a:lnTo>
                      <a:pt x="58" y="108"/>
                    </a:lnTo>
                    <a:lnTo>
                      <a:pt x="58" y="108"/>
                    </a:lnTo>
                    <a:lnTo>
                      <a:pt x="59" y="108"/>
                    </a:lnTo>
                    <a:lnTo>
                      <a:pt x="59" y="108"/>
                    </a:lnTo>
                    <a:lnTo>
                      <a:pt x="61" y="108"/>
                    </a:lnTo>
                    <a:lnTo>
                      <a:pt x="61" y="108"/>
                    </a:lnTo>
                    <a:lnTo>
                      <a:pt x="67" y="107"/>
                    </a:lnTo>
                    <a:lnTo>
                      <a:pt x="67" y="107"/>
                    </a:lnTo>
                    <a:lnTo>
                      <a:pt x="69" y="107"/>
                    </a:lnTo>
                    <a:lnTo>
                      <a:pt x="71" y="107"/>
                    </a:lnTo>
                    <a:lnTo>
                      <a:pt x="71" y="107"/>
                    </a:lnTo>
                    <a:lnTo>
                      <a:pt x="74" y="107"/>
                    </a:lnTo>
                    <a:lnTo>
                      <a:pt x="74" y="107"/>
                    </a:lnTo>
                    <a:lnTo>
                      <a:pt x="75" y="107"/>
                    </a:lnTo>
                    <a:lnTo>
                      <a:pt x="75" y="107"/>
                    </a:lnTo>
                    <a:lnTo>
                      <a:pt x="77" y="106"/>
                    </a:lnTo>
                    <a:lnTo>
                      <a:pt x="79" y="105"/>
                    </a:lnTo>
                    <a:lnTo>
                      <a:pt x="79" y="105"/>
                    </a:lnTo>
                    <a:lnTo>
                      <a:pt x="83" y="102"/>
                    </a:lnTo>
                    <a:lnTo>
                      <a:pt x="86" y="99"/>
                    </a:lnTo>
                    <a:lnTo>
                      <a:pt x="92" y="97"/>
                    </a:lnTo>
                    <a:lnTo>
                      <a:pt x="92" y="97"/>
                    </a:lnTo>
                    <a:lnTo>
                      <a:pt x="95" y="97"/>
                    </a:lnTo>
                    <a:lnTo>
                      <a:pt x="94" y="95"/>
                    </a:lnTo>
                    <a:lnTo>
                      <a:pt x="94" y="94"/>
                    </a:lnTo>
                    <a:lnTo>
                      <a:pt x="95" y="93"/>
                    </a:lnTo>
                    <a:lnTo>
                      <a:pt x="95" y="93"/>
                    </a:lnTo>
                    <a:lnTo>
                      <a:pt x="95" y="93"/>
                    </a:lnTo>
                    <a:lnTo>
                      <a:pt x="95" y="93"/>
                    </a:lnTo>
                    <a:lnTo>
                      <a:pt x="94" y="93"/>
                    </a:lnTo>
                    <a:lnTo>
                      <a:pt x="94" y="93"/>
                    </a:lnTo>
                    <a:lnTo>
                      <a:pt x="92" y="89"/>
                    </a:lnTo>
                    <a:lnTo>
                      <a:pt x="92" y="85"/>
                    </a:lnTo>
                    <a:lnTo>
                      <a:pt x="92" y="82"/>
                    </a:lnTo>
                    <a:lnTo>
                      <a:pt x="95" y="79"/>
                    </a:lnTo>
                    <a:lnTo>
                      <a:pt x="95" y="79"/>
                    </a:lnTo>
                    <a:lnTo>
                      <a:pt x="90" y="78"/>
                    </a:lnTo>
                    <a:lnTo>
                      <a:pt x="90" y="78"/>
                    </a:lnTo>
                    <a:lnTo>
                      <a:pt x="89" y="77"/>
                    </a:lnTo>
                    <a:lnTo>
                      <a:pt x="89" y="77"/>
                    </a:lnTo>
                    <a:lnTo>
                      <a:pt x="87" y="75"/>
                    </a:lnTo>
                    <a:lnTo>
                      <a:pt x="85" y="74"/>
                    </a:lnTo>
                    <a:lnTo>
                      <a:pt x="85" y="74"/>
                    </a:lnTo>
                    <a:lnTo>
                      <a:pt x="85" y="74"/>
                    </a:lnTo>
                    <a:lnTo>
                      <a:pt x="85" y="74"/>
                    </a:lnTo>
                    <a:lnTo>
                      <a:pt x="83" y="74"/>
                    </a:lnTo>
                    <a:lnTo>
                      <a:pt x="83" y="74"/>
                    </a:lnTo>
                    <a:lnTo>
                      <a:pt x="78" y="71"/>
                    </a:lnTo>
                    <a:lnTo>
                      <a:pt x="78" y="71"/>
                    </a:lnTo>
                    <a:lnTo>
                      <a:pt x="73" y="73"/>
                    </a:lnTo>
                    <a:lnTo>
                      <a:pt x="73" y="73"/>
                    </a:lnTo>
                    <a:lnTo>
                      <a:pt x="70" y="73"/>
                    </a:lnTo>
                    <a:lnTo>
                      <a:pt x="66" y="70"/>
                    </a:lnTo>
                    <a:lnTo>
                      <a:pt x="66" y="70"/>
                    </a:lnTo>
                    <a:lnTo>
                      <a:pt x="63" y="71"/>
                    </a:lnTo>
                    <a:lnTo>
                      <a:pt x="63" y="71"/>
                    </a:lnTo>
                    <a:lnTo>
                      <a:pt x="61" y="70"/>
                    </a:lnTo>
                    <a:lnTo>
                      <a:pt x="57" y="65"/>
                    </a:lnTo>
                    <a:lnTo>
                      <a:pt x="57" y="65"/>
                    </a:lnTo>
                    <a:lnTo>
                      <a:pt x="58" y="57"/>
                    </a:lnTo>
                    <a:lnTo>
                      <a:pt x="62" y="53"/>
                    </a:lnTo>
                    <a:lnTo>
                      <a:pt x="62" y="53"/>
                    </a:lnTo>
                    <a:lnTo>
                      <a:pt x="65" y="49"/>
                    </a:lnTo>
                    <a:lnTo>
                      <a:pt x="65" y="45"/>
                    </a:lnTo>
                    <a:lnTo>
                      <a:pt x="70" y="41"/>
                    </a:lnTo>
                    <a:lnTo>
                      <a:pt x="70" y="38"/>
                    </a:lnTo>
                    <a:lnTo>
                      <a:pt x="71" y="37"/>
                    </a:lnTo>
                    <a:lnTo>
                      <a:pt x="71" y="37"/>
                    </a:lnTo>
                    <a:lnTo>
                      <a:pt x="71" y="36"/>
                    </a:lnTo>
                    <a:lnTo>
                      <a:pt x="71" y="36"/>
                    </a:lnTo>
                    <a:lnTo>
                      <a:pt x="70" y="30"/>
                    </a:lnTo>
                    <a:lnTo>
                      <a:pt x="70" y="29"/>
                    </a:lnTo>
                    <a:lnTo>
                      <a:pt x="71" y="27"/>
                    </a:lnTo>
                    <a:lnTo>
                      <a:pt x="71" y="27"/>
                    </a:lnTo>
                    <a:lnTo>
                      <a:pt x="74" y="24"/>
                    </a:lnTo>
                    <a:lnTo>
                      <a:pt x="78" y="23"/>
                    </a:lnTo>
                    <a:lnTo>
                      <a:pt x="79" y="23"/>
                    </a:lnTo>
                    <a:lnTo>
                      <a:pt x="79" y="23"/>
                    </a:lnTo>
                    <a:lnTo>
                      <a:pt x="81" y="23"/>
                    </a:lnTo>
                    <a:lnTo>
                      <a:pt x="81" y="23"/>
                    </a:lnTo>
                    <a:lnTo>
                      <a:pt x="83" y="20"/>
                    </a:lnTo>
                    <a:lnTo>
                      <a:pt x="89" y="20"/>
                    </a:lnTo>
                    <a:lnTo>
                      <a:pt x="89" y="20"/>
                    </a:lnTo>
                    <a:lnTo>
                      <a:pt x="89" y="20"/>
                    </a:lnTo>
                    <a:lnTo>
                      <a:pt x="89" y="15"/>
                    </a:lnTo>
                    <a:lnTo>
                      <a:pt x="89" y="12"/>
                    </a:lnTo>
                    <a:lnTo>
                      <a:pt x="89" y="12"/>
                    </a:lnTo>
                    <a:lnTo>
                      <a:pt x="90" y="9"/>
                    </a:lnTo>
                    <a:lnTo>
                      <a:pt x="92" y="8"/>
                    </a:lnTo>
                    <a:lnTo>
                      <a:pt x="96" y="7"/>
                    </a:lnTo>
                    <a:lnTo>
                      <a:pt x="96" y="7"/>
                    </a:lnTo>
                    <a:lnTo>
                      <a:pt x="98" y="7"/>
                    </a:lnTo>
                    <a:lnTo>
                      <a:pt x="98" y="7"/>
                    </a:lnTo>
                    <a:lnTo>
                      <a:pt x="95" y="8"/>
                    </a:lnTo>
                    <a:lnTo>
                      <a:pt x="94" y="11"/>
                    </a:lnTo>
                    <a:lnTo>
                      <a:pt x="99" y="7"/>
                    </a:lnTo>
                    <a:lnTo>
                      <a:pt x="99" y="7"/>
                    </a:lnTo>
                    <a:lnTo>
                      <a:pt x="99" y="7"/>
                    </a:lnTo>
                    <a:lnTo>
                      <a:pt x="99" y="7"/>
                    </a:lnTo>
                    <a:lnTo>
                      <a:pt x="100" y="4"/>
                    </a:lnTo>
                    <a:lnTo>
                      <a:pt x="103" y="0"/>
                    </a:lnTo>
                    <a:lnTo>
                      <a:pt x="111" y="4"/>
                    </a:lnTo>
                    <a:lnTo>
                      <a:pt x="112" y="4"/>
                    </a:lnTo>
                    <a:lnTo>
                      <a:pt x="112" y="4"/>
                    </a:lnTo>
                    <a:lnTo>
                      <a:pt x="115" y="7"/>
                    </a:lnTo>
                    <a:lnTo>
                      <a:pt x="114" y="7"/>
                    </a:lnTo>
                    <a:lnTo>
                      <a:pt x="119" y="12"/>
                    </a:lnTo>
                    <a:lnTo>
                      <a:pt x="119" y="12"/>
                    </a:lnTo>
                    <a:lnTo>
                      <a:pt x="119" y="12"/>
                    </a:lnTo>
                    <a:lnTo>
                      <a:pt x="123" y="13"/>
                    </a:lnTo>
                    <a:lnTo>
                      <a:pt x="123" y="13"/>
                    </a:lnTo>
                    <a:lnTo>
                      <a:pt x="124" y="16"/>
                    </a:lnTo>
                    <a:lnTo>
                      <a:pt x="124" y="16"/>
                    </a:lnTo>
                    <a:lnTo>
                      <a:pt x="127" y="19"/>
                    </a:lnTo>
                    <a:lnTo>
                      <a:pt x="129" y="21"/>
                    </a:lnTo>
                    <a:lnTo>
                      <a:pt x="131" y="27"/>
                    </a:lnTo>
                    <a:lnTo>
                      <a:pt x="131" y="32"/>
                    </a:lnTo>
                    <a:lnTo>
                      <a:pt x="131" y="32"/>
                    </a:lnTo>
                    <a:lnTo>
                      <a:pt x="131" y="32"/>
                    </a:lnTo>
                    <a:lnTo>
                      <a:pt x="131" y="32"/>
                    </a:lnTo>
                    <a:lnTo>
                      <a:pt x="132" y="32"/>
                    </a:lnTo>
                    <a:lnTo>
                      <a:pt x="132" y="32"/>
                    </a:lnTo>
                    <a:lnTo>
                      <a:pt x="136" y="33"/>
                    </a:lnTo>
                    <a:lnTo>
                      <a:pt x="139" y="34"/>
                    </a:lnTo>
                    <a:lnTo>
                      <a:pt x="139" y="34"/>
                    </a:lnTo>
                    <a:lnTo>
                      <a:pt x="140" y="37"/>
                    </a:lnTo>
                    <a:lnTo>
                      <a:pt x="140" y="40"/>
                    </a:lnTo>
                    <a:lnTo>
                      <a:pt x="140" y="40"/>
                    </a:lnTo>
                    <a:lnTo>
                      <a:pt x="141" y="42"/>
                    </a:lnTo>
                    <a:lnTo>
                      <a:pt x="141" y="42"/>
                    </a:lnTo>
                    <a:lnTo>
                      <a:pt x="145" y="50"/>
                    </a:lnTo>
                    <a:lnTo>
                      <a:pt x="145" y="53"/>
                    </a:lnTo>
                    <a:lnTo>
                      <a:pt x="145" y="53"/>
                    </a:lnTo>
                    <a:lnTo>
                      <a:pt x="141" y="58"/>
                    </a:lnTo>
                    <a:lnTo>
                      <a:pt x="141" y="58"/>
                    </a:lnTo>
                    <a:lnTo>
                      <a:pt x="147" y="64"/>
                    </a:lnTo>
                    <a:lnTo>
                      <a:pt x="147" y="64"/>
                    </a:lnTo>
                    <a:lnTo>
                      <a:pt x="149" y="65"/>
                    </a:lnTo>
                    <a:lnTo>
                      <a:pt x="149" y="65"/>
                    </a:lnTo>
                    <a:lnTo>
                      <a:pt x="156" y="65"/>
                    </a:lnTo>
                    <a:lnTo>
                      <a:pt x="156" y="65"/>
                    </a:lnTo>
                    <a:lnTo>
                      <a:pt x="161" y="64"/>
                    </a:lnTo>
                    <a:lnTo>
                      <a:pt x="165" y="62"/>
                    </a:lnTo>
                    <a:lnTo>
                      <a:pt x="165" y="62"/>
                    </a:lnTo>
                    <a:lnTo>
                      <a:pt x="169" y="58"/>
                    </a:lnTo>
                    <a:lnTo>
                      <a:pt x="169" y="58"/>
                    </a:lnTo>
                    <a:lnTo>
                      <a:pt x="167" y="60"/>
                    </a:lnTo>
                    <a:lnTo>
                      <a:pt x="165" y="61"/>
                    </a:lnTo>
                    <a:lnTo>
                      <a:pt x="165" y="61"/>
                    </a:lnTo>
                    <a:lnTo>
                      <a:pt x="165" y="61"/>
                    </a:lnTo>
                    <a:lnTo>
                      <a:pt x="165" y="61"/>
                    </a:lnTo>
                    <a:lnTo>
                      <a:pt x="167" y="57"/>
                    </a:lnTo>
                    <a:lnTo>
                      <a:pt x="168" y="54"/>
                    </a:lnTo>
                    <a:lnTo>
                      <a:pt x="169" y="52"/>
                    </a:lnTo>
                    <a:lnTo>
                      <a:pt x="169" y="52"/>
                    </a:lnTo>
                    <a:lnTo>
                      <a:pt x="174" y="50"/>
                    </a:lnTo>
                    <a:lnTo>
                      <a:pt x="174" y="50"/>
                    </a:lnTo>
                    <a:lnTo>
                      <a:pt x="178" y="49"/>
                    </a:lnTo>
                    <a:lnTo>
                      <a:pt x="178" y="49"/>
                    </a:lnTo>
                    <a:lnTo>
                      <a:pt x="182" y="49"/>
                    </a:lnTo>
                    <a:lnTo>
                      <a:pt x="184" y="52"/>
                    </a:lnTo>
                    <a:lnTo>
                      <a:pt x="188" y="54"/>
                    </a:lnTo>
                    <a:lnTo>
                      <a:pt x="188" y="54"/>
                    </a:lnTo>
                    <a:lnTo>
                      <a:pt x="188" y="56"/>
                    </a:lnTo>
                    <a:lnTo>
                      <a:pt x="189" y="58"/>
                    </a:lnTo>
                    <a:lnTo>
                      <a:pt x="189" y="58"/>
                    </a:lnTo>
                    <a:lnTo>
                      <a:pt x="194" y="65"/>
                    </a:lnTo>
                    <a:lnTo>
                      <a:pt x="197" y="68"/>
                    </a:lnTo>
                    <a:lnTo>
                      <a:pt x="201" y="69"/>
                    </a:lnTo>
                    <a:lnTo>
                      <a:pt x="205" y="74"/>
                    </a:lnTo>
                    <a:lnTo>
                      <a:pt x="205" y="74"/>
                    </a:lnTo>
                    <a:lnTo>
                      <a:pt x="205" y="74"/>
                    </a:lnTo>
                    <a:lnTo>
                      <a:pt x="205" y="75"/>
                    </a:lnTo>
                    <a:lnTo>
                      <a:pt x="205" y="75"/>
                    </a:lnTo>
                    <a:lnTo>
                      <a:pt x="205" y="75"/>
                    </a:lnTo>
                    <a:lnTo>
                      <a:pt x="205" y="75"/>
                    </a:lnTo>
                    <a:lnTo>
                      <a:pt x="205" y="81"/>
                    </a:lnTo>
                    <a:lnTo>
                      <a:pt x="205" y="81"/>
                    </a:lnTo>
                    <a:lnTo>
                      <a:pt x="205" y="81"/>
                    </a:lnTo>
                    <a:lnTo>
                      <a:pt x="205" y="81"/>
                    </a:lnTo>
                    <a:lnTo>
                      <a:pt x="205" y="81"/>
                    </a:lnTo>
                    <a:lnTo>
                      <a:pt x="205" y="81"/>
                    </a:lnTo>
                    <a:lnTo>
                      <a:pt x="204" y="79"/>
                    </a:lnTo>
                    <a:lnTo>
                      <a:pt x="201" y="78"/>
                    </a:lnTo>
                    <a:lnTo>
                      <a:pt x="206" y="85"/>
                    </a:lnTo>
                    <a:lnTo>
                      <a:pt x="206" y="85"/>
                    </a:lnTo>
                    <a:lnTo>
                      <a:pt x="206" y="85"/>
                    </a:lnTo>
                    <a:lnTo>
                      <a:pt x="208" y="87"/>
                    </a:lnTo>
                    <a:lnTo>
                      <a:pt x="208" y="87"/>
                    </a:lnTo>
                    <a:lnTo>
                      <a:pt x="206" y="90"/>
                    </a:lnTo>
                    <a:lnTo>
                      <a:pt x="206" y="90"/>
                    </a:lnTo>
                    <a:lnTo>
                      <a:pt x="215" y="95"/>
                    </a:lnTo>
                    <a:lnTo>
                      <a:pt x="218" y="103"/>
                    </a:lnTo>
                    <a:lnTo>
                      <a:pt x="218" y="103"/>
                    </a:lnTo>
                    <a:lnTo>
                      <a:pt x="215" y="106"/>
                    </a:lnTo>
                    <a:lnTo>
                      <a:pt x="215" y="106"/>
                    </a:lnTo>
                    <a:lnTo>
                      <a:pt x="215" y="107"/>
                    </a:lnTo>
                    <a:lnTo>
                      <a:pt x="214" y="111"/>
                    </a:lnTo>
                    <a:lnTo>
                      <a:pt x="214" y="111"/>
                    </a:lnTo>
                    <a:lnTo>
                      <a:pt x="213" y="112"/>
                    </a:lnTo>
                    <a:lnTo>
                      <a:pt x="213" y="116"/>
                    </a:lnTo>
                    <a:lnTo>
                      <a:pt x="213" y="118"/>
                    </a:lnTo>
                    <a:lnTo>
                      <a:pt x="213" y="118"/>
                    </a:lnTo>
                    <a:lnTo>
                      <a:pt x="217" y="120"/>
                    </a:lnTo>
                    <a:lnTo>
                      <a:pt x="218" y="123"/>
                    </a:lnTo>
                    <a:lnTo>
                      <a:pt x="218" y="126"/>
                    </a:lnTo>
                    <a:lnTo>
                      <a:pt x="218" y="126"/>
                    </a:lnTo>
                    <a:lnTo>
                      <a:pt x="218" y="127"/>
                    </a:lnTo>
                    <a:lnTo>
                      <a:pt x="218" y="127"/>
                    </a:lnTo>
                    <a:lnTo>
                      <a:pt x="217" y="126"/>
                    </a:lnTo>
                    <a:lnTo>
                      <a:pt x="219" y="128"/>
                    </a:lnTo>
                    <a:lnTo>
                      <a:pt x="219" y="128"/>
                    </a:lnTo>
                    <a:lnTo>
                      <a:pt x="222" y="128"/>
                    </a:lnTo>
                    <a:lnTo>
                      <a:pt x="222" y="128"/>
                    </a:lnTo>
                    <a:lnTo>
                      <a:pt x="222" y="128"/>
                    </a:lnTo>
                    <a:lnTo>
                      <a:pt x="222" y="126"/>
                    </a:lnTo>
                    <a:lnTo>
                      <a:pt x="222" y="124"/>
                    </a:lnTo>
                    <a:lnTo>
                      <a:pt x="222" y="123"/>
                    </a:lnTo>
                    <a:lnTo>
                      <a:pt x="227" y="119"/>
                    </a:lnTo>
                    <a:lnTo>
                      <a:pt x="225" y="119"/>
                    </a:lnTo>
                    <a:lnTo>
                      <a:pt x="225" y="119"/>
                    </a:lnTo>
                    <a:lnTo>
                      <a:pt x="223" y="120"/>
                    </a:lnTo>
                    <a:lnTo>
                      <a:pt x="225" y="120"/>
                    </a:lnTo>
                    <a:lnTo>
                      <a:pt x="225" y="120"/>
                    </a:lnTo>
                    <a:lnTo>
                      <a:pt x="225" y="116"/>
                    </a:lnTo>
                    <a:lnTo>
                      <a:pt x="225" y="116"/>
                    </a:lnTo>
                    <a:lnTo>
                      <a:pt x="226" y="112"/>
                    </a:lnTo>
                    <a:lnTo>
                      <a:pt x="227" y="111"/>
                    </a:lnTo>
                    <a:lnTo>
                      <a:pt x="227" y="111"/>
                    </a:lnTo>
                    <a:lnTo>
                      <a:pt x="227" y="110"/>
                    </a:lnTo>
                    <a:lnTo>
                      <a:pt x="238" y="107"/>
                    </a:lnTo>
                    <a:lnTo>
                      <a:pt x="238" y="107"/>
                    </a:lnTo>
                    <a:lnTo>
                      <a:pt x="235" y="107"/>
                    </a:lnTo>
                    <a:lnTo>
                      <a:pt x="235" y="107"/>
                    </a:lnTo>
                    <a:lnTo>
                      <a:pt x="234" y="108"/>
                    </a:lnTo>
                    <a:lnTo>
                      <a:pt x="234" y="108"/>
                    </a:lnTo>
                    <a:lnTo>
                      <a:pt x="234" y="107"/>
                    </a:lnTo>
                    <a:lnTo>
                      <a:pt x="234" y="107"/>
                    </a:lnTo>
                    <a:lnTo>
                      <a:pt x="234" y="107"/>
                    </a:lnTo>
                    <a:lnTo>
                      <a:pt x="234" y="107"/>
                    </a:lnTo>
                    <a:lnTo>
                      <a:pt x="234" y="107"/>
                    </a:lnTo>
                    <a:lnTo>
                      <a:pt x="234" y="107"/>
                    </a:lnTo>
                    <a:lnTo>
                      <a:pt x="234" y="106"/>
                    </a:lnTo>
                    <a:lnTo>
                      <a:pt x="239" y="99"/>
                    </a:lnTo>
                    <a:lnTo>
                      <a:pt x="239" y="99"/>
                    </a:lnTo>
                    <a:lnTo>
                      <a:pt x="242" y="99"/>
                    </a:lnTo>
                    <a:lnTo>
                      <a:pt x="243" y="97"/>
                    </a:lnTo>
                    <a:lnTo>
                      <a:pt x="248" y="94"/>
                    </a:lnTo>
                    <a:lnTo>
                      <a:pt x="252" y="94"/>
                    </a:lnTo>
                    <a:lnTo>
                      <a:pt x="252" y="94"/>
                    </a:lnTo>
                    <a:lnTo>
                      <a:pt x="252" y="93"/>
                    </a:lnTo>
                    <a:lnTo>
                      <a:pt x="256" y="90"/>
                    </a:lnTo>
                    <a:lnTo>
                      <a:pt x="256" y="90"/>
                    </a:lnTo>
                    <a:lnTo>
                      <a:pt x="258" y="86"/>
                    </a:lnTo>
                    <a:lnTo>
                      <a:pt x="260" y="82"/>
                    </a:lnTo>
                    <a:lnTo>
                      <a:pt x="260" y="82"/>
                    </a:lnTo>
                    <a:lnTo>
                      <a:pt x="264" y="78"/>
                    </a:lnTo>
                    <a:lnTo>
                      <a:pt x="271" y="78"/>
                    </a:lnTo>
                    <a:lnTo>
                      <a:pt x="271" y="78"/>
                    </a:lnTo>
                    <a:lnTo>
                      <a:pt x="271" y="78"/>
                    </a:lnTo>
                    <a:lnTo>
                      <a:pt x="271" y="78"/>
                    </a:lnTo>
                    <a:lnTo>
                      <a:pt x="272" y="74"/>
                    </a:lnTo>
                    <a:lnTo>
                      <a:pt x="272" y="74"/>
                    </a:lnTo>
                    <a:lnTo>
                      <a:pt x="272" y="74"/>
                    </a:lnTo>
                    <a:lnTo>
                      <a:pt x="272" y="74"/>
                    </a:lnTo>
                    <a:lnTo>
                      <a:pt x="271" y="71"/>
                    </a:lnTo>
                    <a:lnTo>
                      <a:pt x="271" y="69"/>
                    </a:lnTo>
                    <a:lnTo>
                      <a:pt x="271" y="68"/>
                    </a:lnTo>
                    <a:lnTo>
                      <a:pt x="272" y="64"/>
                    </a:lnTo>
                    <a:lnTo>
                      <a:pt x="272" y="64"/>
                    </a:lnTo>
                    <a:lnTo>
                      <a:pt x="270" y="58"/>
                    </a:lnTo>
                    <a:lnTo>
                      <a:pt x="270" y="58"/>
                    </a:lnTo>
                    <a:lnTo>
                      <a:pt x="268" y="52"/>
                    </a:lnTo>
                    <a:lnTo>
                      <a:pt x="271" y="46"/>
                    </a:lnTo>
                    <a:lnTo>
                      <a:pt x="272" y="45"/>
                    </a:lnTo>
                    <a:lnTo>
                      <a:pt x="272" y="45"/>
                    </a:lnTo>
                    <a:lnTo>
                      <a:pt x="276" y="42"/>
                    </a:lnTo>
                    <a:lnTo>
                      <a:pt x="280" y="38"/>
                    </a:lnTo>
                    <a:lnTo>
                      <a:pt x="280" y="38"/>
                    </a:lnTo>
                    <a:lnTo>
                      <a:pt x="280" y="38"/>
                    </a:lnTo>
                    <a:lnTo>
                      <a:pt x="280" y="38"/>
                    </a:lnTo>
                    <a:lnTo>
                      <a:pt x="280" y="37"/>
                    </a:lnTo>
                    <a:lnTo>
                      <a:pt x="280" y="37"/>
                    </a:lnTo>
                    <a:lnTo>
                      <a:pt x="284" y="33"/>
                    </a:lnTo>
                    <a:lnTo>
                      <a:pt x="284" y="33"/>
                    </a:lnTo>
                    <a:lnTo>
                      <a:pt x="282" y="34"/>
                    </a:lnTo>
                    <a:lnTo>
                      <a:pt x="282" y="34"/>
                    </a:lnTo>
                    <a:lnTo>
                      <a:pt x="286" y="30"/>
                    </a:lnTo>
                    <a:lnTo>
                      <a:pt x="289" y="29"/>
                    </a:lnTo>
                    <a:lnTo>
                      <a:pt x="289" y="29"/>
                    </a:lnTo>
                    <a:lnTo>
                      <a:pt x="292" y="30"/>
                    </a:lnTo>
                    <a:lnTo>
                      <a:pt x="292" y="30"/>
                    </a:lnTo>
                    <a:lnTo>
                      <a:pt x="296" y="30"/>
                    </a:lnTo>
                    <a:lnTo>
                      <a:pt x="296" y="30"/>
                    </a:lnTo>
                    <a:lnTo>
                      <a:pt x="300" y="33"/>
                    </a:lnTo>
                    <a:lnTo>
                      <a:pt x="300" y="33"/>
                    </a:lnTo>
                    <a:lnTo>
                      <a:pt x="308" y="40"/>
                    </a:lnTo>
                    <a:lnTo>
                      <a:pt x="308" y="40"/>
                    </a:lnTo>
                    <a:lnTo>
                      <a:pt x="311" y="40"/>
                    </a:lnTo>
                    <a:lnTo>
                      <a:pt x="315" y="45"/>
                    </a:lnTo>
                    <a:lnTo>
                      <a:pt x="315" y="45"/>
                    </a:lnTo>
                    <a:lnTo>
                      <a:pt x="315" y="49"/>
                    </a:lnTo>
                    <a:lnTo>
                      <a:pt x="313" y="50"/>
                    </a:lnTo>
                    <a:lnTo>
                      <a:pt x="312" y="53"/>
                    </a:lnTo>
                    <a:lnTo>
                      <a:pt x="312" y="53"/>
                    </a:lnTo>
                    <a:lnTo>
                      <a:pt x="312" y="53"/>
                    </a:lnTo>
                    <a:lnTo>
                      <a:pt x="312" y="54"/>
                    </a:lnTo>
                    <a:lnTo>
                      <a:pt x="312" y="54"/>
                    </a:lnTo>
                    <a:lnTo>
                      <a:pt x="313" y="57"/>
                    </a:lnTo>
                    <a:lnTo>
                      <a:pt x="313" y="62"/>
                    </a:lnTo>
                    <a:lnTo>
                      <a:pt x="313" y="62"/>
                    </a:lnTo>
                    <a:lnTo>
                      <a:pt x="313" y="62"/>
                    </a:lnTo>
                    <a:lnTo>
                      <a:pt x="316" y="64"/>
                    </a:lnTo>
                    <a:lnTo>
                      <a:pt x="316" y="64"/>
                    </a:lnTo>
                    <a:lnTo>
                      <a:pt x="321" y="66"/>
                    </a:lnTo>
                    <a:lnTo>
                      <a:pt x="323" y="66"/>
                    </a:lnTo>
                    <a:lnTo>
                      <a:pt x="324" y="69"/>
                    </a:lnTo>
                    <a:lnTo>
                      <a:pt x="324" y="69"/>
                    </a:lnTo>
                    <a:lnTo>
                      <a:pt x="325" y="69"/>
                    </a:lnTo>
                    <a:lnTo>
                      <a:pt x="328" y="73"/>
                    </a:lnTo>
                    <a:lnTo>
                      <a:pt x="328" y="73"/>
                    </a:lnTo>
                    <a:lnTo>
                      <a:pt x="328" y="70"/>
                    </a:lnTo>
                    <a:lnTo>
                      <a:pt x="328" y="70"/>
                    </a:lnTo>
                    <a:lnTo>
                      <a:pt x="326" y="69"/>
                    </a:lnTo>
                    <a:lnTo>
                      <a:pt x="326" y="69"/>
                    </a:lnTo>
                    <a:lnTo>
                      <a:pt x="330" y="70"/>
                    </a:lnTo>
                    <a:lnTo>
                      <a:pt x="336" y="73"/>
                    </a:lnTo>
                    <a:lnTo>
                      <a:pt x="336" y="73"/>
                    </a:lnTo>
                    <a:lnTo>
                      <a:pt x="337" y="75"/>
                    </a:lnTo>
                    <a:lnTo>
                      <a:pt x="338" y="75"/>
                    </a:lnTo>
                    <a:lnTo>
                      <a:pt x="338" y="75"/>
                    </a:lnTo>
                    <a:lnTo>
                      <a:pt x="342" y="77"/>
                    </a:lnTo>
                    <a:lnTo>
                      <a:pt x="345" y="77"/>
                    </a:lnTo>
                    <a:lnTo>
                      <a:pt x="348" y="81"/>
                    </a:lnTo>
                    <a:lnTo>
                      <a:pt x="348" y="83"/>
                    </a:lnTo>
                    <a:lnTo>
                      <a:pt x="348" y="83"/>
                    </a:lnTo>
                    <a:lnTo>
                      <a:pt x="348" y="87"/>
                    </a:lnTo>
                    <a:lnTo>
                      <a:pt x="348" y="87"/>
                    </a:lnTo>
                    <a:lnTo>
                      <a:pt x="350" y="89"/>
                    </a:lnTo>
                    <a:lnTo>
                      <a:pt x="352" y="89"/>
                    </a:lnTo>
                    <a:lnTo>
                      <a:pt x="352" y="89"/>
                    </a:lnTo>
                    <a:lnTo>
                      <a:pt x="354" y="87"/>
                    </a:lnTo>
                    <a:lnTo>
                      <a:pt x="354" y="87"/>
                    </a:lnTo>
                    <a:lnTo>
                      <a:pt x="356" y="87"/>
                    </a:lnTo>
                    <a:lnTo>
                      <a:pt x="356" y="87"/>
                    </a:lnTo>
                    <a:lnTo>
                      <a:pt x="360" y="87"/>
                    </a:lnTo>
                    <a:lnTo>
                      <a:pt x="362" y="89"/>
                    </a:lnTo>
                    <a:lnTo>
                      <a:pt x="364" y="91"/>
                    </a:lnTo>
                    <a:lnTo>
                      <a:pt x="364" y="91"/>
                    </a:lnTo>
                    <a:lnTo>
                      <a:pt x="365" y="91"/>
                    </a:lnTo>
                    <a:lnTo>
                      <a:pt x="373" y="97"/>
                    </a:lnTo>
                    <a:lnTo>
                      <a:pt x="373" y="97"/>
                    </a:lnTo>
                    <a:lnTo>
                      <a:pt x="370" y="94"/>
                    </a:lnTo>
                    <a:lnTo>
                      <a:pt x="370" y="94"/>
                    </a:lnTo>
                    <a:lnTo>
                      <a:pt x="371" y="95"/>
                    </a:lnTo>
                    <a:lnTo>
                      <a:pt x="371" y="95"/>
                    </a:lnTo>
                    <a:lnTo>
                      <a:pt x="371" y="95"/>
                    </a:lnTo>
                    <a:lnTo>
                      <a:pt x="371" y="95"/>
                    </a:lnTo>
                    <a:lnTo>
                      <a:pt x="373" y="94"/>
                    </a:lnTo>
                    <a:lnTo>
                      <a:pt x="378" y="97"/>
                    </a:lnTo>
                    <a:lnTo>
                      <a:pt x="378" y="97"/>
                    </a:lnTo>
                    <a:lnTo>
                      <a:pt x="382" y="101"/>
                    </a:lnTo>
                    <a:lnTo>
                      <a:pt x="386" y="102"/>
                    </a:lnTo>
                    <a:lnTo>
                      <a:pt x="390" y="103"/>
                    </a:lnTo>
                    <a:lnTo>
                      <a:pt x="390" y="103"/>
                    </a:lnTo>
                    <a:lnTo>
                      <a:pt x="390" y="103"/>
                    </a:lnTo>
                    <a:lnTo>
                      <a:pt x="390" y="103"/>
                    </a:lnTo>
                    <a:lnTo>
                      <a:pt x="390" y="103"/>
                    </a:lnTo>
                    <a:lnTo>
                      <a:pt x="397" y="106"/>
                    </a:lnTo>
                    <a:lnTo>
                      <a:pt x="397" y="106"/>
                    </a:lnTo>
                    <a:lnTo>
                      <a:pt x="397" y="108"/>
                    </a:lnTo>
                    <a:lnTo>
                      <a:pt x="398" y="111"/>
                    </a:lnTo>
                    <a:lnTo>
                      <a:pt x="398" y="111"/>
                    </a:lnTo>
                    <a:lnTo>
                      <a:pt x="398" y="111"/>
                    </a:lnTo>
                    <a:lnTo>
                      <a:pt x="398" y="111"/>
                    </a:lnTo>
                    <a:lnTo>
                      <a:pt x="399" y="112"/>
                    </a:lnTo>
                    <a:lnTo>
                      <a:pt x="399" y="112"/>
                    </a:lnTo>
                    <a:lnTo>
                      <a:pt x="405" y="114"/>
                    </a:lnTo>
                    <a:lnTo>
                      <a:pt x="405" y="114"/>
                    </a:lnTo>
                    <a:lnTo>
                      <a:pt x="407" y="118"/>
                    </a:lnTo>
                    <a:lnTo>
                      <a:pt x="410" y="119"/>
                    </a:lnTo>
                    <a:lnTo>
                      <a:pt x="410" y="119"/>
                    </a:lnTo>
                    <a:lnTo>
                      <a:pt x="415" y="122"/>
                    </a:lnTo>
                    <a:lnTo>
                      <a:pt x="415" y="122"/>
                    </a:lnTo>
                    <a:lnTo>
                      <a:pt x="415" y="123"/>
                    </a:lnTo>
                    <a:lnTo>
                      <a:pt x="415" y="123"/>
                    </a:lnTo>
                    <a:lnTo>
                      <a:pt x="414" y="122"/>
                    </a:lnTo>
                    <a:lnTo>
                      <a:pt x="418" y="131"/>
                    </a:lnTo>
                    <a:lnTo>
                      <a:pt x="418" y="131"/>
                    </a:lnTo>
                    <a:lnTo>
                      <a:pt x="405" y="146"/>
                    </a:lnTo>
                    <a:lnTo>
                      <a:pt x="402" y="147"/>
                    </a:lnTo>
                    <a:lnTo>
                      <a:pt x="402" y="147"/>
                    </a:lnTo>
                    <a:lnTo>
                      <a:pt x="390" y="159"/>
                    </a:lnTo>
                    <a:lnTo>
                      <a:pt x="390" y="159"/>
                    </a:lnTo>
                    <a:lnTo>
                      <a:pt x="379" y="168"/>
                    </a:lnTo>
                    <a:lnTo>
                      <a:pt x="377" y="169"/>
                    </a:lnTo>
                    <a:lnTo>
                      <a:pt x="377" y="169"/>
                    </a:lnTo>
                    <a:lnTo>
                      <a:pt x="375" y="172"/>
                    </a:lnTo>
                    <a:lnTo>
                      <a:pt x="375" y="172"/>
                    </a:lnTo>
                    <a:lnTo>
                      <a:pt x="373" y="176"/>
                    </a:lnTo>
                    <a:lnTo>
                      <a:pt x="370" y="176"/>
                    </a:lnTo>
                    <a:lnTo>
                      <a:pt x="370" y="176"/>
                    </a:lnTo>
                    <a:lnTo>
                      <a:pt x="367" y="179"/>
                    </a:lnTo>
                    <a:lnTo>
                      <a:pt x="365" y="179"/>
                    </a:lnTo>
                    <a:lnTo>
                      <a:pt x="365" y="179"/>
                    </a:lnTo>
                    <a:lnTo>
                      <a:pt x="365" y="179"/>
                    </a:lnTo>
                    <a:lnTo>
                      <a:pt x="367" y="177"/>
                    </a:lnTo>
                    <a:lnTo>
                      <a:pt x="367" y="176"/>
                    </a:lnTo>
                    <a:lnTo>
                      <a:pt x="362" y="180"/>
                    </a:lnTo>
                    <a:lnTo>
                      <a:pt x="360" y="180"/>
                    </a:lnTo>
                    <a:lnTo>
                      <a:pt x="358" y="179"/>
                    </a:lnTo>
                    <a:lnTo>
                      <a:pt x="358" y="179"/>
                    </a:lnTo>
                    <a:lnTo>
                      <a:pt x="360" y="176"/>
                    </a:lnTo>
                    <a:lnTo>
                      <a:pt x="360" y="176"/>
                    </a:lnTo>
                    <a:lnTo>
                      <a:pt x="360" y="175"/>
                    </a:lnTo>
                    <a:lnTo>
                      <a:pt x="360" y="172"/>
                    </a:lnTo>
                    <a:lnTo>
                      <a:pt x="357" y="176"/>
                    </a:lnTo>
                    <a:lnTo>
                      <a:pt x="354" y="172"/>
                    </a:lnTo>
                    <a:lnTo>
                      <a:pt x="354" y="172"/>
                    </a:lnTo>
                    <a:lnTo>
                      <a:pt x="353" y="175"/>
                    </a:lnTo>
                    <a:lnTo>
                      <a:pt x="354" y="176"/>
                    </a:lnTo>
                    <a:lnTo>
                      <a:pt x="354" y="176"/>
                    </a:lnTo>
                    <a:lnTo>
                      <a:pt x="356" y="179"/>
                    </a:lnTo>
                    <a:lnTo>
                      <a:pt x="354" y="180"/>
                    </a:lnTo>
                    <a:lnTo>
                      <a:pt x="352" y="180"/>
                    </a:lnTo>
                    <a:lnTo>
                      <a:pt x="352" y="180"/>
                    </a:lnTo>
                    <a:lnTo>
                      <a:pt x="348" y="181"/>
                    </a:lnTo>
                    <a:lnTo>
                      <a:pt x="345" y="184"/>
                    </a:lnTo>
                    <a:lnTo>
                      <a:pt x="342" y="186"/>
                    </a:lnTo>
                    <a:lnTo>
                      <a:pt x="340" y="189"/>
                    </a:lnTo>
                    <a:lnTo>
                      <a:pt x="338" y="193"/>
                    </a:lnTo>
                    <a:lnTo>
                      <a:pt x="338" y="193"/>
                    </a:lnTo>
                    <a:lnTo>
                      <a:pt x="333" y="198"/>
                    </a:lnTo>
                    <a:lnTo>
                      <a:pt x="333" y="198"/>
                    </a:lnTo>
                    <a:lnTo>
                      <a:pt x="330" y="201"/>
                    </a:lnTo>
                    <a:lnTo>
                      <a:pt x="328" y="205"/>
                    </a:lnTo>
                    <a:lnTo>
                      <a:pt x="323" y="208"/>
                    </a:lnTo>
                    <a:lnTo>
                      <a:pt x="323" y="208"/>
                    </a:lnTo>
                    <a:lnTo>
                      <a:pt x="323" y="208"/>
                    </a:lnTo>
                    <a:lnTo>
                      <a:pt x="323" y="208"/>
                    </a:lnTo>
                    <a:lnTo>
                      <a:pt x="323" y="208"/>
                    </a:lnTo>
                    <a:lnTo>
                      <a:pt x="323" y="208"/>
                    </a:lnTo>
                    <a:lnTo>
                      <a:pt x="323" y="208"/>
                    </a:lnTo>
                    <a:lnTo>
                      <a:pt x="319" y="210"/>
                    </a:lnTo>
                    <a:lnTo>
                      <a:pt x="315" y="214"/>
                    </a:lnTo>
                    <a:lnTo>
                      <a:pt x="315" y="214"/>
                    </a:lnTo>
                    <a:lnTo>
                      <a:pt x="311" y="218"/>
                    </a:lnTo>
                    <a:lnTo>
                      <a:pt x="307" y="222"/>
                    </a:lnTo>
                    <a:lnTo>
                      <a:pt x="307" y="222"/>
                    </a:lnTo>
                    <a:lnTo>
                      <a:pt x="307" y="222"/>
                    </a:lnTo>
                    <a:lnTo>
                      <a:pt x="303" y="225"/>
                    </a:lnTo>
                    <a:lnTo>
                      <a:pt x="303" y="225"/>
                    </a:lnTo>
                    <a:lnTo>
                      <a:pt x="299" y="226"/>
                    </a:lnTo>
                    <a:lnTo>
                      <a:pt x="299" y="226"/>
                    </a:lnTo>
                    <a:lnTo>
                      <a:pt x="299" y="226"/>
                    </a:lnTo>
                    <a:lnTo>
                      <a:pt x="299" y="226"/>
                    </a:lnTo>
                    <a:lnTo>
                      <a:pt x="297" y="229"/>
                    </a:lnTo>
                    <a:lnTo>
                      <a:pt x="296" y="230"/>
                    </a:lnTo>
                    <a:lnTo>
                      <a:pt x="296" y="230"/>
                    </a:lnTo>
                    <a:lnTo>
                      <a:pt x="295" y="231"/>
                    </a:lnTo>
                    <a:lnTo>
                      <a:pt x="292" y="233"/>
                    </a:lnTo>
                    <a:lnTo>
                      <a:pt x="289" y="234"/>
                    </a:lnTo>
                    <a:lnTo>
                      <a:pt x="288" y="234"/>
                    </a:lnTo>
                    <a:lnTo>
                      <a:pt x="288" y="234"/>
                    </a:lnTo>
                    <a:lnTo>
                      <a:pt x="287" y="234"/>
                    </a:lnTo>
                    <a:lnTo>
                      <a:pt x="284" y="237"/>
                    </a:lnTo>
                    <a:lnTo>
                      <a:pt x="280" y="239"/>
                    </a:lnTo>
                    <a:lnTo>
                      <a:pt x="280" y="239"/>
                    </a:lnTo>
                    <a:lnTo>
                      <a:pt x="280" y="239"/>
                    </a:lnTo>
                    <a:lnTo>
                      <a:pt x="280" y="239"/>
                    </a:lnTo>
                    <a:lnTo>
                      <a:pt x="279" y="239"/>
                    </a:lnTo>
                    <a:lnTo>
                      <a:pt x="279" y="239"/>
                    </a:lnTo>
                    <a:lnTo>
                      <a:pt x="279" y="239"/>
                    </a:lnTo>
                    <a:lnTo>
                      <a:pt x="278" y="239"/>
                    </a:lnTo>
                    <a:lnTo>
                      <a:pt x="278" y="239"/>
                    </a:lnTo>
                    <a:lnTo>
                      <a:pt x="275" y="239"/>
                    </a:lnTo>
                    <a:lnTo>
                      <a:pt x="275" y="239"/>
                    </a:lnTo>
                    <a:lnTo>
                      <a:pt x="274" y="239"/>
                    </a:lnTo>
                    <a:lnTo>
                      <a:pt x="274" y="239"/>
                    </a:lnTo>
                    <a:lnTo>
                      <a:pt x="275" y="239"/>
                    </a:lnTo>
                    <a:lnTo>
                      <a:pt x="276" y="238"/>
                    </a:lnTo>
                    <a:lnTo>
                      <a:pt x="276" y="238"/>
                    </a:lnTo>
                    <a:lnTo>
                      <a:pt x="278" y="234"/>
                    </a:lnTo>
                    <a:lnTo>
                      <a:pt x="272" y="241"/>
                    </a:lnTo>
                    <a:lnTo>
                      <a:pt x="271" y="241"/>
                    </a:lnTo>
                    <a:lnTo>
                      <a:pt x="271" y="241"/>
                    </a:lnTo>
                    <a:lnTo>
                      <a:pt x="270" y="241"/>
                    </a:lnTo>
                    <a:lnTo>
                      <a:pt x="270" y="241"/>
                    </a:lnTo>
                    <a:lnTo>
                      <a:pt x="271" y="241"/>
                    </a:lnTo>
                    <a:lnTo>
                      <a:pt x="267" y="242"/>
                    </a:lnTo>
                    <a:lnTo>
                      <a:pt x="267" y="243"/>
                    </a:lnTo>
                    <a:lnTo>
                      <a:pt x="267" y="243"/>
                    </a:lnTo>
                    <a:lnTo>
                      <a:pt x="264" y="247"/>
                    </a:lnTo>
                    <a:lnTo>
                      <a:pt x="264" y="247"/>
                    </a:lnTo>
                    <a:lnTo>
                      <a:pt x="263" y="249"/>
                    </a:lnTo>
                    <a:lnTo>
                      <a:pt x="263" y="251"/>
                    </a:lnTo>
                    <a:lnTo>
                      <a:pt x="263" y="251"/>
                    </a:lnTo>
                    <a:lnTo>
                      <a:pt x="255" y="259"/>
                    </a:lnTo>
                    <a:lnTo>
                      <a:pt x="252" y="259"/>
                    </a:lnTo>
                    <a:lnTo>
                      <a:pt x="252" y="259"/>
                    </a:lnTo>
                    <a:lnTo>
                      <a:pt x="252" y="261"/>
                    </a:lnTo>
                    <a:lnTo>
                      <a:pt x="252" y="261"/>
                    </a:lnTo>
                    <a:lnTo>
                      <a:pt x="251" y="261"/>
                    </a:lnTo>
                    <a:lnTo>
                      <a:pt x="251" y="264"/>
                    </a:lnTo>
                    <a:lnTo>
                      <a:pt x="248" y="270"/>
                    </a:lnTo>
                    <a:lnTo>
                      <a:pt x="248" y="270"/>
                    </a:lnTo>
                    <a:lnTo>
                      <a:pt x="247" y="271"/>
                    </a:lnTo>
                    <a:lnTo>
                      <a:pt x="247" y="271"/>
                    </a:lnTo>
                    <a:lnTo>
                      <a:pt x="246" y="272"/>
                    </a:lnTo>
                    <a:lnTo>
                      <a:pt x="241" y="275"/>
                    </a:lnTo>
                    <a:lnTo>
                      <a:pt x="241" y="275"/>
                    </a:lnTo>
                    <a:lnTo>
                      <a:pt x="241" y="275"/>
                    </a:lnTo>
                    <a:lnTo>
                      <a:pt x="238" y="278"/>
                    </a:lnTo>
                    <a:lnTo>
                      <a:pt x="235" y="282"/>
                    </a:lnTo>
                    <a:lnTo>
                      <a:pt x="235" y="282"/>
                    </a:lnTo>
                    <a:lnTo>
                      <a:pt x="231" y="284"/>
                    </a:lnTo>
                    <a:lnTo>
                      <a:pt x="231" y="284"/>
                    </a:lnTo>
                    <a:lnTo>
                      <a:pt x="230" y="287"/>
                    </a:lnTo>
                    <a:lnTo>
                      <a:pt x="230" y="287"/>
                    </a:lnTo>
                    <a:lnTo>
                      <a:pt x="226" y="291"/>
                    </a:lnTo>
                    <a:lnTo>
                      <a:pt x="222" y="298"/>
                    </a:lnTo>
                    <a:lnTo>
                      <a:pt x="222" y="298"/>
                    </a:lnTo>
                    <a:lnTo>
                      <a:pt x="217" y="305"/>
                    </a:lnTo>
                    <a:lnTo>
                      <a:pt x="213" y="309"/>
                    </a:lnTo>
                    <a:lnTo>
                      <a:pt x="209" y="313"/>
                    </a:lnTo>
                    <a:lnTo>
                      <a:pt x="206" y="313"/>
                    </a:lnTo>
                    <a:lnTo>
                      <a:pt x="206" y="313"/>
                    </a:lnTo>
                    <a:lnTo>
                      <a:pt x="202" y="319"/>
                    </a:lnTo>
                    <a:lnTo>
                      <a:pt x="202" y="319"/>
                    </a:lnTo>
                    <a:lnTo>
                      <a:pt x="198" y="323"/>
                    </a:lnTo>
                    <a:lnTo>
                      <a:pt x="197" y="324"/>
                    </a:lnTo>
                    <a:lnTo>
                      <a:pt x="197" y="324"/>
                    </a:lnTo>
                    <a:lnTo>
                      <a:pt x="197" y="324"/>
                    </a:lnTo>
                    <a:lnTo>
                      <a:pt x="197" y="324"/>
                    </a:lnTo>
                    <a:lnTo>
                      <a:pt x="198" y="323"/>
                    </a:lnTo>
                    <a:lnTo>
                      <a:pt x="194" y="327"/>
                    </a:lnTo>
                    <a:lnTo>
                      <a:pt x="194" y="327"/>
                    </a:lnTo>
                    <a:lnTo>
                      <a:pt x="196" y="325"/>
                    </a:lnTo>
                    <a:lnTo>
                      <a:pt x="196" y="325"/>
                    </a:lnTo>
                    <a:lnTo>
                      <a:pt x="196" y="327"/>
                    </a:lnTo>
                    <a:lnTo>
                      <a:pt x="196" y="328"/>
                    </a:lnTo>
                    <a:lnTo>
                      <a:pt x="190" y="333"/>
                    </a:lnTo>
                    <a:lnTo>
                      <a:pt x="190" y="333"/>
                    </a:lnTo>
                    <a:lnTo>
                      <a:pt x="192" y="333"/>
                    </a:lnTo>
                    <a:lnTo>
                      <a:pt x="192" y="333"/>
                    </a:lnTo>
                    <a:lnTo>
                      <a:pt x="190" y="335"/>
                    </a:lnTo>
                    <a:lnTo>
                      <a:pt x="190" y="335"/>
                    </a:lnTo>
                    <a:lnTo>
                      <a:pt x="189" y="336"/>
                    </a:lnTo>
                    <a:lnTo>
                      <a:pt x="185" y="339"/>
                    </a:lnTo>
                    <a:lnTo>
                      <a:pt x="182" y="339"/>
                    </a:lnTo>
                    <a:lnTo>
                      <a:pt x="181" y="339"/>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4" name="Freeform 49">
                <a:extLst>
                  <a:ext uri="{FF2B5EF4-FFF2-40B4-BE49-F238E27FC236}">
                    <a16:creationId xmlns:a16="http://schemas.microsoft.com/office/drawing/2014/main" xmlns="" id="{CD808FD9-9C8A-491B-B4E8-B1E7E5E45A5D}"/>
                  </a:ext>
                </a:extLst>
              </p:cNvPr>
              <p:cNvSpPr>
                <a:spLocks/>
              </p:cNvSpPr>
              <p:nvPr/>
            </p:nvSpPr>
            <p:spPr bwMode="auto">
              <a:xfrm>
                <a:off x="4472761" y="4871932"/>
                <a:ext cx="1594824" cy="649421"/>
              </a:xfrm>
              <a:custGeom>
                <a:avLst/>
                <a:gdLst>
                  <a:gd name="T0" fmla="*/ 246 w 916"/>
                  <a:gd name="T1" fmla="*/ 342 h 373"/>
                  <a:gd name="T2" fmla="*/ 212 w 916"/>
                  <a:gd name="T3" fmla="*/ 328 h 373"/>
                  <a:gd name="T4" fmla="*/ 187 w 916"/>
                  <a:gd name="T5" fmla="*/ 317 h 373"/>
                  <a:gd name="T6" fmla="*/ 143 w 916"/>
                  <a:gd name="T7" fmla="*/ 302 h 373"/>
                  <a:gd name="T8" fmla="*/ 95 w 916"/>
                  <a:gd name="T9" fmla="*/ 288 h 373"/>
                  <a:gd name="T10" fmla="*/ 107 w 916"/>
                  <a:gd name="T11" fmla="*/ 247 h 373"/>
                  <a:gd name="T12" fmla="*/ 102 w 916"/>
                  <a:gd name="T13" fmla="*/ 217 h 373"/>
                  <a:gd name="T14" fmla="*/ 95 w 916"/>
                  <a:gd name="T15" fmla="*/ 186 h 373"/>
                  <a:gd name="T16" fmla="*/ 46 w 916"/>
                  <a:gd name="T17" fmla="*/ 153 h 373"/>
                  <a:gd name="T18" fmla="*/ 9 w 916"/>
                  <a:gd name="T19" fmla="*/ 157 h 373"/>
                  <a:gd name="T20" fmla="*/ 5 w 916"/>
                  <a:gd name="T21" fmla="*/ 92 h 373"/>
                  <a:gd name="T22" fmla="*/ 15 w 916"/>
                  <a:gd name="T23" fmla="*/ 62 h 373"/>
                  <a:gd name="T24" fmla="*/ 60 w 916"/>
                  <a:gd name="T25" fmla="*/ 53 h 373"/>
                  <a:gd name="T26" fmla="*/ 83 w 916"/>
                  <a:gd name="T27" fmla="*/ 38 h 373"/>
                  <a:gd name="T28" fmla="*/ 134 w 916"/>
                  <a:gd name="T29" fmla="*/ 26 h 373"/>
                  <a:gd name="T30" fmla="*/ 169 w 916"/>
                  <a:gd name="T31" fmla="*/ 1 h 373"/>
                  <a:gd name="T32" fmla="*/ 218 w 916"/>
                  <a:gd name="T33" fmla="*/ 6 h 373"/>
                  <a:gd name="T34" fmla="*/ 229 w 916"/>
                  <a:gd name="T35" fmla="*/ 42 h 373"/>
                  <a:gd name="T36" fmla="*/ 253 w 916"/>
                  <a:gd name="T37" fmla="*/ 45 h 373"/>
                  <a:gd name="T38" fmla="*/ 263 w 916"/>
                  <a:gd name="T39" fmla="*/ 79 h 373"/>
                  <a:gd name="T40" fmla="*/ 310 w 916"/>
                  <a:gd name="T41" fmla="*/ 72 h 373"/>
                  <a:gd name="T42" fmla="*/ 335 w 916"/>
                  <a:gd name="T43" fmla="*/ 76 h 373"/>
                  <a:gd name="T44" fmla="*/ 354 w 916"/>
                  <a:gd name="T45" fmla="*/ 53 h 373"/>
                  <a:gd name="T46" fmla="*/ 399 w 916"/>
                  <a:gd name="T47" fmla="*/ 21 h 373"/>
                  <a:gd name="T48" fmla="*/ 435 w 916"/>
                  <a:gd name="T49" fmla="*/ 10 h 373"/>
                  <a:gd name="T50" fmla="*/ 467 w 916"/>
                  <a:gd name="T51" fmla="*/ 12 h 373"/>
                  <a:gd name="T52" fmla="*/ 496 w 916"/>
                  <a:gd name="T53" fmla="*/ 9 h 373"/>
                  <a:gd name="T54" fmla="*/ 525 w 916"/>
                  <a:gd name="T55" fmla="*/ 24 h 373"/>
                  <a:gd name="T56" fmla="*/ 517 w 916"/>
                  <a:gd name="T57" fmla="*/ 45 h 373"/>
                  <a:gd name="T58" fmla="*/ 520 w 916"/>
                  <a:gd name="T59" fmla="*/ 74 h 373"/>
                  <a:gd name="T60" fmla="*/ 555 w 916"/>
                  <a:gd name="T61" fmla="*/ 65 h 373"/>
                  <a:gd name="T62" fmla="*/ 592 w 916"/>
                  <a:gd name="T63" fmla="*/ 47 h 373"/>
                  <a:gd name="T64" fmla="*/ 620 w 916"/>
                  <a:gd name="T65" fmla="*/ 68 h 373"/>
                  <a:gd name="T66" fmla="*/ 647 w 916"/>
                  <a:gd name="T67" fmla="*/ 47 h 373"/>
                  <a:gd name="T68" fmla="*/ 676 w 916"/>
                  <a:gd name="T69" fmla="*/ 62 h 373"/>
                  <a:gd name="T70" fmla="*/ 686 w 916"/>
                  <a:gd name="T71" fmla="*/ 67 h 373"/>
                  <a:gd name="T72" fmla="*/ 698 w 916"/>
                  <a:gd name="T73" fmla="*/ 41 h 373"/>
                  <a:gd name="T74" fmla="*/ 708 w 916"/>
                  <a:gd name="T75" fmla="*/ 22 h 373"/>
                  <a:gd name="T76" fmla="*/ 746 w 916"/>
                  <a:gd name="T77" fmla="*/ 18 h 373"/>
                  <a:gd name="T78" fmla="*/ 756 w 916"/>
                  <a:gd name="T79" fmla="*/ 14 h 373"/>
                  <a:gd name="T80" fmla="*/ 820 w 916"/>
                  <a:gd name="T81" fmla="*/ 21 h 373"/>
                  <a:gd name="T82" fmla="*/ 865 w 916"/>
                  <a:gd name="T83" fmla="*/ 43 h 373"/>
                  <a:gd name="T84" fmla="*/ 912 w 916"/>
                  <a:gd name="T85" fmla="*/ 87 h 373"/>
                  <a:gd name="T86" fmla="*/ 901 w 916"/>
                  <a:gd name="T87" fmla="*/ 149 h 373"/>
                  <a:gd name="T88" fmla="*/ 890 w 916"/>
                  <a:gd name="T89" fmla="*/ 183 h 373"/>
                  <a:gd name="T90" fmla="*/ 873 w 916"/>
                  <a:gd name="T91" fmla="*/ 217 h 373"/>
                  <a:gd name="T92" fmla="*/ 824 w 916"/>
                  <a:gd name="T93" fmla="*/ 247 h 373"/>
                  <a:gd name="T94" fmla="*/ 774 w 916"/>
                  <a:gd name="T95" fmla="*/ 256 h 373"/>
                  <a:gd name="T96" fmla="*/ 776 w 916"/>
                  <a:gd name="T97" fmla="*/ 280 h 373"/>
                  <a:gd name="T98" fmla="*/ 752 w 916"/>
                  <a:gd name="T99" fmla="*/ 269 h 373"/>
                  <a:gd name="T100" fmla="*/ 723 w 916"/>
                  <a:gd name="T101" fmla="*/ 262 h 373"/>
                  <a:gd name="T102" fmla="*/ 713 w 916"/>
                  <a:gd name="T103" fmla="*/ 288 h 373"/>
                  <a:gd name="T104" fmla="*/ 684 w 916"/>
                  <a:gd name="T105" fmla="*/ 326 h 373"/>
                  <a:gd name="T106" fmla="*/ 640 w 916"/>
                  <a:gd name="T107" fmla="*/ 308 h 373"/>
                  <a:gd name="T108" fmla="*/ 579 w 916"/>
                  <a:gd name="T109" fmla="*/ 285 h 373"/>
                  <a:gd name="T110" fmla="*/ 524 w 916"/>
                  <a:gd name="T111" fmla="*/ 328 h 373"/>
                  <a:gd name="T112" fmla="*/ 455 w 916"/>
                  <a:gd name="T113" fmla="*/ 326 h 373"/>
                  <a:gd name="T114" fmla="*/ 439 w 916"/>
                  <a:gd name="T115" fmla="*/ 326 h 373"/>
                  <a:gd name="T116" fmla="*/ 395 w 916"/>
                  <a:gd name="T117" fmla="*/ 314 h 373"/>
                  <a:gd name="T118" fmla="*/ 362 w 916"/>
                  <a:gd name="T119" fmla="*/ 313 h 373"/>
                  <a:gd name="T120" fmla="*/ 331 w 916"/>
                  <a:gd name="T121" fmla="*/ 353 h 373"/>
                  <a:gd name="T122" fmla="*/ 294 w 916"/>
                  <a:gd name="T123"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6" h="373">
                    <a:moveTo>
                      <a:pt x="291" y="373"/>
                    </a:moveTo>
                    <a:lnTo>
                      <a:pt x="291" y="373"/>
                    </a:lnTo>
                    <a:lnTo>
                      <a:pt x="286" y="371"/>
                    </a:lnTo>
                    <a:lnTo>
                      <a:pt x="283" y="370"/>
                    </a:lnTo>
                    <a:lnTo>
                      <a:pt x="282" y="369"/>
                    </a:lnTo>
                    <a:lnTo>
                      <a:pt x="282" y="369"/>
                    </a:lnTo>
                    <a:lnTo>
                      <a:pt x="279" y="365"/>
                    </a:lnTo>
                    <a:lnTo>
                      <a:pt x="279" y="365"/>
                    </a:lnTo>
                    <a:lnTo>
                      <a:pt x="276" y="363"/>
                    </a:lnTo>
                    <a:lnTo>
                      <a:pt x="275" y="363"/>
                    </a:lnTo>
                    <a:lnTo>
                      <a:pt x="275" y="363"/>
                    </a:lnTo>
                    <a:lnTo>
                      <a:pt x="274" y="363"/>
                    </a:lnTo>
                    <a:lnTo>
                      <a:pt x="266" y="358"/>
                    </a:lnTo>
                    <a:lnTo>
                      <a:pt x="266" y="358"/>
                    </a:lnTo>
                    <a:lnTo>
                      <a:pt x="266" y="358"/>
                    </a:lnTo>
                    <a:lnTo>
                      <a:pt x="266" y="357"/>
                    </a:lnTo>
                    <a:lnTo>
                      <a:pt x="266" y="357"/>
                    </a:lnTo>
                    <a:lnTo>
                      <a:pt x="266" y="357"/>
                    </a:lnTo>
                    <a:lnTo>
                      <a:pt x="266" y="357"/>
                    </a:lnTo>
                    <a:lnTo>
                      <a:pt x="263" y="353"/>
                    </a:lnTo>
                    <a:lnTo>
                      <a:pt x="263" y="353"/>
                    </a:lnTo>
                    <a:lnTo>
                      <a:pt x="262" y="350"/>
                    </a:lnTo>
                    <a:lnTo>
                      <a:pt x="254" y="350"/>
                    </a:lnTo>
                    <a:lnTo>
                      <a:pt x="249" y="347"/>
                    </a:lnTo>
                    <a:lnTo>
                      <a:pt x="249" y="347"/>
                    </a:lnTo>
                    <a:lnTo>
                      <a:pt x="246" y="342"/>
                    </a:lnTo>
                    <a:lnTo>
                      <a:pt x="246" y="342"/>
                    </a:lnTo>
                    <a:lnTo>
                      <a:pt x="245" y="337"/>
                    </a:lnTo>
                    <a:lnTo>
                      <a:pt x="242" y="334"/>
                    </a:lnTo>
                    <a:lnTo>
                      <a:pt x="242" y="334"/>
                    </a:lnTo>
                    <a:lnTo>
                      <a:pt x="238" y="334"/>
                    </a:lnTo>
                    <a:lnTo>
                      <a:pt x="235" y="337"/>
                    </a:lnTo>
                    <a:lnTo>
                      <a:pt x="235" y="337"/>
                    </a:lnTo>
                    <a:lnTo>
                      <a:pt x="232" y="338"/>
                    </a:lnTo>
                    <a:lnTo>
                      <a:pt x="229" y="340"/>
                    </a:lnTo>
                    <a:lnTo>
                      <a:pt x="228" y="340"/>
                    </a:lnTo>
                    <a:lnTo>
                      <a:pt x="228" y="340"/>
                    </a:lnTo>
                    <a:lnTo>
                      <a:pt x="225" y="340"/>
                    </a:lnTo>
                    <a:lnTo>
                      <a:pt x="225" y="340"/>
                    </a:lnTo>
                    <a:lnTo>
                      <a:pt x="222" y="340"/>
                    </a:lnTo>
                    <a:lnTo>
                      <a:pt x="222" y="340"/>
                    </a:lnTo>
                    <a:lnTo>
                      <a:pt x="222" y="340"/>
                    </a:lnTo>
                    <a:lnTo>
                      <a:pt x="222" y="340"/>
                    </a:lnTo>
                    <a:lnTo>
                      <a:pt x="224" y="338"/>
                    </a:lnTo>
                    <a:lnTo>
                      <a:pt x="225" y="337"/>
                    </a:lnTo>
                    <a:lnTo>
                      <a:pt x="225" y="337"/>
                    </a:lnTo>
                    <a:lnTo>
                      <a:pt x="226" y="334"/>
                    </a:lnTo>
                    <a:lnTo>
                      <a:pt x="220" y="341"/>
                    </a:lnTo>
                    <a:lnTo>
                      <a:pt x="216" y="341"/>
                    </a:lnTo>
                    <a:lnTo>
                      <a:pt x="210" y="334"/>
                    </a:lnTo>
                    <a:lnTo>
                      <a:pt x="210" y="334"/>
                    </a:lnTo>
                    <a:lnTo>
                      <a:pt x="210" y="332"/>
                    </a:lnTo>
                    <a:lnTo>
                      <a:pt x="212" y="329"/>
                    </a:lnTo>
                    <a:lnTo>
                      <a:pt x="212" y="328"/>
                    </a:lnTo>
                    <a:lnTo>
                      <a:pt x="212" y="326"/>
                    </a:lnTo>
                    <a:lnTo>
                      <a:pt x="212" y="326"/>
                    </a:lnTo>
                    <a:lnTo>
                      <a:pt x="209" y="324"/>
                    </a:lnTo>
                    <a:lnTo>
                      <a:pt x="209" y="324"/>
                    </a:lnTo>
                    <a:lnTo>
                      <a:pt x="206" y="321"/>
                    </a:lnTo>
                    <a:lnTo>
                      <a:pt x="206" y="321"/>
                    </a:lnTo>
                    <a:lnTo>
                      <a:pt x="204" y="318"/>
                    </a:lnTo>
                    <a:lnTo>
                      <a:pt x="201" y="316"/>
                    </a:lnTo>
                    <a:lnTo>
                      <a:pt x="200" y="310"/>
                    </a:lnTo>
                    <a:lnTo>
                      <a:pt x="200" y="310"/>
                    </a:lnTo>
                    <a:lnTo>
                      <a:pt x="198" y="310"/>
                    </a:lnTo>
                    <a:lnTo>
                      <a:pt x="198" y="310"/>
                    </a:lnTo>
                    <a:lnTo>
                      <a:pt x="196" y="310"/>
                    </a:lnTo>
                    <a:lnTo>
                      <a:pt x="196" y="310"/>
                    </a:lnTo>
                    <a:lnTo>
                      <a:pt x="195" y="309"/>
                    </a:lnTo>
                    <a:lnTo>
                      <a:pt x="195" y="309"/>
                    </a:lnTo>
                    <a:lnTo>
                      <a:pt x="196" y="309"/>
                    </a:lnTo>
                    <a:lnTo>
                      <a:pt x="198" y="308"/>
                    </a:lnTo>
                    <a:lnTo>
                      <a:pt x="198" y="308"/>
                    </a:lnTo>
                    <a:lnTo>
                      <a:pt x="200" y="305"/>
                    </a:lnTo>
                    <a:lnTo>
                      <a:pt x="193" y="312"/>
                    </a:lnTo>
                    <a:lnTo>
                      <a:pt x="192" y="312"/>
                    </a:lnTo>
                    <a:lnTo>
                      <a:pt x="192" y="312"/>
                    </a:lnTo>
                    <a:lnTo>
                      <a:pt x="192" y="312"/>
                    </a:lnTo>
                    <a:lnTo>
                      <a:pt x="191" y="313"/>
                    </a:lnTo>
                    <a:lnTo>
                      <a:pt x="191" y="313"/>
                    </a:lnTo>
                    <a:lnTo>
                      <a:pt x="187" y="317"/>
                    </a:lnTo>
                    <a:lnTo>
                      <a:pt x="183" y="318"/>
                    </a:lnTo>
                    <a:lnTo>
                      <a:pt x="179" y="318"/>
                    </a:lnTo>
                    <a:lnTo>
                      <a:pt x="179" y="318"/>
                    </a:lnTo>
                    <a:lnTo>
                      <a:pt x="179" y="318"/>
                    </a:lnTo>
                    <a:lnTo>
                      <a:pt x="179" y="318"/>
                    </a:lnTo>
                    <a:lnTo>
                      <a:pt x="177" y="318"/>
                    </a:lnTo>
                    <a:lnTo>
                      <a:pt x="176" y="318"/>
                    </a:lnTo>
                    <a:lnTo>
                      <a:pt x="172" y="317"/>
                    </a:lnTo>
                    <a:lnTo>
                      <a:pt x="172" y="317"/>
                    </a:lnTo>
                    <a:lnTo>
                      <a:pt x="172" y="317"/>
                    </a:lnTo>
                    <a:lnTo>
                      <a:pt x="172" y="317"/>
                    </a:lnTo>
                    <a:lnTo>
                      <a:pt x="169" y="317"/>
                    </a:lnTo>
                    <a:lnTo>
                      <a:pt x="169" y="317"/>
                    </a:lnTo>
                    <a:lnTo>
                      <a:pt x="165" y="317"/>
                    </a:lnTo>
                    <a:lnTo>
                      <a:pt x="161" y="314"/>
                    </a:lnTo>
                    <a:lnTo>
                      <a:pt x="161" y="314"/>
                    </a:lnTo>
                    <a:lnTo>
                      <a:pt x="161" y="314"/>
                    </a:lnTo>
                    <a:lnTo>
                      <a:pt x="157" y="313"/>
                    </a:lnTo>
                    <a:lnTo>
                      <a:pt x="155" y="312"/>
                    </a:lnTo>
                    <a:lnTo>
                      <a:pt x="150" y="308"/>
                    </a:lnTo>
                    <a:lnTo>
                      <a:pt x="150" y="308"/>
                    </a:lnTo>
                    <a:lnTo>
                      <a:pt x="146" y="304"/>
                    </a:lnTo>
                    <a:lnTo>
                      <a:pt x="146" y="304"/>
                    </a:lnTo>
                    <a:lnTo>
                      <a:pt x="143" y="301"/>
                    </a:lnTo>
                    <a:lnTo>
                      <a:pt x="143" y="301"/>
                    </a:lnTo>
                    <a:lnTo>
                      <a:pt x="143" y="302"/>
                    </a:lnTo>
                    <a:lnTo>
                      <a:pt x="143" y="302"/>
                    </a:lnTo>
                    <a:lnTo>
                      <a:pt x="142" y="302"/>
                    </a:lnTo>
                    <a:lnTo>
                      <a:pt x="142" y="302"/>
                    </a:lnTo>
                    <a:lnTo>
                      <a:pt x="140" y="302"/>
                    </a:lnTo>
                    <a:lnTo>
                      <a:pt x="140" y="302"/>
                    </a:lnTo>
                    <a:lnTo>
                      <a:pt x="134" y="300"/>
                    </a:lnTo>
                    <a:lnTo>
                      <a:pt x="128" y="297"/>
                    </a:lnTo>
                    <a:lnTo>
                      <a:pt x="128" y="297"/>
                    </a:lnTo>
                    <a:lnTo>
                      <a:pt x="123" y="296"/>
                    </a:lnTo>
                    <a:lnTo>
                      <a:pt x="119" y="295"/>
                    </a:lnTo>
                    <a:lnTo>
                      <a:pt x="119" y="295"/>
                    </a:lnTo>
                    <a:lnTo>
                      <a:pt x="118" y="295"/>
                    </a:lnTo>
                    <a:lnTo>
                      <a:pt x="116" y="295"/>
                    </a:lnTo>
                    <a:lnTo>
                      <a:pt x="115" y="295"/>
                    </a:lnTo>
                    <a:lnTo>
                      <a:pt x="113" y="295"/>
                    </a:lnTo>
                    <a:lnTo>
                      <a:pt x="113" y="295"/>
                    </a:lnTo>
                    <a:lnTo>
                      <a:pt x="109" y="292"/>
                    </a:lnTo>
                    <a:lnTo>
                      <a:pt x="109" y="292"/>
                    </a:lnTo>
                    <a:lnTo>
                      <a:pt x="109" y="292"/>
                    </a:lnTo>
                    <a:lnTo>
                      <a:pt x="106" y="292"/>
                    </a:lnTo>
                    <a:lnTo>
                      <a:pt x="101" y="289"/>
                    </a:lnTo>
                    <a:lnTo>
                      <a:pt x="101" y="289"/>
                    </a:lnTo>
                    <a:lnTo>
                      <a:pt x="102" y="291"/>
                    </a:lnTo>
                    <a:lnTo>
                      <a:pt x="102" y="291"/>
                    </a:lnTo>
                    <a:lnTo>
                      <a:pt x="102" y="291"/>
                    </a:lnTo>
                    <a:lnTo>
                      <a:pt x="102" y="291"/>
                    </a:lnTo>
                    <a:lnTo>
                      <a:pt x="98" y="289"/>
                    </a:lnTo>
                    <a:lnTo>
                      <a:pt x="95" y="288"/>
                    </a:lnTo>
                    <a:lnTo>
                      <a:pt x="94" y="287"/>
                    </a:lnTo>
                    <a:lnTo>
                      <a:pt x="94" y="287"/>
                    </a:lnTo>
                    <a:lnTo>
                      <a:pt x="93" y="283"/>
                    </a:lnTo>
                    <a:lnTo>
                      <a:pt x="94" y="277"/>
                    </a:lnTo>
                    <a:lnTo>
                      <a:pt x="95" y="277"/>
                    </a:lnTo>
                    <a:lnTo>
                      <a:pt x="95" y="277"/>
                    </a:lnTo>
                    <a:lnTo>
                      <a:pt x="95" y="276"/>
                    </a:lnTo>
                    <a:lnTo>
                      <a:pt x="95" y="276"/>
                    </a:lnTo>
                    <a:lnTo>
                      <a:pt x="95" y="272"/>
                    </a:lnTo>
                    <a:lnTo>
                      <a:pt x="97" y="269"/>
                    </a:lnTo>
                    <a:lnTo>
                      <a:pt x="99" y="267"/>
                    </a:lnTo>
                    <a:lnTo>
                      <a:pt x="99" y="267"/>
                    </a:lnTo>
                    <a:lnTo>
                      <a:pt x="102" y="265"/>
                    </a:lnTo>
                    <a:lnTo>
                      <a:pt x="102" y="265"/>
                    </a:lnTo>
                    <a:lnTo>
                      <a:pt x="102" y="263"/>
                    </a:lnTo>
                    <a:lnTo>
                      <a:pt x="105" y="260"/>
                    </a:lnTo>
                    <a:lnTo>
                      <a:pt x="105" y="259"/>
                    </a:lnTo>
                    <a:lnTo>
                      <a:pt x="105" y="259"/>
                    </a:lnTo>
                    <a:lnTo>
                      <a:pt x="106" y="255"/>
                    </a:lnTo>
                    <a:lnTo>
                      <a:pt x="106" y="255"/>
                    </a:lnTo>
                    <a:lnTo>
                      <a:pt x="107" y="251"/>
                    </a:lnTo>
                    <a:lnTo>
                      <a:pt x="107" y="250"/>
                    </a:lnTo>
                    <a:lnTo>
                      <a:pt x="107" y="250"/>
                    </a:lnTo>
                    <a:lnTo>
                      <a:pt x="107" y="247"/>
                    </a:lnTo>
                    <a:lnTo>
                      <a:pt x="107" y="247"/>
                    </a:lnTo>
                    <a:lnTo>
                      <a:pt x="107" y="247"/>
                    </a:lnTo>
                    <a:lnTo>
                      <a:pt x="107" y="247"/>
                    </a:lnTo>
                    <a:lnTo>
                      <a:pt x="109" y="248"/>
                    </a:lnTo>
                    <a:lnTo>
                      <a:pt x="111" y="250"/>
                    </a:lnTo>
                    <a:lnTo>
                      <a:pt x="106" y="244"/>
                    </a:lnTo>
                    <a:lnTo>
                      <a:pt x="106" y="243"/>
                    </a:lnTo>
                    <a:lnTo>
                      <a:pt x="106" y="243"/>
                    </a:lnTo>
                    <a:lnTo>
                      <a:pt x="106" y="243"/>
                    </a:lnTo>
                    <a:lnTo>
                      <a:pt x="106" y="243"/>
                    </a:lnTo>
                    <a:lnTo>
                      <a:pt x="103" y="239"/>
                    </a:lnTo>
                    <a:lnTo>
                      <a:pt x="102" y="235"/>
                    </a:lnTo>
                    <a:lnTo>
                      <a:pt x="102" y="231"/>
                    </a:lnTo>
                    <a:lnTo>
                      <a:pt x="102" y="226"/>
                    </a:lnTo>
                    <a:lnTo>
                      <a:pt x="105" y="224"/>
                    </a:lnTo>
                    <a:lnTo>
                      <a:pt x="105" y="224"/>
                    </a:lnTo>
                    <a:lnTo>
                      <a:pt x="106" y="227"/>
                    </a:lnTo>
                    <a:lnTo>
                      <a:pt x="109" y="227"/>
                    </a:lnTo>
                    <a:lnTo>
                      <a:pt x="109" y="226"/>
                    </a:lnTo>
                    <a:lnTo>
                      <a:pt x="109" y="226"/>
                    </a:lnTo>
                    <a:lnTo>
                      <a:pt x="109" y="226"/>
                    </a:lnTo>
                    <a:lnTo>
                      <a:pt x="106" y="224"/>
                    </a:lnTo>
                    <a:lnTo>
                      <a:pt x="109" y="222"/>
                    </a:lnTo>
                    <a:lnTo>
                      <a:pt x="109" y="221"/>
                    </a:lnTo>
                    <a:lnTo>
                      <a:pt x="109" y="221"/>
                    </a:lnTo>
                    <a:lnTo>
                      <a:pt x="106" y="222"/>
                    </a:lnTo>
                    <a:lnTo>
                      <a:pt x="105" y="223"/>
                    </a:lnTo>
                    <a:lnTo>
                      <a:pt x="102" y="222"/>
                    </a:lnTo>
                    <a:lnTo>
                      <a:pt x="102" y="217"/>
                    </a:lnTo>
                    <a:lnTo>
                      <a:pt x="102" y="217"/>
                    </a:lnTo>
                    <a:lnTo>
                      <a:pt x="102" y="215"/>
                    </a:lnTo>
                    <a:lnTo>
                      <a:pt x="102" y="215"/>
                    </a:lnTo>
                    <a:lnTo>
                      <a:pt x="101" y="213"/>
                    </a:lnTo>
                    <a:lnTo>
                      <a:pt x="99" y="209"/>
                    </a:lnTo>
                    <a:lnTo>
                      <a:pt x="99" y="205"/>
                    </a:lnTo>
                    <a:lnTo>
                      <a:pt x="103" y="201"/>
                    </a:lnTo>
                    <a:lnTo>
                      <a:pt x="103" y="201"/>
                    </a:lnTo>
                    <a:lnTo>
                      <a:pt x="105" y="201"/>
                    </a:lnTo>
                    <a:lnTo>
                      <a:pt x="105" y="201"/>
                    </a:lnTo>
                    <a:lnTo>
                      <a:pt x="105" y="201"/>
                    </a:lnTo>
                    <a:lnTo>
                      <a:pt x="105" y="201"/>
                    </a:lnTo>
                    <a:lnTo>
                      <a:pt x="107" y="202"/>
                    </a:lnTo>
                    <a:lnTo>
                      <a:pt x="106" y="199"/>
                    </a:lnTo>
                    <a:lnTo>
                      <a:pt x="107" y="198"/>
                    </a:lnTo>
                    <a:lnTo>
                      <a:pt x="107" y="198"/>
                    </a:lnTo>
                    <a:lnTo>
                      <a:pt x="107" y="198"/>
                    </a:lnTo>
                    <a:lnTo>
                      <a:pt x="107" y="198"/>
                    </a:lnTo>
                    <a:lnTo>
                      <a:pt x="105" y="198"/>
                    </a:lnTo>
                    <a:lnTo>
                      <a:pt x="101" y="194"/>
                    </a:lnTo>
                    <a:lnTo>
                      <a:pt x="101" y="194"/>
                    </a:lnTo>
                    <a:lnTo>
                      <a:pt x="101" y="197"/>
                    </a:lnTo>
                    <a:lnTo>
                      <a:pt x="99" y="194"/>
                    </a:lnTo>
                    <a:lnTo>
                      <a:pt x="99" y="193"/>
                    </a:lnTo>
                    <a:lnTo>
                      <a:pt x="99" y="191"/>
                    </a:lnTo>
                    <a:lnTo>
                      <a:pt x="99" y="191"/>
                    </a:lnTo>
                    <a:lnTo>
                      <a:pt x="98" y="187"/>
                    </a:lnTo>
                    <a:lnTo>
                      <a:pt x="95" y="186"/>
                    </a:lnTo>
                    <a:lnTo>
                      <a:pt x="93" y="181"/>
                    </a:lnTo>
                    <a:lnTo>
                      <a:pt x="93" y="180"/>
                    </a:lnTo>
                    <a:lnTo>
                      <a:pt x="93" y="180"/>
                    </a:lnTo>
                    <a:lnTo>
                      <a:pt x="93" y="180"/>
                    </a:lnTo>
                    <a:lnTo>
                      <a:pt x="86" y="178"/>
                    </a:lnTo>
                    <a:lnTo>
                      <a:pt x="82" y="176"/>
                    </a:lnTo>
                    <a:lnTo>
                      <a:pt x="77" y="170"/>
                    </a:lnTo>
                    <a:lnTo>
                      <a:pt x="77" y="170"/>
                    </a:lnTo>
                    <a:lnTo>
                      <a:pt x="73" y="165"/>
                    </a:lnTo>
                    <a:lnTo>
                      <a:pt x="73" y="165"/>
                    </a:lnTo>
                    <a:lnTo>
                      <a:pt x="66" y="166"/>
                    </a:lnTo>
                    <a:lnTo>
                      <a:pt x="66" y="166"/>
                    </a:lnTo>
                    <a:lnTo>
                      <a:pt x="62" y="166"/>
                    </a:lnTo>
                    <a:lnTo>
                      <a:pt x="57" y="164"/>
                    </a:lnTo>
                    <a:lnTo>
                      <a:pt x="57" y="164"/>
                    </a:lnTo>
                    <a:lnTo>
                      <a:pt x="57" y="164"/>
                    </a:lnTo>
                    <a:lnTo>
                      <a:pt x="57" y="164"/>
                    </a:lnTo>
                    <a:lnTo>
                      <a:pt x="53" y="164"/>
                    </a:lnTo>
                    <a:lnTo>
                      <a:pt x="52" y="162"/>
                    </a:lnTo>
                    <a:lnTo>
                      <a:pt x="52" y="162"/>
                    </a:lnTo>
                    <a:lnTo>
                      <a:pt x="52" y="162"/>
                    </a:lnTo>
                    <a:lnTo>
                      <a:pt x="52" y="162"/>
                    </a:lnTo>
                    <a:lnTo>
                      <a:pt x="53" y="162"/>
                    </a:lnTo>
                    <a:lnTo>
                      <a:pt x="49" y="160"/>
                    </a:lnTo>
                    <a:lnTo>
                      <a:pt x="49" y="160"/>
                    </a:lnTo>
                    <a:lnTo>
                      <a:pt x="46" y="153"/>
                    </a:lnTo>
                    <a:lnTo>
                      <a:pt x="46" y="153"/>
                    </a:lnTo>
                    <a:lnTo>
                      <a:pt x="44" y="152"/>
                    </a:lnTo>
                    <a:lnTo>
                      <a:pt x="44" y="152"/>
                    </a:lnTo>
                    <a:lnTo>
                      <a:pt x="44" y="152"/>
                    </a:lnTo>
                    <a:lnTo>
                      <a:pt x="44" y="152"/>
                    </a:lnTo>
                    <a:lnTo>
                      <a:pt x="42" y="152"/>
                    </a:lnTo>
                    <a:lnTo>
                      <a:pt x="42" y="152"/>
                    </a:lnTo>
                    <a:lnTo>
                      <a:pt x="37" y="150"/>
                    </a:lnTo>
                    <a:lnTo>
                      <a:pt x="35" y="148"/>
                    </a:lnTo>
                    <a:lnTo>
                      <a:pt x="35" y="148"/>
                    </a:lnTo>
                    <a:lnTo>
                      <a:pt x="33" y="146"/>
                    </a:lnTo>
                    <a:lnTo>
                      <a:pt x="33" y="143"/>
                    </a:lnTo>
                    <a:lnTo>
                      <a:pt x="33" y="143"/>
                    </a:lnTo>
                    <a:lnTo>
                      <a:pt x="32" y="141"/>
                    </a:lnTo>
                    <a:lnTo>
                      <a:pt x="32" y="141"/>
                    </a:lnTo>
                    <a:lnTo>
                      <a:pt x="32" y="143"/>
                    </a:lnTo>
                    <a:lnTo>
                      <a:pt x="32" y="143"/>
                    </a:lnTo>
                    <a:lnTo>
                      <a:pt x="29" y="146"/>
                    </a:lnTo>
                    <a:lnTo>
                      <a:pt x="27" y="148"/>
                    </a:lnTo>
                    <a:lnTo>
                      <a:pt x="24" y="149"/>
                    </a:lnTo>
                    <a:lnTo>
                      <a:pt x="23" y="150"/>
                    </a:lnTo>
                    <a:lnTo>
                      <a:pt x="21" y="150"/>
                    </a:lnTo>
                    <a:lnTo>
                      <a:pt x="21" y="150"/>
                    </a:lnTo>
                    <a:lnTo>
                      <a:pt x="20" y="150"/>
                    </a:lnTo>
                    <a:lnTo>
                      <a:pt x="20" y="150"/>
                    </a:lnTo>
                    <a:lnTo>
                      <a:pt x="17" y="156"/>
                    </a:lnTo>
                    <a:lnTo>
                      <a:pt x="13" y="157"/>
                    </a:lnTo>
                    <a:lnTo>
                      <a:pt x="9" y="157"/>
                    </a:lnTo>
                    <a:lnTo>
                      <a:pt x="8" y="157"/>
                    </a:lnTo>
                    <a:lnTo>
                      <a:pt x="3" y="154"/>
                    </a:lnTo>
                    <a:lnTo>
                      <a:pt x="3" y="154"/>
                    </a:lnTo>
                    <a:lnTo>
                      <a:pt x="1" y="150"/>
                    </a:lnTo>
                    <a:lnTo>
                      <a:pt x="0" y="146"/>
                    </a:lnTo>
                    <a:lnTo>
                      <a:pt x="1" y="140"/>
                    </a:lnTo>
                    <a:lnTo>
                      <a:pt x="1" y="140"/>
                    </a:lnTo>
                    <a:lnTo>
                      <a:pt x="3" y="133"/>
                    </a:lnTo>
                    <a:lnTo>
                      <a:pt x="1" y="132"/>
                    </a:lnTo>
                    <a:lnTo>
                      <a:pt x="1" y="127"/>
                    </a:lnTo>
                    <a:lnTo>
                      <a:pt x="7" y="120"/>
                    </a:lnTo>
                    <a:lnTo>
                      <a:pt x="7" y="120"/>
                    </a:lnTo>
                    <a:lnTo>
                      <a:pt x="4" y="121"/>
                    </a:lnTo>
                    <a:lnTo>
                      <a:pt x="4" y="123"/>
                    </a:lnTo>
                    <a:lnTo>
                      <a:pt x="4" y="123"/>
                    </a:lnTo>
                    <a:lnTo>
                      <a:pt x="3" y="121"/>
                    </a:lnTo>
                    <a:lnTo>
                      <a:pt x="3" y="121"/>
                    </a:lnTo>
                    <a:lnTo>
                      <a:pt x="3" y="116"/>
                    </a:lnTo>
                    <a:lnTo>
                      <a:pt x="3" y="112"/>
                    </a:lnTo>
                    <a:lnTo>
                      <a:pt x="3" y="112"/>
                    </a:lnTo>
                    <a:lnTo>
                      <a:pt x="1" y="108"/>
                    </a:lnTo>
                    <a:lnTo>
                      <a:pt x="1" y="104"/>
                    </a:lnTo>
                    <a:lnTo>
                      <a:pt x="3" y="98"/>
                    </a:lnTo>
                    <a:lnTo>
                      <a:pt x="3" y="98"/>
                    </a:lnTo>
                    <a:lnTo>
                      <a:pt x="4" y="94"/>
                    </a:lnTo>
                    <a:lnTo>
                      <a:pt x="4" y="94"/>
                    </a:lnTo>
                    <a:lnTo>
                      <a:pt x="5" y="92"/>
                    </a:lnTo>
                    <a:lnTo>
                      <a:pt x="5" y="92"/>
                    </a:lnTo>
                    <a:lnTo>
                      <a:pt x="5" y="91"/>
                    </a:lnTo>
                    <a:lnTo>
                      <a:pt x="5" y="91"/>
                    </a:lnTo>
                    <a:lnTo>
                      <a:pt x="7" y="84"/>
                    </a:lnTo>
                    <a:lnTo>
                      <a:pt x="7" y="82"/>
                    </a:lnTo>
                    <a:lnTo>
                      <a:pt x="9" y="79"/>
                    </a:lnTo>
                    <a:lnTo>
                      <a:pt x="9" y="78"/>
                    </a:lnTo>
                    <a:lnTo>
                      <a:pt x="9" y="78"/>
                    </a:lnTo>
                    <a:lnTo>
                      <a:pt x="11" y="78"/>
                    </a:lnTo>
                    <a:lnTo>
                      <a:pt x="11" y="78"/>
                    </a:lnTo>
                    <a:lnTo>
                      <a:pt x="12" y="76"/>
                    </a:lnTo>
                    <a:lnTo>
                      <a:pt x="19" y="71"/>
                    </a:lnTo>
                    <a:lnTo>
                      <a:pt x="19" y="71"/>
                    </a:lnTo>
                    <a:lnTo>
                      <a:pt x="19" y="71"/>
                    </a:lnTo>
                    <a:lnTo>
                      <a:pt x="19" y="71"/>
                    </a:lnTo>
                    <a:lnTo>
                      <a:pt x="16" y="71"/>
                    </a:lnTo>
                    <a:lnTo>
                      <a:pt x="15" y="72"/>
                    </a:lnTo>
                    <a:lnTo>
                      <a:pt x="15" y="72"/>
                    </a:lnTo>
                    <a:lnTo>
                      <a:pt x="13" y="75"/>
                    </a:lnTo>
                    <a:lnTo>
                      <a:pt x="13" y="75"/>
                    </a:lnTo>
                    <a:lnTo>
                      <a:pt x="13" y="74"/>
                    </a:lnTo>
                    <a:lnTo>
                      <a:pt x="13" y="74"/>
                    </a:lnTo>
                    <a:lnTo>
                      <a:pt x="13" y="70"/>
                    </a:lnTo>
                    <a:lnTo>
                      <a:pt x="13" y="67"/>
                    </a:lnTo>
                    <a:lnTo>
                      <a:pt x="13" y="66"/>
                    </a:lnTo>
                    <a:lnTo>
                      <a:pt x="13" y="66"/>
                    </a:lnTo>
                    <a:lnTo>
                      <a:pt x="15" y="62"/>
                    </a:lnTo>
                    <a:lnTo>
                      <a:pt x="17" y="59"/>
                    </a:lnTo>
                    <a:lnTo>
                      <a:pt x="21" y="55"/>
                    </a:lnTo>
                    <a:lnTo>
                      <a:pt x="24" y="54"/>
                    </a:lnTo>
                    <a:lnTo>
                      <a:pt x="24" y="53"/>
                    </a:lnTo>
                    <a:lnTo>
                      <a:pt x="24" y="53"/>
                    </a:lnTo>
                    <a:lnTo>
                      <a:pt x="31" y="51"/>
                    </a:lnTo>
                    <a:lnTo>
                      <a:pt x="37" y="50"/>
                    </a:lnTo>
                    <a:lnTo>
                      <a:pt x="37" y="50"/>
                    </a:lnTo>
                    <a:lnTo>
                      <a:pt x="37" y="50"/>
                    </a:lnTo>
                    <a:lnTo>
                      <a:pt x="41" y="51"/>
                    </a:lnTo>
                    <a:lnTo>
                      <a:pt x="45" y="51"/>
                    </a:lnTo>
                    <a:lnTo>
                      <a:pt x="49" y="55"/>
                    </a:lnTo>
                    <a:lnTo>
                      <a:pt x="49" y="55"/>
                    </a:lnTo>
                    <a:lnTo>
                      <a:pt x="50" y="55"/>
                    </a:lnTo>
                    <a:lnTo>
                      <a:pt x="52" y="55"/>
                    </a:lnTo>
                    <a:lnTo>
                      <a:pt x="52" y="55"/>
                    </a:lnTo>
                    <a:lnTo>
                      <a:pt x="56" y="54"/>
                    </a:lnTo>
                    <a:lnTo>
                      <a:pt x="56" y="54"/>
                    </a:lnTo>
                    <a:lnTo>
                      <a:pt x="56" y="54"/>
                    </a:lnTo>
                    <a:lnTo>
                      <a:pt x="54" y="57"/>
                    </a:lnTo>
                    <a:lnTo>
                      <a:pt x="54" y="58"/>
                    </a:lnTo>
                    <a:lnTo>
                      <a:pt x="58" y="54"/>
                    </a:lnTo>
                    <a:lnTo>
                      <a:pt x="58" y="54"/>
                    </a:lnTo>
                    <a:lnTo>
                      <a:pt x="58" y="54"/>
                    </a:lnTo>
                    <a:lnTo>
                      <a:pt x="58" y="53"/>
                    </a:lnTo>
                    <a:lnTo>
                      <a:pt x="58" y="53"/>
                    </a:lnTo>
                    <a:lnTo>
                      <a:pt x="60" y="53"/>
                    </a:lnTo>
                    <a:lnTo>
                      <a:pt x="60" y="53"/>
                    </a:lnTo>
                    <a:lnTo>
                      <a:pt x="61" y="53"/>
                    </a:lnTo>
                    <a:lnTo>
                      <a:pt x="61" y="53"/>
                    </a:lnTo>
                    <a:lnTo>
                      <a:pt x="64" y="53"/>
                    </a:lnTo>
                    <a:lnTo>
                      <a:pt x="64" y="53"/>
                    </a:lnTo>
                    <a:lnTo>
                      <a:pt x="62" y="54"/>
                    </a:lnTo>
                    <a:lnTo>
                      <a:pt x="62" y="54"/>
                    </a:lnTo>
                    <a:lnTo>
                      <a:pt x="62" y="54"/>
                    </a:lnTo>
                    <a:lnTo>
                      <a:pt x="62" y="54"/>
                    </a:lnTo>
                    <a:lnTo>
                      <a:pt x="61" y="58"/>
                    </a:lnTo>
                    <a:lnTo>
                      <a:pt x="66" y="53"/>
                    </a:lnTo>
                    <a:lnTo>
                      <a:pt x="66" y="51"/>
                    </a:lnTo>
                    <a:lnTo>
                      <a:pt x="66" y="51"/>
                    </a:lnTo>
                    <a:lnTo>
                      <a:pt x="66" y="51"/>
                    </a:lnTo>
                    <a:lnTo>
                      <a:pt x="68" y="50"/>
                    </a:lnTo>
                    <a:lnTo>
                      <a:pt x="70" y="50"/>
                    </a:lnTo>
                    <a:lnTo>
                      <a:pt x="70" y="50"/>
                    </a:lnTo>
                    <a:lnTo>
                      <a:pt x="70" y="49"/>
                    </a:lnTo>
                    <a:lnTo>
                      <a:pt x="70" y="49"/>
                    </a:lnTo>
                    <a:lnTo>
                      <a:pt x="74" y="46"/>
                    </a:lnTo>
                    <a:lnTo>
                      <a:pt x="78" y="45"/>
                    </a:lnTo>
                    <a:lnTo>
                      <a:pt x="78" y="45"/>
                    </a:lnTo>
                    <a:lnTo>
                      <a:pt x="78" y="45"/>
                    </a:lnTo>
                    <a:lnTo>
                      <a:pt x="81" y="45"/>
                    </a:lnTo>
                    <a:lnTo>
                      <a:pt x="83" y="46"/>
                    </a:lnTo>
                    <a:lnTo>
                      <a:pt x="83" y="45"/>
                    </a:lnTo>
                    <a:lnTo>
                      <a:pt x="83" y="38"/>
                    </a:lnTo>
                    <a:lnTo>
                      <a:pt x="90" y="33"/>
                    </a:lnTo>
                    <a:lnTo>
                      <a:pt x="90" y="33"/>
                    </a:lnTo>
                    <a:lnTo>
                      <a:pt x="90" y="33"/>
                    </a:lnTo>
                    <a:lnTo>
                      <a:pt x="91" y="31"/>
                    </a:lnTo>
                    <a:lnTo>
                      <a:pt x="101" y="31"/>
                    </a:lnTo>
                    <a:lnTo>
                      <a:pt x="102" y="31"/>
                    </a:lnTo>
                    <a:lnTo>
                      <a:pt x="102" y="31"/>
                    </a:lnTo>
                    <a:lnTo>
                      <a:pt x="102" y="31"/>
                    </a:lnTo>
                    <a:lnTo>
                      <a:pt x="103" y="30"/>
                    </a:lnTo>
                    <a:lnTo>
                      <a:pt x="105" y="29"/>
                    </a:lnTo>
                    <a:lnTo>
                      <a:pt x="105" y="29"/>
                    </a:lnTo>
                    <a:lnTo>
                      <a:pt x="109" y="25"/>
                    </a:lnTo>
                    <a:lnTo>
                      <a:pt x="113" y="21"/>
                    </a:lnTo>
                    <a:lnTo>
                      <a:pt x="118" y="18"/>
                    </a:lnTo>
                    <a:lnTo>
                      <a:pt x="124" y="17"/>
                    </a:lnTo>
                    <a:lnTo>
                      <a:pt x="124" y="17"/>
                    </a:lnTo>
                    <a:lnTo>
                      <a:pt x="124" y="17"/>
                    </a:lnTo>
                    <a:lnTo>
                      <a:pt x="127" y="17"/>
                    </a:lnTo>
                    <a:lnTo>
                      <a:pt x="128" y="17"/>
                    </a:lnTo>
                    <a:lnTo>
                      <a:pt x="130" y="20"/>
                    </a:lnTo>
                    <a:lnTo>
                      <a:pt x="130" y="20"/>
                    </a:lnTo>
                    <a:lnTo>
                      <a:pt x="128" y="21"/>
                    </a:lnTo>
                    <a:lnTo>
                      <a:pt x="128" y="21"/>
                    </a:lnTo>
                    <a:lnTo>
                      <a:pt x="128" y="24"/>
                    </a:lnTo>
                    <a:lnTo>
                      <a:pt x="128" y="26"/>
                    </a:lnTo>
                    <a:lnTo>
                      <a:pt x="131" y="20"/>
                    </a:lnTo>
                    <a:lnTo>
                      <a:pt x="134" y="26"/>
                    </a:lnTo>
                    <a:lnTo>
                      <a:pt x="134" y="26"/>
                    </a:lnTo>
                    <a:lnTo>
                      <a:pt x="135" y="24"/>
                    </a:lnTo>
                    <a:lnTo>
                      <a:pt x="134" y="21"/>
                    </a:lnTo>
                    <a:lnTo>
                      <a:pt x="134" y="21"/>
                    </a:lnTo>
                    <a:lnTo>
                      <a:pt x="132" y="20"/>
                    </a:lnTo>
                    <a:lnTo>
                      <a:pt x="131" y="20"/>
                    </a:lnTo>
                    <a:lnTo>
                      <a:pt x="136" y="14"/>
                    </a:lnTo>
                    <a:lnTo>
                      <a:pt x="136" y="14"/>
                    </a:lnTo>
                    <a:lnTo>
                      <a:pt x="140" y="16"/>
                    </a:lnTo>
                    <a:lnTo>
                      <a:pt x="143" y="14"/>
                    </a:lnTo>
                    <a:lnTo>
                      <a:pt x="143" y="14"/>
                    </a:lnTo>
                    <a:lnTo>
                      <a:pt x="143" y="14"/>
                    </a:lnTo>
                    <a:lnTo>
                      <a:pt x="146" y="13"/>
                    </a:lnTo>
                    <a:lnTo>
                      <a:pt x="148" y="12"/>
                    </a:lnTo>
                    <a:lnTo>
                      <a:pt x="151" y="10"/>
                    </a:lnTo>
                    <a:lnTo>
                      <a:pt x="151" y="10"/>
                    </a:lnTo>
                    <a:lnTo>
                      <a:pt x="154" y="12"/>
                    </a:lnTo>
                    <a:lnTo>
                      <a:pt x="154" y="12"/>
                    </a:lnTo>
                    <a:lnTo>
                      <a:pt x="154" y="10"/>
                    </a:lnTo>
                    <a:lnTo>
                      <a:pt x="154" y="10"/>
                    </a:lnTo>
                    <a:lnTo>
                      <a:pt x="159" y="9"/>
                    </a:lnTo>
                    <a:lnTo>
                      <a:pt x="159" y="9"/>
                    </a:lnTo>
                    <a:lnTo>
                      <a:pt x="160" y="6"/>
                    </a:lnTo>
                    <a:lnTo>
                      <a:pt x="163" y="4"/>
                    </a:lnTo>
                    <a:lnTo>
                      <a:pt x="167" y="4"/>
                    </a:lnTo>
                    <a:lnTo>
                      <a:pt x="167" y="4"/>
                    </a:lnTo>
                    <a:lnTo>
                      <a:pt x="169" y="1"/>
                    </a:lnTo>
                    <a:lnTo>
                      <a:pt x="173" y="0"/>
                    </a:lnTo>
                    <a:lnTo>
                      <a:pt x="173" y="0"/>
                    </a:lnTo>
                    <a:lnTo>
                      <a:pt x="175" y="0"/>
                    </a:lnTo>
                    <a:lnTo>
                      <a:pt x="177" y="0"/>
                    </a:lnTo>
                    <a:lnTo>
                      <a:pt x="177" y="0"/>
                    </a:lnTo>
                    <a:lnTo>
                      <a:pt x="183" y="4"/>
                    </a:lnTo>
                    <a:lnTo>
                      <a:pt x="183" y="4"/>
                    </a:lnTo>
                    <a:lnTo>
                      <a:pt x="185" y="6"/>
                    </a:lnTo>
                    <a:lnTo>
                      <a:pt x="188" y="5"/>
                    </a:lnTo>
                    <a:lnTo>
                      <a:pt x="191" y="5"/>
                    </a:lnTo>
                    <a:lnTo>
                      <a:pt x="196" y="8"/>
                    </a:lnTo>
                    <a:lnTo>
                      <a:pt x="196" y="8"/>
                    </a:lnTo>
                    <a:lnTo>
                      <a:pt x="196" y="8"/>
                    </a:lnTo>
                    <a:lnTo>
                      <a:pt x="196" y="8"/>
                    </a:lnTo>
                    <a:lnTo>
                      <a:pt x="196" y="8"/>
                    </a:lnTo>
                    <a:lnTo>
                      <a:pt x="197" y="8"/>
                    </a:lnTo>
                    <a:lnTo>
                      <a:pt x="202" y="9"/>
                    </a:lnTo>
                    <a:lnTo>
                      <a:pt x="202" y="9"/>
                    </a:lnTo>
                    <a:lnTo>
                      <a:pt x="202" y="9"/>
                    </a:lnTo>
                    <a:lnTo>
                      <a:pt x="202" y="9"/>
                    </a:lnTo>
                    <a:lnTo>
                      <a:pt x="205" y="8"/>
                    </a:lnTo>
                    <a:lnTo>
                      <a:pt x="205" y="8"/>
                    </a:lnTo>
                    <a:lnTo>
                      <a:pt x="209" y="6"/>
                    </a:lnTo>
                    <a:lnTo>
                      <a:pt x="213" y="5"/>
                    </a:lnTo>
                    <a:lnTo>
                      <a:pt x="214" y="5"/>
                    </a:lnTo>
                    <a:lnTo>
                      <a:pt x="214" y="5"/>
                    </a:lnTo>
                    <a:lnTo>
                      <a:pt x="218" y="6"/>
                    </a:lnTo>
                    <a:lnTo>
                      <a:pt x="221" y="8"/>
                    </a:lnTo>
                    <a:lnTo>
                      <a:pt x="225" y="13"/>
                    </a:lnTo>
                    <a:lnTo>
                      <a:pt x="225" y="13"/>
                    </a:lnTo>
                    <a:lnTo>
                      <a:pt x="226" y="16"/>
                    </a:lnTo>
                    <a:lnTo>
                      <a:pt x="228" y="16"/>
                    </a:lnTo>
                    <a:lnTo>
                      <a:pt x="228" y="16"/>
                    </a:lnTo>
                    <a:lnTo>
                      <a:pt x="230" y="14"/>
                    </a:lnTo>
                    <a:lnTo>
                      <a:pt x="230" y="14"/>
                    </a:lnTo>
                    <a:lnTo>
                      <a:pt x="233" y="13"/>
                    </a:lnTo>
                    <a:lnTo>
                      <a:pt x="241" y="17"/>
                    </a:lnTo>
                    <a:lnTo>
                      <a:pt x="241" y="17"/>
                    </a:lnTo>
                    <a:lnTo>
                      <a:pt x="243" y="20"/>
                    </a:lnTo>
                    <a:lnTo>
                      <a:pt x="243" y="20"/>
                    </a:lnTo>
                    <a:lnTo>
                      <a:pt x="246" y="21"/>
                    </a:lnTo>
                    <a:lnTo>
                      <a:pt x="247" y="24"/>
                    </a:lnTo>
                    <a:lnTo>
                      <a:pt x="246" y="33"/>
                    </a:lnTo>
                    <a:lnTo>
                      <a:pt x="246" y="33"/>
                    </a:lnTo>
                    <a:lnTo>
                      <a:pt x="243" y="35"/>
                    </a:lnTo>
                    <a:lnTo>
                      <a:pt x="238" y="38"/>
                    </a:lnTo>
                    <a:lnTo>
                      <a:pt x="234" y="38"/>
                    </a:lnTo>
                    <a:lnTo>
                      <a:pt x="234" y="38"/>
                    </a:lnTo>
                    <a:lnTo>
                      <a:pt x="230" y="37"/>
                    </a:lnTo>
                    <a:lnTo>
                      <a:pt x="230" y="37"/>
                    </a:lnTo>
                    <a:lnTo>
                      <a:pt x="228" y="39"/>
                    </a:lnTo>
                    <a:lnTo>
                      <a:pt x="228" y="39"/>
                    </a:lnTo>
                    <a:lnTo>
                      <a:pt x="229" y="42"/>
                    </a:lnTo>
                    <a:lnTo>
                      <a:pt x="229" y="42"/>
                    </a:lnTo>
                    <a:lnTo>
                      <a:pt x="229" y="42"/>
                    </a:lnTo>
                    <a:lnTo>
                      <a:pt x="230" y="42"/>
                    </a:lnTo>
                    <a:lnTo>
                      <a:pt x="230" y="42"/>
                    </a:lnTo>
                    <a:lnTo>
                      <a:pt x="232" y="41"/>
                    </a:lnTo>
                    <a:lnTo>
                      <a:pt x="232" y="41"/>
                    </a:lnTo>
                    <a:lnTo>
                      <a:pt x="234" y="42"/>
                    </a:lnTo>
                    <a:lnTo>
                      <a:pt x="234" y="42"/>
                    </a:lnTo>
                    <a:lnTo>
                      <a:pt x="235" y="42"/>
                    </a:lnTo>
                    <a:lnTo>
                      <a:pt x="235" y="42"/>
                    </a:lnTo>
                    <a:lnTo>
                      <a:pt x="233" y="43"/>
                    </a:lnTo>
                    <a:lnTo>
                      <a:pt x="232" y="46"/>
                    </a:lnTo>
                    <a:lnTo>
                      <a:pt x="238" y="41"/>
                    </a:lnTo>
                    <a:lnTo>
                      <a:pt x="243" y="41"/>
                    </a:lnTo>
                    <a:lnTo>
                      <a:pt x="247" y="42"/>
                    </a:lnTo>
                    <a:lnTo>
                      <a:pt x="247" y="42"/>
                    </a:lnTo>
                    <a:lnTo>
                      <a:pt x="247" y="42"/>
                    </a:lnTo>
                    <a:lnTo>
                      <a:pt x="247" y="42"/>
                    </a:lnTo>
                    <a:lnTo>
                      <a:pt x="247" y="42"/>
                    </a:lnTo>
                    <a:lnTo>
                      <a:pt x="250" y="43"/>
                    </a:lnTo>
                    <a:lnTo>
                      <a:pt x="250" y="43"/>
                    </a:lnTo>
                    <a:lnTo>
                      <a:pt x="251" y="43"/>
                    </a:lnTo>
                    <a:lnTo>
                      <a:pt x="254" y="47"/>
                    </a:lnTo>
                    <a:lnTo>
                      <a:pt x="254" y="47"/>
                    </a:lnTo>
                    <a:lnTo>
                      <a:pt x="253" y="45"/>
                    </a:lnTo>
                    <a:lnTo>
                      <a:pt x="253" y="45"/>
                    </a:lnTo>
                    <a:lnTo>
                      <a:pt x="253" y="45"/>
                    </a:lnTo>
                    <a:lnTo>
                      <a:pt x="253" y="45"/>
                    </a:lnTo>
                    <a:lnTo>
                      <a:pt x="255" y="46"/>
                    </a:lnTo>
                    <a:lnTo>
                      <a:pt x="261" y="51"/>
                    </a:lnTo>
                    <a:lnTo>
                      <a:pt x="261" y="54"/>
                    </a:lnTo>
                    <a:lnTo>
                      <a:pt x="261" y="54"/>
                    </a:lnTo>
                    <a:lnTo>
                      <a:pt x="261" y="61"/>
                    </a:lnTo>
                    <a:lnTo>
                      <a:pt x="259" y="66"/>
                    </a:lnTo>
                    <a:lnTo>
                      <a:pt x="259" y="66"/>
                    </a:lnTo>
                    <a:lnTo>
                      <a:pt x="259" y="68"/>
                    </a:lnTo>
                    <a:lnTo>
                      <a:pt x="259" y="71"/>
                    </a:lnTo>
                    <a:lnTo>
                      <a:pt x="259" y="71"/>
                    </a:lnTo>
                    <a:lnTo>
                      <a:pt x="259" y="75"/>
                    </a:lnTo>
                    <a:lnTo>
                      <a:pt x="259" y="75"/>
                    </a:lnTo>
                    <a:lnTo>
                      <a:pt x="259" y="75"/>
                    </a:lnTo>
                    <a:lnTo>
                      <a:pt x="259" y="76"/>
                    </a:lnTo>
                    <a:lnTo>
                      <a:pt x="259" y="76"/>
                    </a:lnTo>
                    <a:lnTo>
                      <a:pt x="261" y="76"/>
                    </a:lnTo>
                    <a:lnTo>
                      <a:pt x="261" y="76"/>
                    </a:lnTo>
                    <a:lnTo>
                      <a:pt x="261" y="76"/>
                    </a:lnTo>
                    <a:lnTo>
                      <a:pt x="263" y="76"/>
                    </a:lnTo>
                    <a:lnTo>
                      <a:pt x="263" y="76"/>
                    </a:lnTo>
                    <a:lnTo>
                      <a:pt x="266" y="78"/>
                    </a:lnTo>
                    <a:lnTo>
                      <a:pt x="266" y="78"/>
                    </a:lnTo>
                    <a:lnTo>
                      <a:pt x="267" y="78"/>
                    </a:lnTo>
                    <a:lnTo>
                      <a:pt x="267" y="78"/>
                    </a:lnTo>
                    <a:lnTo>
                      <a:pt x="266" y="78"/>
                    </a:lnTo>
                    <a:lnTo>
                      <a:pt x="263" y="79"/>
                    </a:lnTo>
                    <a:lnTo>
                      <a:pt x="263" y="79"/>
                    </a:lnTo>
                    <a:lnTo>
                      <a:pt x="262" y="82"/>
                    </a:lnTo>
                    <a:lnTo>
                      <a:pt x="267" y="76"/>
                    </a:lnTo>
                    <a:lnTo>
                      <a:pt x="267" y="76"/>
                    </a:lnTo>
                    <a:lnTo>
                      <a:pt x="267" y="76"/>
                    </a:lnTo>
                    <a:lnTo>
                      <a:pt x="269" y="75"/>
                    </a:lnTo>
                    <a:lnTo>
                      <a:pt x="269" y="75"/>
                    </a:lnTo>
                    <a:lnTo>
                      <a:pt x="271" y="74"/>
                    </a:lnTo>
                    <a:lnTo>
                      <a:pt x="274" y="72"/>
                    </a:lnTo>
                    <a:lnTo>
                      <a:pt x="276" y="72"/>
                    </a:lnTo>
                    <a:lnTo>
                      <a:pt x="276" y="72"/>
                    </a:lnTo>
                    <a:lnTo>
                      <a:pt x="276" y="72"/>
                    </a:lnTo>
                    <a:lnTo>
                      <a:pt x="279" y="71"/>
                    </a:lnTo>
                    <a:lnTo>
                      <a:pt x="279" y="71"/>
                    </a:lnTo>
                    <a:lnTo>
                      <a:pt x="283" y="72"/>
                    </a:lnTo>
                    <a:lnTo>
                      <a:pt x="286" y="76"/>
                    </a:lnTo>
                    <a:lnTo>
                      <a:pt x="288" y="76"/>
                    </a:lnTo>
                    <a:lnTo>
                      <a:pt x="288" y="76"/>
                    </a:lnTo>
                    <a:lnTo>
                      <a:pt x="288" y="75"/>
                    </a:lnTo>
                    <a:lnTo>
                      <a:pt x="288" y="75"/>
                    </a:lnTo>
                    <a:lnTo>
                      <a:pt x="290" y="72"/>
                    </a:lnTo>
                    <a:lnTo>
                      <a:pt x="295" y="70"/>
                    </a:lnTo>
                    <a:lnTo>
                      <a:pt x="303" y="70"/>
                    </a:lnTo>
                    <a:lnTo>
                      <a:pt x="303" y="70"/>
                    </a:lnTo>
                    <a:lnTo>
                      <a:pt x="303" y="70"/>
                    </a:lnTo>
                    <a:lnTo>
                      <a:pt x="307" y="70"/>
                    </a:lnTo>
                    <a:lnTo>
                      <a:pt x="310" y="72"/>
                    </a:lnTo>
                    <a:lnTo>
                      <a:pt x="310" y="72"/>
                    </a:lnTo>
                    <a:lnTo>
                      <a:pt x="311" y="72"/>
                    </a:lnTo>
                    <a:lnTo>
                      <a:pt x="311" y="72"/>
                    </a:lnTo>
                    <a:lnTo>
                      <a:pt x="310" y="72"/>
                    </a:lnTo>
                    <a:lnTo>
                      <a:pt x="313" y="74"/>
                    </a:lnTo>
                    <a:lnTo>
                      <a:pt x="313" y="74"/>
                    </a:lnTo>
                    <a:lnTo>
                      <a:pt x="313" y="74"/>
                    </a:lnTo>
                    <a:lnTo>
                      <a:pt x="313" y="74"/>
                    </a:lnTo>
                    <a:lnTo>
                      <a:pt x="316" y="74"/>
                    </a:lnTo>
                    <a:lnTo>
                      <a:pt x="316" y="74"/>
                    </a:lnTo>
                    <a:lnTo>
                      <a:pt x="317" y="72"/>
                    </a:lnTo>
                    <a:lnTo>
                      <a:pt x="317" y="72"/>
                    </a:lnTo>
                    <a:lnTo>
                      <a:pt x="319" y="72"/>
                    </a:lnTo>
                    <a:lnTo>
                      <a:pt x="323" y="71"/>
                    </a:lnTo>
                    <a:lnTo>
                      <a:pt x="323" y="71"/>
                    </a:lnTo>
                    <a:lnTo>
                      <a:pt x="324" y="72"/>
                    </a:lnTo>
                    <a:lnTo>
                      <a:pt x="324" y="72"/>
                    </a:lnTo>
                    <a:lnTo>
                      <a:pt x="328" y="72"/>
                    </a:lnTo>
                    <a:lnTo>
                      <a:pt x="329" y="74"/>
                    </a:lnTo>
                    <a:lnTo>
                      <a:pt x="331" y="74"/>
                    </a:lnTo>
                    <a:lnTo>
                      <a:pt x="331" y="74"/>
                    </a:lnTo>
                    <a:lnTo>
                      <a:pt x="335" y="75"/>
                    </a:lnTo>
                    <a:lnTo>
                      <a:pt x="335" y="75"/>
                    </a:lnTo>
                    <a:lnTo>
                      <a:pt x="332" y="75"/>
                    </a:lnTo>
                    <a:lnTo>
                      <a:pt x="337" y="79"/>
                    </a:lnTo>
                    <a:lnTo>
                      <a:pt x="337" y="79"/>
                    </a:lnTo>
                    <a:lnTo>
                      <a:pt x="336" y="76"/>
                    </a:lnTo>
                    <a:lnTo>
                      <a:pt x="335" y="76"/>
                    </a:lnTo>
                    <a:lnTo>
                      <a:pt x="335" y="76"/>
                    </a:lnTo>
                    <a:lnTo>
                      <a:pt x="335" y="76"/>
                    </a:lnTo>
                    <a:lnTo>
                      <a:pt x="335" y="76"/>
                    </a:lnTo>
                    <a:lnTo>
                      <a:pt x="336" y="76"/>
                    </a:lnTo>
                    <a:lnTo>
                      <a:pt x="336" y="76"/>
                    </a:lnTo>
                    <a:lnTo>
                      <a:pt x="339" y="75"/>
                    </a:lnTo>
                    <a:lnTo>
                      <a:pt x="339" y="75"/>
                    </a:lnTo>
                    <a:lnTo>
                      <a:pt x="341" y="76"/>
                    </a:lnTo>
                    <a:lnTo>
                      <a:pt x="341" y="76"/>
                    </a:lnTo>
                    <a:lnTo>
                      <a:pt x="345" y="78"/>
                    </a:lnTo>
                    <a:lnTo>
                      <a:pt x="345" y="78"/>
                    </a:lnTo>
                    <a:lnTo>
                      <a:pt x="345" y="78"/>
                    </a:lnTo>
                    <a:lnTo>
                      <a:pt x="345" y="78"/>
                    </a:lnTo>
                    <a:lnTo>
                      <a:pt x="345" y="78"/>
                    </a:lnTo>
                    <a:lnTo>
                      <a:pt x="345" y="78"/>
                    </a:lnTo>
                    <a:lnTo>
                      <a:pt x="348" y="72"/>
                    </a:lnTo>
                    <a:lnTo>
                      <a:pt x="348" y="72"/>
                    </a:lnTo>
                    <a:lnTo>
                      <a:pt x="349" y="70"/>
                    </a:lnTo>
                    <a:lnTo>
                      <a:pt x="351" y="66"/>
                    </a:lnTo>
                    <a:lnTo>
                      <a:pt x="351" y="66"/>
                    </a:lnTo>
                    <a:lnTo>
                      <a:pt x="352" y="61"/>
                    </a:lnTo>
                    <a:lnTo>
                      <a:pt x="352" y="61"/>
                    </a:lnTo>
                    <a:lnTo>
                      <a:pt x="354" y="57"/>
                    </a:lnTo>
                    <a:lnTo>
                      <a:pt x="354" y="57"/>
                    </a:lnTo>
                    <a:lnTo>
                      <a:pt x="353" y="57"/>
                    </a:lnTo>
                    <a:lnTo>
                      <a:pt x="353" y="57"/>
                    </a:lnTo>
                    <a:lnTo>
                      <a:pt x="354" y="53"/>
                    </a:lnTo>
                    <a:lnTo>
                      <a:pt x="353" y="49"/>
                    </a:lnTo>
                    <a:lnTo>
                      <a:pt x="353" y="49"/>
                    </a:lnTo>
                    <a:lnTo>
                      <a:pt x="354" y="49"/>
                    </a:lnTo>
                    <a:lnTo>
                      <a:pt x="352" y="45"/>
                    </a:lnTo>
                    <a:lnTo>
                      <a:pt x="352" y="43"/>
                    </a:lnTo>
                    <a:lnTo>
                      <a:pt x="358" y="38"/>
                    </a:lnTo>
                    <a:lnTo>
                      <a:pt x="358" y="38"/>
                    </a:lnTo>
                    <a:lnTo>
                      <a:pt x="364" y="37"/>
                    </a:lnTo>
                    <a:lnTo>
                      <a:pt x="368" y="35"/>
                    </a:lnTo>
                    <a:lnTo>
                      <a:pt x="374" y="31"/>
                    </a:lnTo>
                    <a:lnTo>
                      <a:pt x="374" y="31"/>
                    </a:lnTo>
                    <a:lnTo>
                      <a:pt x="381" y="29"/>
                    </a:lnTo>
                    <a:lnTo>
                      <a:pt x="381" y="29"/>
                    </a:lnTo>
                    <a:lnTo>
                      <a:pt x="382" y="25"/>
                    </a:lnTo>
                    <a:lnTo>
                      <a:pt x="382" y="25"/>
                    </a:lnTo>
                    <a:lnTo>
                      <a:pt x="382" y="25"/>
                    </a:lnTo>
                    <a:lnTo>
                      <a:pt x="384" y="24"/>
                    </a:lnTo>
                    <a:lnTo>
                      <a:pt x="393" y="20"/>
                    </a:lnTo>
                    <a:lnTo>
                      <a:pt x="393" y="20"/>
                    </a:lnTo>
                    <a:lnTo>
                      <a:pt x="393" y="20"/>
                    </a:lnTo>
                    <a:lnTo>
                      <a:pt x="393" y="20"/>
                    </a:lnTo>
                    <a:lnTo>
                      <a:pt x="394" y="20"/>
                    </a:lnTo>
                    <a:lnTo>
                      <a:pt x="394" y="20"/>
                    </a:lnTo>
                    <a:lnTo>
                      <a:pt x="397" y="21"/>
                    </a:lnTo>
                    <a:lnTo>
                      <a:pt x="399" y="21"/>
                    </a:lnTo>
                    <a:lnTo>
                      <a:pt x="399" y="21"/>
                    </a:lnTo>
                    <a:lnTo>
                      <a:pt x="399" y="21"/>
                    </a:lnTo>
                    <a:lnTo>
                      <a:pt x="399" y="21"/>
                    </a:lnTo>
                    <a:lnTo>
                      <a:pt x="399" y="21"/>
                    </a:lnTo>
                    <a:lnTo>
                      <a:pt x="402" y="24"/>
                    </a:lnTo>
                    <a:lnTo>
                      <a:pt x="402" y="24"/>
                    </a:lnTo>
                    <a:lnTo>
                      <a:pt x="402" y="24"/>
                    </a:lnTo>
                    <a:lnTo>
                      <a:pt x="403" y="21"/>
                    </a:lnTo>
                    <a:lnTo>
                      <a:pt x="406" y="17"/>
                    </a:lnTo>
                    <a:lnTo>
                      <a:pt x="406" y="16"/>
                    </a:lnTo>
                    <a:lnTo>
                      <a:pt x="406" y="16"/>
                    </a:lnTo>
                    <a:lnTo>
                      <a:pt x="409" y="12"/>
                    </a:lnTo>
                    <a:lnTo>
                      <a:pt x="409" y="12"/>
                    </a:lnTo>
                    <a:lnTo>
                      <a:pt x="410" y="12"/>
                    </a:lnTo>
                    <a:lnTo>
                      <a:pt x="410" y="12"/>
                    </a:lnTo>
                    <a:lnTo>
                      <a:pt x="409" y="13"/>
                    </a:lnTo>
                    <a:lnTo>
                      <a:pt x="413" y="9"/>
                    </a:lnTo>
                    <a:lnTo>
                      <a:pt x="413" y="9"/>
                    </a:lnTo>
                    <a:lnTo>
                      <a:pt x="418" y="8"/>
                    </a:lnTo>
                    <a:lnTo>
                      <a:pt x="418" y="8"/>
                    </a:lnTo>
                    <a:lnTo>
                      <a:pt x="422" y="9"/>
                    </a:lnTo>
                    <a:lnTo>
                      <a:pt x="425" y="10"/>
                    </a:lnTo>
                    <a:lnTo>
                      <a:pt x="430" y="13"/>
                    </a:lnTo>
                    <a:lnTo>
                      <a:pt x="430" y="13"/>
                    </a:lnTo>
                    <a:lnTo>
                      <a:pt x="431" y="14"/>
                    </a:lnTo>
                    <a:lnTo>
                      <a:pt x="434" y="14"/>
                    </a:lnTo>
                    <a:lnTo>
                      <a:pt x="434" y="14"/>
                    </a:lnTo>
                    <a:lnTo>
                      <a:pt x="435" y="12"/>
                    </a:lnTo>
                    <a:lnTo>
                      <a:pt x="435" y="10"/>
                    </a:lnTo>
                    <a:lnTo>
                      <a:pt x="438" y="8"/>
                    </a:lnTo>
                    <a:lnTo>
                      <a:pt x="438" y="8"/>
                    </a:lnTo>
                    <a:lnTo>
                      <a:pt x="438" y="6"/>
                    </a:lnTo>
                    <a:lnTo>
                      <a:pt x="440" y="2"/>
                    </a:lnTo>
                    <a:lnTo>
                      <a:pt x="440" y="2"/>
                    </a:lnTo>
                    <a:lnTo>
                      <a:pt x="444" y="0"/>
                    </a:lnTo>
                    <a:lnTo>
                      <a:pt x="448" y="0"/>
                    </a:lnTo>
                    <a:lnTo>
                      <a:pt x="448" y="0"/>
                    </a:lnTo>
                    <a:lnTo>
                      <a:pt x="451" y="0"/>
                    </a:lnTo>
                    <a:lnTo>
                      <a:pt x="456" y="6"/>
                    </a:lnTo>
                    <a:lnTo>
                      <a:pt x="456" y="6"/>
                    </a:lnTo>
                    <a:lnTo>
                      <a:pt x="456" y="9"/>
                    </a:lnTo>
                    <a:lnTo>
                      <a:pt x="456" y="9"/>
                    </a:lnTo>
                    <a:lnTo>
                      <a:pt x="460" y="9"/>
                    </a:lnTo>
                    <a:lnTo>
                      <a:pt x="460" y="9"/>
                    </a:lnTo>
                    <a:lnTo>
                      <a:pt x="463" y="9"/>
                    </a:lnTo>
                    <a:lnTo>
                      <a:pt x="463" y="9"/>
                    </a:lnTo>
                    <a:lnTo>
                      <a:pt x="460" y="9"/>
                    </a:lnTo>
                    <a:lnTo>
                      <a:pt x="459" y="13"/>
                    </a:lnTo>
                    <a:lnTo>
                      <a:pt x="466" y="8"/>
                    </a:lnTo>
                    <a:lnTo>
                      <a:pt x="466" y="8"/>
                    </a:lnTo>
                    <a:lnTo>
                      <a:pt x="468" y="8"/>
                    </a:lnTo>
                    <a:lnTo>
                      <a:pt x="468" y="8"/>
                    </a:lnTo>
                    <a:lnTo>
                      <a:pt x="471" y="8"/>
                    </a:lnTo>
                    <a:lnTo>
                      <a:pt x="471" y="8"/>
                    </a:lnTo>
                    <a:lnTo>
                      <a:pt x="468" y="9"/>
                    </a:lnTo>
                    <a:lnTo>
                      <a:pt x="467" y="12"/>
                    </a:lnTo>
                    <a:lnTo>
                      <a:pt x="472" y="6"/>
                    </a:lnTo>
                    <a:lnTo>
                      <a:pt x="473" y="6"/>
                    </a:lnTo>
                    <a:lnTo>
                      <a:pt x="473" y="6"/>
                    </a:lnTo>
                    <a:lnTo>
                      <a:pt x="475" y="6"/>
                    </a:lnTo>
                    <a:lnTo>
                      <a:pt x="475" y="6"/>
                    </a:lnTo>
                    <a:lnTo>
                      <a:pt x="477" y="6"/>
                    </a:lnTo>
                    <a:lnTo>
                      <a:pt x="480" y="8"/>
                    </a:lnTo>
                    <a:lnTo>
                      <a:pt x="480" y="8"/>
                    </a:lnTo>
                    <a:lnTo>
                      <a:pt x="480" y="8"/>
                    </a:lnTo>
                    <a:lnTo>
                      <a:pt x="480" y="8"/>
                    </a:lnTo>
                    <a:lnTo>
                      <a:pt x="477" y="8"/>
                    </a:lnTo>
                    <a:lnTo>
                      <a:pt x="483" y="10"/>
                    </a:lnTo>
                    <a:lnTo>
                      <a:pt x="483" y="10"/>
                    </a:lnTo>
                    <a:lnTo>
                      <a:pt x="485" y="12"/>
                    </a:lnTo>
                    <a:lnTo>
                      <a:pt x="485" y="12"/>
                    </a:lnTo>
                    <a:lnTo>
                      <a:pt x="483" y="12"/>
                    </a:lnTo>
                    <a:lnTo>
                      <a:pt x="483" y="12"/>
                    </a:lnTo>
                    <a:lnTo>
                      <a:pt x="484" y="12"/>
                    </a:lnTo>
                    <a:lnTo>
                      <a:pt x="484" y="12"/>
                    </a:lnTo>
                    <a:lnTo>
                      <a:pt x="483" y="12"/>
                    </a:lnTo>
                    <a:lnTo>
                      <a:pt x="483" y="12"/>
                    </a:lnTo>
                    <a:lnTo>
                      <a:pt x="483" y="12"/>
                    </a:lnTo>
                    <a:lnTo>
                      <a:pt x="487" y="13"/>
                    </a:lnTo>
                    <a:lnTo>
                      <a:pt x="487" y="13"/>
                    </a:lnTo>
                    <a:lnTo>
                      <a:pt x="487" y="13"/>
                    </a:lnTo>
                    <a:lnTo>
                      <a:pt x="488" y="13"/>
                    </a:lnTo>
                    <a:lnTo>
                      <a:pt x="496" y="9"/>
                    </a:lnTo>
                    <a:lnTo>
                      <a:pt x="496" y="9"/>
                    </a:lnTo>
                    <a:lnTo>
                      <a:pt x="497" y="10"/>
                    </a:lnTo>
                    <a:lnTo>
                      <a:pt x="497" y="10"/>
                    </a:lnTo>
                    <a:lnTo>
                      <a:pt x="499" y="10"/>
                    </a:lnTo>
                    <a:lnTo>
                      <a:pt x="500" y="12"/>
                    </a:lnTo>
                    <a:lnTo>
                      <a:pt x="500" y="12"/>
                    </a:lnTo>
                    <a:lnTo>
                      <a:pt x="500" y="12"/>
                    </a:lnTo>
                    <a:lnTo>
                      <a:pt x="501" y="12"/>
                    </a:lnTo>
                    <a:lnTo>
                      <a:pt x="501" y="12"/>
                    </a:lnTo>
                    <a:lnTo>
                      <a:pt x="504" y="10"/>
                    </a:lnTo>
                    <a:lnTo>
                      <a:pt x="505" y="9"/>
                    </a:lnTo>
                    <a:lnTo>
                      <a:pt x="505" y="9"/>
                    </a:lnTo>
                    <a:lnTo>
                      <a:pt x="510" y="5"/>
                    </a:lnTo>
                    <a:lnTo>
                      <a:pt x="513" y="4"/>
                    </a:lnTo>
                    <a:lnTo>
                      <a:pt x="517" y="4"/>
                    </a:lnTo>
                    <a:lnTo>
                      <a:pt x="520" y="4"/>
                    </a:lnTo>
                    <a:lnTo>
                      <a:pt x="520" y="4"/>
                    </a:lnTo>
                    <a:lnTo>
                      <a:pt x="522" y="6"/>
                    </a:lnTo>
                    <a:lnTo>
                      <a:pt x="524" y="9"/>
                    </a:lnTo>
                    <a:lnTo>
                      <a:pt x="524" y="14"/>
                    </a:lnTo>
                    <a:lnTo>
                      <a:pt x="524" y="14"/>
                    </a:lnTo>
                    <a:lnTo>
                      <a:pt x="524" y="17"/>
                    </a:lnTo>
                    <a:lnTo>
                      <a:pt x="524" y="17"/>
                    </a:lnTo>
                    <a:lnTo>
                      <a:pt x="524" y="16"/>
                    </a:lnTo>
                    <a:lnTo>
                      <a:pt x="521" y="14"/>
                    </a:lnTo>
                    <a:lnTo>
                      <a:pt x="525" y="20"/>
                    </a:lnTo>
                    <a:lnTo>
                      <a:pt x="525" y="24"/>
                    </a:lnTo>
                    <a:lnTo>
                      <a:pt x="525" y="25"/>
                    </a:lnTo>
                    <a:lnTo>
                      <a:pt x="525" y="25"/>
                    </a:lnTo>
                    <a:lnTo>
                      <a:pt x="522" y="31"/>
                    </a:lnTo>
                    <a:lnTo>
                      <a:pt x="518" y="37"/>
                    </a:lnTo>
                    <a:lnTo>
                      <a:pt x="518" y="37"/>
                    </a:lnTo>
                    <a:lnTo>
                      <a:pt x="514" y="42"/>
                    </a:lnTo>
                    <a:lnTo>
                      <a:pt x="513" y="41"/>
                    </a:lnTo>
                    <a:lnTo>
                      <a:pt x="513" y="41"/>
                    </a:lnTo>
                    <a:lnTo>
                      <a:pt x="513" y="41"/>
                    </a:lnTo>
                    <a:lnTo>
                      <a:pt x="513" y="41"/>
                    </a:lnTo>
                    <a:lnTo>
                      <a:pt x="510" y="39"/>
                    </a:lnTo>
                    <a:lnTo>
                      <a:pt x="510" y="39"/>
                    </a:lnTo>
                    <a:lnTo>
                      <a:pt x="509" y="39"/>
                    </a:lnTo>
                    <a:lnTo>
                      <a:pt x="509" y="41"/>
                    </a:lnTo>
                    <a:lnTo>
                      <a:pt x="509" y="39"/>
                    </a:lnTo>
                    <a:lnTo>
                      <a:pt x="509" y="41"/>
                    </a:lnTo>
                    <a:lnTo>
                      <a:pt x="510" y="43"/>
                    </a:lnTo>
                    <a:lnTo>
                      <a:pt x="509" y="43"/>
                    </a:lnTo>
                    <a:lnTo>
                      <a:pt x="509" y="46"/>
                    </a:lnTo>
                    <a:lnTo>
                      <a:pt x="509" y="46"/>
                    </a:lnTo>
                    <a:lnTo>
                      <a:pt x="512" y="45"/>
                    </a:lnTo>
                    <a:lnTo>
                      <a:pt x="513" y="45"/>
                    </a:lnTo>
                    <a:lnTo>
                      <a:pt x="516" y="46"/>
                    </a:lnTo>
                    <a:lnTo>
                      <a:pt x="516" y="46"/>
                    </a:lnTo>
                    <a:lnTo>
                      <a:pt x="516" y="43"/>
                    </a:lnTo>
                    <a:lnTo>
                      <a:pt x="517" y="45"/>
                    </a:lnTo>
                    <a:lnTo>
                      <a:pt x="517" y="45"/>
                    </a:lnTo>
                    <a:lnTo>
                      <a:pt x="516" y="50"/>
                    </a:lnTo>
                    <a:lnTo>
                      <a:pt x="514" y="53"/>
                    </a:lnTo>
                    <a:lnTo>
                      <a:pt x="514" y="53"/>
                    </a:lnTo>
                    <a:lnTo>
                      <a:pt x="514" y="53"/>
                    </a:lnTo>
                    <a:lnTo>
                      <a:pt x="516" y="50"/>
                    </a:lnTo>
                    <a:lnTo>
                      <a:pt x="509" y="57"/>
                    </a:lnTo>
                    <a:lnTo>
                      <a:pt x="504" y="57"/>
                    </a:lnTo>
                    <a:lnTo>
                      <a:pt x="504" y="57"/>
                    </a:lnTo>
                    <a:lnTo>
                      <a:pt x="504" y="58"/>
                    </a:lnTo>
                    <a:lnTo>
                      <a:pt x="504" y="58"/>
                    </a:lnTo>
                    <a:lnTo>
                      <a:pt x="505" y="61"/>
                    </a:lnTo>
                    <a:lnTo>
                      <a:pt x="505" y="65"/>
                    </a:lnTo>
                    <a:lnTo>
                      <a:pt x="505" y="65"/>
                    </a:lnTo>
                    <a:lnTo>
                      <a:pt x="505" y="67"/>
                    </a:lnTo>
                    <a:lnTo>
                      <a:pt x="505" y="67"/>
                    </a:lnTo>
                    <a:lnTo>
                      <a:pt x="504" y="66"/>
                    </a:lnTo>
                    <a:lnTo>
                      <a:pt x="507" y="70"/>
                    </a:lnTo>
                    <a:lnTo>
                      <a:pt x="507" y="72"/>
                    </a:lnTo>
                    <a:lnTo>
                      <a:pt x="507" y="72"/>
                    </a:lnTo>
                    <a:lnTo>
                      <a:pt x="508" y="72"/>
                    </a:lnTo>
                    <a:lnTo>
                      <a:pt x="508" y="72"/>
                    </a:lnTo>
                    <a:lnTo>
                      <a:pt x="513" y="71"/>
                    </a:lnTo>
                    <a:lnTo>
                      <a:pt x="513" y="71"/>
                    </a:lnTo>
                    <a:lnTo>
                      <a:pt x="516" y="71"/>
                    </a:lnTo>
                    <a:lnTo>
                      <a:pt x="520" y="72"/>
                    </a:lnTo>
                    <a:lnTo>
                      <a:pt x="520" y="72"/>
                    </a:lnTo>
                    <a:lnTo>
                      <a:pt x="520" y="74"/>
                    </a:lnTo>
                    <a:lnTo>
                      <a:pt x="524" y="72"/>
                    </a:lnTo>
                    <a:lnTo>
                      <a:pt x="525" y="72"/>
                    </a:lnTo>
                    <a:lnTo>
                      <a:pt x="525" y="72"/>
                    </a:lnTo>
                    <a:lnTo>
                      <a:pt x="526" y="71"/>
                    </a:lnTo>
                    <a:lnTo>
                      <a:pt x="526" y="71"/>
                    </a:lnTo>
                    <a:lnTo>
                      <a:pt x="530" y="67"/>
                    </a:lnTo>
                    <a:lnTo>
                      <a:pt x="533" y="66"/>
                    </a:lnTo>
                    <a:lnTo>
                      <a:pt x="536" y="66"/>
                    </a:lnTo>
                    <a:lnTo>
                      <a:pt x="536" y="66"/>
                    </a:lnTo>
                    <a:lnTo>
                      <a:pt x="541" y="67"/>
                    </a:lnTo>
                    <a:lnTo>
                      <a:pt x="544" y="67"/>
                    </a:lnTo>
                    <a:lnTo>
                      <a:pt x="550" y="74"/>
                    </a:lnTo>
                    <a:lnTo>
                      <a:pt x="550" y="74"/>
                    </a:lnTo>
                    <a:lnTo>
                      <a:pt x="550" y="72"/>
                    </a:lnTo>
                    <a:lnTo>
                      <a:pt x="549" y="70"/>
                    </a:lnTo>
                    <a:lnTo>
                      <a:pt x="549" y="70"/>
                    </a:lnTo>
                    <a:lnTo>
                      <a:pt x="548" y="70"/>
                    </a:lnTo>
                    <a:lnTo>
                      <a:pt x="550" y="70"/>
                    </a:lnTo>
                    <a:lnTo>
                      <a:pt x="550" y="70"/>
                    </a:lnTo>
                    <a:lnTo>
                      <a:pt x="549" y="70"/>
                    </a:lnTo>
                    <a:lnTo>
                      <a:pt x="549" y="70"/>
                    </a:lnTo>
                    <a:lnTo>
                      <a:pt x="551" y="70"/>
                    </a:lnTo>
                    <a:lnTo>
                      <a:pt x="551" y="70"/>
                    </a:lnTo>
                    <a:lnTo>
                      <a:pt x="551" y="70"/>
                    </a:lnTo>
                    <a:lnTo>
                      <a:pt x="551" y="70"/>
                    </a:lnTo>
                    <a:lnTo>
                      <a:pt x="551" y="70"/>
                    </a:lnTo>
                    <a:lnTo>
                      <a:pt x="555" y="65"/>
                    </a:lnTo>
                    <a:lnTo>
                      <a:pt x="558" y="62"/>
                    </a:lnTo>
                    <a:lnTo>
                      <a:pt x="558" y="62"/>
                    </a:lnTo>
                    <a:lnTo>
                      <a:pt x="561" y="61"/>
                    </a:lnTo>
                    <a:lnTo>
                      <a:pt x="561" y="57"/>
                    </a:lnTo>
                    <a:lnTo>
                      <a:pt x="567" y="50"/>
                    </a:lnTo>
                    <a:lnTo>
                      <a:pt x="567" y="50"/>
                    </a:lnTo>
                    <a:lnTo>
                      <a:pt x="566" y="51"/>
                    </a:lnTo>
                    <a:lnTo>
                      <a:pt x="566" y="51"/>
                    </a:lnTo>
                    <a:lnTo>
                      <a:pt x="566" y="50"/>
                    </a:lnTo>
                    <a:lnTo>
                      <a:pt x="566" y="50"/>
                    </a:lnTo>
                    <a:lnTo>
                      <a:pt x="569" y="47"/>
                    </a:lnTo>
                    <a:lnTo>
                      <a:pt x="569" y="47"/>
                    </a:lnTo>
                    <a:lnTo>
                      <a:pt x="569" y="47"/>
                    </a:lnTo>
                    <a:lnTo>
                      <a:pt x="573" y="46"/>
                    </a:lnTo>
                    <a:lnTo>
                      <a:pt x="575" y="46"/>
                    </a:lnTo>
                    <a:lnTo>
                      <a:pt x="575" y="46"/>
                    </a:lnTo>
                    <a:lnTo>
                      <a:pt x="579" y="46"/>
                    </a:lnTo>
                    <a:lnTo>
                      <a:pt x="582" y="47"/>
                    </a:lnTo>
                    <a:lnTo>
                      <a:pt x="582" y="49"/>
                    </a:lnTo>
                    <a:lnTo>
                      <a:pt x="586" y="46"/>
                    </a:lnTo>
                    <a:lnTo>
                      <a:pt x="586" y="46"/>
                    </a:lnTo>
                    <a:lnTo>
                      <a:pt x="587" y="45"/>
                    </a:lnTo>
                    <a:lnTo>
                      <a:pt x="587" y="45"/>
                    </a:lnTo>
                    <a:lnTo>
                      <a:pt x="591" y="46"/>
                    </a:lnTo>
                    <a:lnTo>
                      <a:pt x="592" y="47"/>
                    </a:lnTo>
                    <a:lnTo>
                      <a:pt x="592" y="47"/>
                    </a:lnTo>
                    <a:lnTo>
                      <a:pt x="592" y="47"/>
                    </a:lnTo>
                    <a:lnTo>
                      <a:pt x="591" y="46"/>
                    </a:lnTo>
                    <a:lnTo>
                      <a:pt x="595" y="50"/>
                    </a:lnTo>
                    <a:lnTo>
                      <a:pt x="595" y="50"/>
                    </a:lnTo>
                    <a:lnTo>
                      <a:pt x="595" y="51"/>
                    </a:lnTo>
                    <a:lnTo>
                      <a:pt x="595" y="51"/>
                    </a:lnTo>
                    <a:lnTo>
                      <a:pt x="596" y="51"/>
                    </a:lnTo>
                    <a:lnTo>
                      <a:pt x="596" y="51"/>
                    </a:lnTo>
                    <a:lnTo>
                      <a:pt x="596" y="50"/>
                    </a:lnTo>
                    <a:lnTo>
                      <a:pt x="602" y="46"/>
                    </a:lnTo>
                    <a:lnTo>
                      <a:pt x="602" y="46"/>
                    </a:lnTo>
                    <a:lnTo>
                      <a:pt x="606" y="49"/>
                    </a:lnTo>
                    <a:lnTo>
                      <a:pt x="607" y="50"/>
                    </a:lnTo>
                    <a:lnTo>
                      <a:pt x="608" y="54"/>
                    </a:lnTo>
                    <a:lnTo>
                      <a:pt x="608" y="54"/>
                    </a:lnTo>
                    <a:lnTo>
                      <a:pt x="607" y="51"/>
                    </a:lnTo>
                    <a:lnTo>
                      <a:pt x="603" y="50"/>
                    </a:lnTo>
                    <a:lnTo>
                      <a:pt x="607" y="54"/>
                    </a:lnTo>
                    <a:lnTo>
                      <a:pt x="608" y="54"/>
                    </a:lnTo>
                    <a:lnTo>
                      <a:pt x="608" y="54"/>
                    </a:lnTo>
                    <a:lnTo>
                      <a:pt x="611" y="58"/>
                    </a:lnTo>
                    <a:lnTo>
                      <a:pt x="611" y="58"/>
                    </a:lnTo>
                    <a:lnTo>
                      <a:pt x="611" y="59"/>
                    </a:lnTo>
                    <a:lnTo>
                      <a:pt x="611" y="59"/>
                    </a:lnTo>
                    <a:lnTo>
                      <a:pt x="616" y="61"/>
                    </a:lnTo>
                    <a:lnTo>
                      <a:pt x="619" y="62"/>
                    </a:lnTo>
                    <a:lnTo>
                      <a:pt x="620" y="66"/>
                    </a:lnTo>
                    <a:lnTo>
                      <a:pt x="620" y="68"/>
                    </a:lnTo>
                    <a:lnTo>
                      <a:pt x="622" y="67"/>
                    </a:lnTo>
                    <a:lnTo>
                      <a:pt x="622" y="67"/>
                    </a:lnTo>
                    <a:lnTo>
                      <a:pt x="622" y="67"/>
                    </a:lnTo>
                    <a:lnTo>
                      <a:pt x="622" y="67"/>
                    </a:lnTo>
                    <a:lnTo>
                      <a:pt x="622" y="67"/>
                    </a:lnTo>
                    <a:lnTo>
                      <a:pt x="622" y="66"/>
                    </a:lnTo>
                    <a:lnTo>
                      <a:pt x="622" y="66"/>
                    </a:lnTo>
                    <a:lnTo>
                      <a:pt x="623" y="65"/>
                    </a:lnTo>
                    <a:lnTo>
                      <a:pt x="623" y="65"/>
                    </a:lnTo>
                    <a:lnTo>
                      <a:pt x="624" y="62"/>
                    </a:lnTo>
                    <a:lnTo>
                      <a:pt x="627" y="58"/>
                    </a:lnTo>
                    <a:lnTo>
                      <a:pt x="627" y="58"/>
                    </a:lnTo>
                    <a:lnTo>
                      <a:pt x="626" y="59"/>
                    </a:lnTo>
                    <a:lnTo>
                      <a:pt x="626" y="62"/>
                    </a:lnTo>
                    <a:lnTo>
                      <a:pt x="628" y="57"/>
                    </a:lnTo>
                    <a:lnTo>
                      <a:pt x="628" y="57"/>
                    </a:lnTo>
                    <a:lnTo>
                      <a:pt x="632" y="53"/>
                    </a:lnTo>
                    <a:lnTo>
                      <a:pt x="633" y="51"/>
                    </a:lnTo>
                    <a:lnTo>
                      <a:pt x="636" y="51"/>
                    </a:lnTo>
                    <a:lnTo>
                      <a:pt x="636" y="51"/>
                    </a:lnTo>
                    <a:lnTo>
                      <a:pt x="637" y="50"/>
                    </a:lnTo>
                    <a:lnTo>
                      <a:pt x="637" y="50"/>
                    </a:lnTo>
                    <a:lnTo>
                      <a:pt x="641" y="49"/>
                    </a:lnTo>
                    <a:lnTo>
                      <a:pt x="647" y="47"/>
                    </a:lnTo>
                    <a:lnTo>
                      <a:pt x="647" y="47"/>
                    </a:lnTo>
                    <a:lnTo>
                      <a:pt x="647" y="47"/>
                    </a:lnTo>
                    <a:lnTo>
                      <a:pt x="647" y="47"/>
                    </a:lnTo>
                    <a:lnTo>
                      <a:pt x="649" y="47"/>
                    </a:lnTo>
                    <a:lnTo>
                      <a:pt x="652" y="46"/>
                    </a:lnTo>
                    <a:lnTo>
                      <a:pt x="652" y="46"/>
                    </a:lnTo>
                    <a:lnTo>
                      <a:pt x="653" y="46"/>
                    </a:lnTo>
                    <a:lnTo>
                      <a:pt x="659" y="53"/>
                    </a:lnTo>
                    <a:lnTo>
                      <a:pt x="659" y="53"/>
                    </a:lnTo>
                    <a:lnTo>
                      <a:pt x="659" y="54"/>
                    </a:lnTo>
                    <a:lnTo>
                      <a:pt x="659" y="54"/>
                    </a:lnTo>
                    <a:lnTo>
                      <a:pt x="659" y="55"/>
                    </a:lnTo>
                    <a:lnTo>
                      <a:pt x="659" y="55"/>
                    </a:lnTo>
                    <a:lnTo>
                      <a:pt x="659" y="55"/>
                    </a:lnTo>
                    <a:lnTo>
                      <a:pt x="660" y="55"/>
                    </a:lnTo>
                    <a:lnTo>
                      <a:pt x="660" y="55"/>
                    </a:lnTo>
                    <a:lnTo>
                      <a:pt x="660" y="55"/>
                    </a:lnTo>
                    <a:lnTo>
                      <a:pt x="660" y="55"/>
                    </a:lnTo>
                    <a:lnTo>
                      <a:pt x="660" y="55"/>
                    </a:lnTo>
                    <a:lnTo>
                      <a:pt x="660" y="55"/>
                    </a:lnTo>
                    <a:lnTo>
                      <a:pt x="663" y="54"/>
                    </a:lnTo>
                    <a:lnTo>
                      <a:pt x="663" y="54"/>
                    </a:lnTo>
                    <a:lnTo>
                      <a:pt x="667" y="55"/>
                    </a:lnTo>
                    <a:lnTo>
                      <a:pt x="668" y="57"/>
                    </a:lnTo>
                    <a:lnTo>
                      <a:pt x="668" y="57"/>
                    </a:lnTo>
                    <a:lnTo>
                      <a:pt x="669" y="57"/>
                    </a:lnTo>
                    <a:lnTo>
                      <a:pt x="669" y="57"/>
                    </a:lnTo>
                    <a:lnTo>
                      <a:pt x="673" y="58"/>
                    </a:lnTo>
                    <a:lnTo>
                      <a:pt x="674" y="59"/>
                    </a:lnTo>
                    <a:lnTo>
                      <a:pt x="676" y="62"/>
                    </a:lnTo>
                    <a:lnTo>
                      <a:pt x="676" y="62"/>
                    </a:lnTo>
                    <a:lnTo>
                      <a:pt x="674" y="61"/>
                    </a:lnTo>
                    <a:lnTo>
                      <a:pt x="672" y="59"/>
                    </a:lnTo>
                    <a:lnTo>
                      <a:pt x="678" y="66"/>
                    </a:lnTo>
                    <a:lnTo>
                      <a:pt x="678" y="67"/>
                    </a:lnTo>
                    <a:lnTo>
                      <a:pt x="678" y="67"/>
                    </a:lnTo>
                    <a:lnTo>
                      <a:pt x="677" y="67"/>
                    </a:lnTo>
                    <a:lnTo>
                      <a:pt x="677" y="67"/>
                    </a:lnTo>
                    <a:lnTo>
                      <a:pt x="678" y="68"/>
                    </a:lnTo>
                    <a:lnTo>
                      <a:pt x="678" y="68"/>
                    </a:lnTo>
                    <a:lnTo>
                      <a:pt x="678" y="68"/>
                    </a:lnTo>
                    <a:lnTo>
                      <a:pt x="678" y="68"/>
                    </a:lnTo>
                    <a:lnTo>
                      <a:pt x="678" y="68"/>
                    </a:lnTo>
                    <a:lnTo>
                      <a:pt x="680" y="67"/>
                    </a:lnTo>
                    <a:lnTo>
                      <a:pt x="680" y="67"/>
                    </a:lnTo>
                    <a:lnTo>
                      <a:pt x="680" y="67"/>
                    </a:lnTo>
                    <a:lnTo>
                      <a:pt x="680" y="67"/>
                    </a:lnTo>
                    <a:lnTo>
                      <a:pt x="681" y="66"/>
                    </a:lnTo>
                    <a:lnTo>
                      <a:pt x="684" y="66"/>
                    </a:lnTo>
                    <a:lnTo>
                      <a:pt x="685" y="67"/>
                    </a:lnTo>
                    <a:lnTo>
                      <a:pt x="685" y="67"/>
                    </a:lnTo>
                    <a:lnTo>
                      <a:pt x="686" y="67"/>
                    </a:lnTo>
                    <a:lnTo>
                      <a:pt x="686" y="67"/>
                    </a:lnTo>
                    <a:lnTo>
                      <a:pt x="686" y="68"/>
                    </a:lnTo>
                    <a:lnTo>
                      <a:pt x="686" y="67"/>
                    </a:lnTo>
                    <a:lnTo>
                      <a:pt x="686" y="67"/>
                    </a:lnTo>
                    <a:lnTo>
                      <a:pt x="686" y="67"/>
                    </a:lnTo>
                    <a:lnTo>
                      <a:pt x="686" y="67"/>
                    </a:lnTo>
                    <a:lnTo>
                      <a:pt x="690" y="63"/>
                    </a:lnTo>
                    <a:lnTo>
                      <a:pt x="693" y="59"/>
                    </a:lnTo>
                    <a:lnTo>
                      <a:pt x="693" y="59"/>
                    </a:lnTo>
                    <a:lnTo>
                      <a:pt x="693" y="59"/>
                    </a:lnTo>
                    <a:lnTo>
                      <a:pt x="693" y="59"/>
                    </a:lnTo>
                    <a:lnTo>
                      <a:pt x="693" y="58"/>
                    </a:lnTo>
                    <a:lnTo>
                      <a:pt x="693" y="58"/>
                    </a:lnTo>
                    <a:lnTo>
                      <a:pt x="697" y="54"/>
                    </a:lnTo>
                    <a:lnTo>
                      <a:pt x="696" y="54"/>
                    </a:lnTo>
                    <a:lnTo>
                      <a:pt x="696" y="54"/>
                    </a:lnTo>
                    <a:lnTo>
                      <a:pt x="694" y="57"/>
                    </a:lnTo>
                    <a:lnTo>
                      <a:pt x="694" y="57"/>
                    </a:lnTo>
                    <a:lnTo>
                      <a:pt x="694" y="55"/>
                    </a:lnTo>
                    <a:lnTo>
                      <a:pt x="694" y="55"/>
                    </a:lnTo>
                    <a:lnTo>
                      <a:pt x="694" y="54"/>
                    </a:lnTo>
                    <a:lnTo>
                      <a:pt x="694" y="51"/>
                    </a:lnTo>
                    <a:lnTo>
                      <a:pt x="698" y="46"/>
                    </a:lnTo>
                    <a:lnTo>
                      <a:pt x="697" y="46"/>
                    </a:lnTo>
                    <a:lnTo>
                      <a:pt x="697" y="46"/>
                    </a:lnTo>
                    <a:lnTo>
                      <a:pt x="696" y="49"/>
                    </a:lnTo>
                    <a:lnTo>
                      <a:pt x="696" y="49"/>
                    </a:lnTo>
                    <a:lnTo>
                      <a:pt x="696" y="47"/>
                    </a:lnTo>
                    <a:lnTo>
                      <a:pt x="696" y="47"/>
                    </a:lnTo>
                    <a:lnTo>
                      <a:pt x="696" y="46"/>
                    </a:lnTo>
                    <a:lnTo>
                      <a:pt x="696" y="45"/>
                    </a:lnTo>
                    <a:lnTo>
                      <a:pt x="698" y="41"/>
                    </a:lnTo>
                    <a:lnTo>
                      <a:pt x="698" y="41"/>
                    </a:lnTo>
                    <a:lnTo>
                      <a:pt x="701" y="42"/>
                    </a:lnTo>
                    <a:lnTo>
                      <a:pt x="700" y="41"/>
                    </a:lnTo>
                    <a:lnTo>
                      <a:pt x="701" y="39"/>
                    </a:lnTo>
                    <a:lnTo>
                      <a:pt x="701" y="39"/>
                    </a:lnTo>
                    <a:lnTo>
                      <a:pt x="698" y="39"/>
                    </a:lnTo>
                    <a:lnTo>
                      <a:pt x="696" y="37"/>
                    </a:lnTo>
                    <a:lnTo>
                      <a:pt x="696" y="37"/>
                    </a:lnTo>
                    <a:lnTo>
                      <a:pt x="696" y="38"/>
                    </a:lnTo>
                    <a:lnTo>
                      <a:pt x="697" y="39"/>
                    </a:lnTo>
                    <a:lnTo>
                      <a:pt x="697" y="39"/>
                    </a:lnTo>
                    <a:lnTo>
                      <a:pt x="694" y="37"/>
                    </a:lnTo>
                    <a:lnTo>
                      <a:pt x="693" y="34"/>
                    </a:lnTo>
                    <a:lnTo>
                      <a:pt x="693" y="29"/>
                    </a:lnTo>
                    <a:lnTo>
                      <a:pt x="693" y="29"/>
                    </a:lnTo>
                    <a:lnTo>
                      <a:pt x="694" y="26"/>
                    </a:lnTo>
                    <a:lnTo>
                      <a:pt x="697" y="25"/>
                    </a:lnTo>
                    <a:lnTo>
                      <a:pt x="702" y="24"/>
                    </a:lnTo>
                    <a:lnTo>
                      <a:pt x="702" y="24"/>
                    </a:lnTo>
                    <a:lnTo>
                      <a:pt x="702" y="24"/>
                    </a:lnTo>
                    <a:lnTo>
                      <a:pt x="702" y="24"/>
                    </a:lnTo>
                    <a:lnTo>
                      <a:pt x="701" y="25"/>
                    </a:lnTo>
                    <a:lnTo>
                      <a:pt x="700" y="27"/>
                    </a:lnTo>
                    <a:lnTo>
                      <a:pt x="705" y="22"/>
                    </a:lnTo>
                    <a:lnTo>
                      <a:pt x="706" y="22"/>
                    </a:lnTo>
                    <a:lnTo>
                      <a:pt x="706" y="22"/>
                    </a:lnTo>
                    <a:lnTo>
                      <a:pt x="708" y="22"/>
                    </a:lnTo>
                    <a:lnTo>
                      <a:pt x="710" y="21"/>
                    </a:lnTo>
                    <a:lnTo>
                      <a:pt x="710" y="21"/>
                    </a:lnTo>
                    <a:lnTo>
                      <a:pt x="713" y="18"/>
                    </a:lnTo>
                    <a:lnTo>
                      <a:pt x="717" y="17"/>
                    </a:lnTo>
                    <a:lnTo>
                      <a:pt x="719" y="16"/>
                    </a:lnTo>
                    <a:lnTo>
                      <a:pt x="722" y="16"/>
                    </a:lnTo>
                    <a:lnTo>
                      <a:pt x="722" y="16"/>
                    </a:lnTo>
                    <a:lnTo>
                      <a:pt x="723" y="13"/>
                    </a:lnTo>
                    <a:lnTo>
                      <a:pt x="727" y="12"/>
                    </a:lnTo>
                    <a:lnTo>
                      <a:pt x="730" y="12"/>
                    </a:lnTo>
                    <a:lnTo>
                      <a:pt x="735" y="16"/>
                    </a:lnTo>
                    <a:lnTo>
                      <a:pt x="734" y="14"/>
                    </a:lnTo>
                    <a:lnTo>
                      <a:pt x="734" y="14"/>
                    </a:lnTo>
                    <a:lnTo>
                      <a:pt x="735" y="13"/>
                    </a:lnTo>
                    <a:lnTo>
                      <a:pt x="735" y="13"/>
                    </a:lnTo>
                    <a:lnTo>
                      <a:pt x="733" y="13"/>
                    </a:lnTo>
                    <a:lnTo>
                      <a:pt x="734" y="13"/>
                    </a:lnTo>
                    <a:lnTo>
                      <a:pt x="734" y="13"/>
                    </a:lnTo>
                    <a:lnTo>
                      <a:pt x="738" y="14"/>
                    </a:lnTo>
                    <a:lnTo>
                      <a:pt x="738" y="14"/>
                    </a:lnTo>
                    <a:lnTo>
                      <a:pt x="742" y="16"/>
                    </a:lnTo>
                    <a:lnTo>
                      <a:pt x="742" y="16"/>
                    </a:lnTo>
                    <a:lnTo>
                      <a:pt x="741" y="16"/>
                    </a:lnTo>
                    <a:lnTo>
                      <a:pt x="747" y="21"/>
                    </a:lnTo>
                    <a:lnTo>
                      <a:pt x="747" y="21"/>
                    </a:lnTo>
                    <a:lnTo>
                      <a:pt x="747" y="21"/>
                    </a:lnTo>
                    <a:lnTo>
                      <a:pt x="746" y="18"/>
                    </a:lnTo>
                    <a:lnTo>
                      <a:pt x="746" y="18"/>
                    </a:lnTo>
                    <a:lnTo>
                      <a:pt x="746" y="18"/>
                    </a:lnTo>
                    <a:lnTo>
                      <a:pt x="746" y="18"/>
                    </a:lnTo>
                    <a:lnTo>
                      <a:pt x="745" y="17"/>
                    </a:lnTo>
                    <a:lnTo>
                      <a:pt x="743" y="17"/>
                    </a:lnTo>
                    <a:lnTo>
                      <a:pt x="743" y="17"/>
                    </a:lnTo>
                    <a:lnTo>
                      <a:pt x="745" y="16"/>
                    </a:lnTo>
                    <a:lnTo>
                      <a:pt x="745" y="16"/>
                    </a:lnTo>
                    <a:lnTo>
                      <a:pt x="747" y="16"/>
                    </a:lnTo>
                    <a:lnTo>
                      <a:pt x="747" y="16"/>
                    </a:lnTo>
                    <a:lnTo>
                      <a:pt x="748" y="16"/>
                    </a:lnTo>
                    <a:lnTo>
                      <a:pt x="748" y="16"/>
                    </a:lnTo>
                    <a:lnTo>
                      <a:pt x="748" y="16"/>
                    </a:lnTo>
                    <a:lnTo>
                      <a:pt x="748" y="16"/>
                    </a:lnTo>
                    <a:lnTo>
                      <a:pt x="751" y="16"/>
                    </a:lnTo>
                    <a:lnTo>
                      <a:pt x="751" y="16"/>
                    </a:lnTo>
                    <a:lnTo>
                      <a:pt x="752" y="17"/>
                    </a:lnTo>
                    <a:lnTo>
                      <a:pt x="752" y="17"/>
                    </a:lnTo>
                    <a:lnTo>
                      <a:pt x="751" y="17"/>
                    </a:lnTo>
                    <a:lnTo>
                      <a:pt x="750" y="18"/>
                    </a:lnTo>
                    <a:lnTo>
                      <a:pt x="750" y="18"/>
                    </a:lnTo>
                    <a:lnTo>
                      <a:pt x="750" y="18"/>
                    </a:lnTo>
                    <a:lnTo>
                      <a:pt x="748" y="21"/>
                    </a:lnTo>
                    <a:lnTo>
                      <a:pt x="748" y="21"/>
                    </a:lnTo>
                    <a:lnTo>
                      <a:pt x="748" y="21"/>
                    </a:lnTo>
                    <a:lnTo>
                      <a:pt x="755" y="14"/>
                    </a:lnTo>
                    <a:lnTo>
                      <a:pt x="756" y="14"/>
                    </a:lnTo>
                    <a:lnTo>
                      <a:pt x="762" y="18"/>
                    </a:lnTo>
                    <a:lnTo>
                      <a:pt x="762" y="18"/>
                    </a:lnTo>
                    <a:lnTo>
                      <a:pt x="762" y="18"/>
                    </a:lnTo>
                    <a:lnTo>
                      <a:pt x="763" y="18"/>
                    </a:lnTo>
                    <a:lnTo>
                      <a:pt x="763" y="18"/>
                    </a:lnTo>
                    <a:lnTo>
                      <a:pt x="764" y="20"/>
                    </a:lnTo>
                    <a:lnTo>
                      <a:pt x="764" y="20"/>
                    </a:lnTo>
                    <a:lnTo>
                      <a:pt x="767" y="18"/>
                    </a:lnTo>
                    <a:lnTo>
                      <a:pt x="770" y="14"/>
                    </a:lnTo>
                    <a:lnTo>
                      <a:pt x="774" y="12"/>
                    </a:lnTo>
                    <a:lnTo>
                      <a:pt x="775" y="12"/>
                    </a:lnTo>
                    <a:lnTo>
                      <a:pt x="775" y="12"/>
                    </a:lnTo>
                    <a:lnTo>
                      <a:pt x="779" y="12"/>
                    </a:lnTo>
                    <a:lnTo>
                      <a:pt x="782" y="13"/>
                    </a:lnTo>
                    <a:lnTo>
                      <a:pt x="782" y="13"/>
                    </a:lnTo>
                    <a:lnTo>
                      <a:pt x="783" y="13"/>
                    </a:lnTo>
                    <a:lnTo>
                      <a:pt x="786" y="13"/>
                    </a:lnTo>
                    <a:lnTo>
                      <a:pt x="797" y="13"/>
                    </a:lnTo>
                    <a:lnTo>
                      <a:pt x="803" y="14"/>
                    </a:lnTo>
                    <a:lnTo>
                      <a:pt x="803" y="14"/>
                    </a:lnTo>
                    <a:lnTo>
                      <a:pt x="807" y="22"/>
                    </a:lnTo>
                    <a:lnTo>
                      <a:pt x="808" y="22"/>
                    </a:lnTo>
                    <a:lnTo>
                      <a:pt x="808" y="22"/>
                    </a:lnTo>
                    <a:lnTo>
                      <a:pt x="811" y="21"/>
                    </a:lnTo>
                    <a:lnTo>
                      <a:pt x="815" y="21"/>
                    </a:lnTo>
                    <a:lnTo>
                      <a:pt x="817" y="21"/>
                    </a:lnTo>
                    <a:lnTo>
                      <a:pt x="820" y="21"/>
                    </a:lnTo>
                    <a:lnTo>
                      <a:pt x="824" y="22"/>
                    </a:lnTo>
                    <a:lnTo>
                      <a:pt x="824" y="22"/>
                    </a:lnTo>
                    <a:lnTo>
                      <a:pt x="826" y="24"/>
                    </a:lnTo>
                    <a:lnTo>
                      <a:pt x="828" y="26"/>
                    </a:lnTo>
                    <a:lnTo>
                      <a:pt x="828" y="26"/>
                    </a:lnTo>
                    <a:lnTo>
                      <a:pt x="828" y="26"/>
                    </a:lnTo>
                    <a:lnTo>
                      <a:pt x="829" y="26"/>
                    </a:lnTo>
                    <a:lnTo>
                      <a:pt x="829" y="26"/>
                    </a:lnTo>
                    <a:lnTo>
                      <a:pt x="834" y="30"/>
                    </a:lnTo>
                    <a:lnTo>
                      <a:pt x="837" y="34"/>
                    </a:lnTo>
                    <a:lnTo>
                      <a:pt x="837" y="34"/>
                    </a:lnTo>
                    <a:lnTo>
                      <a:pt x="841" y="37"/>
                    </a:lnTo>
                    <a:lnTo>
                      <a:pt x="844" y="42"/>
                    </a:lnTo>
                    <a:lnTo>
                      <a:pt x="844" y="42"/>
                    </a:lnTo>
                    <a:lnTo>
                      <a:pt x="844" y="42"/>
                    </a:lnTo>
                    <a:lnTo>
                      <a:pt x="844" y="42"/>
                    </a:lnTo>
                    <a:lnTo>
                      <a:pt x="844" y="42"/>
                    </a:lnTo>
                    <a:lnTo>
                      <a:pt x="844" y="42"/>
                    </a:lnTo>
                    <a:lnTo>
                      <a:pt x="846" y="45"/>
                    </a:lnTo>
                    <a:lnTo>
                      <a:pt x="848" y="45"/>
                    </a:lnTo>
                    <a:lnTo>
                      <a:pt x="848" y="45"/>
                    </a:lnTo>
                    <a:lnTo>
                      <a:pt x="852" y="42"/>
                    </a:lnTo>
                    <a:lnTo>
                      <a:pt x="857" y="41"/>
                    </a:lnTo>
                    <a:lnTo>
                      <a:pt x="857" y="41"/>
                    </a:lnTo>
                    <a:lnTo>
                      <a:pt x="860" y="41"/>
                    </a:lnTo>
                    <a:lnTo>
                      <a:pt x="864" y="42"/>
                    </a:lnTo>
                    <a:lnTo>
                      <a:pt x="865" y="43"/>
                    </a:lnTo>
                    <a:lnTo>
                      <a:pt x="873" y="43"/>
                    </a:lnTo>
                    <a:lnTo>
                      <a:pt x="874" y="43"/>
                    </a:lnTo>
                    <a:lnTo>
                      <a:pt x="874" y="43"/>
                    </a:lnTo>
                    <a:lnTo>
                      <a:pt x="878" y="45"/>
                    </a:lnTo>
                    <a:lnTo>
                      <a:pt x="878" y="45"/>
                    </a:lnTo>
                    <a:lnTo>
                      <a:pt x="875" y="45"/>
                    </a:lnTo>
                    <a:lnTo>
                      <a:pt x="881" y="47"/>
                    </a:lnTo>
                    <a:lnTo>
                      <a:pt x="881" y="47"/>
                    </a:lnTo>
                    <a:lnTo>
                      <a:pt x="882" y="49"/>
                    </a:lnTo>
                    <a:lnTo>
                      <a:pt x="882" y="49"/>
                    </a:lnTo>
                    <a:lnTo>
                      <a:pt x="886" y="53"/>
                    </a:lnTo>
                    <a:lnTo>
                      <a:pt x="889" y="55"/>
                    </a:lnTo>
                    <a:lnTo>
                      <a:pt x="890" y="58"/>
                    </a:lnTo>
                    <a:lnTo>
                      <a:pt x="890" y="58"/>
                    </a:lnTo>
                    <a:lnTo>
                      <a:pt x="891" y="62"/>
                    </a:lnTo>
                    <a:lnTo>
                      <a:pt x="891" y="62"/>
                    </a:lnTo>
                    <a:lnTo>
                      <a:pt x="894" y="66"/>
                    </a:lnTo>
                    <a:lnTo>
                      <a:pt x="894" y="66"/>
                    </a:lnTo>
                    <a:lnTo>
                      <a:pt x="897" y="68"/>
                    </a:lnTo>
                    <a:lnTo>
                      <a:pt x="897" y="71"/>
                    </a:lnTo>
                    <a:lnTo>
                      <a:pt x="897" y="71"/>
                    </a:lnTo>
                    <a:lnTo>
                      <a:pt x="902" y="78"/>
                    </a:lnTo>
                    <a:lnTo>
                      <a:pt x="908" y="83"/>
                    </a:lnTo>
                    <a:lnTo>
                      <a:pt x="911" y="86"/>
                    </a:lnTo>
                    <a:lnTo>
                      <a:pt x="912" y="87"/>
                    </a:lnTo>
                    <a:lnTo>
                      <a:pt x="912" y="87"/>
                    </a:lnTo>
                    <a:lnTo>
                      <a:pt x="912" y="87"/>
                    </a:lnTo>
                    <a:lnTo>
                      <a:pt x="912" y="87"/>
                    </a:lnTo>
                    <a:lnTo>
                      <a:pt x="916" y="90"/>
                    </a:lnTo>
                    <a:lnTo>
                      <a:pt x="916" y="95"/>
                    </a:lnTo>
                    <a:lnTo>
                      <a:pt x="916" y="96"/>
                    </a:lnTo>
                    <a:lnTo>
                      <a:pt x="912" y="102"/>
                    </a:lnTo>
                    <a:lnTo>
                      <a:pt x="912" y="102"/>
                    </a:lnTo>
                    <a:lnTo>
                      <a:pt x="914" y="100"/>
                    </a:lnTo>
                    <a:lnTo>
                      <a:pt x="914" y="100"/>
                    </a:lnTo>
                    <a:lnTo>
                      <a:pt x="914" y="103"/>
                    </a:lnTo>
                    <a:lnTo>
                      <a:pt x="916" y="107"/>
                    </a:lnTo>
                    <a:lnTo>
                      <a:pt x="916" y="109"/>
                    </a:lnTo>
                    <a:lnTo>
                      <a:pt x="916" y="111"/>
                    </a:lnTo>
                    <a:lnTo>
                      <a:pt x="916" y="111"/>
                    </a:lnTo>
                    <a:lnTo>
                      <a:pt x="916" y="115"/>
                    </a:lnTo>
                    <a:lnTo>
                      <a:pt x="915" y="117"/>
                    </a:lnTo>
                    <a:lnTo>
                      <a:pt x="910" y="123"/>
                    </a:lnTo>
                    <a:lnTo>
                      <a:pt x="908" y="123"/>
                    </a:lnTo>
                    <a:lnTo>
                      <a:pt x="908" y="123"/>
                    </a:lnTo>
                    <a:lnTo>
                      <a:pt x="906" y="123"/>
                    </a:lnTo>
                    <a:lnTo>
                      <a:pt x="903" y="124"/>
                    </a:lnTo>
                    <a:lnTo>
                      <a:pt x="903" y="124"/>
                    </a:lnTo>
                    <a:lnTo>
                      <a:pt x="902" y="128"/>
                    </a:lnTo>
                    <a:lnTo>
                      <a:pt x="901" y="132"/>
                    </a:lnTo>
                    <a:lnTo>
                      <a:pt x="901" y="143"/>
                    </a:lnTo>
                    <a:lnTo>
                      <a:pt x="901" y="143"/>
                    </a:lnTo>
                    <a:lnTo>
                      <a:pt x="901" y="149"/>
                    </a:lnTo>
                    <a:lnTo>
                      <a:pt x="901" y="149"/>
                    </a:lnTo>
                    <a:lnTo>
                      <a:pt x="902" y="150"/>
                    </a:lnTo>
                    <a:lnTo>
                      <a:pt x="905" y="153"/>
                    </a:lnTo>
                    <a:lnTo>
                      <a:pt x="905" y="153"/>
                    </a:lnTo>
                    <a:lnTo>
                      <a:pt x="907" y="162"/>
                    </a:lnTo>
                    <a:lnTo>
                      <a:pt x="907" y="166"/>
                    </a:lnTo>
                    <a:lnTo>
                      <a:pt x="906" y="170"/>
                    </a:lnTo>
                    <a:lnTo>
                      <a:pt x="906" y="170"/>
                    </a:lnTo>
                    <a:lnTo>
                      <a:pt x="906" y="172"/>
                    </a:lnTo>
                    <a:lnTo>
                      <a:pt x="906" y="172"/>
                    </a:lnTo>
                    <a:lnTo>
                      <a:pt x="905" y="176"/>
                    </a:lnTo>
                    <a:lnTo>
                      <a:pt x="903" y="180"/>
                    </a:lnTo>
                    <a:lnTo>
                      <a:pt x="903" y="180"/>
                    </a:lnTo>
                    <a:lnTo>
                      <a:pt x="905" y="183"/>
                    </a:lnTo>
                    <a:lnTo>
                      <a:pt x="905" y="187"/>
                    </a:lnTo>
                    <a:lnTo>
                      <a:pt x="901" y="191"/>
                    </a:lnTo>
                    <a:lnTo>
                      <a:pt x="901" y="191"/>
                    </a:lnTo>
                    <a:lnTo>
                      <a:pt x="898" y="191"/>
                    </a:lnTo>
                    <a:lnTo>
                      <a:pt x="898" y="191"/>
                    </a:lnTo>
                    <a:lnTo>
                      <a:pt x="895" y="191"/>
                    </a:lnTo>
                    <a:lnTo>
                      <a:pt x="893" y="190"/>
                    </a:lnTo>
                    <a:lnTo>
                      <a:pt x="891" y="187"/>
                    </a:lnTo>
                    <a:lnTo>
                      <a:pt x="891" y="187"/>
                    </a:lnTo>
                    <a:lnTo>
                      <a:pt x="893" y="189"/>
                    </a:lnTo>
                    <a:lnTo>
                      <a:pt x="895" y="189"/>
                    </a:lnTo>
                    <a:lnTo>
                      <a:pt x="890" y="183"/>
                    </a:lnTo>
                    <a:lnTo>
                      <a:pt x="890" y="183"/>
                    </a:lnTo>
                    <a:lnTo>
                      <a:pt x="890" y="183"/>
                    </a:lnTo>
                    <a:lnTo>
                      <a:pt x="887" y="182"/>
                    </a:lnTo>
                    <a:lnTo>
                      <a:pt x="885" y="181"/>
                    </a:lnTo>
                    <a:lnTo>
                      <a:pt x="885" y="181"/>
                    </a:lnTo>
                    <a:lnTo>
                      <a:pt x="885" y="183"/>
                    </a:lnTo>
                    <a:lnTo>
                      <a:pt x="883" y="186"/>
                    </a:lnTo>
                    <a:lnTo>
                      <a:pt x="881" y="190"/>
                    </a:lnTo>
                    <a:lnTo>
                      <a:pt x="881" y="190"/>
                    </a:lnTo>
                    <a:lnTo>
                      <a:pt x="881" y="189"/>
                    </a:lnTo>
                    <a:lnTo>
                      <a:pt x="881" y="189"/>
                    </a:lnTo>
                    <a:lnTo>
                      <a:pt x="881" y="190"/>
                    </a:lnTo>
                    <a:lnTo>
                      <a:pt x="881" y="190"/>
                    </a:lnTo>
                    <a:lnTo>
                      <a:pt x="881" y="195"/>
                    </a:lnTo>
                    <a:lnTo>
                      <a:pt x="878" y="198"/>
                    </a:lnTo>
                    <a:lnTo>
                      <a:pt x="878" y="198"/>
                    </a:lnTo>
                    <a:lnTo>
                      <a:pt x="878" y="202"/>
                    </a:lnTo>
                    <a:lnTo>
                      <a:pt x="878" y="205"/>
                    </a:lnTo>
                    <a:lnTo>
                      <a:pt x="878" y="205"/>
                    </a:lnTo>
                    <a:lnTo>
                      <a:pt x="877" y="207"/>
                    </a:lnTo>
                    <a:lnTo>
                      <a:pt x="877" y="209"/>
                    </a:lnTo>
                    <a:lnTo>
                      <a:pt x="874" y="214"/>
                    </a:lnTo>
                    <a:lnTo>
                      <a:pt x="874" y="214"/>
                    </a:lnTo>
                    <a:lnTo>
                      <a:pt x="875" y="213"/>
                    </a:lnTo>
                    <a:lnTo>
                      <a:pt x="875" y="213"/>
                    </a:lnTo>
                    <a:lnTo>
                      <a:pt x="874" y="214"/>
                    </a:lnTo>
                    <a:lnTo>
                      <a:pt x="874" y="215"/>
                    </a:lnTo>
                    <a:lnTo>
                      <a:pt x="873" y="217"/>
                    </a:lnTo>
                    <a:lnTo>
                      <a:pt x="873" y="217"/>
                    </a:lnTo>
                    <a:lnTo>
                      <a:pt x="873" y="221"/>
                    </a:lnTo>
                    <a:lnTo>
                      <a:pt x="871" y="223"/>
                    </a:lnTo>
                    <a:lnTo>
                      <a:pt x="869" y="224"/>
                    </a:lnTo>
                    <a:lnTo>
                      <a:pt x="867" y="224"/>
                    </a:lnTo>
                    <a:lnTo>
                      <a:pt x="866" y="224"/>
                    </a:lnTo>
                    <a:lnTo>
                      <a:pt x="865" y="224"/>
                    </a:lnTo>
                    <a:lnTo>
                      <a:pt x="864" y="224"/>
                    </a:lnTo>
                    <a:lnTo>
                      <a:pt x="864" y="224"/>
                    </a:lnTo>
                    <a:lnTo>
                      <a:pt x="861" y="228"/>
                    </a:lnTo>
                    <a:lnTo>
                      <a:pt x="861" y="228"/>
                    </a:lnTo>
                    <a:lnTo>
                      <a:pt x="857" y="232"/>
                    </a:lnTo>
                    <a:lnTo>
                      <a:pt x="852" y="236"/>
                    </a:lnTo>
                    <a:lnTo>
                      <a:pt x="849" y="236"/>
                    </a:lnTo>
                    <a:lnTo>
                      <a:pt x="849" y="236"/>
                    </a:lnTo>
                    <a:lnTo>
                      <a:pt x="849" y="236"/>
                    </a:lnTo>
                    <a:lnTo>
                      <a:pt x="848" y="236"/>
                    </a:lnTo>
                    <a:lnTo>
                      <a:pt x="848" y="236"/>
                    </a:lnTo>
                    <a:lnTo>
                      <a:pt x="841" y="239"/>
                    </a:lnTo>
                    <a:lnTo>
                      <a:pt x="837" y="242"/>
                    </a:lnTo>
                    <a:lnTo>
                      <a:pt x="837" y="242"/>
                    </a:lnTo>
                    <a:lnTo>
                      <a:pt x="837" y="242"/>
                    </a:lnTo>
                    <a:lnTo>
                      <a:pt x="837" y="242"/>
                    </a:lnTo>
                    <a:lnTo>
                      <a:pt x="834" y="246"/>
                    </a:lnTo>
                    <a:lnTo>
                      <a:pt x="832" y="247"/>
                    </a:lnTo>
                    <a:lnTo>
                      <a:pt x="829" y="248"/>
                    </a:lnTo>
                    <a:lnTo>
                      <a:pt x="826" y="248"/>
                    </a:lnTo>
                    <a:lnTo>
                      <a:pt x="824" y="247"/>
                    </a:lnTo>
                    <a:lnTo>
                      <a:pt x="824" y="247"/>
                    </a:lnTo>
                    <a:lnTo>
                      <a:pt x="823" y="247"/>
                    </a:lnTo>
                    <a:lnTo>
                      <a:pt x="823" y="247"/>
                    </a:lnTo>
                    <a:lnTo>
                      <a:pt x="820" y="248"/>
                    </a:lnTo>
                    <a:lnTo>
                      <a:pt x="817" y="251"/>
                    </a:lnTo>
                    <a:lnTo>
                      <a:pt x="817" y="251"/>
                    </a:lnTo>
                    <a:lnTo>
                      <a:pt x="815" y="254"/>
                    </a:lnTo>
                    <a:lnTo>
                      <a:pt x="811" y="256"/>
                    </a:lnTo>
                    <a:lnTo>
                      <a:pt x="808" y="256"/>
                    </a:lnTo>
                    <a:lnTo>
                      <a:pt x="807" y="256"/>
                    </a:lnTo>
                    <a:lnTo>
                      <a:pt x="804" y="256"/>
                    </a:lnTo>
                    <a:lnTo>
                      <a:pt x="804" y="256"/>
                    </a:lnTo>
                    <a:lnTo>
                      <a:pt x="797" y="252"/>
                    </a:lnTo>
                    <a:lnTo>
                      <a:pt x="797" y="252"/>
                    </a:lnTo>
                    <a:lnTo>
                      <a:pt x="795" y="250"/>
                    </a:lnTo>
                    <a:lnTo>
                      <a:pt x="795" y="250"/>
                    </a:lnTo>
                    <a:lnTo>
                      <a:pt x="793" y="252"/>
                    </a:lnTo>
                    <a:lnTo>
                      <a:pt x="792" y="258"/>
                    </a:lnTo>
                    <a:lnTo>
                      <a:pt x="783" y="262"/>
                    </a:lnTo>
                    <a:lnTo>
                      <a:pt x="783" y="262"/>
                    </a:lnTo>
                    <a:lnTo>
                      <a:pt x="779" y="259"/>
                    </a:lnTo>
                    <a:lnTo>
                      <a:pt x="779" y="259"/>
                    </a:lnTo>
                    <a:lnTo>
                      <a:pt x="776" y="258"/>
                    </a:lnTo>
                    <a:lnTo>
                      <a:pt x="774" y="256"/>
                    </a:lnTo>
                    <a:lnTo>
                      <a:pt x="774" y="256"/>
                    </a:lnTo>
                    <a:lnTo>
                      <a:pt x="774" y="256"/>
                    </a:lnTo>
                    <a:lnTo>
                      <a:pt x="774" y="256"/>
                    </a:lnTo>
                    <a:lnTo>
                      <a:pt x="772" y="259"/>
                    </a:lnTo>
                    <a:lnTo>
                      <a:pt x="771" y="262"/>
                    </a:lnTo>
                    <a:lnTo>
                      <a:pt x="771" y="262"/>
                    </a:lnTo>
                    <a:lnTo>
                      <a:pt x="771" y="260"/>
                    </a:lnTo>
                    <a:lnTo>
                      <a:pt x="772" y="263"/>
                    </a:lnTo>
                    <a:lnTo>
                      <a:pt x="772" y="263"/>
                    </a:lnTo>
                    <a:lnTo>
                      <a:pt x="772" y="267"/>
                    </a:lnTo>
                    <a:lnTo>
                      <a:pt x="772" y="267"/>
                    </a:lnTo>
                    <a:lnTo>
                      <a:pt x="775" y="268"/>
                    </a:lnTo>
                    <a:lnTo>
                      <a:pt x="779" y="275"/>
                    </a:lnTo>
                    <a:lnTo>
                      <a:pt x="779" y="275"/>
                    </a:lnTo>
                    <a:lnTo>
                      <a:pt x="778" y="279"/>
                    </a:lnTo>
                    <a:lnTo>
                      <a:pt x="778" y="279"/>
                    </a:lnTo>
                    <a:lnTo>
                      <a:pt x="778" y="276"/>
                    </a:lnTo>
                    <a:lnTo>
                      <a:pt x="776" y="277"/>
                    </a:lnTo>
                    <a:lnTo>
                      <a:pt x="776" y="277"/>
                    </a:lnTo>
                    <a:lnTo>
                      <a:pt x="775" y="276"/>
                    </a:lnTo>
                    <a:lnTo>
                      <a:pt x="772" y="275"/>
                    </a:lnTo>
                    <a:lnTo>
                      <a:pt x="772" y="277"/>
                    </a:lnTo>
                    <a:lnTo>
                      <a:pt x="772" y="276"/>
                    </a:lnTo>
                    <a:lnTo>
                      <a:pt x="772" y="277"/>
                    </a:lnTo>
                    <a:lnTo>
                      <a:pt x="775" y="279"/>
                    </a:lnTo>
                    <a:lnTo>
                      <a:pt x="772" y="280"/>
                    </a:lnTo>
                    <a:lnTo>
                      <a:pt x="772" y="281"/>
                    </a:lnTo>
                    <a:lnTo>
                      <a:pt x="772" y="281"/>
                    </a:lnTo>
                    <a:lnTo>
                      <a:pt x="775" y="281"/>
                    </a:lnTo>
                    <a:lnTo>
                      <a:pt x="776" y="280"/>
                    </a:lnTo>
                    <a:lnTo>
                      <a:pt x="778" y="281"/>
                    </a:lnTo>
                    <a:lnTo>
                      <a:pt x="778" y="283"/>
                    </a:lnTo>
                    <a:lnTo>
                      <a:pt x="772" y="288"/>
                    </a:lnTo>
                    <a:lnTo>
                      <a:pt x="772" y="288"/>
                    </a:lnTo>
                    <a:lnTo>
                      <a:pt x="774" y="288"/>
                    </a:lnTo>
                    <a:lnTo>
                      <a:pt x="775" y="287"/>
                    </a:lnTo>
                    <a:lnTo>
                      <a:pt x="775" y="288"/>
                    </a:lnTo>
                    <a:lnTo>
                      <a:pt x="775" y="288"/>
                    </a:lnTo>
                    <a:lnTo>
                      <a:pt x="772" y="291"/>
                    </a:lnTo>
                    <a:lnTo>
                      <a:pt x="770" y="293"/>
                    </a:lnTo>
                    <a:lnTo>
                      <a:pt x="766" y="293"/>
                    </a:lnTo>
                    <a:lnTo>
                      <a:pt x="766" y="293"/>
                    </a:lnTo>
                    <a:lnTo>
                      <a:pt x="766" y="293"/>
                    </a:lnTo>
                    <a:lnTo>
                      <a:pt x="764" y="296"/>
                    </a:lnTo>
                    <a:lnTo>
                      <a:pt x="760" y="297"/>
                    </a:lnTo>
                    <a:lnTo>
                      <a:pt x="758" y="299"/>
                    </a:lnTo>
                    <a:lnTo>
                      <a:pt x="754" y="299"/>
                    </a:lnTo>
                    <a:lnTo>
                      <a:pt x="750" y="297"/>
                    </a:lnTo>
                    <a:lnTo>
                      <a:pt x="750" y="297"/>
                    </a:lnTo>
                    <a:lnTo>
                      <a:pt x="746" y="293"/>
                    </a:lnTo>
                    <a:lnTo>
                      <a:pt x="746" y="289"/>
                    </a:lnTo>
                    <a:lnTo>
                      <a:pt x="746" y="280"/>
                    </a:lnTo>
                    <a:lnTo>
                      <a:pt x="746" y="280"/>
                    </a:lnTo>
                    <a:lnTo>
                      <a:pt x="746" y="277"/>
                    </a:lnTo>
                    <a:lnTo>
                      <a:pt x="752" y="271"/>
                    </a:lnTo>
                    <a:lnTo>
                      <a:pt x="752" y="269"/>
                    </a:lnTo>
                    <a:lnTo>
                      <a:pt x="752" y="269"/>
                    </a:lnTo>
                    <a:lnTo>
                      <a:pt x="750" y="271"/>
                    </a:lnTo>
                    <a:lnTo>
                      <a:pt x="748" y="272"/>
                    </a:lnTo>
                    <a:lnTo>
                      <a:pt x="748" y="271"/>
                    </a:lnTo>
                    <a:lnTo>
                      <a:pt x="748" y="271"/>
                    </a:lnTo>
                    <a:lnTo>
                      <a:pt x="750" y="269"/>
                    </a:lnTo>
                    <a:lnTo>
                      <a:pt x="750" y="269"/>
                    </a:lnTo>
                    <a:lnTo>
                      <a:pt x="747" y="267"/>
                    </a:lnTo>
                    <a:lnTo>
                      <a:pt x="745" y="265"/>
                    </a:lnTo>
                    <a:lnTo>
                      <a:pt x="742" y="265"/>
                    </a:lnTo>
                    <a:lnTo>
                      <a:pt x="741" y="265"/>
                    </a:lnTo>
                    <a:lnTo>
                      <a:pt x="735" y="263"/>
                    </a:lnTo>
                    <a:lnTo>
                      <a:pt x="735" y="263"/>
                    </a:lnTo>
                    <a:lnTo>
                      <a:pt x="734" y="262"/>
                    </a:lnTo>
                    <a:lnTo>
                      <a:pt x="734" y="262"/>
                    </a:lnTo>
                    <a:lnTo>
                      <a:pt x="731" y="260"/>
                    </a:lnTo>
                    <a:lnTo>
                      <a:pt x="731" y="260"/>
                    </a:lnTo>
                    <a:lnTo>
                      <a:pt x="729" y="259"/>
                    </a:lnTo>
                    <a:lnTo>
                      <a:pt x="729" y="259"/>
                    </a:lnTo>
                    <a:lnTo>
                      <a:pt x="730" y="259"/>
                    </a:lnTo>
                    <a:lnTo>
                      <a:pt x="730" y="259"/>
                    </a:lnTo>
                    <a:lnTo>
                      <a:pt x="729" y="259"/>
                    </a:lnTo>
                    <a:lnTo>
                      <a:pt x="729" y="259"/>
                    </a:lnTo>
                    <a:lnTo>
                      <a:pt x="725" y="260"/>
                    </a:lnTo>
                    <a:lnTo>
                      <a:pt x="725" y="262"/>
                    </a:lnTo>
                    <a:lnTo>
                      <a:pt x="725" y="262"/>
                    </a:lnTo>
                    <a:lnTo>
                      <a:pt x="723" y="262"/>
                    </a:lnTo>
                    <a:lnTo>
                      <a:pt x="723" y="262"/>
                    </a:lnTo>
                    <a:lnTo>
                      <a:pt x="725" y="259"/>
                    </a:lnTo>
                    <a:lnTo>
                      <a:pt x="723" y="260"/>
                    </a:lnTo>
                    <a:lnTo>
                      <a:pt x="723" y="260"/>
                    </a:lnTo>
                    <a:lnTo>
                      <a:pt x="723" y="260"/>
                    </a:lnTo>
                    <a:lnTo>
                      <a:pt x="722" y="262"/>
                    </a:lnTo>
                    <a:lnTo>
                      <a:pt x="718" y="263"/>
                    </a:lnTo>
                    <a:lnTo>
                      <a:pt x="718" y="264"/>
                    </a:lnTo>
                    <a:lnTo>
                      <a:pt x="717" y="264"/>
                    </a:lnTo>
                    <a:lnTo>
                      <a:pt x="717" y="265"/>
                    </a:lnTo>
                    <a:lnTo>
                      <a:pt x="717" y="265"/>
                    </a:lnTo>
                    <a:lnTo>
                      <a:pt x="719" y="264"/>
                    </a:lnTo>
                    <a:lnTo>
                      <a:pt x="722" y="263"/>
                    </a:lnTo>
                    <a:lnTo>
                      <a:pt x="722" y="263"/>
                    </a:lnTo>
                    <a:lnTo>
                      <a:pt x="722" y="263"/>
                    </a:lnTo>
                    <a:lnTo>
                      <a:pt x="721" y="264"/>
                    </a:lnTo>
                    <a:lnTo>
                      <a:pt x="721" y="264"/>
                    </a:lnTo>
                    <a:lnTo>
                      <a:pt x="718" y="268"/>
                    </a:lnTo>
                    <a:lnTo>
                      <a:pt x="718" y="268"/>
                    </a:lnTo>
                    <a:lnTo>
                      <a:pt x="717" y="269"/>
                    </a:lnTo>
                    <a:lnTo>
                      <a:pt x="717" y="269"/>
                    </a:lnTo>
                    <a:lnTo>
                      <a:pt x="717" y="271"/>
                    </a:lnTo>
                    <a:lnTo>
                      <a:pt x="717" y="271"/>
                    </a:lnTo>
                    <a:lnTo>
                      <a:pt x="718" y="273"/>
                    </a:lnTo>
                    <a:lnTo>
                      <a:pt x="719" y="277"/>
                    </a:lnTo>
                    <a:lnTo>
                      <a:pt x="718" y="283"/>
                    </a:lnTo>
                    <a:lnTo>
                      <a:pt x="715" y="285"/>
                    </a:lnTo>
                    <a:lnTo>
                      <a:pt x="713" y="288"/>
                    </a:lnTo>
                    <a:lnTo>
                      <a:pt x="713" y="288"/>
                    </a:lnTo>
                    <a:lnTo>
                      <a:pt x="713" y="288"/>
                    </a:lnTo>
                    <a:lnTo>
                      <a:pt x="711" y="289"/>
                    </a:lnTo>
                    <a:lnTo>
                      <a:pt x="711" y="289"/>
                    </a:lnTo>
                    <a:lnTo>
                      <a:pt x="711" y="289"/>
                    </a:lnTo>
                    <a:lnTo>
                      <a:pt x="711" y="289"/>
                    </a:lnTo>
                    <a:lnTo>
                      <a:pt x="711" y="289"/>
                    </a:lnTo>
                    <a:lnTo>
                      <a:pt x="711" y="289"/>
                    </a:lnTo>
                    <a:lnTo>
                      <a:pt x="710" y="289"/>
                    </a:lnTo>
                    <a:lnTo>
                      <a:pt x="706" y="299"/>
                    </a:lnTo>
                    <a:lnTo>
                      <a:pt x="704" y="299"/>
                    </a:lnTo>
                    <a:lnTo>
                      <a:pt x="704" y="299"/>
                    </a:lnTo>
                    <a:lnTo>
                      <a:pt x="702" y="300"/>
                    </a:lnTo>
                    <a:lnTo>
                      <a:pt x="702" y="304"/>
                    </a:lnTo>
                    <a:lnTo>
                      <a:pt x="702" y="312"/>
                    </a:lnTo>
                    <a:lnTo>
                      <a:pt x="702" y="316"/>
                    </a:lnTo>
                    <a:lnTo>
                      <a:pt x="700" y="320"/>
                    </a:lnTo>
                    <a:lnTo>
                      <a:pt x="700" y="320"/>
                    </a:lnTo>
                    <a:lnTo>
                      <a:pt x="697" y="321"/>
                    </a:lnTo>
                    <a:lnTo>
                      <a:pt x="697" y="321"/>
                    </a:lnTo>
                    <a:lnTo>
                      <a:pt x="696" y="322"/>
                    </a:lnTo>
                    <a:lnTo>
                      <a:pt x="693" y="324"/>
                    </a:lnTo>
                    <a:lnTo>
                      <a:pt x="693" y="324"/>
                    </a:lnTo>
                    <a:lnTo>
                      <a:pt x="693" y="324"/>
                    </a:lnTo>
                    <a:lnTo>
                      <a:pt x="689" y="326"/>
                    </a:lnTo>
                    <a:lnTo>
                      <a:pt x="684" y="326"/>
                    </a:lnTo>
                    <a:lnTo>
                      <a:pt x="684" y="326"/>
                    </a:lnTo>
                    <a:lnTo>
                      <a:pt x="681" y="328"/>
                    </a:lnTo>
                    <a:lnTo>
                      <a:pt x="680" y="329"/>
                    </a:lnTo>
                    <a:lnTo>
                      <a:pt x="669" y="324"/>
                    </a:lnTo>
                    <a:lnTo>
                      <a:pt x="669" y="324"/>
                    </a:lnTo>
                    <a:lnTo>
                      <a:pt x="669" y="324"/>
                    </a:lnTo>
                    <a:lnTo>
                      <a:pt x="668" y="321"/>
                    </a:lnTo>
                    <a:lnTo>
                      <a:pt x="668" y="321"/>
                    </a:lnTo>
                    <a:lnTo>
                      <a:pt x="668" y="321"/>
                    </a:lnTo>
                    <a:lnTo>
                      <a:pt x="667" y="318"/>
                    </a:lnTo>
                    <a:lnTo>
                      <a:pt x="667" y="318"/>
                    </a:lnTo>
                    <a:lnTo>
                      <a:pt x="667" y="318"/>
                    </a:lnTo>
                    <a:lnTo>
                      <a:pt x="663" y="318"/>
                    </a:lnTo>
                    <a:lnTo>
                      <a:pt x="659" y="314"/>
                    </a:lnTo>
                    <a:lnTo>
                      <a:pt x="659" y="314"/>
                    </a:lnTo>
                    <a:lnTo>
                      <a:pt x="660" y="314"/>
                    </a:lnTo>
                    <a:lnTo>
                      <a:pt x="659" y="314"/>
                    </a:lnTo>
                    <a:lnTo>
                      <a:pt x="659" y="314"/>
                    </a:lnTo>
                    <a:lnTo>
                      <a:pt x="659" y="314"/>
                    </a:lnTo>
                    <a:lnTo>
                      <a:pt x="656" y="312"/>
                    </a:lnTo>
                    <a:lnTo>
                      <a:pt x="656" y="312"/>
                    </a:lnTo>
                    <a:lnTo>
                      <a:pt x="651" y="308"/>
                    </a:lnTo>
                    <a:lnTo>
                      <a:pt x="651" y="308"/>
                    </a:lnTo>
                    <a:lnTo>
                      <a:pt x="648" y="306"/>
                    </a:lnTo>
                    <a:lnTo>
                      <a:pt x="644" y="309"/>
                    </a:lnTo>
                    <a:lnTo>
                      <a:pt x="643" y="309"/>
                    </a:lnTo>
                    <a:lnTo>
                      <a:pt x="640" y="308"/>
                    </a:lnTo>
                    <a:lnTo>
                      <a:pt x="640" y="308"/>
                    </a:lnTo>
                    <a:lnTo>
                      <a:pt x="635" y="304"/>
                    </a:lnTo>
                    <a:lnTo>
                      <a:pt x="629" y="300"/>
                    </a:lnTo>
                    <a:lnTo>
                      <a:pt x="629" y="300"/>
                    </a:lnTo>
                    <a:lnTo>
                      <a:pt x="627" y="296"/>
                    </a:lnTo>
                    <a:lnTo>
                      <a:pt x="627" y="296"/>
                    </a:lnTo>
                    <a:lnTo>
                      <a:pt x="623" y="296"/>
                    </a:lnTo>
                    <a:lnTo>
                      <a:pt x="623" y="296"/>
                    </a:lnTo>
                    <a:lnTo>
                      <a:pt x="618" y="295"/>
                    </a:lnTo>
                    <a:lnTo>
                      <a:pt x="614" y="293"/>
                    </a:lnTo>
                    <a:lnTo>
                      <a:pt x="614" y="293"/>
                    </a:lnTo>
                    <a:lnTo>
                      <a:pt x="608" y="292"/>
                    </a:lnTo>
                    <a:lnTo>
                      <a:pt x="608" y="292"/>
                    </a:lnTo>
                    <a:lnTo>
                      <a:pt x="606" y="293"/>
                    </a:lnTo>
                    <a:lnTo>
                      <a:pt x="603" y="293"/>
                    </a:lnTo>
                    <a:lnTo>
                      <a:pt x="600" y="293"/>
                    </a:lnTo>
                    <a:lnTo>
                      <a:pt x="595" y="289"/>
                    </a:lnTo>
                    <a:lnTo>
                      <a:pt x="595" y="289"/>
                    </a:lnTo>
                    <a:lnTo>
                      <a:pt x="596" y="291"/>
                    </a:lnTo>
                    <a:lnTo>
                      <a:pt x="596" y="291"/>
                    </a:lnTo>
                    <a:lnTo>
                      <a:pt x="594" y="291"/>
                    </a:lnTo>
                    <a:lnTo>
                      <a:pt x="594" y="291"/>
                    </a:lnTo>
                    <a:lnTo>
                      <a:pt x="589" y="291"/>
                    </a:lnTo>
                    <a:lnTo>
                      <a:pt x="586" y="289"/>
                    </a:lnTo>
                    <a:lnTo>
                      <a:pt x="583" y="288"/>
                    </a:lnTo>
                    <a:lnTo>
                      <a:pt x="581" y="287"/>
                    </a:lnTo>
                    <a:lnTo>
                      <a:pt x="581" y="287"/>
                    </a:lnTo>
                    <a:lnTo>
                      <a:pt x="579" y="285"/>
                    </a:lnTo>
                    <a:lnTo>
                      <a:pt x="579" y="285"/>
                    </a:lnTo>
                    <a:lnTo>
                      <a:pt x="579" y="284"/>
                    </a:lnTo>
                    <a:lnTo>
                      <a:pt x="579" y="284"/>
                    </a:lnTo>
                    <a:lnTo>
                      <a:pt x="570" y="293"/>
                    </a:lnTo>
                    <a:lnTo>
                      <a:pt x="570" y="293"/>
                    </a:lnTo>
                    <a:lnTo>
                      <a:pt x="563" y="300"/>
                    </a:lnTo>
                    <a:lnTo>
                      <a:pt x="563" y="300"/>
                    </a:lnTo>
                    <a:lnTo>
                      <a:pt x="559" y="304"/>
                    </a:lnTo>
                    <a:lnTo>
                      <a:pt x="558" y="304"/>
                    </a:lnTo>
                    <a:lnTo>
                      <a:pt x="558" y="304"/>
                    </a:lnTo>
                    <a:lnTo>
                      <a:pt x="554" y="302"/>
                    </a:lnTo>
                    <a:lnTo>
                      <a:pt x="551" y="300"/>
                    </a:lnTo>
                    <a:lnTo>
                      <a:pt x="551" y="300"/>
                    </a:lnTo>
                    <a:lnTo>
                      <a:pt x="545" y="310"/>
                    </a:lnTo>
                    <a:lnTo>
                      <a:pt x="545" y="316"/>
                    </a:lnTo>
                    <a:lnTo>
                      <a:pt x="538" y="321"/>
                    </a:lnTo>
                    <a:lnTo>
                      <a:pt x="538" y="321"/>
                    </a:lnTo>
                    <a:lnTo>
                      <a:pt x="534" y="321"/>
                    </a:lnTo>
                    <a:lnTo>
                      <a:pt x="534" y="321"/>
                    </a:lnTo>
                    <a:lnTo>
                      <a:pt x="529" y="321"/>
                    </a:lnTo>
                    <a:lnTo>
                      <a:pt x="524" y="320"/>
                    </a:lnTo>
                    <a:lnTo>
                      <a:pt x="522" y="320"/>
                    </a:lnTo>
                    <a:lnTo>
                      <a:pt x="522" y="320"/>
                    </a:lnTo>
                    <a:lnTo>
                      <a:pt x="521" y="320"/>
                    </a:lnTo>
                    <a:lnTo>
                      <a:pt x="521" y="320"/>
                    </a:lnTo>
                    <a:lnTo>
                      <a:pt x="521" y="324"/>
                    </a:lnTo>
                    <a:lnTo>
                      <a:pt x="524" y="328"/>
                    </a:lnTo>
                    <a:lnTo>
                      <a:pt x="525" y="332"/>
                    </a:lnTo>
                    <a:lnTo>
                      <a:pt x="525" y="333"/>
                    </a:lnTo>
                    <a:lnTo>
                      <a:pt x="524" y="337"/>
                    </a:lnTo>
                    <a:lnTo>
                      <a:pt x="524" y="337"/>
                    </a:lnTo>
                    <a:lnTo>
                      <a:pt x="521" y="340"/>
                    </a:lnTo>
                    <a:lnTo>
                      <a:pt x="517" y="342"/>
                    </a:lnTo>
                    <a:lnTo>
                      <a:pt x="513" y="343"/>
                    </a:lnTo>
                    <a:lnTo>
                      <a:pt x="509" y="343"/>
                    </a:lnTo>
                    <a:lnTo>
                      <a:pt x="509" y="343"/>
                    </a:lnTo>
                    <a:lnTo>
                      <a:pt x="503" y="343"/>
                    </a:lnTo>
                    <a:lnTo>
                      <a:pt x="497" y="341"/>
                    </a:lnTo>
                    <a:lnTo>
                      <a:pt x="488" y="337"/>
                    </a:lnTo>
                    <a:lnTo>
                      <a:pt x="484" y="337"/>
                    </a:lnTo>
                    <a:lnTo>
                      <a:pt x="484" y="337"/>
                    </a:lnTo>
                    <a:lnTo>
                      <a:pt x="483" y="337"/>
                    </a:lnTo>
                    <a:lnTo>
                      <a:pt x="483" y="337"/>
                    </a:lnTo>
                    <a:lnTo>
                      <a:pt x="480" y="336"/>
                    </a:lnTo>
                    <a:lnTo>
                      <a:pt x="477" y="334"/>
                    </a:lnTo>
                    <a:lnTo>
                      <a:pt x="476" y="332"/>
                    </a:lnTo>
                    <a:lnTo>
                      <a:pt x="476" y="332"/>
                    </a:lnTo>
                    <a:lnTo>
                      <a:pt x="477" y="333"/>
                    </a:lnTo>
                    <a:lnTo>
                      <a:pt x="480" y="334"/>
                    </a:lnTo>
                    <a:lnTo>
                      <a:pt x="475" y="328"/>
                    </a:lnTo>
                    <a:lnTo>
                      <a:pt x="475" y="328"/>
                    </a:lnTo>
                    <a:lnTo>
                      <a:pt x="475" y="328"/>
                    </a:lnTo>
                    <a:lnTo>
                      <a:pt x="473" y="326"/>
                    </a:lnTo>
                    <a:lnTo>
                      <a:pt x="455" y="326"/>
                    </a:lnTo>
                    <a:lnTo>
                      <a:pt x="454" y="324"/>
                    </a:lnTo>
                    <a:lnTo>
                      <a:pt x="454" y="324"/>
                    </a:lnTo>
                    <a:lnTo>
                      <a:pt x="455" y="322"/>
                    </a:lnTo>
                    <a:lnTo>
                      <a:pt x="455" y="322"/>
                    </a:lnTo>
                    <a:lnTo>
                      <a:pt x="456" y="321"/>
                    </a:lnTo>
                    <a:lnTo>
                      <a:pt x="455" y="318"/>
                    </a:lnTo>
                    <a:lnTo>
                      <a:pt x="452" y="324"/>
                    </a:lnTo>
                    <a:lnTo>
                      <a:pt x="450" y="318"/>
                    </a:lnTo>
                    <a:lnTo>
                      <a:pt x="450" y="318"/>
                    </a:lnTo>
                    <a:lnTo>
                      <a:pt x="448" y="321"/>
                    </a:lnTo>
                    <a:lnTo>
                      <a:pt x="450" y="322"/>
                    </a:lnTo>
                    <a:lnTo>
                      <a:pt x="450" y="322"/>
                    </a:lnTo>
                    <a:lnTo>
                      <a:pt x="452" y="325"/>
                    </a:lnTo>
                    <a:lnTo>
                      <a:pt x="451" y="326"/>
                    </a:lnTo>
                    <a:lnTo>
                      <a:pt x="451" y="326"/>
                    </a:lnTo>
                    <a:lnTo>
                      <a:pt x="452" y="325"/>
                    </a:lnTo>
                    <a:lnTo>
                      <a:pt x="452" y="325"/>
                    </a:lnTo>
                    <a:lnTo>
                      <a:pt x="451" y="326"/>
                    </a:lnTo>
                    <a:lnTo>
                      <a:pt x="447" y="328"/>
                    </a:lnTo>
                    <a:lnTo>
                      <a:pt x="442" y="328"/>
                    </a:lnTo>
                    <a:lnTo>
                      <a:pt x="439" y="326"/>
                    </a:lnTo>
                    <a:lnTo>
                      <a:pt x="439" y="326"/>
                    </a:lnTo>
                    <a:lnTo>
                      <a:pt x="440" y="326"/>
                    </a:lnTo>
                    <a:lnTo>
                      <a:pt x="439" y="326"/>
                    </a:lnTo>
                    <a:lnTo>
                      <a:pt x="438" y="326"/>
                    </a:lnTo>
                    <a:lnTo>
                      <a:pt x="438" y="326"/>
                    </a:lnTo>
                    <a:lnTo>
                      <a:pt x="439" y="326"/>
                    </a:lnTo>
                    <a:lnTo>
                      <a:pt x="436" y="328"/>
                    </a:lnTo>
                    <a:lnTo>
                      <a:pt x="436" y="328"/>
                    </a:lnTo>
                    <a:lnTo>
                      <a:pt x="435" y="328"/>
                    </a:lnTo>
                    <a:lnTo>
                      <a:pt x="435" y="328"/>
                    </a:lnTo>
                    <a:lnTo>
                      <a:pt x="436" y="326"/>
                    </a:lnTo>
                    <a:lnTo>
                      <a:pt x="431" y="330"/>
                    </a:lnTo>
                    <a:lnTo>
                      <a:pt x="426" y="330"/>
                    </a:lnTo>
                    <a:lnTo>
                      <a:pt x="426" y="330"/>
                    </a:lnTo>
                    <a:lnTo>
                      <a:pt x="425" y="330"/>
                    </a:lnTo>
                    <a:lnTo>
                      <a:pt x="425" y="330"/>
                    </a:lnTo>
                    <a:lnTo>
                      <a:pt x="422" y="330"/>
                    </a:lnTo>
                    <a:lnTo>
                      <a:pt x="419" y="329"/>
                    </a:lnTo>
                    <a:lnTo>
                      <a:pt x="419" y="329"/>
                    </a:lnTo>
                    <a:lnTo>
                      <a:pt x="418" y="329"/>
                    </a:lnTo>
                    <a:lnTo>
                      <a:pt x="418" y="329"/>
                    </a:lnTo>
                    <a:lnTo>
                      <a:pt x="415" y="329"/>
                    </a:lnTo>
                    <a:lnTo>
                      <a:pt x="413" y="328"/>
                    </a:lnTo>
                    <a:lnTo>
                      <a:pt x="409" y="324"/>
                    </a:lnTo>
                    <a:lnTo>
                      <a:pt x="409" y="324"/>
                    </a:lnTo>
                    <a:lnTo>
                      <a:pt x="410" y="325"/>
                    </a:lnTo>
                    <a:lnTo>
                      <a:pt x="410" y="325"/>
                    </a:lnTo>
                    <a:lnTo>
                      <a:pt x="409" y="325"/>
                    </a:lnTo>
                    <a:lnTo>
                      <a:pt x="402" y="325"/>
                    </a:lnTo>
                    <a:lnTo>
                      <a:pt x="397" y="317"/>
                    </a:lnTo>
                    <a:lnTo>
                      <a:pt x="397" y="317"/>
                    </a:lnTo>
                    <a:lnTo>
                      <a:pt x="397" y="316"/>
                    </a:lnTo>
                    <a:lnTo>
                      <a:pt x="395" y="314"/>
                    </a:lnTo>
                    <a:lnTo>
                      <a:pt x="395" y="313"/>
                    </a:lnTo>
                    <a:lnTo>
                      <a:pt x="395" y="313"/>
                    </a:lnTo>
                    <a:lnTo>
                      <a:pt x="395" y="310"/>
                    </a:lnTo>
                    <a:lnTo>
                      <a:pt x="395" y="310"/>
                    </a:lnTo>
                    <a:lnTo>
                      <a:pt x="395" y="310"/>
                    </a:lnTo>
                    <a:lnTo>
                      <a:pt x="395" y="310"/>
                    </a:lnTo>
                    <a:lnTo>
                      <a:pt x="397" y="312"/>
                    </a:lnTo>
                    <a:lnTo>
                      <a:pt x="399" y="313"/>
                    </a:lnTo>
                    <a:lnTo>
                      <a:pt x="394" y="308"/>
                    </a:lnTo>
                    <a:lnTo>
                      <a:pt x="394" y="306"/>
                    </a:lnTo>
                    <a:lnTo>
                      <a:pt x="394" y="305"/>
                    </a:lnTo>
                    <a:lnTo>
                      <a:pt x="394" y="305"/>
                    </a:lnTo>
                    <a:lnTo>
                      <a:pt x="394" y="305"/>
                    </a:lnTo>
                    <a:lnTo>
                      <a:pt x="394" y="305"/>
                    </a:lnTo>
                    <a:lnTo>
                      <a:pt x="390" y="304"/>
                    </a:lnTo>
                    <a:lnTo>
                      <a:pt x="388" y="302"/>
                    </a:lnTo>
                    <a:lnTo>
                      <a:pt x="388" y="302"/>
                    </a:lnTo>
                    <a:lnTo>
                      <a:pt x="385" y="302"/>
                    </a:lnTo>
                    <a:lnTo>
                      <a:pt x="385" y="302"/>
                    </a:lnTo>
                    <a:lnTo>
                      <a:pt x="384" y="304"/>
                    </a:lnTo>
                    <a:lnTo>
                      <a:pt x="384" y="304"/>
                    </a:lnTo>
                    <a:lnTo>
                      <a:pt x="380" y="308"/>
                    </a:lnTo>
                    <a:lnTo>
                      <a:pt x="376" y="310"/>
                    </a:lnTo>
                    <a:lnTo>
                      <a:pt x="370" y="313"/>
                    </a:lnTo>
                    <a:lnTo>
                      <a:pt x="362" y="313"/>
                    </a:lnTo>
                    <a:lnTo>
                      <a:pt x="362" y="313"/>
                    </a:lnTo>
                    <a:lnTo>
                      <a:pt x="362" y="313"/>
                    </a:lnTo>
                    <a:lnTo>
                      <a:pt x="361" y="316"/>
                    </a:lnTo>
                    <a:lnTo>
                      <a:pt x="357" y="317"/>
                    </a:lnTo>
                    <a:lnTo>
                      <a:pt x="358" y="318"/>
                    </a:lnTo>
                    <a:lnTo>
                      <a:pt x="358" y="318"/>
                    </a:lnTo>
                    <a:lnTo>
                      <a:pt x="353" y="321"/>
                    </a:lnTo>
                    <a:lnTo>
                      <a:pt x="352" y="322"/>
                    </a:lnTo>
                    <a:lnTo>
                      <a:pt x="348" y="324"/>
                    </a:lnTo>
                    <a:lnTo>
                      <a:pt x="348" y="324"/>
                    </a:lnTo>
                    <a:lnTo>
                      <a:pt x="345" y="324"/>
                    </a:lnTo>
                    <a:lnTo>
                      <a:pt x="345" y="324"/>
                    </a:lnTo>
                    <a:lnTo>
                      <a:pt x="344" y="324"/>
                    </a:lnTo>
                    <a:lnTo>
                      <a:pt x="343" y="326"/>
                    </a:lnTo>
                    <a:lnTo>
                      <a:pt x="343" y="326"/>
                    </a:lnTo>
                    <a:lnTo>
                      <a:pt x="340" y="329"/>
                    </a:lnTo>
                    <a:lnTo>
                      <a:pt x="340" y="329"/>
                    </a:lnTo>
                    <a:lnTo>
                      <a:pt x="339" y="333"/>
                    </a:lnTo>
                    <a:lnTo>
                      <a:pt x="339" y="333"/>
                    </a:lnTo>
                    <a:lnTo>
                      <a:pt x="337" y="337"/>
                    </a:lnTo>
                    <a:lnTo>
                      <a:pt x="335" y="341"/>
                    </a:lnTo>
                    <a:lnTo>
                      <a:pt x="332" y="342"/>
                    </a:lnTo>
                    <a:lnTo>
                      <a:pt x="332" y="342"/>
                    </a:lnTo>
                    <a:lnTo>
                      <a:pt x="332" y="343"/>
                    </a:lnTo>
                    <a:lnTo>
                      <a:pt x="332" y="346"/>
                    </a:lnTo>
                    <a:lnTo>
                      <a:pt x="332" y="346"/>
                    </a:lnTo>
                    <a:lnTo>
                      <a:pt x="332" y="350"/>
                    </a:lnTo>
                    <a:lnTo>
                      <a:pt x="331" y="353"/>
                    </a:lnTo>
                    <a:lnTo>
                      <a:pt x="331" y="353"/>
                    </a:lnTo>
                    <a:lnTo>
                      <a:pt x="331" y="353"/>
                    </a:lnTo>
                    <a:lnTo>
                      <a:pt x="332" y="351"/>
                    </a:lnTo>
                    <a:lnTo>
                      <a:pt x="328" y="357"/>
                    </a:lnTo>
                    <a:lnTo>
                      <a:pt x="328" y="357"/>
                    </a:lnTo>
                    <a:lnTo>
                      <a:pt x="327" y="357"/>
                    </a:lnTo>
                    <a:lnTo>
                      <a:pt x="321" y="361"/>
                    </a:lnTo>
                    <a:lnTo>
                      <a:pt x="311" y="361"/>
                    </a:lnTo>
                    <a:lnTo>
                      <a:pt x="306" y="357"/>
                    </a:lnTo>
                    <a:lnTo>
                      <a:pt x="306" y="357"/>
                    </a:lnTo>
                    <a:lnTo>
                      <a:pt x="307" y="358"/>
                    </a:lnTo>
                    <a:lnTo>
                      <a:pt x="307" y="358"/>
                    </a:lnTo>
                    <a:lnTo>
                      <a:pt x="306" y="358"/>
                    </a:lnTo>
                    <a:lnTo>
                      <a:pt x="306" y="358"/>
                    </a:lnTo>
                    <a:lnTo>
                      <a:pt x="302" y="363"/>
                    </a:lnTo>
                    <a:lnTo>
                      <a:pt x="303" y="363"/>
                    </a:lnTo>
                    <a:lnTo>
                      <a:pt x="303" y="363"/>
                    </a:lnTo>
                    <a:lnTo>
                      <a:pt x="304" y="361"/>
                    </a:lnTo>
                    <a:lnTo>
                      <a:pt x="304" y="361"/>
                    </a:lnTo>
                    <a:lnTo>
                      <a:pt x="304" y="362"/>
                    </a:lnTo>
                    <a:lnTo>
                      <a:pt x="304" y="362"/>
                    </a:lnTo>
                    <a:lnTo>
                      <a:pt x="304" y="363"/>
                    </a:lnTo>
                    <a:lnTo>
                      <a:pt x="304" y="365"/>
                    </a:lnTo>
                    <a:lnTo>
                      <a:pt x="303" y="370"/>
                    </a:lnTo>
                    <a:lnTo>
                      <a:pt x="303" y="370"/>
                    </a:lnTo>
                    <a:lnTo>
                      <a:pt x="299" y="371"/>
                    </a:lnTo>
                    <a:lnTo>
                      <a:pt x="294" y="373"/>
                    </a:lnTo>
                    <a:lnTo>
                      <a:pt x="294" y="373"/>
                    </a:lnTo>
                    <a:lnTo>
                      <a:pt x="292" y="373"/>
                    </a:lnTo>
                    <a:lnTo>
                      <a:pt x="292" y="373"/>
                    </a:lnTo>
                    <a:lnTo>
                      <a:pt x="291" y="373"/>
                    </a:lnTo>
                    <a:lnTo>
                      <a:pt x="291" y="373"/>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5" name="Freeform 51">
                <a:extLst>
                  <a:ext uri="{FF2B5EF4-FFF2-40B4-BE49-F238E27FC236}">
                    <a16:creationId xmlns:a16="http://schemas.microsoft.com/office/drawing/2014/main" xmlns="" id="{B78D17F4-5234-4492-AB66-E4C34AC2C58E}"/>
                  </a:ext>
                </a:extLst>
              </p:cNvPr>
              <p:cNvSpPr>
                <a:spLocks/>
              </p:cNvSpPr>
              <p:nvPr/>
            </p:nvSpPr>
            <p:spPr bwMode="auto">
              <a:xfrm>
                <a:off x="3758919" y="5113939"/>
                <a:ext cx="1777637" cy="1204823"/>
              </a:xfrm>
              <a:custGeom>
                <a:avLst/>
                <a:gdLst>
                  <a:gd name="T0" fmla="*/ 441 w 1021"/>
                  <a:gd name="T1" fmla="*/ 683 h 692"/>
                  <a:gd name="T2" fmla="*/ 411 w 1021"/>
                  <a:gd name="T3" fmla="*/ 683 h 692"/>
                  <a:gd name="T4" fmla="*/ 361 w 1021"/>
                  <a:gd name="T5" fmla="*/ 661 h 692"/>
                  <a:gd name="T6" fmla="*/ 335 w 1021"/>
                  <a:gd name="T7" fmla="*/ 650 h 692"/>
                  <a:gd name="T8" fmla="*/ 303 w 1021"/>
                  <a:gd name="T9" fmla="*/ 645 h 692"/>
                  <a:gd name="T10" fmla="*/ 278 w 1021"/>
                  <a:gd name="T11" fmla="*/ 638 h 692"/>
                  <a:gd name="T12" fmla="*/ 251 w 1021"/>
                  <a:gd name="T13" fmla="*/ 639 h 692"/>
                  <a:gd name="T14" fmla="*/ 221 w 1021"/>
                  <a:gd name="T15" fmla="*/ 632 h 692"/>
                  <a:gd name="T16" fmla="*/ 205 w 1021"/>
                  <a:gd name="T17" fmla="*/ 591 h 692"/>
                  <a:gd name="T18" fmla="*/ 167 w 1021"/>
                  <a:gd name="T19" fmla="*/ 584 h 692"/>
                  <a:gd name="T20" fmla="*/ 176 w 1021"/>
                  <a:gd name="T21" fmla="*/ 554 h 692"/>
                  <a:gd name="T22" fmla="*/ 201 w 1021"/>
                  <a:gd name="T23" fmla="*/ 502 h 692"/>
                  <a:gd name="T24" fmla="*/ 148 w 1021"/>
                  <a:gd name="T25" fmla="*/ 483 h 692"/>
                  <a:gd name="T26" fmla="*/ 37 w 1021"/>
                  <a:gd name="T27" fmla="*/ 478 h 692"/>
                  <a:gd name="T28" fmla="*/ 0 w 1021"/>
                  <a:gd name="T29" fmla="*/ 468 h 692"/>
                  <a:gd name="T30" fmla="*/ 51 w 1021"/>
                  <a:gd name="T31" fmla="*/ 372 h 692"/>
                  <a:gd name="T32" fmla="*/ 85 w 1021"/>
                  <a:gd name="T33" fmla="*/ 318 h 692"/>
                  <a:gd name="T34" fmla="*/ 125 w 1021"/>
                  <a:gd name="T35" fmla="*/ 301 h 692"/>
                  <a:gd name="T36" fmla="*/ 150 w 1021"/>
                  <a:gd name="T37" fmla="*/ 301 h 692"/>
                  <a:gd name="T38" fmla="*/ 130 w 1021"/>
                  <a:gd name="T39" fmla="*/ 252 h 692"/>
                  <a:gd name="T40" fmla="*/ 131 w 1021"/>
                  <a:gd name="T41" fmla="*/ 189 h 692"/>
                  <a:gd name="T42" fmla="*/ 185 w 1021"/>
                  <a:gd name="T43" fmla="*/ 171 h 692"/>
                  <a:gd name="T44" fmla="*/ 220 w 1021"/>
                  <a:gd name="T45" fmla="*/ 145 h 692"/>
                  <a:gd name="T46" fmla="*/ 289 w 1021"/>
                  <a:gd name="T47" fmla="*/ 136 h 692"/>
                  <a:gd name="T48" fmla="*/ 316 w 1021"/>
                  <a:gd name="T49" fmla="*/ 126 h 692"/>
                  <a:gd name="T50" fmla="*/ 339 w 1021"/>
                  <a:gd name="T51" fmla="*/ 75 h 692"/>
                  <a:gd name="T52" fmla="*/ 319 w 1021"/>
                  <a:gd name="T53" fmla="*/ 46 h 692"/>
                  <a:gd name="T54" fmla="*/ 340 w 1021"/>
                  <a:gd name="T55" fmla="*/ 10 h 692"/>
                  <a:gd name="T56" fmla="*/ 376 w 1021"/>
                  <a:gd name="T57" fmla="*/ 1 h 692"/>
                  <a:gd name="T58" fmla="*/ 406 w 1021"/>
                  <a:gd name="T59" fmla="*/ 0 h 692"/>
                  <a:gd name="T60" fmla="*/ 448 w 1021"/>
                  <a:gd name="T61" fmla="*/ 5 h 692"/>
                  <a:gd name="T62" fmla="*/ 495 w 1021"/>
                  <a:gd name="T63" fmla="*/ 34 h 692"/>
                  <a:gd name="T64" fmla="*/ 520 w 1021"/>
                  <a:gd name="T65" fmla="*/ 103 h 692"/>
                  <a:gd name="T66" fmla="*/ 530 w 1021"/>
                  <a:gd name="T67" fmla="*/ 152 h 692"/>
                  <a:gd name="T68" fmla="*/ 590 w 1021"/>
                  <a:gd name="T69" fmla="*/ 178 h 692"/>
                  <a:gd name="T70" fmla="*/ 618 w 1021"/>
                  <a:gd name="T71" fmla="*/ 178 h 692"/>
                  <a:gd name="T72" fmla="*/ 632 w 1021"/>
                  <a:gd name="T73" fmla="*/ 195 h 692"/>
                  <a:gd name="T74" fmla="*/ 661 w 1021"/>
                  <a:gd name="T75" fmla="*/ 203 h 692"/>
                  <a:gd name="T76" fmla="*/ 705 w 1021"/>
                  <a:gd name="T77" fmla="*/ 228 h 692"/>
                  <a:gd name="T78" fmla="*/ 739 w 1021"/>
                  <a:gd name="T79" fmla="*/ 214 h 692"/>
                  <a:gd name="T80" fmla="*/ 776 w 1021"/>
                  <a:gd name="T81" fmla="*/ 232 h 692"/>
                  <a:gd name="T82" fmla="*/ 771 w 1021"/>
                  <a:gd name="T83" fmla="*/ 294 h 692"/>
                  <a:gd name="T84" fmla="*/ 807 w 1021"/>
                  <a:gd name="T85" fmla="*/ 293 h 692"/>
                  <a:gd name="T86" fmla="*/ 807 w 1021"/>
                  <a:gd name="T87" fmla="*/ 321 h 692"/>
                  <a:gd name="T88" fmla="*/ 860 w 1021"/>
                  <a:gd name="T89" fmla="*/ 346 h 692"/>
                  <a:gd name="T90" fmla="*/ 923 w 1021"/>
                  <a:gd name="T91" fmla="*/ 374 h 692"/>
                  <a:gd name="T92" fmla="*/ 952 w 1021"/>
                  <a:gd name="T93" fmla="*/ 400 h 692"/>
                  <a:gd name="T94" fmla="*/ 988 w 1021"/>
                  <a:gd name="T95" fmla="*/ 438 h 692"/>
                  <a:gd name="T96" fmla="*/ 1010 w 1021"/>
                  <a:gd name="T97" fmla="*/ 493 h 692"/>
                  <a:gd name="T98" fmla="*/ 995 w 1021"/>
                  <a:gd name="T99" fmla="*/ 520 h 692"/>
                  <a:gd name="T100" fmla="*/ 952 w 1021"/>
                  <a:gd name="T101" fmla="*/ 538 h 692"/>
                  <a:gd name="T102" fmla="*/ 883 w 1021"/>
                  <a:gd name="T103" fmla="*/ 572 h 692"/>
                  <a:gd name="T104" fmla="*/ 840 w 1021"/>
                  <a:gd name="T105" fmla="*/ 573 h 692"/>
                  <a:gd name="T106" fmla="*/ 799 w 1021"/>
                  <a:gd name="T107" fmla="*/ 563 h 692"/>
                  <a:gd name="T108" fmla="*/ 762 w 1021"/>
                  <a:gd name="T109" fmla="*/ 556 h 692"/>
                  <a:gd name="T110" fmla="*/ 723 w 1021"/>
                  <a:gd name="T111" fmla="*/ 551 h 692"/>
                  <a:gd name="T112" fmla="*/ 671 w 1021"/>
                  <a:gd name="T113" fmla="*/ 526 h 692"/>
                  <a:gd name="T114" fmla="*/ 631 w 1021"/>
                  <a:gd name="T115" fmla="*/ 515 h 692"/>
                  <a:gd name="T116" fmla="*/ 606 w 1021"/>
                  <a:gd name="T117" fmla="*/ 522 h 692"/>
                  <a:gd name="T118" fmla="*/ 591 w 1021"/>
                  <a:gd name="T119" fmla="*/ 573 h 692"/>
                  <a:gd name="T120" fmla="*/ 575 w 1021"/>
                  <a:gd name="T121" fmla="*/ 626 h 692"/>
                  <a:gd name="T122" fmla="*/ 538 w 1021"/>
                  <a:gd name="T123" fmla="*/ 628 h 692"/>
                  <a:gd name="T124" fmla="*/ 499 w 1021"/>
                  <a:gd name="T125" fmla="*/ 667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1" h="692">
                    <a:moveTo>
                      <a:pt x="486" y="692"/>
                    </a:moveTo>
                    <a:lnTo>
                      <a:pt x="486" y="692"/>
                    </a:lnTo>
                    <a:lnTo>
                      <a:pt x="482" y="692"/>
                    </a:lnTo>
                    <a:lnTo>
                      <a:pt x="480" y="691"/>
                    </a:lnTo>
                    <a:lnTo>
                      <a:pt x="479" y="691"/>
                    </a:lnTo>
                    <a:lnTo>
                      <a:pt x="479" y="691"/>
                    </a:lnTo>
                    <a:lnTo>
                      <a:pt x="475" y="691"/>
                    </a:lnTo>
                    <a:lnTo>
                      <a:pt x="475" y="691"/>
                    </a:lnTo>
                    <a:lnTo>
                      <a:pt x="471" y="691"/>
                    </a:lnTo>
                    <a:lnTo>
                      <a:pt x="468" y="690"/>
                    </a:lnTo>
                    <a:lnTo>
                      <a:pt x="466" y="688"/>
                    </a:lnTo>
                    <a:lnTo>
                      <a:pt x="466" y="687"/>
                    </a:lnTo>
                    <a:lnTo>
                      <a:pt x="466" y="687"/>
                    </a:lnTo>
                    <a:lnTo>
                      <a:pt x="464" y="687"/>
                    </a:lnTo>
                    <a:lnTo>
                      <a:pt x="464" y="687"/>
                    </a:lnTo>
                    <a:lnTo>
                      <a:pt x="462" y="687"/>
                    </a:lnTo>
                    <a:lnTo>
                      <a:pt x="459" y="688"/>
                    </a:lnTo>
                    <a:lnTo>
                      <a:pt x="459" y="688"/>
                    </a:lnTo>
                    <a:lnTo>
                      <a:pt x="458" y="688"/>
                    </a:lnTo>
                    <a:lnTo>
                      <a:pt x="458" y="688"/>
                    </a:lnTo>
                    <a:lnTo>
                      <a:pt x="452" y="688"/>
                    </a:lnTo>
                    <a:lnTo>
                      <a:pt x="450" y="687"/>
                    </a:lnTo>
                    <a:lnTo>
                      <a:pt x="450" y="687"/>
                    </a:lnTo>
                    <a:lnTo>
                      <a:pt x="450" y="686"/>
                    </a:lnTo>
                    <a:lnTo>
                      <a:pt x="446" y="682"/>
                    </a:lnTo>
                    <a:lnTo>
                      <a:pt x="446" y="682"/>
                    </a:lnTo>
                    <a:lnTo>
                      <a:pt x="447" y="684"/>
                    </a:lnTo>
                    <a:lnTo>
                      <a:pt x="447" y="684"/>
                    </a:lnTo>
                    <a:lnTo>
                      <a:pt x="443" y="683"/>
                    </a:lnTo>
                    <a:lnTo>
                      <a:pt x="443" y="683"/>
                    </a:lnTo>
                    <a:lnTo>
                      <a:pt x="441" y="683"/>
                    </a:lnTo>
                    <a:lnTo>
                      <a:pt x="441" y="683"/>
                    </a:lnTo>
                    <a:lnTo>
                      <a:pt x="442" y="683"/>
                    </a:lnTo>
                    <a:lnTo>
                      <a:pt x="438" y="684"/>
                    </a:lnTo>
                    <a:lnTo>
                      <a:pt x="438" y="684"/>
                    </a:lnTo>
                    <a:lnTo>
                      <a:pt x="435" y="687"/>
                    </a:lnTo>
                    <a:lnTo>
                      <a:pt x="431" y="687"/>
                    </a:lnTo>
                    <a:lnTo>
                      <a:pt x="431" y="687"/>
                    </a:lnTo>
                    <a:lnTo>
                      <a:pt x="430" y="687"/>
                    </a:lnTo>
                    <a:lnTo>
                      <a:pt x="430" y="687"/>
                    </a:lnTo>
                    <a:lnTo>
                      <a:pt x="425" y="684"/>
                    </a:lnTo>
                    <a:lnTo>
                      <a:pt x="425" y="684"/>
                    </a:lnTo>
                    <a:lnTo>
                      <a:pt x="425" y="686"/>
                    </a:lnTo>
                    <a:lnTo>
                      <a:pt x="425" y="686"/>
                    </a:lnTo>
                    <a:lnTo>
                      <a:pt x="423" y="684"/>
                    </a:lnTo>
                    <a:lnTo>
                      <a:pt x="423" y="684"/>
                    </a:lnTo>
                    <a:lnTo>
                      <a:pt x="418" y="680"/>
                    </a:lnTo>
                    <a:lnTo>
                      <a:pt x="418" y="682"/>
                    </a:lnTo>
                    <a:lnTo>
                      <a:pt x="418" y="682"/>
                    </a:lnTo>
                    <a:lnTo>
                      <a:pt x="421" y="683"/>
                    </a:lnTo>
                    <a:lnTo>
                      <a:pt x="419" y="683"/>
                    </a:lnTo>
                    <a:lnTo>
                      <a:pt x="419" y="683"/>
                    </a:lnTo>
                    <a:lnTo>
                      <a:pt x="418" y="683"/>
                    </a:lnTo>
                    <a:lnTo>
                      <a:pt x="417" y="683"/>
                    </a:lnTo>
                    <a:lnTo>
                      <a:pt x="411" y="678"/>
                    </a:lnTo>
                    <a:lnTo>
                      <a:pt x="411" y="678"/>
                    </a:lnTo>
                    <a:lnTo>
                      <a:pt x="413" y="680"/>
                    </a:lnTo>
                    <a:lnTo>
                      <a:pt x="413" y="680"/>
                    </a:lnTo>
                    <a:lnTo>
                      <a:pt x="414" y="682"/>
                    </a:lnTo>
                    <a:lnTo>
                      <a:pt x="415" y="682"/>
                    </a:lnTo>
                    <a:lnTo>
                      <a:pt x="415" y="682"/>
                    </a:lnTo>
                    <a:lnTo>
                      <a:pt x="414" y="682"/>
                    </a:lnTo>
                    <a:lnTo>
                      <a:pt x="414" y="682"/>
                    </a:lnTo>
                    <a:lnTo>
                      <a:pt x="411" y="683"/>
                    </a:lnTo>
                    <a:lnTo>
                      <a:pt x="411" y="683"/>
                    </a:lnTo>
                    <a:lnTo>
                      <a:pt x="410" y="682"/>
                    </a:lnTo>
                    <a:lnTo>
                      <a:pt x="409" y="682"/>
                    </a:lnTo>
                    <a:lnTo>
                      <a:pt x="406" y="682"/>
                    </a:lnTo>
                    <a:lnTo>
                      <a:pt x="406" y="682"/>
                    </a:lnTo>
                    <a:lnTo>
                      <a:pt x="396" y="672"/>
                    </a:lnTo>
                    <a:lnTo>
                      <a:pt x="396" y="672"/>
                    </a:lnTo>
                    <a:lnTo>
                      <a:pt x="392" y="670"/>
                    </a:lnTo>
                    <a:lnTo>
                      <a:pt x="389" y="669"/>
                    </a:lnTo>
                    <a:lnTo>
                      <a:pt x="389" y="669"/>
                    </a:lnTo>
                    <a:lnTo>
                      <a:pt x="386" y="666"/>
                    </a:lnTo>
                    <a:lnTo>
                      <a:pt x="384" y="665"/>
                    </a:lnTo>
                    <a:lnTo>
                      <a:pt x="384" y="665"/>
                    </a:lnTo>
                    <a:lnTo>
                      <a:pt x="378" y="666"/>
                    </a:lnTo>
                    <a:lnTo>
                      <a:pt x="377" y="666"/>
                    </a:lnTo>
                    <a:lnTo>
                      <a:pt x="372" y="661"/>
                    </a:lnTo>
                    <a:lnTo>
                      <a:pt x="372" y="661"/>
                    </a:lnTo>
                    <a:lnTo>
                      <a:pt x="373" y="663"/>
                    </a:lnTo>
                    <a:lnTo>
                      <a:pt x="376" y="665"/>
                    </a:lnTo>
                    <a:lnTo>
                      <a:pt x="376" y="665"/>
                    </a:lnTo>
                    <a:lnTo>
                      <a:pt x="376" y="665"/>
                    </a:lnTo>
                    <a:lnTo>
                      <a:pt x="376" y="665"/>
                    </a:lnTo>
                    <a:lnTo>
                      <a:pt x="374" y="665"/>
                    </a:lnTo>
                    <a:lnTo>
                      <a:pt x="374" y="665"/>
                    </a:lnTo>
                    <a:lnTo>
                      <a:pt x="370" y="665"/>
                    </a:lnTo>
                    <a:lnTo>
                      <a:pt x="370" y="665"/>
                    </a:lnTo>
                    <a:lnTo>
                      <a:pt x="368" y="665"/>
                    </a:lnTo>
                    <a:lnTo>
                      <a:pt x="367" y="663"/>
                    </a:lnTo>
                    <a:lnTo>
                      <a:pt x="367" y="663"/>
                    </a:lnTo>
                    <a:lnTo>
                      <a:pt x="367" y="663"/>
                    </a:lnTo>
                    <a:lnTo>
                      <a:pt x="364" y="663"/>
                    </a:lnTo>
                    <a:lnTo>
                      <a:pt x="361" y="661"/>
                    </a:lnTo>
                    <a:lnTo>
                      <a:pt x="360" y="661"/>
                    </a:lnTo>
                    <a:lnTo>
                      <a:pt x="360" y="661"/>
                    </a:lnTo>
                    <a:lnTo>
                      <a:pt x="355" y="659"/>
                    </a:lnTo>
                    <a:lnTo>
                      <a:pt x="355" y="659"/>
                    </a:lnTo>
                    <a:lnTo>
                      <a:pt x="353" y="658"/>
                    </a:lnTo>
                    <a:lnTo>
                      <a:pt x="353" y="658"/>
                    </a:lnTo>
                    <a:lnTo>
                      <a:pt x="352" y="658"/>
                    </a:lnTo>
                    <a:lnTo>
                      <a:pt x="352" y="658"/>
                    </a:lnTo>
                    <a:lnTo>
                      <a:pt x="349" y="658"/>
                    </a:lnTo>
                    <a:lnTo>
                      <a:pt x="347" y="657"/>
                    </a:lnTo>
                    <a:lnTo>
                      <a:pt x="343" y="654"/>
                    </a:lnTo>
                    <a:lnTo>
                      <a:pt x="343" y="654"/>
                    </a:lnTo>
                    <a:lnTo>
                      <a:pt x="344" y="654"/>
                    </a:lnTo>
                    <a:lnTo>
                      <a:pt x="344" y="654"/>
                    </a:lnTo>
                    <a:lnTo>
                      <a:pt x="343" y="654"/>
                    </a:lnTo>
                    <a:lnTo>
                      <a:pt x="343" y="654"/>
                    </a:lnTo>
                    <a:lnTo>
                      <a:pt x="340" y="653"/>
                    </a:lnTo>
                    <a:lnTo>
                      <a:pt x="340" y="653"/>
                    </a:lnTo>
                    <a:lnTo>
                      <a:pt x="337" y="653"/>
                    </a:lnTo>
                    <a:lnTo>
                      <a:pt x="336" y="651"/>
                    </a:lnTo>
                    <a:lnTo>
                      <a:pt x="336" y="651"/>
                    </a:lnTo>
                    <a:lnTo>
                      <a:pt x="336" y="651"/>
                    </a:lnTo>
                    <a:lnTo>
                      <a:pt x="337" y="651"/>
                    </a:lnTo>
                    <a:lnTo>
                      <a:pt x="332" y="646"/>
                    </a:lnTo>
                    <a:lnTo>
                      <a:pt x="332" y="646"/>
                    </a:lnTo>
                    <a:lnTo>
                      <a:pt x="333" y="649"/>
                    </a:lnTo>
                    <a:lnTo>
                      <a:pt x="333" y="649"/>
                    </a:lnTo>
                    <a:lnTo>
                      <a:pt x="335" y="650"/>
                    </a:lnTo>
                    <a:lnTo>
                      <a:pt x="336" y="650"/>
                    </a:lnTo>
                    <a:lnTo>
                      <a:pt x="336" y="650"/>
                    </a:lnTo>
                    <a:lnTo>
                      <a:pt x="335" y="650"/>
                    </a:lnTo>
                    <a:lnTo>
                      <a:pt x="335" y="650"/>
                    </a:lnTo>
                    <a:lnTo>
                      <a:pt x="333" y="651"/>
                    </a:lnTo>
                    <a:lnTo>
                      <a:pt x="333" y="651"/>
                    </a:lnTo>
                    <a:lnTo>
                      <a:pt x="331" y="650"/>
                    </a:lnTo>
                    <a:lnTo>
                      <a:pt x="324" y="650"/>
                    </a:lnTo>
                    <a:lnTo>
                      <a:pt x="320" y="647"/>
                    </a:lnTo>
                    <a:lnTo>
                      <a:pt x="320" y="647"/>
                    </a:lnTo>
                    <a:lnTo>
                      <a:pt x="322" y="647"/>
                    </a:lnTo>
                    <a:lnTo>
                      <a:pt x="320" y="647"/>
                    </a:lnTo>
                    <a:lnTo>
                      <a:pt x="319" y="647"/>
                    </a:lnTo>
                    <a:lnTo>
                      <a:pt x="319" y="647"/>
                    </a:lnTo>
                    <a:lnTo>
                      <a:pt x="319" y="649"/>
                    </a:lnTo>
                    <a:lnTo>
                      <a:pt x="316" y="650"/>
                    </a:lnTo>
                    <a:lnTo>
                      <a:pt x="315" y="650"/>
                    </a:lnTo>
                    <a:lnTo>
                      <a:pt x="310" y="643"/>
                    </a:lnTo>
                    <a:lnTo>
                      <a:pt x="310" y="643"/>
                    </a:lnTo>
                    <a:lnTo>
                      <a:pt x="311" y="646"/>
                    </a:lnTo>
                    <a:lnTo>
                      <a:pt x="311" y="646"/>
                    </a:lnTo>
                    <a:lnTo>
                      <a:pt x="312" y="647"/>
                    </a:lnTo>
                    <a:lnTo>
                      <a:pt x="314" y="647"/>
                    </a:lnTo>
                    <a:lnTo>
                      <a:pt x="314" y="647"/>
                    </a:lnTo>
                    <a:lnTo>
                      <a:pt x="312" y="647"/>
                    </a:lnTo>
                    <a:lnTo>
                      <a:pt x="312" y="647"/>
                    </a:lnTo>
                    <a:lnTo>
                      <a:pt x="310" y="649"/>
                    </a:lnTo>
                    <a:lnTo>
                      <a:pt x="310" y="649"/>
                    </a:lnTo>
                    <a:lnTo>
                      <a:pt x="308" y="649"/>
                    </a:lnTo>
                    <a:lnTo>
                      <a:pt x="307" y="649"/>
                    </a:lnTo>
                    <a:lnTo>
                      <a:pt x="307" y="647"/>
                    </a:lnTo>
                    <a:lnTo>
                      <a:pt x="307" y="647"/>
                    </a:lnTo>
                    <a:lnTo>
                      <a:pt x="307" y="647"/>
                    </a:lnTo>
                    <a:lnTo>
                      <a:pt x="307" y="647"/>
                    </a:lnTo>
                    <a:lnTo>
                      <a:pt x="303" y="643"/>
                    </a:lnTo>
                    <a:lnTo>
                      <a:pt x="303" y="645"/>
                    </a:lnTo>
                    <a:lnTo>
                      <a:pt x="303" y="645"/>
                    </a:lnTo>
                    <a:lnTo>
                      <a:pt x="306" y="647"/>
                    </a:lnTo>
                    <a:lnTo>
                      <a:pt x="304" y="647"/>
                    </a:lnTo>
                    <a:lnTo>
                      <a:pt x="304" y="647"/>
                    </a:lnTo>
                    <a:lnTo>
                      <a:pt x="302" y="647"/>
                    </a:lnTo>
                    <a:lnTo>
                      <a:pt x="300" y="647"/>
                    </a:lnTo>
                    <a:lnTo>
                      <a:pt x="295" y="643"/>
                    </a:lnTo>
                    <a:lnTo>
                      <a:pt x="295" y="643"/>
                    </a:lnTo>
                    <a:lnTo>
                      <a:pt x="295" y="643"/>
                    </a:lnTo>
                    <a:lnTo>
                      <a:pt x="298" y="646"/>
                    </a:lnTo>
                    <a:lnTo>
                      <a:pt x="296" y="646"/>
                    </a:lnTo>
                    <a:lnTo>
                      <a:pt x="296" y="646"/>
                    </a:lnTo>
                    <a:lnTo>
                      <a:pt x="295" y="646"/>
                    </a:lnTo>
                    <a:lnTo>
                      <a:pt x="292" y="646"/>
                    </a:lnTo>
                    <a:lnTo>
                      <a:pt x="286" y="639"/>
                    </a:lnTo>
                    <a:lnTo>
                      <a:pt x="286" y="639"/>
                    </a:lnTo>
                    <a:lnTo>
                      <a:pt x="289" y="643"/>
                    </a:lnTo>
                    <a:lnTo>
                      <a:pt x="290" y="645"/>
                    </a:lnTo>
                    <a:lnTo>
                      <a:pt x="290" y="645"/>
                    </a:lnTo>
                    <a:lnTo>
                      <a:pt x="290" y="645"/>
                    </a:lnTo>
                    <a:lnTo>
                      <a:pt x="289" y="645"/>
                    </a:lnTo>
                    <a:lnTo>
                      <a:pt x="289" y="645"/>
                    </a:lnTo>
                    <a:lnTo>
                      <a:pt x="286" y="645"/>
                    </a:lnTo>
                    <a:lnTo>
                      <a:pt x="286" y="645"/>
                    </a:lnTo>
                    <a:lnTo>
                      <a:pt x="285" y="645"/>
                    </a:lnTo>
                    <a:lnTo>
                      <a:pt x="283" y="645"/>
                    </a:lnTo>
                    <a:lnTo>
                      <a:pt x="283" y="645"/>
                    </a:lnTo>
                    <a:lnTo>
                      <a:pt x="283" y="645"/>
                    </a:lnTo>
                    <a:lnTo>
                      <a:pt x="283" y="643"/>
                    </a:lnTo>
                    <a:lnTo>
                      <a:pt x="283" y="643"/>
                    </a:lnTo>
                    <a:lnTo>
                      <a:pt x="278" y="638"/>
                    </a:lnTo>
                    <a:lnTo>
                      <a:pt x="278" y="638"/>
                    </a:lnTo>
                    <a:lnTo>
                      <a:pt x="279" y="641"/>
                    </a:lnTo>
                    <a:lnTo>
                      <a:pt x="279" y="641"/>
                    </a:lnTo>
                    <a:lnTo>
                      <a:pt x="281" y="642"/>
                    </a:lnTo>
                    <a:lnTo>
                      <a:pt x="282" y="643"/>
                    </a:lnTo>
                    <a:lnTo>
                      <a:pt x="282" y="643"/>
                    </a:lnTo>
                    <a:lnTo>
                      <a:pt x="281" y="643"/>
                    </a:lnTo>
                    <a:lnTo>
                      <a:pt x="281" y="643"/>
                    </a:lnTo>
                    <a:lnTo>
                      <a:pt x="278" y="643"/>
                    </a:lnTo>
                    <a:lnTo>
                      <a:pt x="278" y="643"/>
                    </a:lnTo>
                    <a:lnTo>
                      <a:pt x="277" y="643"/>
                    </a:lnTo>
                    <a:lnTo>
                      <a:pt x="275" y="643"/>
                    </a:lnTo>
                    <a:lnTo>
                      <a:pt x="275" y="642"/>
                    </a:lnTo>
                    <a:lnTo>
                      <a:pt x="275" y="642"/>
                    </a:lnTo>
                    <a:lnTo>
                      <a:pt x="275" y="642"/>
                    </a:lnTo>
                    <a:lnTo>
                      <a:pt x="275" y="642"/>
                    </a:lnTo>
                    <a:lnTo>
                      <a:pt x="271" y="641"/>
                    </a:lnTo>
                    <a:lnTo>
                      <a:pt x="271" y="641"/>
                    </a:lnTo>
                    <a:lnTo>
                      <a:pt x="273" y="642"/>
                    </a:lnTo>
                    <a:lnTo>
                      <a:pt x="273" y="642"/>
                    </a:lnTo>
                    <a:lnTo>
                      <a:pt x="271" y="642"/>
                    </a:lnTo>
                    <a:lnTo>
                      <a:pt x="271" y="642"/>
                    </a:lnTo>
                    <a:lnTo>
                      <a:pt x="269" y="642"/>
                    </a:lnTo>
                    <a:lnTo>
                      <a:pt x="269" y="642"/>
                    </a:lnTo>
                    <a:lnTo>
                      <a:pt x="265" y="642"/>
                    </a:lnTo>
                    <a:lnTo>
                      <a:pt x="265" y="642"/>
                    </a:lnTo>
                    <a:lnTo>
                      <a:pt x="262" y="642"/>
                    </a:lnTo>
                    <a:lnTo>
                      <a:pt x="262" y="642"/>
                    </a:lnTo>
                    <a:lnTo>
                      <a:pt x="261" y="642"/>
                    </a:lnTo>
                    <a:lnTo>
                      <a:pt x="261" y="642"/>
                    </a:lnTo>
                    <a:lnTo>
                      <a:pt x="255" y="641"/>
                    </a:lnTo>
                    <a:lnTo>
                      <a:pt x="251" y="639"/>
                    </a:lnTo>
                    <a:lnTo>
                      <a:pt x="251" y="639"/>
                    </a:lnTo>
                    <a:lnTo>
                      <a:pt x="251" y="639"/>
                    </a:lnTo>
                    <a:lnTo>
                      <a:pt x="251" y="639"/>
                    </a:lnTo>
                    <a:lnTo>
                      <a:pt x="250" y="639"/>
                    </a:lnTo>
                    <a:lnTo>
                      <a:pt x="245" y="639"/>
                    </a:lnTo>
                    <a:lnTo>
                      <a:pt x="244" y="639"/>
                    </a:lnTo>
                    <a:lnTo>
                      <a:pt x="244" y="639"/>
                    </a:lnTo>
                    <a:lnTo>
                      <a:pt x="241" y="637"/>
                    </a:lnTo>
                    <a:lnTo>
                      <a:pt x="241" y="637"/>
                    </a:lnTo>
                    <a:lnTo>
                      <a:pt x="244" y="638"/>
                    </a:lnTo>
                    <a:lnTo>
                      <a:pt x="238" y="634"/>
                    </a:lnTo>
                    <a:lnTo>
                      <a:pt x="238" y="634"/>
                    </a:lnTo>
                    <a:lnTo>
                      <a:pt x="238" y="635"/>
                    </a:lnTo>
                    <a:lnTo>
                      <a:pt x="238" y="635"/>
                    </a:lnTo>
                    <a:lnTo>
                      <a:pt x="237" y="635"/>
                    </a:lnTo>
                    <a:lnTo>
                      <a:pt x="237" y="635"/>
                    </a:lnTo>
                    <a:lnTo>
                      <a:pt x="236" y="635"/>
                    </a:lnTo>
                    <a:lnTo>
                      <a:pt x="234" y="635"/>
                    </a:lnTo>
                    <a:lnTo>
                      <a:pt x="229" y="632"/>
                    </a:lnTo>
                    <a:lnTo>
                      <a:pt x="229" y="633"/>
                    </a:lnTo>
                    <a:lnTo>
                      <a:pt x="229" y="633"/>
                    </a:lnTo>
                    <a:lnTo>
                      <a:pt x="232" y="634"/>
                    </a:lnTo>
                    <a:lnTo>
                      <a:pt x="230" y="634"/>
                    </a:lnTo>
                    <a:lnTo>
                      <a:pt x="230" y="634"/>
                    </a:lnTo>
                    <a:lnTo>
                      <a:pt x="229" y="634"/>
                    </a:lnTo>
                    <a:lnTo>
                      <a:pt x="225" y="634"/>
                    </a:lnTo>
                    <a:lnTo>
                      <a:pt x="220" y="626"/>
                    </a:lnTo>
                    <a:lnTo>
                      <a:pt x="220" y="626"/>
                    </a:lnTo>
                    <a:lnTo>
                      <a:pt x="220" y="629"/>
                    </a:lnTo>
                    <a:lnTo>
                      <a:pt x="218" y="628"/>
                    </a:lnTo>
                    <a:lnTo>
                      <a:pt x="218" y="628"/>
                    </a:lnTo>
                    <a:lnTo>
                      <a:pt x="218" y="630"/>
                    </a:lnTo>
                    <a:lnTo>
                      <a:pt x="221" y="632"/>
                    </a:lnTo>
                    <a:lnTo>
                      <a:pt x="221" y="632"/>
                    </a:lnTo>
                    <a:lnTo>
                      <a:pt x="221" y="632"/>
                    </a:lnTo>
                    <a:lnTo>
                      <a:pt x="221" y="632"/>
                    </a:lnTo>
                    <a:lnTo>
                      <a:pt x="221" y="632"/>
                    </a:lnTo>
                    <a:lnTo>
                      <a:pt x="221" y="632"/>
                    </a:lnTo>
                    <a:lnTo>
                      <a:pt x="216" y="630"/>
                    </a:lnTo>
                    <a:lnTo>
                      <a:pt x="213" y="629"/>
                    </a:lnTo>
                    <a:lnTo>
                      <a:pt x="212" y="626"/>
                    </a:lnTo>
                    <a:lnTo>
                      <a:pt x="212" y="625"/>
                    </a:lnTo>
                    <a:lnTo>
                      <a:pt x="212" y="625"/>
                    </a:lnTo>
                    <a:lnTo>
                      <a:pt x="211" y="620"/>
                    </a:lnTo>
                    <a:lnTo>
                      <a:pt x="211" y="614"/>
                    </a:lnTo>
                    <a:lnTo>
                      <a:pt x="214" y="608"/>
                    </a:lnTo>
                    <a:lnTo>
                      <a:pt x="214" y="608"/>
                    </a:lnTo>
                    <a:lnTo>
                      <a:pt x="216" y="604"/>
                    </a:lnTo>
                    <a:lnTo>
                      <a:pt x="221" y="600"/>
                    </a:lnTo>
                    <a:lnTo>
                      <a:pt x="222" y="600"/>
                    </a:lnTo>
                    <a:lnTo>
                      <a:pt x="222" y="600"/>
                    </a:lnTo>
                    <a:lnTo>
                      <a:pt x="221" y="600"/>
                    </a:lnTo>
                    <a:lnTo>
                      <a:pt x="224" y="598"/>
                    </a:lnTo>
                    <a:lnTo>
                      <a:pt x="218" y="597"/>
                    </a:lnTo>
                    <a:lnTo>
                      <a:pt x="218" y="597"/>
                    </a:lnTo>
                    <a:lnTo>
                      <a:pt x="218" y="597"/>
                    </a:lnTo>
                    <a:lnTo>
                      <a:pt x="218" y="597"/>
                    </a:lnTo>
                    <a:lnTo>
                      <a:pt x="213" y="596"/>
                    </a:lnTo>
                    <a:lnTo>
                      <a:pt x="213" y="596"/>
                    </a:lnTo>
                    <a:lnTo>
                      <a:pt x="211" y="593"/>
                    </a:lnTo>
                    <a:lnTo>
                      <a:pt x="211" y="593"/>
                    </a:lnTo>
                    <a:lnTo>
                      <a:pt x="205" y="591"/>
                    </a:lnTo>
                    <a:lnTo>
                      <a:pt x="205" y="591"/>
                    </a:lnTo>
                    <a:lnTo>
                      <a:pt x="205" y="591"/>
                    </a:lnTo>
                    <a:lnTo>
                      <a:pt x="205" y="591"/>
                    </a:lnTo>
                    <a:lnTo>
                      <a:pt x="204" y="591"/>
                    </a:lnTo>
                    <a:lnTo>
                      <a:pt x="204" y="591"/>
                    </a:lnTo>
                    <a:lnTo>
                      <a:pt x="199" y="584"/>
                    </a:lnTo>
                    <a:lnTo>
                      <a:pt x="199" y="584"/>
                    </a:lnTo>
                    <a:lnTo>
                      <a:pt x="200" y="588"/>
                    </a:lnTo>
                    <a:lnTo>
                      <a:pt x="200" y="588"/>
                    </a:lnTo>
                    <a:lnTo>
                      <a:pt x="201" y="589"/>
                    </a:lnTo>
                    <a:lnTo>
                      <a:pt x="203" y="589"/>
                    </a:lnTo>
                    <a:lnTo>
                      <a:pt x="203" y="589"/>
                    </a:lnTo>
                    <a:lnTo>
                      <a:pt x="203" y="589"/>
                    </a:lnTo>
                    <a:lnTo>
                      <a:pt x="203" y="589"/>
                    </a:lnTo>
                    <a:lnTo>
                      <a:pt x="200" y="589"/>
                    </a:lnTo>
                    <a:lnTo>
                      <a:pt x="200" y="589"/>
                    </a:lnTo>
                    <a:lnTo>
                      <a:pt x="196" y="589"/>
                    </a:lnTo>
                    <a:lnTo>
                      <a:pt x="193" y="587"/>
                    </a:lnTo>
                    <a:lnTo>
                      <a:pt x="193" y="587"/>
                    </a:lnTo>
                    <a:lnTo>
                      <a:pt x="192" y="584"/>
                    </a:lnTo>
                    <a:lnTo>
                      <a:pt x="191" y="581"/>
                    </a:lnTo>
                    <a:lnTo>
                      <a:pt x="191" y="581"/>
                    </a:lnTo>
                    <a:lnTo>
                      <a:pt x="191" y="580"/>
                    </a:lnTo>
                    <a:lnTo>
                      <a:pt x="191" y="580"/>
                    </a:lnTo>
                    <a:lnTo>
                      <a:pt x="187" y="579"/>
                    </a:lnTo>
                    <a:lnTo>
                      <a:pt x="185" y="577"/>
                    </a:lnTo>
                    <a:lnTo>
                      <a:pt x="185" y="577"/>
                    </a:lnTo>
                    <a:lnTo>
                      <a:pt x="184" y="577"/>
                    </a:lnTo>
                    <a:lnTo>
                      <a:pt x="184" y="577"/>
                    </a:lnTo>
                    <a:lnTo>
                      <a:pt x="181" y="579"/>
                    </a:lnTo>
                    <a:lnTo>
                      <a:pt x="177" y="580"/>
                    </a:lnTo>
                    <a:lnTo>
                      <a:pt x="177" y="580"/>
                    </a:lnTo>
                    <a:lnTo>
                      <a:pt x="175" y="583"/>
                    </a:lnTo>
                    <a:lnTo>
                      <a:pt x="172" y="584"/>
                    </a:lnTo>
                    <a:lnTo>
                      <a:pt x="167" y="584"/>
                    </a:lnTo>
                    <a:lnTo>
                      <a:pt x="162" y="576"/>
                    </a:lnTo>
                    <a:lnTo>
                      <a:pt x="162" y="576"/>
                    </a:lnTo>
                    <a:lnTo>
                      <a:pt x="162" y="577"/>
                    </a:lnTo>
                    <a:lnTo>
                      <a:pt x="162" y="580"/>
                    </a:lnTo>
                    <a:lnTo>
                      <a:pt x="162" y="580"/>
                    </a:lnTo>
                    <a:lnTo>
                      <a:pt x="163" y="581"/>
                    </a:lnTo>
                    <a:lnTo>
                      <a:pt x="162" y="580"/>
                    </a:lnTo>
                    <a:lnTo>
                      <a:pt x="162" y="580"/>
                    </a:lnTo>
                    <a:lnTo>
                      <a:pt x="159" y="577"/>
                    </a:lnTo>
                    <a:lnTo>
                      <a:pt x="159" y="573"/>
                    </a:lnTo>
                    <a:lnTo>
                      <a:pt x="159" y="573"/>
                    </a:lnTo>
                    <a:lnTo>
                      <a:pt x="160" y="569"/>
                    </a:lnTo>
                    <a:lnTo>
                      <a:pt x="162" y="568"/>
                    </a:lnTo>
                    <a:lnTo>
                      <a:pt x="162" y="567"/>
                    </a:lnTo>
                    <a:lnTo>
                      <a:pt x="162" y="565"/>
                    </a:lnTo>
                    <a:lnTo>
                      <a:pt x="167" y="560"/>
                    </a:lnTo>
                    <a:lnTo>
                      <a:pt x="167" y="560"/>
                    </a:lnTo>
                    <a:lnTo>
                      <a:pt x="164" y="561"/>
                    </a:lnTo>
                    <a:lnTo>
                      <a:pt x="163" y="564"/>
                    </a:lnTo>
                    <a:lnTo>
                      <a:pt x="163" y="564"/>
                    </a:lnTo>
                    <a:lnTo>
                      <a:pt x="163" y="563"/>
                    </a:lnTo>
                    <a:lnTo>
                      <a:pt x="163" y="563"/>
                    </a:lnTo>
                    <a:lnTo>
                      <a:pt x="163" y="560"/>
                    </a:lnTo>
                    <a:lnTo>
                      <a:pt x="170" y="555"/>
                    </a:lnTo>
                    <a:lnTo>
                      <a:pt x="170" y="555"/>
                    </a:lnTo>
                    <a:lnTo>
                      <a:pt x="170" y="555"/>
                    </a:lnTo>
                    <a:lnTo>
                      <a:pt x="172" y="555"/>
                    </a:lnTo>
                    <a:lnTo>
                      <a:pt x="172" y="555"/>
                    </a:lnTo>
                    <a:lnTo>
                      <a:pt x="170" y="556"/>
                    </a:lnTo>
                    <a:lnTo>
                      <a:pt x="168" y="559"/>
                    </a:lnTo>
                    <a:lnTo>
                      <a:pt x="175" y="554"/>
                    </a:lnTo>
                    <a:lnTo>
                      <a:pt x="176" y="554"/>
                    </a:lnTo>
                    <a:lnTo>
                      <a:pt x="176" y="554"/>
                    </a:lnTo>
                    <a:lnTo>
                      <a:pt x="183" y="552"/>
                    </a:lnTo>
                    <a:lnTo>
                      <a:pt x="187" y="550"/>
                    </a:lnTo>
                    <a:lnTo>
                      <a:pt x="189" y="547"/>
                    </a:lnTo>
                    <a:lnTo>
                      <a:pt x="191" y="544"/>
                    </a:lnTo>
                    <a:lnTo>
                      <a:pt x="197" y="540"/>
                    </a:lnTo>
                    <a:lnTo>
                      <a:pt x="197" y="540"/>
                    </a:lnTo>
                    <a:lnTo>
                      <a:pt x="200" y="540"/>
                    </a:lnTo>
                    <a:lnTo>
                      <a:pt x="200" y="540"/>
                    </a:lnTo>
                    <a:lnTo>
                      <a:pt x="203" y="542"/>
                    </a:lnTo>
                    <a:lnTo>
                      <a:pt x="203" y="542"/>
                    </a:lnTo>
                    <a:lnTo>
                      <a:pt x="204" y="542"/>
                    </a:lnTo>
                    <a:lnTo>
                      <a:pt x="205" y="540"/>
                    </a:lnTo>
                    <a:lnTo>
                      <a:pt x="214" y="540"/>
                    </a:lnTo>
                    <a:lnTo>
                      <a:pt x="216" y="542"/>
                    </a:lnTo>
                    <a:lnTo>
                      <a:pt x="216" y="542"/>
                    </a:lnTo>
                    <a:lnTo>
                      <a:pt x="218" y="540"/>
                    </a:lnTo>
                    <a:lnTo>
                      <a:pt x="218" y="540"/>
                    </a:lnTo>
                    <a:lnTo>
                      <a:pt x="218" y="532"/>
                    </a:lnTo>
                    <a:lnTo>
                      <a:pt x="218" y="532"/>
                    </a:lnTo>
                    <a:lnTo>
                      <a:pt x="214" y="528"/>
                    </a:lnTo>
                    <a:lnTo>
                      <a:pt x="214" y="528"/>
                    </a:lnTo>
                    <a:lnTo>
                      <a:pt x="207" y="522"/>
                    </a:lnTo>
                    <a:lnTo>
                      <a:pt x="203" y="516"/>
                    </a:lnTo>
                    <a:lnTo>
                      <a:pt x="200" y="511"/>
                    </a:lnTo>
                    <a:lnTo>
                      <a:pt x="200" y="509"/>
                    </a:lnTo>
                    <a:lnTo>
                      <a:pt x="200" y="505"/>
                    </a:lnTo>
                    <a:lnTo>
                      <a:pt x="204" y="499"/>
                    </a:lnTo>
                    <a:lnTo>
                      <a:pt x="203" y="499"/>
                    </a:lnTo>
                    <a:lnTo>
                      <a:pt x="203" y="499"/>
                    </a:lnTo>
                    <a:lnTo>
                      <a:pt x="201" y="502"/>
                    </a:lnTo>
                    <a:lnTo>
                      <a:pt x="201" y="502"/>
                    </a:lnTo>
                    <a:lnTo>
                      <a:pt x="201" y="502"/>
                    </a:lnTo>
                    <a:lnTo>
                      <a:pt x="201" y="502"/>
                    </a:lnTo>
                    <a:lnTo>
                      <a:pt x="201" y="499"/>
                    </a:lnTo>
                    <a:lnTo>
                      <a:pt x="201" y="497"/>
                    </a:lnTo>
                    <a:lnTo>
                      <a:pt x="201" y="497"/>
                    </a:lnTo>
                    <a:lnTo>
                      <a:pt x="199" y="495"/>
                    </a:lnTo>
                    <a:lnTo>
                      <a:pt x="196" y="494"/>
                    </a:lnTo>
                    <a:lnTo>
                      <a:pt x="196" y="494"/>
                    </a:lnTo>
                    <a:lnTo>
                      <a:pt x="196" y="494"/>
                    </a:lnTo>
                    <a:lnTo>
                      <a:pt x="192" y="491"/>
                    </a:lnTo>
                    <a:lnTo>
                      <a:pt x="192" y="491"/>
                    </a:lnTo>
                    <a:lnTo>
                      <a:pt x="193" y="493"/>
                    </a:lnTo>
                    <a:lnTo>
                      <a:pt x="193" y="493"/>
                    </a:lnTo>
                    <a:lnTo>
                      <a:pt x="192" y="491"/>
                    </a:lnTo>
                    <a:lnTo>
                      <a:pt x="188" y="491"/>
                    </a:lnTo>
                    <a:lnTo>
                      <a:pt x="184" y="490"/>
                    </a:lnTo>
                    <a:lnTo>
                      <a:pt x="184" y="490"/>
                    </a:lnTo>
                    <a:lnTo>
                      <a:pt x="183" y="489"/>
                    </a:lnTo>
                    <a:lnTo>
                      <a:pt x="180" y="487"/>
                    </a:lnTo>
                    <a:lnTo>
                      <a:pt x="180" y="487"/>
                    </a:lnTo>
                    <a:lnTo>
                      <a:pt x="179" y="485"/>
                    </a:lnTo>
                    <a:lnTo>
                      <a:pt x="167" y="485"/>
                    </a:lnTo>
                    <a:lnTo>
                      <a:pt x="162" y="481"/>
                    </a:lnTo>
                    <a:lnTo>
                      <a:pt x="162" y="481"/>
                    </a:lnTo>
                    <a:lnTo>
                      <a:pt x="163" y="479"/>
                    </a:lnTo>
                    <a:lnTo>
                      <a:pt x="162" y="481"/>
                    </a:lnTo>
                    <a:lnTo>
                      <a:pt x="162" y="479"/>
                    </a:lnTo>
                    <a:lnTo>
                      <a:pt x="162" y="479"/>
                    </a:lnTo>
                    <a:lnTo>
                      <a:pt x="162" y="481"/>
                    </a:lnTo>
                    <a:lnTo>
                      <a:pt x="156" y="485"/>
                    </a:lnTo>
                    <a:lnTo>
                      <a:pt x="150" y="485"/>
                    </a:lnTo>
                    <a:lnTo>
                      <a:pt x="148" y="483"/>
                    </a:lnTo>
                    <a:lnTo>
                      <a:pt x="148" y="483"/>
                    </a:lnTo>
                    <a:lnTo>
                      <a:pt x="144" y="482"/>
                    </a:lnTo>
                    <a:lnTo>
                      <a:pt x="142" y="479"/>
                    </a:lnTo>
                    <a:lnTo>
                      <a:pt x="136" y="474"/>
                    </a:lnTo>
                    <a:lnTo>
                      <a:pt x="136" y="474"/>
                    </a:lnTo>
                    <a:lnTo>
                      <a:pt x="132" y="469"/>
                    </a:lnTo>
                    <a:lnTo>
                      <a:pt x="131" y="469"/>
                    </a:lnTo>
                    <a:lnTo>
                      <a:pt x="131" y="469"/>
                    </a:lnTo>
                    <a:lnTo>
                      <a:pt x="125" y="468"/>
                    </a:lnTo>
                    <a:lnTo>
                      <a:pt x="115" y="468"/>
                    </a:lnTo>
                    <a:lnTo>
                      <a:pt x="115" y="468"/>
                    </a:lnTo>
                    <a:lnTo>
                      <a:pt x="106" y="468"/>
                    </a:lnTo>
                    <a:lnTo>
                      <a:pt x="99" y="469"/>
                    </a:lnTo>
                    <a:lnTo>
                      <a:pt x="98" y="469"/>
                    </a:lnTo>
                    <a:lnTo>
                      <a:pt x="97" y="469"/>
                    </a:lnTo>
                    <a:lnTo>
                      <a:pt x="97" y="469"/>
                    </a:lnTo>
                    <a:lnTo>
                      <a:pt x="89" y="472"/>
                    </a:lnTo>
                    <a:lnTo>
                      <a:pt x="89" y="472"/>
                    </a:lnTo>
                    <a:lnTo>
                      <a:pt x="82" y="473"/>
                    </a:lnTo>
                    <a:lnTo>
                      <a:pt x="81" y="473"/>
                    </a:lnTo>
                    <a:lnTo>
                      <a:pt x="78" y="473"/>
                    </a:lnTo>
                    <a:lnTo>
                      <a:pt x="78" y="473"/>
                    </a:lnTo>
                    <a:lnTo>
                      <a:pt x="74" y="473"/>
                    </a:lnTo>
                    <a:lnTo>
                      <a:pt x="73" y="476"/>
                    </a:lnTo>
                    <a:lnTo>
                      <a:pt x="73" y="476"/>
                    </a:lnTo>
                    <a:lnTo>
                      <a:pt x="62" y="478"/>
                    </a:lnTo>
                    <a:lnTo>
                      <a:pt x="51" y="481"/>
                    </a:lnTo>
                    <a:lnTo>
                      <a:pt x="51" y="481"/>
                    </a:lnTo>
                    <a:lnTo>
                      <a:pt x="41" y="481"/>
                    </a:lnTo>
                    <a:lnTo>
                      <a:pt x="35" y="476"/>
                    </a:lnTo>
                    <a:lnTo>
                      <a:pt x="35" y="476"/>
                    </a:lnTo>
                    <a:lnTo>
                      <a:pt x="37" y="478"/>
                    </a:lnTo>
                    <a:lnTo>
                      <a:pt x="39" y="479"/>
                    </a:lnTo>
                    <a:lnTo>
                      <a:pt x="39" y="479"/>
                    </a:lnTo>
                    <a:lnTo>
                      <a:pt x="39" y="479"/>
                    </a:lnTo>
                    <a:lnTo>
                      <a:pt x="39" y="479"/>
                    </a:lnTo>
                    <a:lnTo>
                      <a:pt x="37" y="479"/>
                    </a:lnTo>
                    <a:lnTo>
                      <a:pt x="37" y="479"/>
                    </a:lnTo>
                    <a:lnTo>
                      <a:pt x="33" y="479"/>
                    </a:lnTo>
                    <a:lnTo>
                      <a:pt x="33" y="479"/>
                    </a:lnTo>
                    <a:lnTo>
                      <a:pt x="32" y="479"/>
                    </a:lnTo>
                    <a:lnTo>
                      <a:pt x="28" y="479"/>
                    </a:lnTo>
                    <a:lnTo>
                      <a:pt x="23" y="477"/>
                    </a:lnTo>
                    <a:lnTo>
                      <a:pt x="23" y="477"/>
                    </a:lnTo>
                    <a:lnTo>
                      <a:pt x="25" y="478"/>
                    </a:lnTo>
                    <a:lnTo>
                      <a:pt x="25" y="478"/>
                    </a:lnTo>
                    <a:lnTo>
                      <a:pt x="24" y="478"/>
                    </a:lnTo>
                    <a:lnTo>
                      <a:pt x="24" y="478"/>
                    </a:lnTo>
                    <a:lnTo>
                      <a:pt x="21" y="478"/>
                    </a:lnTo>
                    <a:lnTo>
                      <a:pt x="21" y="478"/>
                    </a:lnTo>
                    <a:lnTo>
                      <a:pt x="17" y="478"/>
                    </a:lnTo>
                    <a:lnTo>
                      <a:pt x="17" y="478"/>
                    </a:lnTo>
                    <a:lnTo>
                      <a:pt x="15" y="478"/>
                    </a:lnTo>
                    <a:lnTo>
                      <a:pt x="15" y="478"/>
                    </a:lnTo>
                    <a:lnTo>
                      <a:pt x="11" y="477"/>
                    </a:lnTo>
                    <a:lnTo>
                      <a:pt x="8" y="476"/>
                    </a:lnTo>
                    <a:lnTo>
                      <a:pt x="8" y="476"/>
                    </a:lnTo>
                    <a:lnTo>
                      <a:pt x="8" y="476"/>
                    </a:lnTo>
                    <a:lnTo>
                      <a:pt x="4" y="472"/>
                    </a:lnTo>
                    <a:lnTo>
                      <a:pt x="4" y="472"/>
                    </a:lnTo>
                    <a:lnTo>
                      <a:pt x="4" y="472"/>
                    </a:lnTo>
                    <a:lnTo>
                      <a:pt x="4" y="472"/>
                    </a:lnTo>
                    <a:lnTo>
                      <a:pt x="6" y="473"/>
                    </a:lnTo>
                    <a:lnTo>
                      <a:pt x="0" y="468"/>
                    </a:lnTo>
                    <a:lnTo>
                      <a:pt x="0" y="454"/>
                    </a:lnTo>
                    <a:lnTo>
                      <a:pt x="8" y="448"/>
                    </a:lnTo>
                    <a:lnTo>
                      <a:pt x="8" y="448"/>
                    </a:lnTo>
                    <a:lnTo>
                      <a:pt x="8" y="449"/>
                    </a:lnTo>
                    <a:lnTo>
                      <a:pt x="8" y="449"/>
                    </a:lnTo>
                    <a:lnTo>
                      <a:pt x="8" y="449"/>
                    </a:lnTo>
                    <a:lnTo>
                      <a:pt x="11" y="444"/>
                    </a:lnTo>
                    <a:lnTo>
                      <a:pt x="14" y="442"/>
                    </a:lnTo>
                    <a:lnTo>
                      <a:pt x="14" y="442"/>
                    </a:lnTo>
                    <a:lnTo>
                      <a:pt x="14" y="441"/>
                    </a:lnTo>
                    <a:lnTo>
                      <a:pt x="15" y="438"/>
                    </a:lnTo>
                    <a:lnTo>
                      <a:pt x="15" y="438"/>
                    </a:lnTo>
                    <a:lnTo>
                      <a:pt x="17" y="435"/>
                    </a:lnTo>
                    <a:lnTo>
                      <a:pt x="20" y="429"/>
                    </a:lnTo>
                    <a:lnTo>
                      <a:pt x="20" y="429"/>
                    </a:lnTo>
                    <a:lnTo>
                      <a:pt x="21" y="425"/>
                    </a:lnTo>
                    <a:lnTo>
                      <a:pt x="23" y="423"/>
                    </a:lnTo>
                    <a:lnTo>
                      <a:pt x="23" y="423"/>
                    </a:lnTo>
                    <a:lnTo>
                      <a:pt x="23" y="423"/>
                    </a:lnTo>
                    <a:lnTo>
                      <a:pt x="25" y="419"/>
                    </a:lnTo>
                    <a:lnTo>
                      <a:pt x="25" y="419"/>
                    </a:lnTo>
                    <a:lnTo>
                      <a:pt x="29" y="415"/>
                    </a:lnTo>
                    <a:lnTo>
                      <a:pt x="32" y="409"/>
                    </a:lnTo>
                    <a:lnTo>
                      <a:pt x="32" y="409"/>
                    </a:lnTo>
                    <a:lnTo>
                      <a:pt x="33" y="405"/>
                    </a:lnTo>
                    <a:lnTo>
                      <a:pt x="35" y="401"/>
                    </a:lnTo>
                    <a:lnTo>
                      <a:pt x="35" y="401"/>
                    </a:lnTo>
                    <a:lnTo>
                      <a:pt x="41" y="394"/>
                    </a:lnTo>
                    <a:lnTo>
                      <a:pt x="41" y="394"/>
                    </a:lnTo>
                    <a:lnTo>
                      <a:pt x="47" y="386"/>
                    </a:lnTo>
                    <a:lnTo>
                      <a:pt x="49" y="379"/>
                    </a:lnTo>
                    <a:lnTo>
                      <a:pt x="51" y="372"/>
                    </a:lnTo>
                    <a:lnTo>
                      <a:pt x="48" y="366"/>
                    </a:lnTo>
                    <a:lnTo>
                      <a:pt x="52" y="358"/>
                    </a:lnTo>
                    <a:lnTo>
                      <a:pt x="52" y="358"/>
                    </a:lnTo>
                    <a:lnTo>
                      <a:pt x="52" y="357"/>
                    </a:lnTo>
                    <a:lnTo>
                      <a:pt x="53" y="357"/>
                    </a:lnTo>
                    <a:lnTo>
                      <a:pt x="51" y="353"/>
                    </a:lnTo>
                    <a:lnTo>
                      <a:pt x="51" y="351"/>
                    </a:lnTo>
                    <a:lnTo>
                      <a:pt x="51" y="351"/>
                    </a:lnTo>
                    <a:lnTo>
                      <a:pt x="49" y="350"/>
                    </a:lnTo>
                    <a:lnTo>
                      <a:pt x="49" y="346"/>
                    </a:lnTo>
                    <a:lnTo>
                      <a:pt x="51" y="343"/>
                    </a:lnTo>
                    <a:lnTo>
                      <a:pt x="51" y="343"/>
                    </a:lnTo>
                    <a:lnTo>
                      <a:pt x="53" y="339"/>
                    </a:lnTo>
                    <a:lnTo>
                      <a:pt x="56" y="337"/>
                    </a:lnTo>
                    <a:lnTo>
                      <a:pt x="56" y="337"/>
                    </a:lnTo>
                    <a:lnTo>
                      <a:pt x="58" y="334"/>
                    </a:lnTo>
                    <a:lnTo>
                      <a:pt x="61" y="330"/>
                    </a:lnTo>
                    <a:lnTo>
                      <a:pt x="61" y="330"/>
                    </a:lnTo>
                    <a:lnTo>
                      <a:pt x="64" y="325"/>
                    </a:lnTo>
                    <a:lnTo>
                      <a:pt x="64" y="325"/>
                    </a:lnTo>
                    <a:lnTo>
                      <a:pt x="70" y="323"/>
                    </a:lnTo>
                    <a:lnTo>
                      <a:pt x="77" y="322"/>
                    </a:lnTo>
                    <a:lnTo>
                      <a:pt x="77" y="322"/>
                    </a:lnTo>
                    <a:lnTo>
                      <a:pt x="82" y="322"/>
                    </a:lnTo>
                    <a:lnTo>
                      <a:pt x="86" y="322"/>
                    </a:lnTo>
                    <a:lnTo>
                      <a:pt x="86" y="322"/>
                    </a:lnTo>
                    <a:lnTo>
                      <a:pt x="86" y="322"/>
                    </a:lnTo>
                    <a:lnTo>
                      <a:pt x="86" y="321"/>
                    </a:lnTo>
                    <a:lnTo>
                      <a:pt x="86" y="321"/>
                    </a:lnTo>
                    <a:lnTo>
                      <a:pt x="88" y="323"/>
                    </a:lnTo>
                    <a:lnTo>
                      <a:pt x="90" y="325"/>
                    </a:lnTo>
                    <a:lnTo>
                      <a:pt x="85" y="318"/>
                    </a:lnTo>
                    <a:lnTo>
                      <a:pt x="85" y="314"/>
                    </a:lnTo>
                    <a:lnTo>
                      <a:pt x="85" y="314"/>
                    </a:lnTo>
                    <a:lnTo>
                      <a:pt x="84" y="314"/>
                    </a:lnTo>
                    <a:lnTo>
                      <a:pt x="84" y="314"/>
                    </a:lnTo>
                    <a:lnTo>
                      <a:pt x="82" y="310"/>
                    </a:lnTo>
                    <a:lnTo>
                      <a:pt x="82" y="306"/>
                    </a:lnTo>
                    <a:lnTo>
                      <a:pt x="82" y="304"/>
                    </a:lnTo>
                    <a:lnTo>
                      <a:pt x="86" y="300"/>
                    </a:lnTo>
                    <a:lnTo>
                      <a:pt x="86" y="300"/>
                    </a:lnTo>
                    <a:lnTo>
                      <a:pt x="86" y="300"/>
                    </a:lnTo>
                    <a:lnTo>
                      <a:pt x="92" y="296"/>
                    </a:lnTo>
                    <a:lnTo>
                      <a:pt x="95" y="294"/>
                    </a:lnTo>
                    <a:lnTo>
                      <a:pt x="101" y="293"/>
                    </a:lnTo>
                    <a:lnTo>
                      <a:pt x="101" y="293"/>
                    </a:lnTo>
                    <a:lnTo>
                      <a:pt x="105" y="294"/>
                    </a:lnTo>
                    <a:lnTo>
                      <a:pt x="107" y="296"/>
                    </a:lnTo>
                    <a:lnTo>
                      <a:pt x="110" y="297"/>
                    </a:lnTo>
                    <a:lnTo>
                      <a:pt x="113" y="300"/>
                    </a:lnTo>
                    <a:lnTo>
                      <a:pt x="114" y="301"/>
                    </a:lnTo>
                    <a:lnTo>
                      <a:pt x="114" y="301"/>
                    </a:lnTo>
                    <a:lnTo>
                      <a:pt x="113" y="300"/>
                    </a:lnTo>
                    <a:lnTo>
                      <a:pt x="111" y="298"/>
                    </a:lnTo>
                    <a:lnTo>
                      <a:pt x="111" y="298"/>
                    </a:lnTo>
                    <a:lnTo>
                      <a:pt x="111" y="298"/>
                    </a:lnTo>
                    <a:lnTo>
                      <a:pt x="111" y="298"/>
                    </a:lnTo>
                    <a:lnTo>
                      <a:pt x="114" y="298"/>
                    </a:lnTo>
                    <a:lnTo>
                      <a:pt x="114" y="298"/>
                    </a:lnTo>
                    <a:lnTo>
                      <a:pt x="117" y="298"/>
                    </a:lnTo>
                    <a:lnTo>
                      <a:pt x="117" y="298"/>
                    </a:lnTo>
                    <a:lnTo>
                      <a:pt x="119" y="298"/>
                    </a:lnTo>
                    <a:lnTo>
                      <a:pt x="119" y="298"/>
                    </a:lnTo>
                    <a:lnTo>
                      <a:pt x="125" y="301"/>
                    </a:lnTo>
                    <a:lnTo>
                      <a:pt x="125" y="301"/>
                    </a:lnTo>
                    <a:lnTo>
                      <a:pt x="125" y="301"/>
                    </a:lnTo>
                    <a:lnTo>
                      <a:pt x="125" y="301"/>
                    </a:lnTo>
                    <a:lnTo>
                      <a:pt x="125" y="301"/>
                    </a:lnTo>
                    <a:lnTo>
                      <a:pt x="125" y="301"/>
                    </a:lnTo>
                    <a:lnTo>
                      <a:pt x="125" y="301"/>
                    </a:lnTo>
                    <a:lnTo>
                      <a:pt x="125" y="301"/>
                    </a:lnTo>
                    <a:lnTo>
                      <a:pt x="126" y="301"/>
                    </a:lnTo>
                    <a:lnTo>
                      <a:pt x="126" y="301"/>
                    </a:lnTo>
                    <a:lnTo>
                      <a:pt x="129" y="302"/>
                    </a:lnTo>
                    <a:lnTo>
                      <a:pt x="131" y="302"/>
                    </a:lnTo>
                    <a:lnTo>
                      <a:pt x="131" y="302"/>
                    </a:lnTo>
                    <a:lnTo>
                      <a:pt x="131" y="302"/>
                    </a:lnTo>
                    <a:lnTo>
                      <a:pt x="129" y="302"/>
                    </a:lnTo>
                    <a:lnTo>
                      <a:pt x="134" y="305"/>
                    </a:lnTo>
                    <a:lnTo>
                      <a:pt x="134" y="305"/>
                    </a:lnTo>
                    <a:lnTo>
                      <a:pt x="134" y="305"/>
                    </a:lnTo>
                    <a:lnTo>
                      <a:pt x="134" y="305"/>
                    </a:lnTo>
                    <a:lnTo>
                      <a:pt x="134" y="305"/>
                    </a:lnTo>
                    <a:lnTo>
                      <a:pt x="134" y="305"/>
                    </a:lnTo>
                    <a:lnTo>
                      <a:pt x="136" y="305"/>
                    </a:lnTo>
                    <a:lnTo>
                      <a:pt x="136" y="305"/>
                    </a:lnTo>
                    <a:lnTo>
                      <a:pt x="142" y="305"/>
                    </a:lnTo>
                    <a:lnTo>
                      <a:pt x="144" y="308"/>
                    </a:lnTo>
                    <a:lnTo>
                      <a:pt x="144" y="308"/>
                    </a:lnTo>
                    <a:lnTo>
                      <a:pt x="146" y="308"/>
                    </a:lnTo>
                    <a:lnTo>
                      <a:pt x="146" y="308"/>
                    </a:lnTo>
                    <a:lnTo>
                      <a:pt x="147" y="308"/>
                    </a:lnTo>
                    <a:lnTo>
                      <a:pt x="148" y="308"/>
                    </a:lnTo>
                    <a:lnTo>
                      <a:pt x="148" y="308"/>
                    </a:lnTo>
                    <a:lnTo>
                      <a:pt x="148" y="304"/>
                    </a:lnTo>
                    <a:lnTo>
                      <a:pt x="150" y="301"/>
                    </a:lnTo>
                    <a:lnTo>
                      <a:pt x="150" y="301"/>
                    </a:lnTo>
                    <a:lnTo>
                      <a:pt x="150" y="300"/>
                    </a:lnTo>
                    <a:lnTo>
                      <a:pt x="152" y="297"/>
                    </a:lnTo>
                    <a:lnTo>
                      <a:pt x="148" y="297"/>
                    </a:lnTo>
                    <a:lnTo>
                      <a:pt x="142" y="290"/>
                    </a:lnTo>
                    <a:lnTo>
                      <a:pt x="142" y="290"/>
                    </a:lnTo>
                    <a:lnTo>
                      <a:pt x="142" y="286"/>
                    </a:lnTo>
                    <a:lnTo>
                      <a:pt x="140" y="284"/>
                    </a:lnTo>
                    <a:lnTo>
                      <a:pt x="136" y="279"/>
                    </a:lnTo>
                    <a:lnTo>
                      <a:pt x="136" y="279"/>
                    </a:lnTo>
                    <a:lnTo>
                      <a:pt x="134" y="276"/>
                    </a:lnTo>
                    <a:lnTo>
                      <a:pt x="134" y="276"/>
                    </a:lnTo>
                    <a:lnTo>
                      <a:pt x="134" y="276"/>
                    </a:lnTo>
                    <a:lnTo>
                      <a:pt x="134" y="276"/>
                    </a:lnTo>
                    <a:lnTo>
                      <a:pt x="134" y="277"/>
                    </a:lnTo>
                    <a:lnTo>
                      <a:pt x="134" y="277"/>
                    </a:lnTo>
                    <a:lnTo>
                      <a:pt x="134" y="277"/>
                    </a:lnTo>
                    <a:lnTo>
                      <a:pt x="134" y="277"/>
                    </a:lnTo>
                    <a:lnTo>
                      <a:pt x="131" y="276"/>
                    </a:lnTo>
                    <a:lnTo>
                      <a:pt x="129" y="275"/>
                    </a:lnTo>
                    <a:lnTo>
                      <a:pt x="129" y="275"/>
                    </a:lnTo>
                    <a:lnTo>
                      <a:pt x="126" y="272"/>
                    </a:lnTo>
                    <a:lnTo>
                      <a:pt x="126" y="268"/>
                    </a:lnTo>
                    <a:lnTo>
                      <a:pt x="126" y="268"/>
                    </a:lnTo>
                    <a:lnTo>
                      <a:pt x="127" y="264"/>
                    </a:lnTo>
                    <a:lnTo>
                      <a:pt x="129" y="263"/>
                    </a:lnTo>
                    <a:lnTo>
                      <a:pt x="129" y="260"/>
                    </a:lnTo>
                    <a:lnTo>
                      <a:pt x="132" y="255"/>
                    </a:lnTo>
                    <a:lnTo>
                      <a:pt x="132" y="255"/>
                    </a:lnTo>
                    <a:lnTo>
                      <a:pt x="130" y="256"/>
                    </a:lnTo>
                    <a:lnTo>
                      <a:pt x="130" y="256"/>
                    </a:lnTo>
                    <a:lnTo>
                      <a:pt x="130" y="252"/>
                    </a:lnTo>
                    <a:lnTo>
                      <a:pt x="130" y="252"/>
                    </a:lnTo>
                    <a:lnTo>
                      <a:pt x="132" y="255"/>
                    </a:lnTo>
                    <a:lnTo>
                      <a:pt x="130" y="251"/>
                    </a:lnTo>
                    <a:lnTo>
                      <a:pt x="130" y="251"/>
                    </a:lnTo>
                    <a:lnTo>
                      <a:pt x="127" y="245"/>
                    </a:lnTo>
                    <a:lnTo>
                      <a:pt x="127" y="240"/>
                    </a:lnTo>
                    <a:lnTo>
                      <a:pt x="127" y="240"/>
                    </a:lnTo>
                    <a:lnTo>
                      <a:pt x="123" y="235"/>
                    </a:lnTo>
                    <a:lnTo>
                      <a:pt x="123" y="235"/>
                    </a:lnTo>
                    <a:lnTo>
                      <a:pt x="121" y="230"/>
                    </a:lnTo>
                    <a:lnTo>
                      <a:pt x="118" y="224"/>
                    </a:lnTo>
                    <a:lnTo>
                      <a:pt x="115" y="219"/>
                    </a:lnTo>
                    <a:lnTo>
                      <a:pt x="115" y="211"/>
                    </a:lnTo>
                    <a:lnTo>
                      <a:pt x="115" y="211"/>
                    </a:lnTo>
                    <a:lnTo>
                      <a:pt x="115" y="210"/>
                    </a:lnTo>
                    <a:lnTo>
                      <a:pt x="115" y="210"/>
                    </a:lnTo>
                    <a:lnTo>
                      <a:pt x="113" y="207"/>
                    </a:lnTo>
                    <a:lnTo>
                      <a:pt x="113" y="204"/>
                    </a:lnTo>
                    <a:lnTo>
                      <a:pt x="113" y="201"/>
                    </a:lnTo>
                    <a:lnTo>
                      <a:pt x="118" y="197"/>
                    </a:lnTo>
                    <a:lnTo>
                      <a:pt x="122" y="193"/>
                    </a:lnTo>
                    <a:lnTo>
                      <a:pt x="122" y="193"/>
                    </a:lnTo>
                    <a:lnTo>
                      <a:pt x="125" y="193"/>
                    </a:lnTo>
                    <a:lnTo>
                      <a:pt x="125" y="193"/>
                    </a:lnTo>
                    <a:lnTo>
                      <a:pt x="126" y="193"/>
                    </a:lnTo>
                    <a:lnTo>
                      <a:pt x="126" y="193"/>
                    </a:lnTo>
                    <a:lnTo>
                      <a:pt x="125" y="194"/>
                    </a:lnTo>
                    <a:lnTo>
                      <a:pt x="123" y="197"/>
                    </a:lnTo>
                    <a:lnTo>
                      <a:pt x="127" y="193"/>
                    </a:lnTo>
                    <a:lnTo>
                      <a:pt x="127" y="193"/>
                    </a:lnTo>
                    <a:lnTo>
                      <a:pt x="129" y="191"/>
                    </a:lnTo>
                    <a:lnTo>
                      <a:pt x="131" y="189"/>
                    </a:lnTo>
                    <a:lnTo>
                      <a:pt x="131" y="189"/>
                    </a:lnTo>
                    <a:lnTo>
                      <a:pt x="134" y="185"/>
                    </a:lnTo>
                    <a:lnTo>
                      <a:pt x="136" y="182"/>
                    </a:lnTo>
                    <a:lnTo>
                      <a:pt x="143" y="181"/>
                    </a:lnTo>
                    <a:lnTo>
                      <a:pt x="143" y="181"/>
                    </a:lnTo>
                    <a:lnTo>
                      <a:pt x="147" y="183"/>
                    </a:lnTo>
                    <a:lnTo>
                      <a:pt x="147" y="183"/>
                    </a:lnTo>
                    <a:lnTo>
                      <a:pt x="150" y="185"/>
                    </a:lnTo>
                    <a:lnTo>
                      <a:pt x="152" y="186"/>
                    </a:lnTo>
                    <a:lnTo>
                      <a:pt x="152" y="186"/>
                    </a:lnTo>
                    <a:lnTo>
                      <a:pt x="154" y="187"/>
                    </a:lnTo>
                    <a:lnTo>
                      <a:pt x="154" y="187"/>
                    </a:lnTo>
                    <a:lnTo>
                      <a:pt x="156" y="186"/>
                    </a:lnTo>
                    <a:lnTo>
                      <a:pt x="159" y="178"/>
                    </a:lnTo>
                    <a:lnTo>
                      <a:pt x="159" y="177"/>
                    </a:lnTo>
                    <a:lnTo>
                      <a:pt x="166" y="170"/>
                    </a:lnTo>
                    <a:lnTo>
                      <a:pt x="172" y="170"/>
                    </a:lnTo>
                    <a:lnTo>
                      <a:pt x="177" y="174"/>
                    </a:lnTo>
                    <a:lnTo>
                      <a:pt x="177" y="174"/>
                    </a:lnTo>
                    <a:lnTo>
                      <a:pt x="176" y="173"/>
                    </a:lnTo>
                    <a:lnTo>
                      <a:pt x="175" y="171"/>
                    </a:lnTo>
                    <a:lnTo>
                      <a:pt x="175" y="171"/>
                    </a:lnTo>
                    <a:lnTo>
                      <a:pt x="175" y="171"/>
                    </a:lnTo>
                    <a:lnTo>
                      <a:pt x="175" y="171"/>
                    </a:lnTo>
                    <a:lnTo>
                      <a:pt x="177" y="171"/>
                    </a:lnTo>
                    <a:lnTo>
                      <a:pt x="177" y="171"/>
                    </a:lnTo>
                    <a:lnTo>
                      <a:pt x="181" y="171"/>
                    </a:lnTo>
                    <a:lnTo>
                      <a:pt x="181" y="171"/>
                    </a:lnTo>
                    <a:lnTo>
                      <a:pt x="184" y="171"/>
                    </a:lnTo>
                    <a:lnTo>
                      <a:pt x="184" y="171"/>
                    </a:lnTo>
                    <a:lnTo>
                      <a:pt x="185" y="171"/>
                    </a:lnTo>
                    <a:lnTo>
                      <a:pt x="185" y="171"/>
                    </a:lnTo>
                    <a:lnTo>
                      <a:pt x="189" y="173"/>
                    </a:lnTo>
                    <a:lnTo>
                      <a:pt x="193" y="174"/>
                    </a:lnTo>
                    <a:lnTo>
                      <a:pt x="193" y="174"/>
                    </a:lnTo>
                    <a:lnTo>
                      <a:pt x="193" y="174"/>
                    </a:lnTo>
                    <a:lnTo>
                      <a:pt x="195" y="174"/>
                    </a:lnTo>
                    <a:lnTo>
                      <a:pt x="195" y="174"/>
                    </a:lnTo>
                    <a:lnTo>
                      <a:pt x="197" y="174"/>
                    </a:lnTo>
                    <a:lnTo>
                      <a:pt x="199" y="174"/>
                    </a:lnTo>
                    <a:lnTo>
                      <a:pt x="201" y="174"/>
                    </a:lnTo>
                    <a:lnTo>
                      <a:pt x="201" y="174"/>
                    </a:lnTo>
                    <a:lnTo>
                      <a:pt x="209" y="175"/>
                    </a:lnTo>
                    <a:lnTo>
                      <a:pt x="209" y="175"/>
                    </a:lnTo>
                    <a:lnTo>
                      <a:pt x="216" y="175"/>
                    </a:lnTo>
                    <a:lnTo>
                      <a:pt x="216" y="173"/>
                    </a:lnTo>
                    <a:lnTo>
                      <a:pt x="216" y="173"/>
                    </a:lnTo>
                    <a:lnTo>
                      <a:pt x="214" y="171"/>
                    </a:lnTo>
                    <a:lnTo>
                      <a:pt x="214" y="171"/>
                    </a:lnTo>
                    <a:lnTo>
                      <a:pt x="212" y="169"/>
                    </a:lnTo>
                    <a:lnTo>
                      <a:pt x="211" y="163"/>
                    </a:lnTo>
                    <a:lnTo>
                      <a:pt x="211" y="163"/>
                    </a:lnTo>
                    <a:lnTo>
                      <a:pt x="211" y="158"/>
                    </a:lnTo>
                    <a:lnTo>
                      <a:pt x="212" y="156"/>
                    </a:lnTo>
                    <a:lnTo>
                      <a:pt x="213" y="153"/>
                    </a:lnTo>
                    <a:lnTo>
                      <a:pt x="213" y="153"/>
                    </a:lnTo>
                    <a:lnTo>
                      <a:pt x="213" y="153"/>
                    </a:lnTo>
                    <a:lnTo>
                      <a:pt x="213" y="153"/>
                    </a:lnTo>
                    <a:lnTo>
                      <a:pt x="214" y="152"/>
                    </a:lnTo>
                    <a:lnTo>
                      <a:pt x="214" y="152"/>
                    </a:lnTo>
                    <a:lnTo>
                      <a:pt x="216" y="149"/>
                    </a:lnTo>
                    <a:lnTo>
                      <a:pt x="217" y="146"/>
                    </a:lnTo>
                    <a:lnTo>
                      <a:pt x="220" y="145"/>
                    </a:lnTo>
                    <a:lnTo>
                      <a:pt x="220" y="145"/>
                    </a:lnTo>
                    <a:lnTo>
                      <a:pt x="225" y="141"/>
                    </a:lnTo>
                    <a:lnTo>
                      <a:pt x="225" y="141"/>
                    </a:lnTo>
                    <a:lnTo>
                      <a:pt x="230" y="137"/>
                    </a:lnTo>
                    <a:lnTo>
                      <a:pt x="233" y="136"/>
                    </a:lnTo>
                    <a:lnTo>
                      <a:pt x="233" y="136"/>
                    </a:lnTo>
                    <a:lnTo>
                      <a:pt x="236" y="134"/>
                    </a:lnTo>
                    <a:lnTo>
                      <a:pt x="240" y="132"/>
                    </a:lnTo>
                    <a:lnTo>
                      <a:pt x="242" y="133"/>
                    </a:lnTo>
                    <a:lnTo>
                      <a:pt x="242" y="133"/>
                    </a:lnTo>
                    <a:lnTo>
                      <a:pt x="246" y="134"/>
                    </a:lnTo>
                    <a:lnTo>
                      <a:pt x="250" y="137"/>
                    </a:lnTo>
                    <a:lnTo>
                      <a:pt x="255" y="142"/>
                    </a:lnTo>
                    <a:lnTo>
                      <a:pt x="255" y="142"/>
                    </a:lnTo>
                    <a:lnTo>
                      <a:pt x="261" y="148"/>
                    </a:lnTo>
                    <a:lnTo>
                      <a:pt x="263" y="149"/>
                    </a:lnTo>
                    <a:lnTo>
                      <a:pt x="266" y="150"/>
                    </a:lnTo>
                    <a:lnTo>
                      <a:pt x="269" y="150"/>
                    </a:lnTo>
                    <a:lnTo>
                      <a:pt x="269" y="150"/>
                    </a:lnTo>
                    <a:lnTo>
                      <a:pt x="271" y="149"/>
                    </a:lnTo>
                    <a:lnTo>
                      <a:pt x="271" y="149"/>
                    </a:lnTo>
                    <a:lnTo>
                      <a:pt x="273" y="146"/>
                    </a:lnTo>
                    <a:lnTo>
                      <a:pt x="275" y="145"/>
                    </a:lnTo>
                    <a:lnTo>
                      <a:pt x="278" y="144"/>
                    </a:lnTo>
                    <a:lnTo>
                      <a:pt x="279" y="144"/>
                    </a:lnTo>
                    <a:lnTo>
                      <a:pt x="279" y="144"/>
                    </a:lnTo>
                    <a:lnTo>
                      <a:pt x="281" y="141"/>
                    </a:lnTo>
                    <a:lnTo>
                      <a:pt x="281" y="141"/>
                    </a:lnTo>
                    <a:lnTo>
                      <a:pt x="282" y="140"/>
                    </a:lnTo>
                    <a:lnTo>
                      <a:pt x="285" y="137"/>
                    </a:lnTo>
                    <a:lnTo>
                      <a:pt x="285" y="137"/>
                    </a:lnTo>
                    <a:lnTo>
                      <a:pt x="285" y="137"/>
                    </a:lnTo>
                    <a:lnTo>
                      <a:pt x="289" y="136"/>
                    </a:lnTo>
                    <a:lnTo>
                      <a:pt x="294" y="134"/>
                    </a:lnTo>
                    <a:lnTo>
                      <a:pt x="294" y="134"/>
                    </a:lnTo>
                    <a:lnTo>
                      <a:pt x="295" y="134"/>
                    </a:lnTo>
                    <a:lnTo>
                      <a:pt x="295" y="134"/>
                    </a:lnTo>
                    <a:lnTo>
                      <a:pt x="294" y="136"/>
                    </a:lnTo>
                    <a:lnTo>
                      <a:pt x="299" y="133"/>
                    </a:lnTo>
                    <a:lnTo>
                      <a:pt x="300" y="133"/>
                    </a:lnTo>
                    <a:lnTo>
                      <a:pt x="300" y="133"/>
                    </a:lnTo>
                    <a:lnTo>
                      <a:pt x="302" y="133"/>
                    </a:lnTo>
                    <a:lnTo>
                      <a:pt x="302" y="133"/>
                    </a:lnTo>
                    <a:lnTo>
                      <a:pt x="306" y="129"/>
                    </a:lnTo>
                    <a:lnTo>
                      <a:pt x="306" y="129"/>
                    </a:lnTo>
                    <a:lnTo>
                      <a:pt x="303" y="130"/>
                    </a:lnTo>
                    <a:lnTo>
                      <a:pt x="302" y="132"/>
                    </a:lnTo>
                    <a:lnTo>
                      <a:pt x="302" y="132"/>
                    </a:lnTo>
                    <a:lnTo>
                      <a:pt x="302" y="132"/>
                    </a:lnTo>
                    <a:lnTo>
                      <a:pt x="302" y="130"/>
                    </a:lnTo>
                    <a:lnTo>
                      <a:pt x="307" y="125"/>
                    </a:lnTo>
                    <a:lnTo>
                      <a:pt x="312" y="125"/>
                    </a:lnTo>
                    <a:lnTo>
                      <a:pt x="314" y="126"/>
                    </a:lnTo>
                    <a:lnTo>
                      <a:pt x="314" y="126"/>
                    </a:lnTo>
                    <a:lnTo>
                      <a:pt x="312" y="128"/>
                    </a:lnTo>
                    <a:lnTo>
                      <a:pt x="312" y="128"/>
                    </a:lnTo>
                    <a:lnTo>
                      <a:pt x="312" y="130"/>
                    </a:lnTo>
                    <a:lnTo>
                      <a:pt x="312" y="133"/>
                    </a:lnTo>
                    <a:lnTo>
                      <a:pt x="315" y="129"/>
                    </a:lnTo>
                    <a:lnTo>
                      <a:pt x="318" y="133"/>
                    </a:lnTo>
                    <a:lnTo>
                      <a:pt x="318" y="133"/>
                    </a:lnTo>
                    <a:lnTo>
                      <a:pt x="319" y="130"/>
                    </a:lnTo>
                    <a:lnTo>
                      <a:pt x="316" y="126"/>
                    </a:lnTo>
                    <a:lnTo>
                      <a:pt x="316" y="126"/>
                    </a:lnTo>
                    <a:lnTo>
                      <a:pt x="316" y="126"/>
                    </a:lnTo>
                    <a:lnTo>
                      <a:pt x="315" y="126"/>
                    </a:lnTo>
                    <a:lnTo>
                      <a:pt x="315" y="126"/>
                    </a:lnTo>
                    <a:lnTo>
                      <a:pt x="315" y="126"/>
                    </a:lnTo>
                    <a:lnTo>
                      <a:pt x="320" y="119"/>
                    </a:lnTo>
                    <a:lnTo>
                      <a:pt x="323" y="115"/>
                    </a:lnTo>
                    <a:lnTo>
                      <a:pt x="323" y="112"/>
                    </a:lnTo>
                    <a:lnTo>
                      <a:pt x="323" y="112"/>
                    </a:lnTo>
                    <a:lnTo>
                      <a:pt x="323" y="111"/>
                    </a:lnTo>
                    <a:lnTo>
                      <a:pt x="320" y="109"/>
                    </a:lnTo>
                    <a:lnTo>
                      <a:pt x="319" y="99"/>
                    </a:lnTo>
                    <a:lnTo>
                      <a:pt x="319" y="99"/>
                    </a:lnTo>
                    <a:lnTo>
                      <a:pt x="323" y="97"/>
                    </a:lnTo>
                    <a:lnTo>
                      <a:pt x="323" y="97"/>
                    </a:lnTo>
                    <a:lnTo>
                      <a:pt x="323" y="97"/>
                    </a:lnTo>
                    <a:lnTo>
                      <a:pt x="323" y="96"/>
                    </a:lnTo>
                    <a:lnTo>
                      <a:pt x="323" y="91"/>
                    </a:lnTo>
                    <a:lnTo>
                      <a:pt x="329" y="85"/>
                    </a:lnTo>
                    <a:lnTo>
                      <a:pt x="329" y="85"/>
                    </a:lnTo>
                    <a:lnTo>
                      <a:pt x="331" y="85"/>
                    </a:lnTo>
                    <a:lnTo>
                      <a:pt x="331" y="85"/>
                    </a:lnTo>
                    <a:lnTo>
                      <a:pt x="333" y="85"/>
                    </a:lnTo>
                    <a:lnTo>
                      <a:pt x="333" y="85"/>
                    </a:lnTo>
                    <a:lnTo>
                      <a:pt x="332" y="87"/>
                    </a:lnTo>
                    <a:lnTo>
                      <a:pt x="336" y="84"/>
                    </a:lnTo>
                    <a:lnTo>
                      <a:pt x="336" y="84"/>
                    </a:lnTo>
                    <a:lnTo>
                      <a:pt x="336" y="83"/>
                    </a:lnTo>
                    <a:lnTo>
                      <a:pt x="336" y="83"/>
                    </a:lnTo>
                    <a:lnTo>
                      <a:pt x="336" y="83"/>
                    </a:lnTo>
                    <a:lnTo>
                      <a:pt x="336" y="82"/>
                    </a:lnTo>
                    <a:lnTo>
                      <a:pt x="336" y="80"/>
                    </a:lnTo>
                    <a:lnTo>
                      <a:pt x="339" y="75"/>
                    </a:lnTo>
                    <a:lnTo>
                      <a:pt x="339" y="75"/>
                    </a:lnTo>
                    <a:lnTo>
                      <a:pt x="340" y="74"/>
                    </a:lnTo>
                    <a:lnTo>
                      <a:pt x="340" y="74"/>
                    </a:lnTo>
                    <a:lnTo>
                      <a:pt x="343" y="72"/>
                    </a:lnTo>
                    <a:lnTo>
                      <a:pt x="343" y="70"/>
                    </a:lnTo>
                    <a:lnTo>
                      <a:pt x="343" y="70"/>
                    </a:lnTo>
                    <a:lnTo>
                      <a:pt x="340" y="68"/>
                    </a:lnTo>
                    <a:lnTo>
                      <a:pt x="340" y="68"/>
                    </a:lnTo>
                    <a:lnTo>
                      <a:pt x="339" y="67"/>
                    </a:lnTo>
                    <a:lnTo>
                      <a:pt x="336" y="63"/>
                    </a:lnTo>
                    <a:lnTo>
                      <a:pt x="336" y="62"/>
                    </a:lnTo>
                    <a:lnTo>
                      <a:pt x="336" y="62"/>
                    </a:lnTo>
                    <a:lnTo>
                      <a:pt x="335" y="60"/>
                    </a:lnTo>
                    <a:lnTo>
                      <a:pt x="335" y="60"/>
                    </a:lnTo>
                    <a:lnTo>
                      <a:pt x="331" y="58"/>
                    </a:lnTo>
                    <a:lnTo>
                      <a:pt x="331" y="58"/>
                    </a:lnTo>
                    <a:lnTo>
                      <a:pt x="331" y="58"/>
                    </a:lnTo>
                    <a:lnTo>
                      <a:pt x="331" y="58"/>
                    </a:lnTo>
                    <a:lnTo>
                      <a:pt x="329" y="58"/>
                    </a:lnTo>
                    <a:lnTo>
                      <a:pt x="329" y="58"/>
                    </a:lnTo>
                    <a:lnTo>
                      <a:pt x="327" y="58"/>
                    </a:lnTo>
                    <a:lnTo>
                      <a:pt x="324" y="59"/>
                    </a:lnTo>
                    <a:lnTo>
                      <a:pt x="324" y="59"/>
                    </a:lnTo>
                    <a:lnTo>
                      <a:pt x="322" y="59"/>
                    </a:lnTo>
                    <a:lnTo>
                      <a:pt x="320" y="58"/>
                    </a:lnTo>
                    <a:lnTo>
                      <a:pt x="318" y="55"/>
                    </a:lnTo>
                    <a:lnTo>
                      <a:pt x="318" y="51"/>
                    </a:lnTo>
                    <a:lnTo>
                      <a:pt x="316" y="51"/>
                    </a:lnTo>
                    <a:lnTo>
                      <a:pt x="316" y="50"/>
                    </a:lnTo>
                    <a:lnTo>
                      <a:pt x="323" y="43"/>
                    </a:lnTo>
                    <a:lnTo>
                      <a:pt x="323" y="43"/>
                    </a:lnTo>
                    <a:lnTo>
                      <a:pt x="320" y="44"/>
                    </a:lnTo>
                    <a:lnTo>
                      <a:pt x="319" y="46"/>
                    </a:lnTo>
                    <a:lnTo>
                      <a:pt x="319" y="46"/>
                    </a:lnTo>
                    <a:lnTo>
                      <a:pt x="320" y="43"/>
                    </a:lnTo>
                    <a:lnTo>
                      <a:pt x="323" y="41"/>
                    </a:lnTo>
                    <a:lnTo>
                      <a:pt x="327" y="39"/>
                    </a:lnTo>
                    <a:lnTo>
                      <a:pt x="327" y="39"/>
                    </a:lnTo>
                    <a:lnTo>
                      <a:pt x="327" y="39"/>
                    </a:lnTo>
                    <a:lnTo>
                      <a:pt x="328" y="35"/>
                    </a:lnTo>
                    <a:lnTo>
                      <a:pt x="329" y="33"/>
                    </a:lnTo>
                    <a:lnTo>
                      <a:pt x="332" y="31"/>
                    </a:lnTo>
                    <a:lnTo>
                      <a:pt x="332" y="31"/>
                    </a:lnTo>
                    <a:lnTo>
                      <a:pt x="332" y="31"/>
                    </a:lnTo>
                    <a:lnTo>
                      <a:pt x="329" y="30"/>
                    </a:lnTo>
                    <a:lnTo>
                      <a:pt x="327" y="29"/>
                    </a:lnTo>
                    <a:lnTo>
                      <a:pt x="326" y="26"/>
                    </a:lnTo>
                    <a:lnTo>
                      <a:pt x="326" y="22"/>
                    </a:lnTo>
                    <a:lnTo>
                      <a:pt x="326" y="22"/>
                    </a:lnTo>
                    <a:lnTo>
                      <a:pt x="326" y="21"/>
                    </a:lnTo>
                    <a:lnTo>
                      <a:pt x="326" y="18"/>
                    </a:lnTo>
                    <a:lnTo>
                      <a:pt x="326" y="18"/>
                    </a:lnTo>
                    <a:lnTo>
                      <a:pt x="328" y="14"/>
                    </a:lnTo>
                    <a:lnTo>
                      <a:pt x="328" y="14"/>
                    </a:lnTo>
                    <a:lnTo>
                      <a:pt x="328" y="13"/>
                    </a:lnTo>
                    <a:lnTo>
                      <a:pt x="335" y="9"/>
                    </a:lnTo>
                    <a:lnTo>
                      <a:pt x="337" y="9"/>
                    </a:lnTo>
                    <a:lnTo>
                      <a:pt x="343" y="15"/>
                    </a:lnTo>
                    <a:lnTo>
                      <a:pt x="343" y="15"/>
                    </a:lnTo>
                    <a:lnTo>
                      <a:pt x="341" y="11"/>
                    </a:lnTo>
                    <a:lnTo>
                      <a:pt x="339" y="10"/>
                    </a:lnTo>
                    <a:lnTo>
                      <a:pt x="339" y="10"/>
                    </a:lnTo>
                    <a:lnTo>
                      <a:pt x="339" y="10"/>
                    </a:lnTo>
                    <a:lnTo>
                      <a:pt x="339" y="10"/>
                    </a:lnTo>
                    <a:lnTo>
                      <a:pt x="340" y="10"/>
                    </a:lnTo>
                    <a:lnTo>
                      <a:pt x="340" y="10"/>
                    </a:lnTo>
                    <a:lnTo>
                      <a:pt x="343" y="10"/>
                    </a:lnTo>
                    <a:lnTo>
                      <a:pt x="343" y="10"/>
                    </a:lnTo>
                    <a:lnTo>
                      <a:pt x="345" y="10"/>
                    </a:lnTo>
                    <a:lnTo>
                      <a:pt x="345" y="10"/>
                    </a:lnTo>
                    <a:lnTo>
                      <a:pt x="351" y="13"/>
                    </a:lnTo>
                    <a:lnTo>
                      <a:pt x="351" y="13"/>
                    </a:lnTo>
                    <a:lnTo>
                      <a:pt x="352" y="14"/>
                    </a:lnTo>
                    <a:lnTo>
                      <a:pt x="352" y="14"/>
                    </a:lnTo>
                    <a:lnTo>
                      <a:pt x="353" y="14"/>
                    </a:lnTo>
                    <a:lnTo>
                      <a:pt x="353" y="14"/>
                    </a:lnTo>
                    <a:lnTo>
                      <a:pt x="355" y="14"/>
                    </a:lnTo>
                    <a:lnTo>
                      <a:pt x="355" y="14"/>
                    </a:lnTo>
                    <a:lnTo>
                      <a:pt x="357" y="15"/>
                    </a:lnTo>
                    <a:lnTo>
                      <a:pt x="357" y="15"/>
                    </a:lnTo>
                    <a:lnTo>
                      <a:pt x="359" y="15"/>
                    </a:lnTo>
                    <a:lnTo>
                      <a:pt x="359" y="15"/>
                    </a:lnTo>
                    <a:lnTo>
                      <a:pt x="363" y="15"/>
                    </a:lnTo>
                    <a:lnTo>
                      <a:pt x="363" y="15"/>
                    </a:lnTo>
                    <a:lnTo>
                      <a:pt x="361" y="15"/>
                    </a:lnTo>
                    <a:lnTo>
                      <a:pt x="365" y="11"/>
                    </a:lnTo>
                    <a:lnTo>
                      <a:pt x="365" y="11"/>
                    </a:lnTo>
                    <a:lnTo>
                      <a:pt x="367" y="10"/>
                    </a:lnTo>
                    <a:lnTo>
                      <a:pt x="367" y="9"/>
                    </a:lnTo>
                    <a:lnTo>
                      <a:pt x="368" y="7"/>
                    </a:lnTo>
                    <a:lnTo>
                      <a:pt x="368" y="7"/>
                    </a:lnTo>
                    <a:lnTo>
                      <a:pt x="369" y="5"/>
                    </a:lnTo>
                    <a:lnTo>
                      <a:pt x="369" y="5"/>
                    </a:lnTo>
                    <a:lnTo>
                      <a:pt x="369" y="5"/>
                    </a:lnTo>
                    <a:lnTo>
                      <a:pt x="369" y="7"/>
                    </a:lnTo>
                    <a:lnTo>
                      <a:pt x="374" y="1"/>
                    </a:lnTo>
                    <a:lnTo>
                      <a:pt x="376" y="1"/>
                    </a:lnTo>
                    <a:lnTo>
                      <a:pt x="376" y="1"/>
                    </a:lnTo>
                    <a:lnTo>
                      <a:pt x="378" y="1"/>
                    </a:lnTo>
                    <a:lnTo>
                      <a:pt x="378" y="1"/>
                    </a:lnTo>
                    <a:lnTo>
                      <a:pt x="384" y="1"/>
                    </a:lnTo>
                    <a:lnTo>
                      <a:pt x="384" y="1"/>
                    </a:lnTo>
                    <a:lnTo>
                      <a:pt x="388" y="2"/>
                    </a:lnTo>
                    <a:lnTo>
                      <a:pt x="388" y="2"/>
                    </a:lnTo>
                    <a:lnTo>
                      <a:pt x="389" y="1"/>
                    </a:lnTo>
                    <a:lnTo>
                      <a:pt x="389" y="1"/>
                    </a:lnTo>
                    <a:lnTo>
                      <a:pt x="389" y="2"/>
                    </a:lnTo>
                    <a:lnTo>
                      <a:pt x="390" y="2"/>
                    </a:lnTo>
                    <a:lnTo>
                      <a:pt x="390" y="2"/>
                    </a:lnTo>
                    <a:lnTo>
                      <a:pt x="388" y="5"/>
                    </a:lnTo>
                    <a:lnTo>
                      <a:pt x="392" y="1"/>
                    </a:lnTo>
                    <a:lnTo>
                      <a:pt x="393" y="1"/>
                    </a:lnTo>
                    <a:lnTo>
                      <a:pt x="393" y="1"/>
                    </a:lnTo>
                    <a:lnTo>
                      <a:pt x="393" y="1"/>
                    </a:lnTo>
                    <a:lnTo>
                      <a:pt x="393" y="1"/>
                    </a:lnTo>
                    <a:lnTo>
                      <a:pt x="394" y="0"/>
                    </a:lnTo>
                    <a:lnTo>
                      <a:pt x="396" y="0"/>
                    </a:lnTo>
                    <a:lnTo>
                      <a:pt x="401" y="5"/>
                    </a:lnTo>
                    <a:lnTo>
                      <a:pt x="401" y="5"/>
                    </a:lnTo>
                    <a:lnTo>
                      <a:pt x="400" y="1"/>
                    </a:lnTo>
                    <a:lnTo>
                      <a:pt x="397" y="1"/>
                    </a:lnTo>
                    <a:lnTo>
                      <a:pt x="397" y="1"/>
                    </a:lnTo>
                    <a:lnTo>
                      <a:pt x="400" y="1"/>
                    </a:lnTo>
                    <a:lnTo>
                      <a:pt x="401" y="1"/>
                    </a:lnTo>
                    <a:lnTo>
                      <a:pt x="402" y="1"/>
                    </a:lnTo>
                    <a:lnTo>
                      <a:pt x="402" y="1"/>
                    </a:lnTo>
                    <a:lnTo>
                      <a:pt x="404" y="1"/>
                    </a:lnTo>
                    <a:lnTo>
                      <a:pt x="404" y="1"/>
                    </a:lnTo>
                    <a:lnTo>
                      <a:pt x="406" y="0"/>
                    </a:lnTo>
                    <a:lnTo>
                      <a:pt x="406" y="0"/>
                    </a:lnTo>
                    <a:lnTo>
                      <a:pt x="410" y="1"/>
                    </a:lnTo>
                    <a:lnTo>
                      <a:pt x="413" y="2"/>
                    </a:lnTo>
                    <a:lnTo>
                      <a:pt x="414" y="4"/>
                    </a:lnTo>
                    <a:lnTo>
                      <a:pt x="415" y="6"/>
                    </a:lnTo>
                    <a:lnTo>
                      <a:pt x="415" y="7"/>
                    </a:lnTo>
                    <a:lnTo>
                      <a:pt x="415" y="7"/>
                    </a:lnTo>
                    <a:lnTo>
                      <a:pt x="415" y="11"/>
                    </a:lnTo>
                    <a:lnTo>
                      <a:pt x="415" y="13"/>
                    </a:lnTo>
                    <a:lnTo>
                      <a:pt x="415" y="13"/>
                    </a:lnTo>
                    <a:lnTo>
                      <a:pt x="415" y="13"/>
                    </a:lnTo>
                    <a:lnTo>
                      <a:pt x="415" y="13"/>
                    </a:lnTo>
                    <a:lnTo>
                      <a:pt x="417" y="13"/>
                    </a:lnTo>
                    <a:lnTo>
                      <a:pt x="418" y="13"/>
                    </a:lnTo>
                    <a:lnTo>
                      <a:pt x="421" y="14"/>
                    </a:lnTo>
                    <a:lnTo>
                      <a:pt x="421" y="14"/>
                    </a:lnTo>
                    <a:lnTo>
                      <a:pt x="422" y="14"/>
                    </a:lnTo>
                    <a:lnTo>
                      <a:pt x="422" y="14"/>
                    </a:lnTo>
                    <a:lnTo>
                      <a:pt x="425" y="11"/>
                    </a:lnTo>
                    <a:lnTo>
                      <a:pt x="429" y="9"/>
                    </a:lnTo>
                    <a:lnTo>
                      <a:pt x="429" y="7"/>
                    </a:lnTo>
                    <a:lnTo>
                      <a:pt x="434" y="5"/>
                    </a:lnTo>
                    <a:lnTo>
                      <a:pt x="434" y="5"/>
                    </a:lnTo>
                    <a:lnTo>
                      <a:pt x="434" y="5"/>
                    </a:lnTo>
                    <a:lnTo>
                      <a:pt x="438" y="5"/>
                    </a:lnTo>
                    <a:lnTo>
                      <a:pt x="438" y="5"/>
                    </a:lnTo>
                    <a:lnTo>
                      <a:pt x="442" y="4"/>
                    </a:lnTo>
                    <a:lnTo>
                      <a:pt x="442" y="4"/>
                    </a:lnTo>
                    <a:lnTo>
                      <a:pt x="445" y="5"/>
                    </a:lnTo>
                    <a:lnTo>
                      <a:pt x="447" y="5"/>
                    </a:lnTo>
                    <a:lnTo>
                      <a:pt x="448" y="5"/>
                    </a:lnTo>
                    <a:lnTo>
                      <a:pt x="448" y="5"/>
                    </a:lnTo>
                    <a:lnTo>
                      <a:pt x="452" y="6"/>
                    </a:lnTo>
                    <a:lnTo>
                      <a:pt x="456" y="9"/>
                    </a:lnTo>
                    <a:lnTo>
                      <a:pt x="459" y="15"/>
                    </a:lnTo>
                    <a:lnTo>
                      <a:pt x="459" y="15"/>
                    </a:lnTo>
                    <a:lnTo>
                      <a:pt x="460" y="17"/>
                    </a:lnTo>
                    <a:lnTo>
                      <a:pt x="460" y="17"/>
                    </a:lnTo>
                    <a:lnTo>
                      <a:pt x="463" y="19"/>
                    </a:lnTo>
                    <a:lnTo>
                      <a:pt x="466" y="21"/>
                    </a:lnTo>
                    <a:lnTo>
                      <a:pt x="466" y="21"/>
                    </a:lnTo>
                    <a:lnTo>
                      <a:pt x="467" y="21"/>
                    </a:lnTo>
                    <a:lnTo>
                      <a:pt x="471" y="22"/>
                    </a:lnTo>
                    <a:lnTo>
                      <a:pt x="471" y="22"/>
                    </a:lnTo>
                    <a:lnTo>
                      <a:pt x="475" y="25"/>
                    </a:lnTo>
                    <a:lnTo>
                      <a:pt x="475" y="25"/>
                    </a:lnTo>
                    <a:lnTo>
                      <a:pt x="478" y="23"/>
                    </a:lnTo>
                    <a:lnTo>
                      <a:pt x="482" y="22"/>
                    </a:lnTo>
                    <a:lnTo>
                      <a:pt x="487" y="26"/>
                    </a:lnTo>
                    <a:lnTo>
                      <a:pt x="487" y="26"/>
                    </a:lnTo>
                    <a:lnTo>
                      <a:pt x="487" y="25"/>
                    </a:lnTo>
                    <a:lnTo>
                      <a:pt x="487" y="25"/>
                    </a:lnTo>
                    <a:lnTo>
                      <a:pt x="488" y="26"/>
                    </a:lnTo>
                    <a:lnTo>
                      <a:pt x="488" y="26"/>
                    </a:lnTo>
                    <a:lnTo>
                      <a:pt x="492" y="29"/>
                    </a:lnTo>
                    <a:lnTo>
                      <a:pt x="492" y="30"/>
                    </a:lnTo>
                    <a:lnTo>
                      <a:pt x="492" y="30"/>
                    </a:lnTo>
                    <a:lnTo>
                      <a:pt x="489" y="29"/>
                    </a:lnTo>
                    <a:lnTo>
                      <a:pt x="493" y="31"/>
                    </a:lnTo>
                    <a:lnTo>
                      <a:pt x="493" y="34"/>
                    </a:lnTo>
                    <a:lnTo>
                      <a:pt x="493" y="34"/>
                    </a:lnTo>
                    <a:lnTo>
                      <a:pt x="493" y="33"/>
                    </a:lnTo>
                    <a:lnTo>
                      <a:pt x="495" y="34"/>
                    </a:lnTo>
                    <a:lnTo>
                      <a:pt x="495" y="34"/>
                    </a:lnTo>
                    <a:lnTo>
                      <a:pt x="496" y="35"/>
                    </a:lnTo>
                    <a:lnTo>
                      <a:pt x="497" y="35"/>
                    </a:lnTo>
                    <a:lnTo>
                      <a:pt x="500" y="35"/>
                    </a:lnTo>
                    <a:lnTo>
                      <a:pt x="507" y="41"/>
                    </a:lnTo>
                    <a:lnTo>
                      <a:pt x="507" y="41"/>
                    </a:lnTo>
                    <a:lnTo>
                      <a:pt x="508" y="44"/>
                    </a:lnTo>
                    <a:lnTo>
                      <a:pt x="511" y="47"/>
                    </a:lnTo>
                    <a:lnTo>
                      <a:pt x="511" y="47"/>
                    </a:lnTo>
                    <a:lnTo>
                      <a:pt x="516" y="54"/>
                    </a:lnTo>
                    <a:lnTo>
                      <a:pt x="517" y="56"/>
                    </a:lnTo>
                    <a:lnTo>
                      <a:pt x="517" y="58"/>
                    </a:lnTo>
                    <a:lnTo>
                      <a:pt x="517" y="59"/>
                    </a:lnTo>
                    <a:lnTo>
                      <a:pt x="517" y="59"/>
                    </a:lnTo>
                    <a:lnTo>
                      <a:pt x="515" y="66"/>
                    </a:lnTo>
                    <a:lnTo>
                      <a:pt x="515" y="66"/>
                    </a:lnTo>
                    <a:lnTo>
                      <a:pt x="513" y="70"/>
                    </a:lnTo>
                    <a:lnTo>
                      <a:pt x="516" y="75"/>
                    </a:lnTo>
                    <a:lnTo>
                      <a:pt x="516" y="75"/>
                    </a:lnTo>
                    <a:lnTo>
                      <a:pt x="515" y="72"/>
                    </a:lnTo>
                    <a:lnTo>
                      <a:pt x="515" y="72"/>
                    </a:lnTo>
                    <a:lnTo>
                      <a:pt x="515" y="72"/>
                    </a:lnTo>
                    <a:lnTo>
                      <a:pt x="516" y="74"/>
                    </a:lnTo>
                    <a:lnTo>
                      <a:pt x="517" y="76"/>
                    </a:lnTo>
                    <a:lnTo>
                      <a:pt x="519" y="80"/>
                    </a:lnTo>
                    <a:lnTo>
                      <a:pt x="519" y="89"/>
                    </a:lnTo>
                    <a:lnTo>
                      <a:pt x="519" y="89"/>
                    </a:lnTo>
                    <a:lnTo>
                      <a:pt x="519" y="95"/>
                    </a:lnTo>
                    <a:lnTo>
                      <a:pt x="517" y="97"/>
                    </a:lnTo>
                    <a:lnTo>
                      <a:pt x="517" y="97"/>
                    </a:lnTo>
                    <a:lnTo>
                      <a:pt x="517" y="97"/>
                    </a:lnTo>
                    <a:lnTo>
                      <a:pt x="517" y="97"/>
                    </a:lnTo>
                    <a:lnTo>
                      <a:pt x="520" y="103"/>
                    </a:lnTo>
                    <a:lnTo>
                      <a:pt x="521" y="109"/>
                    </a:lnTo>
                    <a:lnTo>
                      <a:pt x="521" y="115"/>
                    </a:lnTo>
                    <a:lnTo>
                      <a:pt x="520" y="121"/>
                    </a:lnTo>
                    <a:lnTo>
                      <a:pt x="520" y="121"/>
                    </a:lnTo>
                    <a:lnTo>
                      <a:pt x="517" y="126"/>
                    </a:lnTo>
                    <a:lnTo>
                      <a:pt x="517" y="126"/>
                    </a:lnTo>
                    <a:lnTo>
                      <a:pt x="513" y="129"/>
                    </a:lnTo>
                    <a:lnTo>
                      <a:pt x="513" y="129"/>
                    </a:lnTo>
                    <a:lnTo>
                      <a:pt x="509" y="133"/>
                    </a:lnTo>
                    <a:lnTo>
                      <a:pt x="509" y="134"/>
                    </a:lnTo>
                    <a:lnTo>
                      <a:pt x="509" y="137"/>
                    </a:lnTo>
                    <a:lnTo>
                      <a:pt x="509" y="138"/>
                    </a:lnTo>
                    <a:lnTo>
                      <a:pt x="509" y="141"/>
                    </a:lnTo>
                    <a:lnTo>
                      <a:pt x="508" y="142"/>
                    </a:lnTo>
                    <a:lnTo>
                      <a:pt x="508" y="142"/>
                    </a:lnTo>
                    <a:lnTo>
                      <a:pt x="509" y="144"/>
                    </a:lnTo>
                    <a:lnTo>
                      <a:pt x="509" y="144"/>
                    </a:lnTo>
                    <a:lnTo>
                      <a:pt x="509" y="145"/>
                    </a:lnTo>
                    <a:lnTo>
                      <a:pt x="511" y="145"/>
                    </a:lnTo>
                    <a:lnTo>
                      <a:pt x="517" y="150"/>
                    </a:lnTo>
                    <a:lnTo>
                      <a:pt x="517" y="150"/>
                    </a:lnTo>
                    <a:lnTo>
                      <a:pt x="515" y="148"/>
                    </a:lnTo>
                    <a:lnTo>
                      <a:pt x="513" y="146"/>
                    </a:lnTo>
                    <a:lnTo>
                      <a:pt x="513" y="146"/>
                    </a:lnTo>
                    <a:lnTo>
                      <a:pt x="513" y="146"/>
                    </a:lnTo>
                    <a:lnTo>
                      <a:pt x="516" y="146"/>
                    </a:lnTo>
                    <a:lnTo>
                      <a:pt x="520" y="150"/>
                    </a:lnTo>
                    <a:lnTo>
                      <a:pt x="520" y="150"/>
                    </a:lnTo>
                    <a:lnTo>
                      <a:pt x="521" y="150"/>
                    </a:lnTo>
                    <a:lnTo>
                      <a:pt x="525" y="150"/>
                    </a:lnTo>
                    <a:lnTo>
                      <a:pt x="525" y="150"/>
                    </a:lnTo>
                    <a:lnTo>
                      <a:pt x="530" y="152"/>
                    </a:lnTo>
                    <a:lnTo>
                      <a:pt x="533" y="153"/>
                    </a:lnTo>
                    <a:lnTo>
                      <a:pt x="536" y="154"/>
                    </a:lnTo>
                    <a:lnTo>
                      <a:pt x="536" y="154"/>
                    </a:lnTo>
                    <a:lnTo>
                      <a:pt x="538" y="156"/>
                    </a:lnTo>
                    <a:lnTo>
                      <a:pt x="538" y="156"/>
                    </a:lnTo>
                    <a:lnTo>
                      <a:pt x="541" y="156"/>
                    </a:lnTo>
                    <a:lnTo>
                      <a:pt x="544" y="157"/>
                    </a:lnTo>
                    <a:lnTo>
                      <a:pt x="545" y="157"/>
                    </a:lnTo>
                    <a:lnTo>
                      <a:pt x="545" y="157"/>
                    </a:lnTo>
                    <a:lnTo>
                      <a:pt x="552" y="158"/>
                    </a:lnTo>
                    <a:lnTo>
                      <a:pt x="558" y="161"/>
                    </a:lnTo>
                    <a:lnTo>
                      <a:pt x="566" y="167"/>
                    </a:lnTo>
                    <a:lnTo>
                      <a:pt x="566" y="167"/>
                    </a:lnTo>
                    <a:lnTo>
                      <a:pt x="569" y="170"/>
                    </a:lnTo>
                    <a:lnTo>
                      <a:pt x="569" y="170"/>
                    </a:lnTo>
                    <a:lnTo>
                      <a:pt x="569" y="170"/>
                    </a:lnTo>
                    <a:lnTo>
                      <a:pt x="569" y="170"/>
                    </a:lnTo>
                    <a:lnTo>
                      <a:pt x="569" y="170"/>
                    </a:lnTo>
                    <a:lnTo>
                      <a:pt x="571" y="171"/>
                    </a:lnTo>
                    <a:lnTo>
                      <a:pt x="574" y="171"/>
                    </a:lnTo>
                    <a:lnTo>
                      <a:pt x="578" y="174"/>
                    </a:lnTo>
                    <a:lnTo>
                      <a:pt x="578" y="174"/>
                    </a:lnTo>
                    <a:lnTo>
                      <a:pt x="578" y="175"/>
                    </a:lnTo>
                    <a:lnTo>
                      <a:pt x="581" y="174"/>
                    </a:lnTo>
                    <a:lnTo>
                      <a:pt x="581" y="174"/>
                    </a:lnTo>
                    <a:lnTo>
                      <a:pt x="579" y="175"/>
                    </a:lnTo>
                    <a:lnTo>
                      <a:pt x="579" y="175"/>
                    </a:lnTo>
                    <a:lnTo>
                      <a:pt x="581" y="174"/>
                    </a:lnTo>
                    <a:lnTo>
                      <a:pt x="585" y="173"/>
                    </a:lnTo>
                    <a:lnTo>
                      <a:pt x="590" y="178"/>
                    </a:lnTo>
                    <a:lnTo>
                      <a:pt x="590" y="181"/>
                    </a:lnTo>
                    <a:lnTo>
                      <a:pt x="590" y="178"/>
                    </a:lnTo>
                    <a:lnTo>
                      <a:pt x="590" y="178"/>
                    </a:lnTo>
                    <a:lnTo>
                      <a:pt x="590" y="178"/>
                    </a:lnTo>
                    <a:lnTo>
                      <a:pt x="590" y="177"/>
                    </a:lnTo>
                    <a:lnTo>
                      <a:pt x="590" y="177"/>
                    </a:lnTo>
                    <a:lnTo>
                      <a:pt x="593" y="178"/>
                    </a:lnTo>
                    <a:lnTo>
                      <a:pt x="593" y="177"/>
                    </a:lnTo>
                    <a:lnTo>
                      <a:pt x="593" y="177"/>
                    </a:lnTo>
                    <a:lnTo>
                      <a:pt x="590" y="175"/>
                    </a:lnTo>
                    <a:lnTo>
                      <a:pt x="590" y="175"/>
                    </a:lnTo>
                    <a:lnTo>
                      <a:pt x="591" y="175"/>
                    </a:lnTo>
                    <a:lnTo>
                      <a:pt x="591" y="175"/>
                    </a:lnTo>
                    <a:lnTo>
                      <a:pt x="593" y="175"/>
                    </a:lnTo>
                    <a:lnTo>
                      <a:pt x="593" y="175"/>
                    </a:lnTo>
                    <a:lnTo>
                      <a:pt x="593" y="175"/>
                    </a:lnTo>
                    <a:lnTo>
                      <a:pt x="594" y="174"/>
                    </a:lnTo>
                    <a:lnTo>
                      <a:pt x="594" y="174"/>
                    </a:lnTo>
                    <a:lnTo>
                      <a:pt x="597" y="170"/>
                    </a:lnTo>
                    <a:lnTo>
                      <a:pt x="602" y="167"/>
                    </a:lnTo>
                    <a:lnTo>
                      <a:pt x="603" y="166"/>
                    </a:lnTo>
                    <a:lnTo>
                      <a:pt x="605" y="165"/>
                    </a:lnTo>
                    <a:lnTo>
                      <a:pt x="605" y="165"/>
                    </a:lnTo>
                    <a:lnTo>
                      <a:pt x="607" y="165"/>
                    </a:lnTo>
                    <a:lnTo>
                      <a:pt x="607" y="165"/>
                    </a:lnTo>
                    <a:lnTo>
                      <a:pt x="608" y="165"/>
                    </a:lnTo>
                    <a:lnTo>
                      <a:pt x="611" y="166"/>
                    </a:lnTo>
                    <a:lnTo>
                      <a:pt x="614" y="169"/>
                    </a:lnTo>
                    <a:lnTo>
                      <a:pt x="615" y="174"/>
                    </a:lnTo>
                    <a:lnTo>
                      <a:pt x="615" y="174"/>
                    </a:lnTo>
                    <a:lnTo>
                      <a:pt x="615" y="174"/>
                    </a:lnTo>
                    <a:lnTo>
                      <a:pt x="615" y="175"/>
                    </a:lnTo>
                    <a:lnTo>
                      <a:pt x="618" y="178"/>
                    </a:lnTo>
                    <a:lnTo>
                      <a:pt x="618" y="178"/>
                    </a:lnTo>
                    <a:lnTo>
                      <a:pt x="622" y="181"/>
                    </a:lnTo>
                    <a:lnTo>
                      <a:pt x="624" y="182"/>
                    </a:lnTo>
                    <a:lnTo>
                      <a:pt x="626" y="186"/>
                    </a:lnTo>
                    <a:lnTo>
                      <a:pt x="626" y="187"/>
                    </a:lnTo>
                    <a:lnTo>
                      <a:pt x="626" y="191"/>
                    </a:lnTo>
                    <a:lnTo>
                      <a:pt x="623" y="195"/>
                    </a:lnTo>
                    <a:lnTo>
                      <a:pt x="623" y="195"/>
                    </a:lnTo>
                    <a:lnTo>
                      <a:pt x="623" y="194"/>
                    </a:lnTo>
                    <a:lnTo>
                      <a:pt x="623" y="194"/>
                    </a:lnTo>
                    <a:lnTo>
                      <a:pt x="620" y="193"/>
                    </a:lnTo>
                    <a:lnTo>
                      <a:pt x="623" y="195"/>
                    </a:lnTo>
                    <a:lnTo>
                      <a:pt x="622" y="198"/>
                    </a:lnTo>
                    <a:lnTo>
                      <a:pt x="622" y="198"/>
                    </a:lnTo>
                    <a:lnTo>
                      <a:pt x="623" y="197"/>
                    </a:lnTo>
                    <a:lnTo>
                      <a:pt x="623" y="197"/>
                    </a:lnTo>
                    <a:lnTo>
                      <a:pt x="623" y="197"/>
                    </a:lnTo>
                    <a:lnTo>
                      <a:pt x="623" y="197"/>
                    </a:lnTo>
                    <a:lnTo>
                      <a:pt x="623" y="197"/>
                    </a:lnTo>
                    <a:lnTo>
                      <a:pt x="624" y="197"/>
                    </a:lnTo>
                    <a:lnTo>
                      <a:pt x="624" y="197"/>
                    </a:lnTo>
                    <a:lnTo>
                      <a:pt x="624" y="197"/>
                    </a:lnTo>
                    <a:lnTo>
                      <a:pt x="624" y="197"/>
                    </a:lnTo>
                    <a:lnTo>
                      <a:pt x="624" y="197"/>
                    </a:lnTo>
                    <a:lnTo>
                      <a:pt x="624" y="197"/>
                    </a:lnTo>
                    <a:lnTo>
                      <a:pt x="624" y="197"/>
                    </a:lnTo>
                    <a:lnTo>
                      <a:pt x="624" y="197"/>
                    </a:lnTo>
                    <a:lnTo>
                      <a:pt x="630" y="195"/>
                    </a:lnTo>
                    <a:lnTo>
                      <a:pt x="630" y="195"/>
                    </a:lnTo>
                    <a:lnTo>
                      <a:pt x="631" y="195"/>
                    </a:lnTo>
                    <a:lnTo>
                      <a:pt x="631" y="195"/>
                    </a:lnTo>
                    <a:lnTo>
                      <a:pt x="632" y="195"/>
                    </a:lnTo>
                    <a:lnTo>
                      <a:pt x="632" y="195"/>
                    </a:lnTo>
                    <a:lnTo>
                      <a:pt x="635" y="195"/>
                    </a:lnTo>
                    <a:lnTo>
                      <a:pt x="635" y="195"/>
                    </a:lnTo>
                    <a:lnTo>
                      <a:pt x="635" y="195"/>
                    </a:lnTo>
                    <a:lnTo>
                      <a:pt x="635" y="195"/>
                    </a:lnTo>
                    <a:lnTo>
                      <a:pt x="635" y="197"/>
                    </a:lnTo>
                    <a:lnTo>
                      <a:pt x="635" y="197"/>
                    </a:lnTo>
                    <a:lnTo>
                      <a:pt x="634" y="198"/>
                    </a:lnTo>
                    <a:lnTo>
                      <a:pt x="634" y="198"/>
                    </a:lnTo>
                    <a:lnTo>
                      <a:pt x="632" y="201"/>
                    </a:lnTo>
                    <a:lnTo>
                      <a:pt x="639" y="194"/>
                    </a:lnTo>
                    <a:lnTo>
                      <a:pt x="639" y="194"/>
                    </a:lnTo>
                    <a:lnTo>
                      <a:pt x="639" y="194"/>
                    </a:lnTo>
                    <a:lnTo>
                      <a:pt x="640" y="193"/>
                    </a:lnTo>
                    <a:lnTo>
                      <a:pt x="644" y="193"/>
                    </a:lnTo>
                    <a:lnTo>
                      <a:pt x="644" y="193"/>
                    </a:lnTo>
                    <a:lnTo>
                      <a:pt x="644" y="193"/>
                    </a:lnTo>
                    <a:lnTo>
                      <a:pt x="644" y="193"/>
                    </a:lnTo>
                    <a:lnTo>
                      <a:pt x="647" y="191"/>
                    </a:lnTo>
                    <a:lnTo>
                      <a:pt x="651" y="191"/>
                    </a:lnTo>
                    <a:lnTo>
                      <a:pt x="652" y="191"/>
                    </a:lnTo>
                    <a:lnTo>
                      <a:pt x="656" y="193"/>
                    </a:lnTo>
                    <a:lnTo>
                      <a:pt x="656" y="193"/>
                    </a:lnTo>
                    <a:lnTo>
                      <a:pt x="657" y="194"/>
                    </a:lnTo>
                    <a:lnTo>
                      <a:pt x="659" y="197"/>
                    </a:lnTo>
                    <a:lnTo>
                      <a:pt x="659" y="197"/>
                    </a:lnTo>
                    <a:lnTo>
                      <a:pt x="657" y="195"/>
                    </a:lnTo>
                    <a:lnTo>
                      <a:pt x="655" y="194"/>
                    </a:lnTo>
                    <a:lnTo>
                      <a:pt x="659" y="197"/>
                    </a:lnTo>
                    <a:lnTo>
                      <a:pt x="659" y="197"/>
                    </a:lnTo>
                    <a:lnTo>
                      <a:pt x="660" y="199"/>
                    </a:lnTo>
                    <a:lnTo>
                      <a:pt x="661" y="203"/>
                    </a:lnTo>
                    <a:lnTo>
                      <a:pt x="661" y="203"/>
                    </a:lnTo>
                    <a:lnTo>
                      <a:pt x="663" y="206"/>
                    </a:lnTo>
                    <a:lnTo>
                      <a:pt x="665" y="207"/>
                    </a:lnTo>
                    <a:lnTo>
                      <a:pt x="665" y="207"/>
                    </a:lnTo>
                    <a:lnTo>
                      <a:pt x="665" y="207"/>
                    </a:lnTo>
                    <a:lnTo>
                      <a:pt x="665" y="207"/>
                    </a:lnTo>
                    <a:lnTo>
                      <a:pt x="667" y="207"/>
                    </a:lnTo>
                    <a:lnTo>
                      <a:pt x="667" y="207"/>
                    </a:lnTo>
                    <a:lnTo>
                      <a:pt x="668" y="207"/>
                    </a:lnTo>
                    <a:lnTo>
                      <a:pt x="668" y="207"/>
                    </a:lnTo>
                    <a:lnTo>
                      <a:pt x="672" y="208"/>
                    </a:lnTo>
                    <a:lnTo>
                      <a:pt x="676" y="210"/>
                    </a:lnTo>
                    <a:lnTo>
                      <a:pt x="680" y="215"/>
                    </a:lnTo>
                    <a:lnTo>
                      <a:pt x="680" y="215"/>
                    </a:lnTo>
                    <a:lnTo>
                      <a:pt x="681" y="218"/>
                    </a:lnTo>
                    <a:lnTo>
                      <a:pt x="683" y="220"/>
                    </a:lnTo>
                    <a:lnTo>
                      <a:pt x="683" y="220"/>
                    </a:lnTo>
                    <a:lnTo>
                      <a:pt x="684" y="220"/>
                    </a:lnTo>
                    <a:lnTo>
                      <a:pt x="684" y="220"/>
                    </a:lnTo>
                    <a:lnTo>
                      <a:pt x="684" y="220"/>
                    </a:lnTo>
                    <a:lnTo>
                      <a:pt x="688" y="220"/>
                    </a:lnTo>
                    <a:lnTo>
                      <a:pt x="688" y="220"/>
                    </a:lnTo>
                    <a:lnTo>
                      <a:pt x="690" y="223"/>
                    </a:lnTo>
                    <a:lnTo>
                      <a:pt x="692" y="226"/>
                    </a:lnTo>
                    <a:lnTo>
                      <a:pt x="692" y="226"/>
                    </a:lnTo>
                    <a:lnTo>
                      <a:pt x="693" y="227"/>
                    </a:lnTo>
                    <a:lnTo>
                      <a:pt x="693" y="227"/>
                    </a:lnTo>
                    <a:lnTo>
                      <a:pt x="694" y="226"/>
                    </a:lnTo>
                    <a:lnTo>
                      <a:pt x="694" y="226"/>
                    </a:lnTo>
                    <a:lnTo>
                      <a:pt x="697" y="226"/>
                    </a:lnTo>
                    <a:lnTo>
                      <a:pt x="697" y="226"/>
                    </a:lnTo>
                    <a:lnTo>
                      <a:pt x="701" y="227"/>
                    </a:lnTo>
                    <a:lnTo>
                      <a:pt x="705" y="228"/>
                    </a:lnTo>
                    <a:lnTo>
                      <a:pt x="705" y="228"/>
                    </a:lnTo>
                    <a:lnTo>
                      <a:pt x="705" y="228"/>
                    </a:lnTo>
                    <a:lnTo>
                      <a:pt x="705" y="228"/>
                    </a:lnTo>
                    <a:lnTo>
                      <a:pt x="706" y="228"/>
                    </a:lnTo>
                    <a:lnTo>
                      <a:pt x="708" y="228"/>
                    </a:lnTo>
                    <a:lnTo>
                      <a:pt x="709" y="230"/>
                    </a:lnTo>
                    <a:lnTo>
                      <a:pt x="709" y="230"/>
                    </a:lnTo>
                    <a:lnTo>
                      <a:pt x="709" y="230"/>
                    </a:lnTo>
                    <a:lnTo>
                      <a:pt x="709" y="228"/>
                    </a:lnTo>
                    <a:lnTo>
                      <a:pt x="709" y="226"/>
                    </a:lnTo>
                    <a:lnTo>
                      <a:pt x="714" y="220"/>
                    </a:lnTo>
                    <a:lnTo>
                      <a:pt x="714" y="220"/>
                    </a:lnTo>
                    <a:lnTo>
                      <a:pt x="712" y="222"/>
                    </a:lnTo>
                    <a:lnTo>
                      <a:pt x="710" y="223"/>
                    </a:lnTo>
                    <a:lnTo>
                      <a:pt x="710" y="223"/>
                    </a:lnTo>
                    <a:lnTo>
                      <a:pt x="710" y="223"/>
                    </a:lnTo>
                    <a:lnTo>
                      <a:pt x="710" y="222"/>
                    </a:lnTo>
                    <a:lnTo>
                      <a:pt x="717" y="216"/>
                    </a:lnTo>
                    <a:lnTo>
                      <a:pt x="721" y="216"/>
                    </a:lnTo>
                    <a:lnTo>
                      <a:pt x="727" y="219"/>
                    </a:lnTo>
                    <a:lnTo>
                      <a:pt x="727" y="219"/>
                    </a:lnTo>
                    <a:lnTo>
                      <a:pt x="725" y="218"/>
                    </a:lnTo>
                    <a:lnTo>
                      <a:pt x="725" y="218"/>
                    </a:lnTo>
                    <a:lnTo>
                      <a:pt x="727" y="218"/>
                    </a:lnTo>
                    <a:lnTo>
                      <a:pt x="727" y="218"/>
                    </a:lnTo>
                    <a:lnTo>
                      <a:pt x="729" y="218"/>
                    </a:lnTo>
                    <a:lnTo>
                      <a:pt x="730" y="216"/>
                    </a:lnTo>
                    <a:lnTo>
                      <a:pt x="730" y="216"/>
                    </a:lnTo>
                    <a:lnTo>
                      <a:pt x="734" y="215"/>
                    </a:lnTo>
                    <a:lnTo>
                      <a:pt x="737" y="215"/>
                    </a:lnTo>
                    <a:lnTo>
                      <a:pt x="737" y="215"/>
                    </a:lnTo>
                    <a:lnTo>
                      <a:pt x="739" y="214"/>
                    </a:lnTo>
                    <a:lnTo>
                      <a:pt x="747" y="219"/>
                    </a:lnTo>
                    <a:lnTo>
                      <a:pt x="747" y="223"/>
                    </a:lnTo>
                    <a:lnTo>
                      <a:pt x="747" y="223"/>
                    </a:lnTo>
                    <a:lnTo>
                      <a:pt x="747" y="226"/>
                    </a:lnTo>
                    <a:lnTo>
                      <a:pt x="747" y="226"/>
                    </a:lnTo>
                    <a:lnTo>
                      <a:pt x="747" y="226"/>
                    </a:lnTo>
                    <a:lnTo>
                      <a:pt x="747" y="226"/>
                    </a:lnTo>
                    <a:lnTo>
                      <a:pt x="747" y="224"/>
                    </a:lnTo>
                    <a:lnTo>
                      <a:pt x="743" y="223"/>
                    </a:lnTo>
                    <a:lnTo>
                      <a:pt x="749" y="228"/>
                    </a:lnTo>
                    <a:lnTo>
                      <a:pt x="749" y="231"/>
                    </a:lnTo>
                    <a:lnTo>
                      <a:pt x="749" y="231"/>
                    </a:lnTo>
                    <a:lnTo>
                      <a:pt x="750" y="234"/>
                    </a:lnTo>
                    <a:lnTo>
                      <a:pt x="750" y="234"/>
                    </a:lnTo>
                    <a:lnTo>
                      <a:pt x="751" y="234"/>
                    </a:lnTo>
                    <a:lnTo>
                      <a:pt x="751" y="234"/>
                    </a:lnTo>
                    <a:lnTo>
                      <a:pt x="753" y="234"/>
                    </a:lnTo>
                    <a:lnTo>
                      <a:pt x="754" y="232"/>
                    </a:lnTo>
                    <a:lnTo>
                      <a:pt x="754" y="232"/>
                    </a:lnTo>
                    <a:lnTo>
                      <a:pt x="758" y="232"/>
                    </a:lnTo>
                    <a:lnTo>
                      <a:pt x="758" y="232"/>
                    </a:lnTo>
                    <a:lnTo>
                      <a:pt x="761" y="232"/>
                    </a:lnTo>
                    <a:lnTo>
                      <a:pt x="761" y="232"/>
                    </a:lnTo>
                    <a:lnTo>
                      <a:pt x="763" y="232"/>
                    </a:lnTo>
                    <a:lnTo>
                      <a:pt x="763" y="232"/>
                    </a:lnTo>
                    <a:lnTo>
                      <a:pt x="762" y="234"/>
                    </a:lnTo>
                    <a:lnTo>
                      <a:pt x="761" y="235"/>
                    </a:lnTo>
                    <a:lnTo>
                      <a:pt x="766" y="231"/>
                    </a:lnTo>
                    <a:lnTo>
                      <a:pt x="771" y="231"/>
                    </a:lnTo>
                    <a:lnTo>
                      <a:pt x="772" y="231"/>
                    </a:lnTo>
                    <a:lnTo>
                      <a:pt x="772" y="231"/>
                    </a:lnTo>
                    <a:lnTo>
                      <a:pt x="776" y="232"/>
                    </a:lnTo>
                    <a:lnTo>
                      <a:pt x="780" y="235"/>
                    </a:lnTo>
                    <a:lnTo>
                      <a:pt x="787" y="240"/>
                    </a:lnTo>
                    <a:lnTo>
                      <a:pt x="788" y="240"/>
                    </a:lnTo>
                    <a:lnTo>
                      <a:pt x="787" y="241"/>
                    </a:lnTo>
                    <a:lnTo>
                      <a:pt x="791" y="245"/>
                    </a:lnTo>
                    <a:lnTo>
                      <a:pt x="791" y="245"/>
                    </a:lnTo>
                    <a:lnTo>
                      <a:pt x="790" y="251"/>
                    </a:lnTo>
                    <a:lnTo>
                      <a:pt x="787" y="256"/>
                    </a:lnTo>
                    <a:lnTo>
                      <a:pt x="783" y="259"/>
                    </a:lnTo>
                    <a:lnTo>
                      <a:pt x="779" y="260"/>
                    </a:lnTo>
                    <a:lnTo>
                      <a:pt x="779" y="260"/>
                    </a:lnTo>
                    <a:lnTo>
                      <a:pt x="778" y="261"/>
                    </a:lnTo>
                    <a:lnTo>
                      <a:pt x="775" y="263"/>
                    </a:lnTo>
                    <a:lnTo>
                      <a:pt x="774" y="263"/>
                    </a:lnTo>
                    <a:lnTo>
                      <a:pt x="774" y="263"/>
                    </a:lnTo>
                    <a:lnTo>
                      <a:pt x="772" y="264"/>
                    </a:lnTo>
                    <a:lnTo>
                      <a:pt x="772" y="264"/>
                    </a:lnTo>
                    <a:lnTo>
                      <a:pt x="771" y="268"/>
                    </a:lnTo>
                    <a:lnTo>
                      <a:pt x="771" y="268"/>
                    </a:lnTo>
                    <a:lnTo>
                      <a:pt x="771" y="268"/>
                    </a:lnTo>
                    <a:lnTo>
                      <a:pt x="771" y="268"/>
                    </a:lnTo>
                    <a:lnTo>
                      <a:pt x="771" y="268"/>
                    </a:lnTo>
                    <a:lnTo>
                      <a:pt x="771" y="268"/>
                    </a:lnTo>
                    <a:lnTo>
                      <a:pt x="771" y="269"/>
                    </a:lnTo>
                    <a:lnTo>
                      <a:pt x="775" y="275"/>
                    </a:lnTo>
                    <a:lnTo>
                      <a:pt x="775" y="280"/>
                    </a:lnTo>
                    <a:lnTo>
                      <a:pt x="774" y="285"/>
                    </a:lnTo>
                    <a:lnTo>
                      <a:pt x="774" y="285"/>
                    </a:lnTo>
                    <a:lnTo>
                      <a:pt x="772" y="288"/>
                    </a:lnTo>
                    <a:lnTo>
                      <a:pt x="771" y="290"/>
                    </a:lnTo>
                    <a:lnTo>
                      <a:pt x="771" y="290"/>
                    </a:lnTo>
                    <a:lnTo>
                      <a:pt x="771" y="294"/>
                    </a:lnTo>
                    <a:lnTo>
                      <a:pt x="771" y="296"/>
                    </a:lnTo>
                    <a:lnTo>
                      <a:pt x="771" y="296"/>
                    </a:lnTo>
                    <a:lnTo>
                      <a:pt x="772" y="297"/>
                    </a:lnTo>
                    <a:lnTo>
                      <a:pt x="772" y="297"/>
                    </a:lnTo>
                    <a:lnTo>
                      <a:pt x="774" y="298"/>
                    </a:lnTo>
                    <a:lnTo>
                      <a:pt x="775" y="298"/>
                    </a:lnTo>
                    <a:lnTo>
                      <a:pt x="775" y="298"/>
                    </a:lnTo>
                    <a:lnTo>
                      <a:pt x="776" y="297"/>
                    </a:lnTo>
                    <a:lnTo>
                      <a:pt x="783" y="293"/>
                    </a:lnTo>
                    <a:lnTo>
                      <a:pt x="783" y="293"/>
                    </a:lnTo>
                    <a:lnTo>
                      <a:pt x="788" y="296"/>
                    </a:lnTo>
                    <a:lnTo>
                      <a:pt x="788" y="296"/>
                    </a:lnTo>
                    <a:lnTo>
                      <a:pt x="787" y="294"/>
                    </a:lnTo>
                    <a:lnTo>
                      <a:pt x="787" y="294"/>
                    </a:lnTo>
                    <a:lnTo>
                      <a:pt x="790" y="294"/>
                    </a:lnTo>
                    <a:lnTo>
                      <a:pt x="790" y="294"/>
                    </a:lnTo>
                    <a:lnTo>
                      <a:pt x="788" y="296"/>
                    </a:lnTo>
                    <a:lnTo>
                      <a:pt x="787" y="298"/>
                    </a:lnTo>
                    <a:lnTo>
                      <a:pt x="792" y="293"/>
                    </a:lnTo>
                    <a:lnTo>
                      <a:pt x="795" y="293"/>
                    </a:lnTo>
                    <a:lnTo>
                      <a:pt x="795" y="293"/>
                    </a:lnTo>
                    <a:lnTo>
                      <a:pt x="796" y="293"/>
                    </a:lnTo>
                    <a:lnTo>
                      <a:pt x="796" y="293"/>
                    </a:lnTo>
                    <a:lnTo>
                      <a:pt x="799" y="293"/>
                    </a:lnTo>
                    <a:lnTo>
                      <a:pt x="799" y="293"/>
                    </a:lnTo>
                    <a:lnTo>
                      <a:pt x="800" y="293"/>
                    </a:lnTo>
                    <a:lnTo>
                      <a:pt x="800" y="293"/>
                    </a:lnTo>
                    <a:lnTo>
                      <a:pt x="798" y="294"/>
                    </a:lnTo>
                    <a:lnTo>
                      <a:pt x="796" y="298"/>
                    </a:lnTo>
                    <a:lnTo>
                      <a:pt x="803" y="292"/>
                    </a:lnTo>
                    <a:lnTo>
                      <a:pt x="804" y="292"/>
                    </a:lnTo>
                    <a:lnTo>
                      <a:pt x="807" y="293"/>
                    </a:lnTo>
                    <a:lnTo>
                      <a:pt x="807" y="293"/>
                    </a:lnTo>
                    <a:lnTo>
                      <a:pt x="809" y="294"/>
                    </a:lnTo>
                    <a:lnTo>
                      <a:pt x="812" y="297"/>
                    </a:lnTo>
                    <a:lnTo>
                      <a:pt x="812" y="297"/>
                    </a:lnTo>
                    <a:lnTo>
                      <a:pt x="813" y="298"/>
                    </a:lnTo>
                    <a:lnTo>
                      <a:pt x="817" y="305"/>
                    </a:lnTo>
                    <a:lnTo>
                      <a:pt x="817" y="305"/>
                    </a:lnTo>
                    <a:lnTo>
                      <a:pt x="816" y="308"/>
                    </a:lnTo>
                    <a:lnTo>
                      <a:pt x="815" y="310"/>
                    </a:lnTo>
                    <a:lnTo>
                      <a:pt x="811" y="312"/>
                    </a:lnTo>
                    <a:lnTo>
                      <a:pt x="809" y="312"/>
                    </a:lnTo>
                    <a:lnTo>
                      <a:pt x="808" y="312"/>
                    </a:lnTo>
                    <a:lnTo>
                      <a:pt x="808" y="312"/>
                    </a:lnTo>
                    <a:lnTo>
                      <a:pt x="807" y="312"/>
                    </a:lnTo>
                    <a:lnTo>
                      <a:pt x="807" y="312"/>
                    </a:lnTo>
                    <a:lnTo>
                      <a:pt x="808" y="310"/>
                    </a:lnTo>
                    <a:lnTo>
                      <a:pt x="809" y="308"/>
                    </a:lnTo>
                    <a:lnTo>
                      <a:pt x="804" y="313"/>
                    </a:lnTo>
                    <a:lnTo>
                      <a:pt x="804" y="313"/>
                    </a:lnTo>
                    <a:lnTo>
                      <a:pt x="804" y="313"/>
                    </a:lnTo>
                    <a:lnTo>
                      <a:pt x="805" y="313"/>
                    </a:lnTo>
                    <a:lnTo>
                      <a:pt x="805" y="313"/>
                    </a:lnTo>
                    <a:lnTo>
                      <a:pt x="804" y="313"/>
                    </a:lnTo>
                    <a:lnTo>
                      <a:pt x="804" y="313"/>
                    </a:lnTo>
                    <a:lnTo>
                      <a:pt x="802" y="318"/>
                    </a:lnTo>
                    <a:lnTo>
                      <a:pt x="802" y="318"/>
                    </a:lnTo>
                    <a:lnTo>
                      <a:pt x="802" y="318"/>
                    </a:lnTo>
                    <a:lnTo>
                      <a:pt x="804" y="321"/>
                    </a:lnTo>
                    <a:lnTo>
                      <a:pt x="804" y="321"/>
                    </a:lnTo>
                    <a:lnTo>
                      <a:pt x="804" y="321"/>
                    </a:lnTo>
                    <a:lnTo>
                      <a:pt x="807" y="321"/>
                    </a:lnTo>
                    <a:lnTo>
                      <a:pt x="807" y="321"/>
                    </a:lnTo>
                    <a:lnTo>
                      <a:pt x="809" y="322"/>
                    </a:lnTo>
                    <a:lnTo>
                      <a:pt x="812" y="323"/>
                    </a:lnTo>
                    <a:lnTo>
                      <a:pt x="812" y="323"/>
                    </a:lnTo>
                    <a:lnTo>
                      <a:pt x="817" y="325"/>
                    </a:lnTo>
                    <a:lnTo>
                      <a:pt x="819" y="327"/>
                    </a:lnTo>
                    <a:lnTo>
                      <a:pt x="819" y="327"/>
                    </a:lnTo>
                    <a:lnTo>
                      <a:pt x="819" y="327"/>
                    </a:lnTo>
                    <a:lnTo>
                      <a:pt x="819" y="327"/>
                    </a:lnTo>
                    <a:lnTo>
                      <a:pt x="823" y="329"/>
                    </a:lnTo>
                    <a:lnTo>
                      <a:pt x="825" y="330"/>
                    </a:lnTo>
                    <a:lnTo>
                      <a:pt x="827" y="331"/>
                    </a:lnTo>
                    <a:lnTo>
                      <a:pt x="828" y="334"/>
                    </a:lnTo>
                    <a:lnTo>
                      <a:pt x="828" y="334"/>
                    </a:lnTo>
                    <a:lnTo>
                      <a:pt x="828" y="334"/>
                    </a:lnTo>
                    <a:lnTo>
                      <a:pt x="828" y="341"/>
                    </a:lnTo>
                    <a:lnTo>
                      <a:pt x="840" y="341"/>
                    </a:lnTo>
                    <a:lnTo>
                      <a:pt x="845" y="347"/>
                    </a:lnTo>
                    <a:lnTo>
                      <a:pt x="845" y="347"/>
                    </a:lnTo>
                    <a:lnTo>
                      <a:pt x="846" y="350"/>
                    </a:lnTo>
                    <a:lnTo>
                      <a:pt x="848" y="350"/>
                    </a:lnTo>
                    <a:lnTo>
                      <a:pt x="848" y="350"/>
                    </a:lnTo>
                    <a:lnTo>
                      <a:pt x="853" y="353"/>
                    </a:lnTo>
                    <a:lnTo>
                      <a:pt x="853" y="353"/>
                    </a:lnTo>
                    <a:lnTo>
                      <a:pt x="852" y="351"/>
                    </a:lnTo>
                    <a:lnTo>
                      <a:pt x="850" y="351"/>
                    </a:lnTo>
                    <a:lnTo>
                      <a:pt x="850" y="351"/>
                    </a:lnTo>
                    <a:lnTo>
                      <a:pt x="852" y="350"/>
                    </a:lnTo>
                    <a:lnTo>
                      <a:pt x="854" y="349"/>
                    </a:lnTo>
                    <a:lnTo>
                      <a:pt x="854" y="349"/>
                    </a:lnTo>
                    <a:lnTo>
                      <a:pt x="854" y="349"/>
                    </a:lnTo>
                    <a:lnTo>
                      <a:pt x="857" y="347"/>
                    </a:lnTo>
                    <a:lnTo>
                      <a:pt x="860" y="346"/>
                    </a:lnTo>
                    <a:lnTo>
                      <a:pt x="860" y="346"/>
                    </a:lnTo>
                    <a:lnTo>
                      <a:pt x="862" y="346"/>
                    </a:lnTo>
                    <a:lnTo>
                      <a:pt x="866" y="349"/>
                    </a:lnTo>
                    <a:lnTo>
                      <a:pt x="869" y="350"/>
                    </a:lnTo>
                    <a:lnTo>
                      <a:pt x="869" y="350"/>
                    </a:lnTo>
                    <a:lnTo>
                      <a:pt x="870" y="353"/>
                    </a:lnTo>
                    <a:lnTo>
                      <a:pt x="874" y="355"/>
                    </a:lnTo>
                    <a:lnTo>
                      <a:pt x="878" y="357"/>
                    </a:lnTo>
                    <a:lnTo>
                      <a:pt x="883" y="357"/>
                    </a:lnTo>
                    <a:lnTo>
                      <a:pt x="883" y="357"/>
                    </a:lnTo>
                    <a:lnTo>
                      <a:pt x="886" y="357"/>
                    </a:lnTo>
                    <a:lnTo>
                      <a:pt x="893" y="358"/>
                    </a:lnTo>
                    <a:lnTo>
                      <a:pt x="893" y="358"/>
                    </a:lnTo>
                    <a:lnTo>
                      <a:pt x="894" y="359"/>
                    </a:lnTo>
                    <a:lnTo>
                      <a:pt x="898" y="364"/>
                    </a:lnTo>
                    <a:lnTo>
                      <a:pt x="898" y="364"/>
                    </a:lnTo>
                    <a:lnTo>
                      <a:pt x="902" y="363"/>
                    </a:lnTo>
                    <a:lnTo>
                      <a:pt x="907" y="368"/>
                    </a:lnTo>
                    <a:lnTo>
                      <a:pt x="909" y="370"/>
                    </a:lnTo>
                    <a:lnTo>
                      <a:pt x="909" y="370"/>
                    </a:lnTo>
                    <a:lnTo>
                      <a:pt x="909" y="372"/>
                    </a:lnTo>
                    <a:lnTo>
                      <a:pt x="909" y="372"/>
                    </a:lnTo>
                    <a:lnTo>
                      <a:pt x="910" y="372"/>
                    </a:lnTo>
                    <a:lnTo>
                      <a:pt x="913" y="372"/>
                    </a:lnTo>
                    <a:lnTo>
                      <a:pt x="914" y="372"/>
                    </a:lnTo>
                    <a:lnTo>
                      <a:pt x="914" y="372"/>
                    </a:lnTo>
                    <a:lnTo>
                      <a:pt x="919" y="375"/>
                    </a:lnTo>
                    <a:lnTo>
                      <a:pt x="919" y="375"/>
                    </a:lnTo>
                    <a:lnTo>
                      <a:pt x="920" y="374"/>
                    </a:lnTo>
                    <a:lnTo>
                      <a:pt x="923" y="374"/>
                    </a:lnTo>
                    <a:lnTo>
                      <a:pt x="923" y="374"/>
                    </a:lnTo>
                    <a:lnTo>
                      <a:pt x="923" y="374"/>
                    </a:lnTo>
                    <a:lnTo>
                      <a:pt x="923" y="374"/>
                    </a:lnTo>
                    <a:lnTo>
                      <a:pt x="926" y="374"/>
                    </a:lnTo>
                    <a:lnTo>
                      <a:pt x="928" y="375"/>
                    </a:lnTo>
                    <a:lnTo>
                      <a:pt x="928" y="375"/>
                    </a:lnTo>
                    <a:lnTo>
                      <a:pt x="930" y="374"/>
                    </a:lnTo>
                    <a:lnTo>
                      <a:pt x="930" y="374"/>
                    </a:lnTo>
                    <a:lnTo>
                      <a:pt x="934" y="371"/>
                    </a:lnTo>
                    <a:lnTo>
                      <a:pt x="938" y="370"/>
                    </a:lnTo>
                    <a:lnTo>
                      <a:pt x="938" y="370"/>
                    </a:lnTo>
                    <a:lnTo>
                      <a:pt x="942" y="370"/>
                    </a:lnTo>
                    <a:lnTo>
                      <a:pt x="943" y="372"/>
                    </a:lnTo>
                    <a:lnTo>
                      <a:pt x="943" y="372"/>
                    </a:lnTo>
                    <a:lnTo>
                      <a:pt x="944" y="375"/>
                    </a:lnTo>
                    <a:lnTo>
                      <a:pt x="944" y="378"/>
                    </a:lnTo>
                    <a:lnTo>
                      <a:pt x="944" y="378"/>
                    </a:lnTo>
                    <a:lnTo>
                      <a:pt x="948" y="378"/>
                    </a:lnTo>
                    <a:lnTo>
                      <a:pt x="948" y="378"/>
                    </a:lnTo>
                    <a:lnTo>
                      <a:pt x="950" y="378"/>
                    </a:lnTo>
                    <a:lnTo>
                      <a:pt x="954" y="379"/>
                    </a:lnTo>
                    <a:lnTo>
                      <a:pt x="954" y="379"/>
                    </a:lnTo>
                    <a:lnTo>
                      <a:pt x="955" y="382"/>
                    </a:lnTo>
                    <a:lnTo>
                      <a:pt x="955" y="382"/>
                    </a:lnTo>
                    <a:lnTo>
                      <a:pt x="955" y="383"/>
                    </a:lnTo>
                    <a:lnTo>
                      <a:pt x="961" y="390"/>
                    </a:lnTo>
                    <a:lnTo>
                      <a:pt x="961" y="390"/>
                    </a:lnTo>
                    <a:lnTo>
                      <a:pt x="960" y="394"/>
                    </a:lnTo>
                    <a:lnTo>
                      <a:pt x="960" y="394"/>
                    </a:lnTo>
                    <a:lnTo>
                      <a:pt x="961" y="391"/>
                    </a:lnTo>
                    <a:lnTo>
                      <a:pt x="956" y="396"/>
                    </a:lnTo>
                    <a:lnTo>
                      <a:pt x="956" y="396"/>
                    </a:lnTo>
                    <a:lnTo>
                      <a:pt x="954" y="399"/>
                    </a:lnTo>
                    <a:lnTo>
                      <a:pt x="952" y="400"/>
                    </a:lnTo>
                    <a:lnTo>
                      <a:pt x="952" y="400"/>
                    </a:lnTo>
                    <a:lnTo>
                      <a:pt x="952" y="401"/>
                    </a:lnTo>
                    <a:lnTo>
                      <a:pt x="954" y="401"/>
                    </a:lnTo>
                    <a:lnTo>
                      <a:pt x="954" y="401"/>
                    </a:lnTo>
                    <a:lnTo>
                      <a:pt x="955" y="405"/>
                    </a:lnTo>
                    <a:lnTo>
                      <a:pt x="956" y="409"/>
                    </a:lnTo>
                    <a:lnTo>
                      <a:pt x="956" y="409"/>
                    </a:lnTo>
                    <a:lnTo>
                      <a:pt x="956" y="413"/>
                    </a:lnTo>
                    <a:lnTo>
                      <a:pt x="956" y="417"/>
                    </a:lnTo>
                    <a:lnTo>
                      <a:pt x="956" y="417"/>
                    </a:lnTo>
                    <a:lnTo>
                      <a:pt x="959" y="417"/>
                    </a:lnTo>
                    <a:lnTo>
                      <a:pt x="959" y="417"/>
                    </a:lnTo>
                    <a:lnTo>
                      <a:pt x="969" y="416"/>
                    </a:lnTo>
                    <a:lnTo>
                      <a:pt x="976" y="415"/>
                    </a:lnTo>
                    <a:lnTo>
                      <a:pt x="983" y="416"/>
                    </a:lnTo>
                    <a:lnTo>
                      <a:pt x="983" y="416"/>
                    </a:lnTo>
                    <a:lnTo>
                      <a:pt x="984" y="419"/>
                    </a:lnTo>
                    <a:lnTo>
                      <a:pt x="985" y="421"/>
                    </a:lnTo>
                    <a:lnTo>
                      <a:pt x="985" y="425"/>
                    </a:lnTo>
                    <a:lnTo>
                      <a:pt x="984" y="428"/>
                    </a:lnTo>
                    <a:lnTo>
                      <a:pt x="984" y="428"/>
                    </a:lnTo>
                    <a:lnTo>
                      <a:pt x="984" y="428"/>
                    </a:lnTo>
                    <a:lnTo>
                      <a:pt x="985" y="431"/>
                    </a:lnTo>
                    <a:lnTo>
                      <a:pt x="987" y="433"/>
                    </a:lnTo>
                    <a:lnTo>
                      <a:pt x="987" y="433"/>
                    </a:lnTo>
                    <a:lnTo>
                      <a:pt x="987" y="435"/>
                    </a:lnTo>
                    <a:lnTo>
                      <a:pt x="987" y="435"/>
                    </a:lnTo>
                    <a:lnTo>
                      <a:pt x="989" y="436"/>
                    </a:lnTo>
                    <a:lnTo>
                      <a:pt x="992" y="441"/>
                    </a:lnTo>
                    <a:lnTo>
                      <a:pt x="992" y="441"/>
                    </a:lnTo>
                    <a:lnTo>
                      <a:pt x="991" y="438"/>
                    </a:lnTo>
                    <a:lnTo>
                      <a:pt x="988" y="438"/>
                    </a:lnTo>
                    <a:lnTo>
                      <a:pt x="995" y="444"/>
                    </a:lnTo>
                    <a:lnTo>
                      <a:pt x="995" y="448"/>
                    </a:lnTo>
                    <a:lnTo>
                      <a:pt x="989" y="454"/>
                    </a:lnTo>
                    <a:lnTo>
                      <a:pt x="989" y="454"/>
                    </a:lnTo>
                    <a:lnTo>
                      <a:pt x="992" y="453"/>
                    </a:lnTo>
                    <a:lnTo>
                      <a:pt x="993" y="450"/>
                    </a:lnTo>
                    <a:lnTo>
                      <a:pt x="993" y="450"/>
                    </a:lnTo>
                    <a:lnTo>
                      <a:pt x="993" y="450"/>
                    </a:lnTo>
                    <a:lnTo>
                      <a:pt x="993" y="453"/>
                    </a:lnTo>
                    <a:lnTo>
                      <a:pt x="991" y="457"/>
                    </a:lnTo>
                    <a:lnTo>
                      <a:pt x="991" y="457"/>
                    </a:lnTo>
                    <a:lnTo>
                      <a:pt x="989" y="458"/>
                    </a:lnTo>
                    <a:lnTo>
                      <a:pt x="989" y="458"/>
                    </a:lnTo>
                    <a:lnTo>
                      <a:pt x="989" y="458"/>
                    </a:lnTo>
                    <a:lnTo>
                      <a:pt x="989" y="461"/>
                    </a:lnTo>
                    <a:lnTo>
                      <a:pt x="989" y="461"/>
                    </a:lnTo>
                    <a:lnTo>
                      <a:pt x="992" y="464"/>
                    </a:lnTo>
                    <a:lnTo>
                      <a:pt x="992" y="464"/>
                    </a:lnTo>
                    <a:lnTo>
                      <a:pt x="995" y="466"/>
                    </a:lnTo>
                    <a:lnTo>
                      <a:pt x="995" y="466"/>
                    </a:lnTo>
                    <a:lnTo>
                      <a:pt x="997" y="469"/>
                    </a:lnTo>
                    <a:lnTo>
                      <a:pt x="997" y="473"/>
                    </a:lnTo>
                    <a:lnTo>
                      <a:pt x="997" y="473"/>
                    </a:lnTo>
                    <a:lnTo>
                      <a:pt x="1001" y="477"/>
                    </a:lnTo>
                    <a:lnTo>
                      <a:pt x="1002" y="481"/>
                    </a:lnTo>
                    <a:lnTo>
                      <a:pt x="1002" y="481"/>
                    </a:lnTo>
                    <a:lnTo>
                      <a:pt x="1005" y="485"/>
                    </a:lnTo>
                    <a:lnTo>
                      <a:pt x="1008" y="490"/>
                    </a:lnTo>
                    <a:lnTo>
                      <a:pt x="1008" y="491"/>
                    </a:lnTo>
                    <a:lnTo>
                      <a:pt x="1008" y="491"/>
                    </a:lnTo>
                    <a:lnTo>
                      <a:pt x="1009" y="493"/>
                    </a:lnTo>
                    <a:lnTo>
                      <a:pt x="1010" y="493"/>
                    </a:lnTo>
                    <a:lnTo>
                      <a:pt x="1010" y="493"/>
                    </a:lnTo>
                    <a:lnTo>
                      <a:pt x="1017" y="499"/>
                    </a:lnTo>
                    <a:lnTo>
                      <a:pt x="1017" y="499"/>
                    </a:lnTo>
                    <a:lnTo>
                      <a:pt x="1016" y="497"/>
                    </a:lnTo>
                    <a:lnTo>
                      <a:pt x="1014" y="495"/>
                    </a:lnTo>
                    <a:lnTo>
                      <a:pt x="1014" y="495"/>
                    </a:lnTo>
                    <a:lnTo>
                      <a:pt x="1017" y="497"/>
                    </a:lnTo>
                    <a:lnTo>
                      <a:pt x="1020" y="498"/>
                    </a:lnTo>
                    <a:lnTo>
                      <a:pt x="1021" y="502"/>
                    </a:lnTo>
                    <a:lnTo>
                      <a:pt x="1021" y="502"/>
                    </a:lnTo>
                    <a:lnTo>
                      <a:pt x="1021" y="505"/>
                    </a:lnTo>
                    <a:lnTo>
                      <a:pt x="1020" y="507"/>
                    </a:lnTo>
                    <a:lnTo>
                      <a:pt x="1020" y="507"/>
                    </a:lnTo>
                    <a:lnTo>
                      <a:pt x="1017" y="511"/>
                    </a:lnTo>
                    <a:lnTo>
                      <a:pt x="1013" y="511"/>
                    </a:lnTo>
                    <a:lnTo>
                      <a:pt x="1013" y="513"/>
                    </a:lnTo>
                    <a:lnTo>
                      <a:pt x="1013" y="513"/>
                    </a:lnTo>
                    <a:lnTo>
                      <a:pt x="1014" y="511"/>
                    </a:lnTo>
                    <a:lnTo>
                      <a:pt x="1016" y="510"/>
                    </a:lnTo>
                    <a:lnTo>
                      <a:pt x="1009" y="514"/>
                    </a:lnTo>
                    <a:lnTo>
                      <a:pt x="1009" y="514"/>
                    </a:lnTo>
                    <a:lnTo>
                      <a:pt x="1008" y="514"/>
                    </a:lnTo>
                    <a:lnTo>
                      <a:pt x="1008" y="514"/>
                    </a:lnTo>
                    <a:lnTo>
                      <a:pt x="1006" y="514"/>
                    </a:lnTo>
                    <a:lnTo>
                      <a:pt x="1004" y="515"/>
                    </a:lnTo>
                    <a:lnTo>
                      <a:pt x="1001" y="515"/>
                    </a:lnTo>
                    <a:lnTo>
                      <a:pt x="1001" y="515"/>
                    </a:lnTo>
                    <a:lnTo>
                      <a:pt x="1000" y="516"/>
                    </a:lnTo>
                    <a:lnTo>
                      <a:pt x="1000" y="516"/>
                    </a:lnTo>
                    <a:lnTo>
                      <a:pt x="997" y="519"/>
                    </a:lnTo>
                    <a:lnTo>
                      <a:pt x="995" y="520"/>
                    </a:lnTo>
                    <a:lnTo>
                      <a:pt x="995" y="520"/>
                    </a:lnTo>
                    <a:lnTo>
                      <a:pt x="996" y="520"/>
                    </a:lnTo>
                    <a:lnTo>
                      <a:pt x="996" y="520"/>
                    </a:lnTo>
                    <a:lnTo>
                      <a:pt x="993" y="522"/>
                    </a:lnTo>
                    <a:lnTo>
                      <a:pt x="993" y="522"/>
                    </a:lnTo>
                    <a:lnTo>
                      <a:pt x="989" y="523"/>
                    </a:lnTo>
                    <a:lnTo>
                      <a:pt x="987" y="523"/>
                    </a:lnTo>
                    <a:lnTo>
                      <a:pt x="987" y="523"/>
                    </a:lnTo>
                    <a:lnTo>
                      <a:pt x="984" y="523"/>
                    </a:lnTo>
                    <a:lnTo>
                      <a:pt x="984" y="523"/>
                    </a:lnTo>
                    <a:lnTo>
                      <a:pt x="980" y="524"/>
                    </a:lnTo>
                    <a:lnTo>
                      <a:pt x="975" y="526"/>
                    </a:lnTo>
                    <a:lnTo>
                      <a:pt x="975" y="526"/>
                    </a:lnTo>
                    <a:lnTo>
                      <a:pt x="975" y="526"/>
                    </a:lnTo>
                    <a:lnTo>
                      <a:pt x="972" y="527"/>
                    </a:lnTo>
                    <a:lnTo>
                      <a:pt x="972" y="528"/>
                    </a:lnTo>
                    <a:lnTo>
                      <a:pt x="969" y="530"/>
                    </a:lnTo>
                    <a:lnTo>
                      <a:pt x="969" y="530"/>
                    </a:lnTo>
                    <a:lnTo>
                      <a:pt x="969" y="530"/>
                    </a:lnTo>
                    <a:lnTo>
                      <a:pt x="964" y="534"/>
                    </a:lnTo>
                    <a:lnTo>
                      <a:pt x="964" y="534"/>
                    </a:lnTo>
                    <a:lnTo>
                      <a:pt x="959" y="538"/>
                    </a:lnTo>
                    <a:lnTo>
                      <a:pt x="955" y="539"/>
                    </a:lnTo>
                    <a:lnTo>
                      <a:pt x="955" y="539"/>
                    </a:lnTo>
                    <a:lnTo>
                      <a:pt x="955" y="539"/>
                    </a:lnTo>
                    <a:lnTo>
                      <a:pt x="952" y="539"/>
                    </a:lnTo>
                    <a:lnTo>
                      <a:pt x="952" y="539"/>
                    </a:lnTo>
                    <a:lnTo>
                      <a:pt x="950" y="539"/>
                    </a:lnTo>
                    <a:lnTo>
                      <a:pt x="950" y="539"/>
                    </a:lnTo>
                    <a:lnTo>
                      <a:pt x="950" y="539"/>
                    </a:lnTo>
                    <a:lnTo>
                      <a:pt x="950" y="539"/>
                    </a:lnTo>
                    <a:lnTo>
                      <a:pt x="951" y="539"/>
                    </a:lnTo>
                    <a:lnTo>
                      <a:pt x="952" y="538"/>
                    </a:lnTo>
                    <a:lnTo>
                      <a:pt x="952" y="538"/>
                    </a:lnTo>
                    <a:lnTo>
                      <a:pt x="954" y="534"/>
                    </a:lnTo>
                    <a:lnTo>
                      <a:pt x="947" y="540"/>
                    </a:lnTo>
                    <a:lnTo>
                      <a:pt x="946" y="540"/>
                    </a:lnTo>
                    <a:lnTo>
                      <a:pt x="946" y="540"/>
                    </a:lnTo>
                    <a:lnTo>
                      <a:pt x="943" y="540"/>
                    </a:lnTo>
                    <a:lnTo>
                      <a:pt x="942" y="542"/>
                    </a:lnTo>
                    <a:lnTo>
                      <a:pt x="942" y="542"/>
                    </a:lnTo>
                    <a:lnTo>
                      <a:pt x="938" y="543"/>
                    </a:lnTo>
                    <a:lnTo>
                      <a:pt x="934" y="544"/>
                    </a:lnTo>
                    <a:lnTo>
                      <a:pt x="934" y="544"/>
                    </a:lnTo>
                    <a:lnTo>
                      <a:pt x="932" y="544"/>
                    </a:lnTo>
                    <a:lnTo>
                      <a:pt x="932" y="544"/>
                    </a:lnTo>
                    <a:lnTo>
                      <a:pt x="930" y="544"/>
                    </a:lnTo>
                    <a:lnTo>
                      <a:pt x="926" y="547"/>
                    </a:lnTo>
                    <a:lnTo>
                      <a:pt x="926" y="547"/>
                    </a:lnTo>
                    <a:lnTo>
                      <a:pt x="922" y="550"/>
                    </a:lnTo>
                    <a:lnTo>
                      <a:pt x="920" y="550"/>
                    </a:lnTo>
                    <a:lnTo>
                      <a:pt x="920" y="550"/>
                    </a:lnTo>
                    <a:lnTo>
                      <a:pt x="917" y="554"/>
                    </a:lnTo>
                    <a:lnTo>
                      <a:pt x="913" y="555"/>
                    </a:lnTo>
                    <a:lnTo>
                      <a:pt x="913" y="555"/>
                    </a:lnTo>
                    <a:lnTo>
                      <a:pt x="907" y="557"/>
                    </a:lnTo>
                    <a:lnTo>
                      <a:pt x="905" y="560"/>
                    </a:lnTo>
                    <a:lnTo>
                      <a:pt x="899" y="563"/>
                    </a:lnTo>
                    <a:lnTo>
                      <a:pt x="897" y="563"/>
                    </a:lnTo>
                    <a:lnTo>
                      <a:pt x="897" y="563"/>
                    </a:lnTo>
                    <a:lnTo>
                      <a:pt x="894" y="564"/>
                    </a:lnTo>
                    <a:lnTo>
                      <a:pt x="891" y="567"/>
                    </a:lnTo>
                    <a:lnTo>
                      <a:pt x="891" y="567"/>
                    </a:lnTo>
                    <a:lnTo>
                      <a:pt x="887" y="569"/>
                    </a:lnTo>
                    <a:lnTo>
                      <a:pt x="883" y="572"/>
                    </a:lnTo>
                    <a:lnTo>
                      <a:pt x="883" y="572"/>
                    </a:lnTo>
                    <a:lnTo>
                      <a:pt x="878" y="573"/>
                    </a:lnTo>
                    <a:lnTo>
                      <a:pt x="872" y="575"/>
                    </a:lnTo>
                    <a:lnTo>
                      <a:pt x="872" y="575"/>
                    </a:lnTo>
                    <a:lnTo>
                      <a:pt x="870" y="575"/>
                    </a:lnTo>
                    <a:lnTo>
                      <a:pt x="870" y="575"/>
                    </a:lnTo>
                    <a:lnTo>
                      <a:pt x="869" y="575"/>
                    </a:lnTo>
                    <a:lnTo>
                      <a:pt x="869" y="575"/>
                    </a:lnTo>
                    <a:lnTo>
                      <a:pt x="870" y="575"/>
                    </a:lnTo>
                    <a:lnTo>
                      <a:pt x="865" y="577"/>
                    </a:lnTo>
                    <a:lnTo>
                      <a:pt x="862" y="577"/>
                    </a:lnTo>
                    <a:lnTo>
                      <a:pt x="858" y="575"/>
                    </a:lnTo>
                    <a:lnTo>
                      <a:pt x="858" y="575"/>
                    </a:lnTo>
                    <a:lnTo>
                      <a:pt x="858" y="575"/>
                    </a:lnTo>
                    <a:lnTo>
                      <a:pt x="858" y="575"/>
                    </a:lnTo>
                    <a:lnTo>
                      <a:pt x="854" y="575"/>
                    </a:lnTo>
                    <a:lnTo>
                      <a:pt x="853" y="575"/>
                    </a:lnTo>
                    <a:lnTo>
                      <a:pt x="848" y="569"/>
                    </a:lnTo>
                    <a:lnTo>
                      <a:pt x="848" y="569"/>
                    </a:lnTo>
                    <a:lnTo>
                      <a:pt x="849" y="572"/>
                    </a:lnTo>
                    <a:lnTo>
                      <a:pt x="850" y="573"/>
                    </a:lnTo>
                    <a:lnTo>
                      <a:pt x="850" y="573"/>
                    </a:lnTo>
                    <a:lnTo>
                      <a:pt x="850" y="573"/>
                    </a:lnTo>
                    <a:lnTo>
                      <a:pt x="850" y="573"/>
                    </a:lnTo>
                    <a:lnTo>
                      <a:pt x="849" y="573"/>
                    </a:lnTo>
                    <a:lnTo>
                      <a:pt x="849" y="573"/>
                    </a:lnTo>
                    <a:lnTo>
                      <a:pt x="846" y="573"/>
                    </a:lnTo>
                    <a:lnTo>
                      <a:pt x="846" y="573"/>
                    </a:lnTo>
                    <a:lnTo>
                      <a:pt x="844" y="573"/>
                    </a:lnTo>
                    <a:lnTo>
                      <a:pt x="844" y="573"/>
                    </a:lnTo>
                    <a:lnTo>
                      <a:pt x="840" y="573"/>
                    </a:lnTo>
                    <a:lnTo>
                      <a:pt x="840" y="573"/>
                    </a:lnTo>
                    <a:lnTo>
                      <a:pt x="839" y="573"/>
                    </a:lnTo>
                    <a:lnTo>
                      <a:pt x="839" y="573"/>
                    </a:lnTo>
                    <a:lnTo>
                      <a:pt x="840" y="572"/>
                    </a:lnTo>
                    <a:lnTo>
                      <a:pt x="841" y="569"/>
                    </a:lnTo>
                    <a:lnTo>
                      <a:pt x="836" y="575"/>
                    </a:lnTo>
                    <a:lnTo>
                      <a:pt x="827" y="575"/>
                    </a:lnTo>
                    <a:lnTo>
                      <a:pt x="821" y="569"/>
                    </a:lnTo>
                    <a:lnTo>
                      <a:pt x="823" y="572"/>
                    </a:lnTo>
                    <a:lnTo>
                      <a:pt x="823" y="572"/>
                    </a:lnTo>
                    <a:lnTo>
                      <a:pt x="824" y="573"/>
                    </a:lnTo>
                    <a:lnTo>
                      <a:pt x="824" y="573"/>
                    </a:lnTo>
                    <a:lnTo>
                      <a:pt x="824" y="573"/>
                    </a:lnTo>
                    <a:lnTo>
                      <a:pt x="820" y="572"/>
                    </a:lnTo>
                    <a:lnTo>
                      <a:pt x="820" y="572"/>
                    </a:lnTo>
                    <a:lnTo>
                      <a:pt x="816" y="571"/>
                    </a:lnTo>
                    <a:lnTo>
                      <a:pt x="815" y="569"/>
                    </a:lnTo>
                    <a:lnTo>
                      <a:pt x="815" y="569"/>
                    </a:lnTo>
                    <a:lnTo>
                      <a:pt x="813" y="569"/>
                    </a:lnTo>
                    <a:lnTo>
                      <a:pt x="809" y="565"/>
                    </a:lnTo>
                    <a:lnTo>
                      <a:pt x="809" y="565"/>
                    </a:lnTo>
                    <a:lnTo>
                      <a:pt x="811" y="567"/>
                    </a:lnTo>
                    <a:lnTo>
                      <a:pt x="811" y="567"/>
                    </a:lnTo>
                    <a:lnTo>
                      <a:pt x="809" y="567"/>
                    </a:lnTo>
                    <a:lnTo>
                      <a:pt x="809" y="567"/>
                    </a:lnTo>
                    <a:lnTo>
                      <a:pt x="804" y="564"/>
                    </a:lnTo>
                    <a:lnTo>
                      <a:pt x="804" y="564"/>
                    </a:lnTo>
                    <a:lnTo>
                      <a:pt x="804" y="564"/>
                    </a:lnTo>
                    <a:lnTo>
                      <a:pt x="804" y="564"/>
                    </a:lnTo>
                    <a:lnTo>
                      <a:pt x="804" y="564"/>
                    </a:lnTo>
                    <a:lnTo>
                      <a:pt x="803" y="564"/>
                    </a:lnTo>
                    <a:lnTo>
                      <a:pt x="799" y="563"/>
                    </a:lnTo>
                    <a:lnTo>
                      <a:pt x="799" y="563"/>
                    </a:lnTo>
                    <a:lnTo>
                      <a:pt x="796" y="561"/>
                    </a:lnTo>
                    <a:lnTo>
                      <a:pt x="791" y="560"/>
                    </a:lnTo>
                    <a:lnTo>
                      <a:pt x="790" y="560"/>
                    </a:lnTo>
                    <a:lnTo>
                      <a:pt x="787" y="559"/>
                    </a:lnTo>
                    <a:lnTo>
                      <a:pt x="787" y="554"/>
                    </a:lnTo>
                    <a:lnTo>
                      <a:pt x="787" y="557"/>
                    </a:lnTo>
                    <a:lnTo>
                      <a:pt x="784" y="556"/>
                    </a:lnTo>
                    <a:lnTo>
                      <a:pt x="784" y="557"/>
                    </a:lnTo>
                    <a:lnTo>
                      <a:pt x="784" y="557"/>
                    </a:lnTo>
                    <a:lnTo>
                      <a:pt x="787" y="559"/>
                    </a:lnTo>
                    <a:lnTo>
                      <a:pt x="787" y="559"/>
                    </a:lnTo>
                    <a:lnTo>
                      <a:pt x="786" y="559"/>
                    </a:lnTo>
                    <a:lnTo>
                      <a:pt x="786" y="559"/>
                    </a:lnTo>
                    <a:lnTo>
                      <a:pt x="784" y="559"/>
                    </a:lnTo>
                    <a:lnTo>
                      <a:pt x="783" y="559"/>
                    </a:lnTo>
                    <a:lnTo>
                      <a:pt x="778" y="552"/>
                    </a:lnTo>
                    <a:lnTo>
                      <a:pt x="778" y="552"/>
                    </a:lnTo>
                    <a:lnTo>
                      <a:pt x="779" y="556"/>
                    </a:lnTo>
                    <a:lnTo>
                      <a:pt x="779" y="556"/>
                    </a:lnTo>
                    <a:lnTo>
                      <a:pt x="780" y="557"/>
                    </a:lnTo>
                    <a:lnTo>
                      <a:pt x="782" y="557"/>
                    </a:lnTo>
                    <a:lnTo>
                      <a:pt x="782" y="557"/>
                    </a:lnTo>
                    <a:lnTo>
                      <a:pt x="780" y="557"/>
                    </a:lnTo>
                    <a:lnTo>
                      <a:pt x="780" y="557"/>
                    </a:lnTo>
                    <a:lnTo>
                      <a:pt x="778" y="557"/>
                    </a:lnTo>
                    <a:lnTo>
                      <a:pt x="778" y="557"/>
                    </a:lnTo>
                    <a:lnTo>
                      <a:pt x="776" y="557"/>
                    </a:lnTo>
                    <a:lnTo>
                      <a:pt x="775" y="557"/>
                    </a:lnTo>
                    <a:lnTo>
                      <a:pt x="772" y="557"/>
                    </a:lnTo>
                    <a:lnTo>
                      <a:pt x="772" y="557"/>
                    </a:lnTo>
                    <a:lnTo>
                      <a:pt x="768" y="556"/>
                    </a:lnTo>
                    <a:lnTo>
                      <a:pt x="762" y="556"/>
                    </a:lnTo>
                    <a:lnTo>
                      <a:pt x="762" y="556"/>
                    </a:lnTo>
                    <a:lnTo>
                      <a:pt x="754" y="556"/>
                    </a:lnTo>
                    <a:lnTo>
                      <a:pt x="750" y="557"/>
                    </a:lnTo>
                    <a:lnTo>
                      <a:pt x="749" y="557"/>
                    </a:lnTo>
                    <a:lnTo>
                      <a:pt x="745" y="557"/>
                    </a:lnTo>
                    <a:lnTo>
                      <a:pt x="745" y="557"/>
                    </a:lnTo>
                    <a:lnTo>
                      <a:pt x="743" y="559"/>
                    </a:lnTo>
                    <a:lnTo>
                      <a:pt x="743" y="559"/>
                    </a:lnTo>
                    <a:lnTo>
                      <a:pt x="739" y="557"/>
                    </a:lnTo>
                    <a:lnTo>
                      <a:pt x="739" y="557"/>
                    </a:lnTo>
                    <a:lnTo>
                      <a:pt x="738" y="557"/>
                    </a:lnTo>
                    <a:lnTo>
                      <a:pt x="738" y="557"/>
                    </a:lnTo>
                    <a:lnTo>
                      <a:pt x="739" y="557"/>
                    </a:lnTo>
                    <a:lnTo>
                      <a:pt x="741" y="555"/>
                    </a:lnTo>
                    <a:lnTo>
                      <a:pt x="735" y="559"/>
                    </a:lnTo>
                    <a:lnTo>
                      <a:pt x="734" y="559"/>
                    </a:lnTo>
                    <a:lnTo>
                      <a:pt x="734" y="559"/>
                    </a:lnTo>
                    <a:lnTo>
                      <a:pt x="733" y="559"/>
                    </a:lnTo>
                    <a:lnTo>
                      <a:pt x="733" y="559"/>
                    </a:lnTo>
                    <a:lnTo>
                      <a:pt x="729" y="559"/>
                    </a:lnTo>
                    <a:lnTo>
                      <a:pt x="726" y="557"/>
                    </a:lnTo>
                    <a:lnTo>
                      <a:pt x="725" y="555"/>
                    </a:lnTo>
                    <a:lnTo>
                      <a:pt x="725" y="555"/>
                    </a:lnTo>
                    <a:lnTo>
                      <a:pt x="726" y="556"/>
                    </a:lnTo>
                    <a:lnTo>
                      <a:pt x="729" y="556"/>
                    </a:lnTo>
                    <a:lnTo>
                      <a:pt x="723" y="551"/>
                    </a:lnTo>
                    <a:lnTo>
                      <a:pt x="723" y="551"/>
                    </a:lnTo>
                    <a:lnTo>
                      <a:pt x="723" y="551"/>
                    </a:lnTo>
                    <a:lnTo>
                      <a:pt x="723" y="551"/>
                    </a:lnTo>
                    <a:lnTo>
                      <a:pt x="723" y="551"/>
                    </a:lnTo>
                    <a:lnTo>
                      <a:pt x="723" y="551"/>
                    </a:lnTo>
                    <a:lnTo>
                      <a:pt x="723" y="551"/>
                    </a:lnTo>
                    <a:lnTo>
                      <a:pt x="722" y="547"/>
                    </a:lnTo>
                    <a:lnTo>
                      <a:pt x="721" y="547"/>
                    </a:lnTo>
                    <a:lnTo>
                      <a:pt x="721" y="547"/>
                    </a:lnTo>
                    <a:lnTo>
                      <a:pt x="722" y="547"/>
                    </a:lnTo>
                    <a:lnTo>
                      <a:pt x="722" y="547"/>
                    </a:lnTo>
                    <a:lnTo>
                      <a:pt x="721" y="546"/>
                    </a:lnTo>
                    <a:lnTo>
                      <a:pt x="721" y="546"/>
                    </a:lnTo>
                    <a:lnTo>
                      <a:pt x="720" y="548"/>
                    </a:lnTo>
                    <a:lnTo>
                      <a:pt x="716" y="548"/>
                    </a:lnTo>
                    <a:lnTo>
                      <a:pt x="716" y="548"/>
                    </a:lnTo>
                    <a:lnTo>
                      <a:pt x="713" y="548"/>
                    </a:lnTo>
                    <a:lnTo>
                      <a:pt x="713" y="548"/>
                    </a:lnTo>
                    <a:lnTo>
                      <a:pt x="710" y="550"/>
                    </a:lnTo>
                    <a:lnTo>
                      <a:pt x="706" y="551"/>
                    </a:lnTo>
                    <a:lnTo>
                      <a:pt x="702" y="548"/>
                    </a:lnTo>
                    <a:lnTo>
                      <a:pt x="702" y="548"/>
                    </a:lnTo>
                    <a:lnTo>
                      <a:pt x="697" y="543"/>
                    </a:lnTo>
                    <a:lnTo>
                      <a:pt x="694" y="536"/>
                    </a:lnTo>
                    <a:lnTo>
                      <a:pt x="694" y="534"/>
                    </a:lnTo>
                    <a:lnTo>
                      <a:pt x="694" y="534"/>
                    </a:lnTo>
                    <a:lnTo>
                      <a:pt x="693" y="534"/>
                    </a:lnTo>
                    <a:lnTo>
                      <a:pt x="690" y="534"/>
                    </a:lnTo>
                    <a:lnTo>
                      <a:pt x="686" y="531"/>
                    </a:lnTo>
                    <a:lnTo>
                      <a:pt x="686" y="531"/>
                    </a:lnTo>
                    <a:lnTo>
                      <a:pt x="685" y="530"/>
                    </a:lnTo>
                    <a:lnTo>
                      <a:pt x="685" y="530"/>
                    </a:lnTo>
                    <a:lnTo>
                      <a:pt x="683" y="531"/>
                    </a:lnTo>
                    <a:lnTo>
                      <a:pt x="679" y="531"/>
                    </a:lnTo>
                    <a:lnTo>
                      <a:pt x="675" y="531"/>
                    </a:lnTo>
                    <a:lnTo>
                      <a:pt x="675" y="531"/>
                    </a:lnTo>
                    <a:lnTo>
                      <a:pt x="672" y="528"/>
                    </a:lnTo>
                    <a:lnTo>
                      <a:pt x="671" y="526"/>
                    </a:lnTo>
                    <a:lnTo>
                      <a:pt x="671" y="526"/>
                    </a:lnTo>
                    <a:lnTo>
                      <a:pt x="671" y="524"/>
                    </a:lnTo>
                    <a:lnTo>
                      <a:pt x="668" y="524"/>
                    </a:lnTo>
                    <a:lnTo>
                      <a:pt x="668" y="524"/>
                    </a:lnTo>
                    <a:lnTo>
                      <a:pt x="665" y="526"/>
                    </a:lnTo>
                    <a:lnTo>
                      <a:pt x="665" y="526"/>
                    </a:lnTo>
                    <a:lnTo>
                      <a:pt x="661" y="524"/>
                    </a:lnTo>
                    <a:lnTo>
                      <a:pt x="661" y="524"/>
                    </a:lnTo>
                    <a:lnTo>
                      <a:pt x="659" y="524"/>
                    </a:lnTo>
                    <a:lnTo>
                      <a:pt x="659" y="524"/>
                    </a:lnTo>
                    <a:lnTo>
                      <a:pt x="661" y="523"/>
                    </a:lnTo>
                    <a:lnTo>
                      <a:pt x="657" y="526"/>
                    </a:lnTo>
                    <a:lnTo>
                      <a:pt x="657" y="526"/>
                    </a:lnTo>
                    <a:lnTo>
                      <a:pt x="657" y="526"/>
                    </a:lnTo>
                    <a:lnTo>
                      <a:pt x="656" y="527"/>
                    </a:lnTo>
                    <a:lnTo>
                      <a:pt x="656" y="527"/>
                    </a:lnTo>
                    <a:lnTo>
                      <a:pt x="653" y="531"/>
                    </a:lnTo>
                    <a:lnTo>
                      <a:pt x="651" y="532"/>
                    </a:lnTo>
                    <a:lnTo>
                      <a:pt x="649" y="532"/>
                    </a:lnTo>
                    <a:lnTo>
                      <a:pt x="648" y="532"/>
                    </a:lnTo>
                    <a:lnTo>
                      <a:pt x="643" y="530"/>
                    </a:lnTo>
                    <a:lnTo>
                      <a:pt x="643" y="530"/>
                    </a:lnTo>
                    <a:lnTo>
                      <a:pt x="644" y="531"/>
                    </a:lnTo>
                    <a:lnTo>
                      <a:pt x="644" y="531"/>
                    </a:lnTo>
                    <a:lnTo>
                      <a:pt x="640" y="527"/>
                    </a:lnTo>
                    <a:lnTo>
                      <a:pt x="639" y="523"/>
                    </a:lnTo>
                    <a:lnTo>
                      <a:pt x="639" y="523"/>
                    </a:lnTo>
                    <a:lnTo>
                      <a:pt x="640" y="516"/>
                    </a:lnTo>
                    <a:lnTo>
                      <a:pt x="640" y="516"/>
                    </a:lnTo>
                    <a:lnTo>
                      <a:pt x="635" y="515"/>
                    </a:lnTo>
                    <a:lnTo>
                      <a:pt x="635" y="515"/>
                    </a:lnTo>
                    <a:lnTo>
                      <a:pt x="631" y="515"/>
                    </a:lnTo>
                    <a:lnTo>
                      <a:pt x="631" y="515"/>
                    </a:lnTo>
                    <a:lnTo>
                      <a:pt x="631" y="515"/>
                    </a:lnTo>
                    <a:lnTo>
                      <a:pt x="631" y="515"/>
                    </a:lnTo>
                    <a:lnTo>
                      <a:pt x="628" y="515"/>
                    </a:lnTo>
                    <a:lnTo>
                      <a:pt x="628" y="515"/>
                    </a:lnTo>
                    <a:lnTo>
                      <a:pt x="627" y="515"/>
                    </a:lnTo>
                    <a:lnTo>
                      <a:pt x="627" y="515"/>
                    </a:lnTo>
                    <a:lnTo>
                      <a:pt x="628" y="514"/>
                    </a:lnTo>
                    <a:lnTo>
                      <a:pt x="630" y="513"/>
                    </a:lnTo>
                    <a:lnTo>
                      <a:pt x="630" y="513"/>
                    </a:lnTo>
                    <a:lnTo>
                      <a:pt x="631" y="513"/>
                    </a:lnTo>
                    <a:lnTo>
                      <a:pt x="631" y="510"/>
                    </a:lnTo>
                    <a:lnTo>
                      <a:pt x="631" y="510"/>
                    </a:lnTo>
                    <a:lnTo>
                      <a:pt x="631" y="510"/>
                    </a:lnTo>
                    <a:lnTo>
                      <a:pt x="624" y="516"/>
                    </a:lnTo>
                    <a:lnTo>
                      <a:pt x="618" y="516"/>
                    </a:lnTo>
                    <a:lnTo>
                      <a:pt x="611" y="510"/>
                    </a:lnTo>
                    <a:lnTo>
                      <a:pt x="611" y="510"/>
                    </a:lnTo>
                    <a:lnTo>
                      <a:pt x="612" y="513"/>
                    </a:lnTo>
                    <a:lnTo>
                      <a:pt x="612" y="513"/>
                    </a:lnTo>
                    <a:lnTo>
                      <a:pt x="614" y="514"/>
                    </a:lnTo>
                    <a:lnTo>
                      <a:pt x="615" y="515"/>
                    </a:lnTo>
                    <a:lnTo>
                      <a:pt x="615" y="515"/>
                    </a:lnTo>
                    <a:lnTo>
                      <a:pt x="615" y="515"/>
                    </a:lnTo>
                    <a:lnTo>
                      <a:pt x="615" y="515"/>
                    </a:lnTo>
                    <a:lnTo>
                      <a:pt x="612" y="515"/>
                    </a:lnTo>
                    <a:lnTo>
                      <a:pt x="612" y="515"/>
                    </a:lnTo>
                    <a:lnTo>
                      <a:pt x="610" y="515"/>
                    </a:lnTo>
                    <a:lnTo>
                      <a:pt x="608" y="515"/>
                    </a:lnTo>
                    <a:lnTo>
                      <a:pt x="608" y="515"/>
                    </a:lnTo>
                    <a:lnTo>
                      <a:pt x="607" y="518"/>
                    </a:lnTo>
                    <a:lnTo>
                      <a:pt x="606" y="522"/>
                    </a:lnTo>
                    <a:lnTo>
                      <a:pt x="606" y="522"/>
                    </a:lnTo>
                    <a:lnTo>
                      <a:pt x="606" y="526"/>
                    </a:lnTo>
                    <a:lnTo>
                      <a:pt x="605" y="528"/>
                    </a:lnTo>
                    <a:lnTo>
                      <a:pt x="601" y="531"/>
                    </a:lnTo>
                    <a:lnTo>
                      <a:pt x="601" y="531"/>
                    </a:lnTo>
                    <a:lnTo>
                      <a:pt x="601" y="532"/>
                    </a:lnTo>
                    <a:lnTo>
                      <a:pt x="601" y="532"/>
                    </a:lnTo>
                    <a:lnTo>
                      <a:pt x="602" y="531"/>
                    </a:lnTo>
                    <a:lnTo>
                      <a:pt x="603" y="530"/>
                    </a:lnTo>
                    <a:lnTo>
                      <a:pt x="603" y="530"/>
                    </a:lnTo>
                    <a:lnTo>
                      <a:pt x="603" y="530"/>
                    </a:lnTo>
                    <a:lnTo>
                      <a:pt x="603" y="530"/>
                    </a:lnTo>
                    <a:lnTo>
                      <a:pt x="602" y="535"/>
                    </a:lnTo>
                    <a:lnTo>
                      <a:pt x="602" y="535"/>
                    </a:lnTo>
                    <a:lnTo>
                      <a:pt x="606" y="543"/>
                    </a:lnTo>
                    <a:lnTo>
                      <a:pt x="607" y="554"/>
                    </a:lnTo>
                    <a:lnTo>
                      <a:pt x="599" y="559"/>
                    </a:lnTo>
                    <a:lnTo>
                      <a:pt x="599" y="559"/>
                    </a:lnTo>
                    <a:lnTo>
                      <a:pt x="597" y="557"/>
                    </a:lnTo>
                    <a:lnTo>
                      <a:pt x="597" y="557"/>
                    </a:lnTo>
                    <a:lnTo>
                      <a:pt x="598" y="557"/>
                    </a:lnTo>
                    <a:lnTo>
                      <a:pt x="595" y="555"/>
                    </a:lnTo>
                    <a:lnTo>
                      <a:pt x="595" y="556"/>
                    </a:lnTo>
                    <a:lnTo>
                      <a:pt x="595" y="556"/>
                    </a:lnTo>
                    <a:lnTo>
                      <a:pt x="594" y="555"/>
                    </a:lnTo>
                    <a:lnTo>
                      <a:pt x="595" y="563"/>
                    </a:lnTo>
                    <a:lnTo>
                      <a:pt x="595" y="563"/>
                    </a:lnTo>
                    <a:lnTo>
                      <a:pt x="595" y="564"/>
                    </a:lnTo>
                    <a:lnTo>
                      <a:pt x="595" y="567"/>
                    </a:lnTo>
                    <a:lnTo>
                      <a:pt x="593" y="572"/>
                    </a:lnTo>
                    <a:lnTo>
                      <a:pt x="593" y="572"/>
                    </a:lnTo>
                    <a:lnTo>
                      <a:pt x="591" y="573"/>
                    </a:lnTo>
                    <a:lnTo>
                      <a:pt x="591" y="573"/>
                    </a:lnTo>
                    <a:lnTo>
                      <a:pt x="590" y="575"/>
                    </a:lnTo>
                    <a:lnTo>
                      <a:pt x="590" y="575"/>
                    </a:lnTo>
                    <a:lnTo>
                      <a:pt x="586" y="580"/>
                    </a:lnTo>
                    <a:lnTo>
                      <a:pt x="587" y="580"/>
                    </a:lnTo>
                    <a:lnTo>
                      <a:pt x="587" y="580"/>
                    </a:lnTo>
                    <a:lnTo>
                      <a:pt x="589" y="577"/>
                    </a:lnTo>
                    <a:lnTo>
                      <a:pt x="589" y="579"/>
                    </a:lnTo>
                    <a:lnTo>
                      <a:pt x="589" y="579"/>
                    </a:lnTo>
                    <a:lnTo>
                      <a:pt x="589" y="581"/>
                    </a:lnTo>
                    <a:lnTo>
                      <a:pt x="586" y="584"/>
                    </a:lnTo>
                    <a:lnTo>
                      <a:pt x="585" y="587"/>
                    </a:lnTo>
                    <a:lnTo>
                      <a:pt x="585" y="587"/>
                    </a:lnTo>
                    <a:lnTo>
                      <a:pt x="582" y="591"/>
                    </a:lnTo>
                    <a:lnTo>
                      <a:pt x="582" y="591"/>
                    </a:lnTo>
                    <a:lnTo>
                      <a:pt x="582" y="592"/>
                    </a:lnTo>
                    <a:lnTo>
                      <a:pt x="582" y="594"/>
                    </a:lnTo>
                    <a:lnTo>
                      <a:pt x="582" y="594"/>
                    </a:lnTo>
                    <a:lnTo>
                      <a:pt x="581" y="597"/>
                    </a:lnTo>
                    <a:lnTo>
                      <a:pt x="581" y="600"/>
                    </a:lnTo>
                    <a:lnTo>
                      <a:pt x="578" y="602"/>
                    </a:lnTo>
                    <a:lnTo>
                      <a:pt x="578" y="602"/>
                    </a:lnTo>
                    <a:lnTo>
                      <a:pt x="575" y="608"/>
                    </a:lnTo>
                    <a:lnTo>
                      <a:pt x="575" y="608"/>
                    </a:lnTo>
                    <a:lnTo>
                      <a:pt x="575" y="608"/>
                    </a:lnTo>
                    <a:lnTo>
                      <a:pt x="573" y="610"/>
                    </a:lnTo>
                    <a:lnTo>
                      <a:pt x="573" y="610"/>
                    </a:lnTo>
                    <a:lnTo>
                      <a:pt x="577" y="614"/>
                    </a:lnTo>
                    <a:lnTo>
                      <a:pt x="579" y="621"/>
                    </a:lnTo>
                    <a:lnTo>
                      <a:pt x="579" y="621"/>
                    </a:lnTo>
                    <a:lnTo>
                      <a:pt x="578" y="625"/>
                    </a:lnTo>
                    <a:lnTo>
                      <a:pt x="575" y="626"/>
                    </a:lnTo>
                    <a:lnTo>
                      <a:pt x="571" y="626"/>
                    </a:lnTo>
                    <a:lnTo>
                      <a:pt x="571" y="626"/>
                    </a:lnTo>
                    <a:lnTo>
                      <a:pt x="567" y="626"/>
                    </a:lnTo>
                    <a:lnTo>
                      <a:pt x="567" y="626"/>
                    </a:lnTo>
                    <a:lnTo>
                      <a:pt x="566" y="626"/>
                    </a:lnTo>
                    <a:lnTo>
                      <a:pt x="564" y="626"/>
                    </a:lnTo>
                    <a:lnTo>
                      <a:pt x="561" y="626"/>
                    </a:lnTo>
                    <a:lnTo>
                      <a:pt x="554" y="624"/>
                    </a:lnTo>
                    <a:lnTo>
                      <a:pt x="554" y="624"/>
                    </a:lnTo>
                    <a:lnTo>
                      <a:pt x="557" y="625"/>
                    </a:lnTo>
                    <a:lnTo>
                      <a:pt x="557" y="625"/>
                    </a:lnTo>
                    <a:lnTo>
                      <a:pt x="554" y="625"/>
                    </a:lnTo>
                    <a:lnTo>
                      <a:pt x="554" y="625"/>
                    </a:lnTo>
                    <a:lnTo>
                      <a:pt x="552" y="625"/>
                    </a:lnTo>
                    <a:lnTo>
                      <a:pt x="552" y="625"/>
                    </a:lnTo>
                    <a:lnTo>
                      <a:pt x="554" y="624"/>
                    </a:lnTo>
                    <a:lnTo>
                      <a:pt x="549" y="626"/>
                    </a:lnTo>
                    <a:lnTo>
                      <a:pt x="546" y="626"/>
                    </a:lnTo>
                    <a:lnTo>
                      <a:pt x="546" y="626"/>
                    </a:lnTo>
                    <a:lnTo>
                      <a:pt x="545" y="626"/>
                    </a:lnTo>
                    <a:lnTo>
                      <a:pt x="545" y="626"/>
                    </a:lnTo>
                    <a:lnTo>
                      <a:pt x="542" y="626"/>
                    </a:lnTo>
                    <a:lnTo>
                      <a:pt x="542" y="626"/>
                    </a:lnTo>
                    <a:lnTo>
                      <a:pt x="541" y="626"/>
                    </a:lnTo>
                    <a:lnTo>
                      <a:pt x="541" y="626"/>
                    </a:lnTo>
                    <a:lnTo>
                      <a:pt x="544" y="625"/>
                    </a:lnTo>
                    <a:lnTo>
                      <a:pt x="545" y="622"/>
                    </a:lnTo>
                    <a:lnTo>
                      <a:pt x="540" y="628"/>
                    </a:lnTo>
                    <a:lnTo>
                      <a:pt x="540" y="628"/>
                    </a:lnTo>
                    <a:lnTo>
                      <a:pt x="540" y="628"/>
                    </a:lnTo>
                    <a:lnTo>
                      <a:pt x="538" y="628"/>
                    </a:lnTo>
                    <a:lnTo>
                      <a:pt x="538" y="628"/>
                    </a:lnTo>
                    <a:lnTo>
                      <a:pt x="538" y="628"/>
                    </a:lnTo>
                    <a:lnTo>
                      <a:pt x="538" y="628"/>
                    </a:lnTo>
                    <a:lnTo>
                      <a:pt x="536" y="628"/>
                    </a:lnTo>
                    <a:lnTo>
                      <a:pt x="536" y="628"/>
                    </a:lnTo>
                    <a:lnTo>
                      <a:pt x="534" y="628"/>
                    </a:lnTo>
                    <a:lnTo>
                      <a:pt x="533" y="629"/>
                    </a:lnTo>
                    <a:lnTo>
                      <a:pt x="533" y="629"/>
                    </a:lnTo>
                    <a:lnTo>
                      <a:pt x="528" y="630"/>
                    </a:lnTo>
                    <a:lnTo>
                      <a:pt x="521" y="632"/>
                    </a:lnTo>
                    <a:lnTo>
                      <a:pt x="521" y="632"/>
                    </a:lnTo>
                    <a:lnTo>
                      <a:pt x="520" y="632"/>
                    </a:lnTo>
                    <a:lnTo>
                      <a:pt x="520" y="632"/>
                    </a:lnTo>
                    <a:lnTo>
                      <a:pt x="520" y="632"/>
                    </a:lnTo>
                    <a:lnTo>
                      <a:pt x="517" y="634"/>
                    </a:lnTo>
                    <a:lnTo>
                      <a:pt x="517" y="634"/>
                    </a:lnTo>
                    <a:lnTo>
                      <a:pt x="516" y="635"/>
                    </a:lnTo>
                    <a:lnTo>
                      <a:pt x="516" y="635"/>
                    </a:lnTo>
                    <a:lnTo>
                      <a:pt x="512" y="638"/>
                    </a:lnTo>
                    <a:lnTo>
                      <a:pt x="513" y="642"/>
                    </a:lnTo>
                    <a:lnTo>
                      <a:pt x="513" y="647"/>
                    </a:lnTo>
                    <a:lnTo>
                      <a:pt x="507" y="653"/>
                    </a:lnTo>
                    <a:lnTo>
                      <a:pt x="507" y="653"/>
                    </a:lnTo>
                    <a:lnTo>
                      <a:pt x="507" y="653"/>
                    </a:lnTo>
                    <a:lnTo>
                      <a:pt x="511" y="651"/>
                    </a:lnTo>
                    <a:lnTo>
                      <a:pt x="512" y="649"/>
                    </a:lnTo>
                    <a:lnTo>
                      <a:pt x="512" y="650"/>
                    </a:lnTo>
                    <a:lnTo>
                      <a:pt x="512" y="650"/>
                    </a:lnTo>
                    <a:lnTo>
                      <a:pt x="509" y="655"/>
                    </a:lnTo>
                    <a:lnTo>
                      <a:pt x="505" y="661"/>
                    </a:lnTo>
                    <a:lnTo>
                      <a:pt x="505" y="661"/>
                    </a:lnTo>
                    <a:lnTo>
                      <a:pt x="503" y="665"/>
                    </a:lnTo>
                    <a:lnTo>
                      <a:pt x="499" y="667"/>
                    </a:lnTo>
                    <a:lnTo>
                      <a:pt x="499" y="667"/>
                    </a:lnTo>
                    <a:lnTo>
                      <a:pt x="499" y="667"/>
                    </a:lnTo>
                    <a:lnTo>
                      <a:pt x="495" y="671"/>
                    </a:lnTo>
                    <a:lnTo>
                      <a:pt x="492" y="675"/>
                    </a:lnTo>
                    <a:lnTo>
                      <a:pt x="491" y="674"/>
                    </a:lnTo>
                    <a:lnTo>
                      <a:pt x="489" y="675"/>
                    </a:lnTo>
                    <a:lnTo>
                      <a:pt x="489" y="678"/>
                    </a:lnTo>
                    <a:lnTo>
                      <a:pt x="489" y="678"/>
                    </a:lnTo>
                    <a:lnTo>
                      <a:pt x="491" y="676"/>
                    </a:lnTo>
                    <a:lnTo>
                      <a:pt x="491" y="676"/>
                    </a:lnTo>
                    <a:lnTo>
                      <a:pt x="489" y="678"/>
                    </a:lnTo>
                    <a:lnTo>
                      <a:pt x="489" y="679"/>
                    </a:lnTo>
                    <a:lnTo>
                      <a:pt x="489" y="679"/>
                    </a:lnTo>
                    <a:lnTo>
                      <a:pt x="492" y="682"/>
                    </a:lnTo>
                    <a:lnTo>
                      <a:pt x="492" y="684"/>
                    </a:lnTo>
                    <a:lnTo>
                      <a:pt x="492" y="684"/>
                    </a:lnTo>
                    <a:lnTo>
                      <a:pt x="491" y="688"/>
                    </a:lnTo>
                    <a:lnTo>
                      <a:pt x="489" y="691"/>
                    </a:lnTo>
                    <a:lnTo>
                      <a:pt x="486" y="692"/>
                    </a:lnTo>
                    <a:lnTo>
                      <a:pt x="486" y="69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6" name="Freeform 52">
                <a:extLst>
                  <a:ext uri="{FF2B5EF4-FFF2-40B4-BE49-F238E27FC236}">
                    <a16:creationId xmlns:a16="http://schemas.microsoft.com/office/drawing/2014/main" xmlns="" id="{140D11E0-9286-498B-8BAD-364DFF41D8F3}"/>
                  </a:ext>
                </a:extLst>
              </p:cNvPr>
              <p:cNvSpPr>
                <a:spLocks/>
              </p:cNvSpPr>
              <p:nvPr/>
            </p:nvSpPr>
            <p:spPr bwMode="auto">
              <a:xfrm>
                <a:off x="5042090" y="5185327"/>
                <a:ext cx="1311029" cy="802635"/>
              </a:xfrm>
              <a:custGeom>
                <a:avLst/>
                <a:gdLst>
                  <a:gd name="T0" fmla="*/ 255 w 753"/>
                  <a:gd name="T1" fmla="*/ 431 h 461"/>
                  <a:gd name="T2" fmla="*/ 252 w 753"/>
                  <a:gd name="T3" fmla="*/ 392 h 461"/>
                  <a:gd name="T4" fmla="*/ 235 w 753"/>
                  <a:gd name="T5" fmla="*/ 372 h 461"/>
                  <a:gd name="T6" fmla="*/ 217 w 753"/>
                  <a:gd name="T7" fmla="*/ 356 h 461"/>
                  <a:gd name="T8" fmla="*/ 222 w 753"/>
                  <a:gd name="T9" fmla="*/ 338 h 461"/>
                  <a:gd name="T10" fmla="*/ 177 w 753"/>
                  <a:gd name="T11" fmla="*/ 331 h 461"/>
                  <a:gd name="T12" fmla="*/ 150 w 753"/>
                  <a:gd name="T13" fmla="*/ 318 h 461"/>
                  <a:gd name="T14" fmla="*/ 116 w 753"/>
                  <a:gd name="T15" fmla="*/ 313 h 461"/>
                  <a:gd name="T16" fmla="*/ 99 w 753"/>
                  <a:gd name="T17" fmla="*/ 297 h 461"/>
                  <a:gd name="T18" fmla="*/ 87 w 753"/>
                  <a:gd name="T19" fmla="*/ 292 h 461"/>
                  <a:gd name="T20" fmla="*/ 71 w 753"/>
                  <a:gd name="T21" fmla="*/ 267 h 461"/>
                  <a:gd name="T22" fmla="*/ 43 w 753"/>
                  <a:gd name="T23" fmla="*/ 259 h 461"/>
                  <a:gd name="T24" fmla="*/ 47 w 753"/>
                  <a:gd name="T25" fmla="*/ 212 h 461"/>
                  <a:gd name="T26" fmla="*/ 21 w 753"/>
                  <a:gd name="T27" fmla="*/ 197 h 461"/>
                  <a:gd name="T28" fmla="*/ 0 w 753"/>
                  <a:gd name="T29" fmla="*/ 170 h 461"/>
                  <a:gd name="T30" fmla="*/ 20 w 753"/>
                  <a:gd name="T31" fmla="*/ 140 h 461"/>
                  <a:gd name="T32" fmla="*/ 47 w 753"/>
                  <a:gd name="T33" fmla="*/ 125 h 461"/>
                  <a:gd name="T34" fmla="*/ 75 w 753"/>
                  <a:gd name="T35" fmla="*/ 141 h 461"/>
                  <a:gd name="T36" fmla="*/ 117 w 753"/>
                  <a:gd name="T37" fmla="*/ 142 h 461"/>
                  <a:gd name="T38" fmla="*/ 153 w 753"/>
                  <a:gd name="T39" fmla="*/ 150 h 461"/>
                  <a:gd name="T40" fmla="*/ 176 w 753"/>
                  <a:gd name="T41" fmla="*/ 160 h 461"/>
                  <a:gd name="T42" fmla="*/ 201 w 753"/>
                  <a:gd name="T43" fmla="*/ 137 h 461"/>
                  <a:gd name="T44" fmla="*/ 231 w 753"/>
                  <a:gd name="T45" fmla="*/ 120 h 461"/>
                  <a:gd name="T46" fmla="*/ 280 w 753"/>
                  <a:gd name="T47" fmla="*/ 108 h 461"/>
                  <a:gd name="T48" fmla="*/ 309 w 753"/>
                  <a:gd name="T49" fmla="*/ 120 h 461"/>
                  <a:gd name="T50" fmla="*/ 343 w 753"/>
                  <a:gd name="T51" fmla="*/ 136 h 461"/>
                  <a:gd name="T52" fmla="*/ 362 w 753"/>
                  <a:gd name="T53" fmla="*/ 145 h 461"/>
                  <a:gd name="T54" fmla="*/ 382 w 753"/>
                  <a:gd name="T55" fmla="*/ 112 h 461"/>
                  <a:gd name="T56" fmla="*/ 406 w 753"/>
                  <a:gd name="T57" fmla="*/ 76 h 461"/>
                  <a:gd name="T58" fmla="*/ 423 w 753"/>
                  <a:gd name="T59" fmla="*/ 101 h 461"/>
                  <a:gd name="T60" fmla="*/ 443 w 753"/>
                  <a:gd name="T61" fmla="*/ 111 h 461"/>
                  <a:gd name="T62" fmla="*/ 464 w 753"/>
                  <a:gd name="T63" fmla="*/ 70 h 461"/>
                  <a:gd name="T64" fmla="*/ 498 w 753"/>
                  <a:gd name="T65" fmla="*/ 62 h 461"/>
                  <a:gd name="T66" fmla="*/ 526 w 753"/>
                  <a:gd name="T67" fmla="*/ 50 h 461"/>
                  <a:gd name="T68" fmla="*/ 543 w 753"/>
                  <a:gd name="T69" fmla="*/ 31 h 461"/>
                  <a:gd name="T70" fmla="*/ 570 w 753"/>
                  <a:gd name="T71" fmla="*/ 10 h 461"/>
                  <a:gd name="T72" fmla="*/ 609 w 753"/>
                  <a:gd name="T73" fmla="*/ 47 h 461"/>
                  <a:gd name="T74" fmla="*/ 632 w 753"/>
                  <a:gd name="T75" fmla="*/ 55 h 461"/>
                  <a:gd name="T76" fmla="*/ 675 w 753"/>
                  <a:gd name="T77" fmla="*/ 68 h 461"/>
                  <a:gd name="T78" fmla="*/ 700 w 753"/>
                  <a:gd name="T79" fmla="*/ 48 h 461"/>
                  <a:gd name="T80" fmla="*/ 731 w 753"/>
                  <a:gd name="T81" fmla="*/ 60 h 461"/>
                  <a:gd name="T82" fmla="*/ 739 w 753"/>
                  <a:gd name="T83" fmla="*/ 93 h 461"/>
                  <a:gd name="T84" fmla="*/ 689 w 753"/>
                  <a:gd name="T85" fmla="*/ 146 h 461"/>
                  <a:gd name="T86" fmla="*/ 646 w 753"/>
                  <a:gd name="T87" fmla="*/ 187 h 461"/>
                  <a:gd name="T88" fmla="*/ 615 w 753"/>
                  <a:gd name="T89" fmla="*/ 219 h 461"/>
                  <a:gd name="T90" fmla="*/ 576 w 753"/>
                  <a:gd name="T91" fmla="*/ 251 h 461"/>
                  <a:gd name="T92" fmla="*/ 534 w 753"/>
                  <a:gd name="T93" fmla="*/ 273 h 461"/>
                  <a:gd name="T94" fmla="*/ 474 w 753"/>
                  <a:gd name="T95" fmla="*/ 277 h 461"/>
                  <a:gd name="T96" fmla="*/ 448 w 753"/>
                  <a:gd name="T97" fmla="*/ 269 h 461"/>
                  <a:gd name="T98" fmla="*/ 412 w 753"/>
                  <a:gd name="T99" fmla="*/ 281 h 461"/>
                  <a:gd name="T100" fmla="*/ 384 w 753"/>
                  <a:gd name="T101" fmla="*/ 272 h 461"/>
                  <a:gd name="T102" fmla="*/ 374 w 753"/>
                  <a:gd name="T103" fmla="*/ 251 h 461"/>
                  <a:gd name="T104" fmla="*/ 350 w 753"/>
                  <a:gd name="T105" fmla="*/ 272 h 461"/>
                  <a:gd name="T106" fmla="*/ 342 w 753"/>
                  <a:gd name="T107" fmla="*/ 245 h 461"/>
                  <a:gd name="T108" fmla="*/ 325 w 753"/>
                  <a:gd name="T109" fmla="*/ 236 h 461"/>
                  <a:gd name="T110" fmla="*/ 301 w 753"/>
                  <a:gd name="T111" fmla="*/ 271 h 461"/>
                  <a:gd name="T112" fmla="*/ 312 w 753"/>
                  <a:gd name="T113" fmla="*/ 300 h 461"/>
                  <a:gd name="T114" fmla="*/ 343 w 753"/>
                  <a:gd name="T115" fmla="*/ 300 h 461"/>
                  <a:gd name="T116" fmla="*/ 363 w 753"/>
                  <a:gd name="T117" fmla="*/ 321 h 461"/>
                  <a:gd name="T118" fmla="*/ 361 w 753"/>
                  <a:gd name="T119" fmla="*/ 358 h 461"/>
                  <a:gd name="T120" fmla="*/ 349 w 753"/>
                  <a:gd name="T121" fmla="*/ 375 h 461"/>
                  <a:gd name="T122" fmla="*/ 320 w 753"/>
                  <a:gd name="T123" fmla="*/ 438 h 461"/>
                  <a:gd name="T124" fmla="*/ 283 w 753"/>
                  <a:gd name="T125" fmla="*/ 46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3" h="461">
                    <a:moveTo>
                      <a:pt x="281" y="461"/>
                    </a:moveTo>
                    <a:lnTo>
                      <a:pt x="276" y="457"/>
                    </a:lnTo>
                    <a:lnTo>
                      <a:pt x="276" y="457"/>
                    </a:lnTo>
                    <a:lnTo>
                      <a:pt x="273" y="457"/>
                    </a:lnTo>
                    <a:lnTo>
                      <a:pt x="273" y="457"/>
                    </a:lnTo>
                    <a:lnTo>
                      <a:pt x="269" y="454"/>
                    </a:lnTo>
                    <a:lnTo>
                      <a:pt x="268" y="453"/>
                    </a:lnTo>
                    <a:lnTo>
                      <a:pt x="265" y="450"/>
                    </a:lnTo>
                    <a:lnTo>
                      <a:pt x="265" y="448"/>
                    </a:lnTo>
                    <a:lnTo>
                      <a:pt x="265" y="446"/>
                    </a:lnTo>
                    <a:lnTo>
                      <a:pt x="265" y="446"/>
                    </a:lnTo>
                    <a:lnTo>
                      <a:pt x="264" y="446"/>
                    </a:lnTo>
                    <a:lnTo>
                      <a:pt x="263" y="445"/>
                    </a:lnTo>
                    <a:lnTo>
                      <a:pt x="263" y="445"/>
                    </a:lnTo>
                    <a:lnTo>
                      <a:pt x="262" y="442"/>
                    </a:lnTo>
                    <a:lnTo>
                      <a:pt x="260" y="437"/>
                    </a:lnTo>
                    <a:lnTo>
                      <a:pt x="260" y="437"/>
                    </a:lnTo>
                    <a:lnTo>
                      <a:pt x="258" y="436"/>
                    </a:lnTo>
                    <a:lnTo>
                      <a:pt x="258" y="436"/>
                    </a:lnTo>
                    <a:lnTo>
                      <a:pt x="256" y="435"/>
                    </a:lnTo>
                    <a:lnTo>
                      <a:pt x="256" y="433"/>
                    </a:lnTo>
                    <a:lnTo>
                      <a:pt x="256" y="433"/>
                    </a:lnTo>
                    <a:lnTo>
                      <a:pt x="258" y="435"/>
                    </a:lnTo>
                    <a:lnTo>
                      <a:pt x="255" y="431"/>
                    </a:lnTo>
                    <a:lnTo>
                      <a:pt x="254" y="428"/>
                    </a:lnTo>
                    <a:lnTo>
                      <a:pt x="254" y="428"/>
                    </a:lnTo>
                    <a:lnTo>
                      <a:pt x="254" y="431"/>
                    </a:lnTo>
                    <a:lnTo>
                      <a:pt x="252" y="428"/>
                    </a:lnTo>
                    <a:lnTo>
                      <a:pt x="252" y="427"/>
                    </a:lnTo>
                    <a:lnTo>
                      <a:pt x="252" y="427"/>
                    </a:lnTo>
                    <a:lnTo>
                      <a:pt x="252" y="427"/>
                    </a:lnTo>
                    <a:lnTo>
                      <a:pt x="252" y="427"/>
                    </a:lnTo>
                    <a:lnTo>
                      <a:pt x="250" y="424"/>
                    </a:lnTo>
                    <a:lnTo>
                      <a:pt x="248" y="420"/>
                    </a:lnTo>
                    <a:lnTo>
                      <a:pt x="247" y="417"/>
                    </a:lnTo>
                    <a:lnTo>
                      <a:pt x="250" y="413"/>
                    </a:lnTo>
                    <a:lnTo>
                      <a:pt x="250" y="412"/>
                    </a:lnTo>
                    <a:lnTo>
                      <a:pt x="252" y="408"/>
                    </a:lnTo>
                    <a:lnTo>
                      <a:pt x="252" y="408"/>
                    </a:lnTo>
                    <a:lnTo>
                      <a:pt x="252" y="408"/>
                    </a:lnTo>
                    <a:lnTo>
                      <a:pt x="252" y="408"/>
                    </a:lnTo>
                    <a:lnTo>
                      <a:pt x="251" y="404"/>
                    </a:lnTo>
                    <a:lnTo>
                      <a:pt x="251" y="404"/>
                    </a:lnTo>
                    <a:lnTo>
                      <a:pt x="251" y="399"/>
                    </a:lnTo>
                    <a:lnTo>
                      <a:pt x="251" y="396"/>
                    </a:lnTo>
                    <a:lnTo>
                      <a:pt x="252" y="394"/>
                    </a:lnTo>
                    <a:lnTo>
                      <a:pt x="252" y="392"/>
                    </a:lnTo>
                    <a:lnTo>
                      <a:pt x="252" y="392"/>
                    </a:lnTo>
                    <a:lnTo>
                      <a:pt x="250" y="390"/>
                    </a:lnTo>
                    <a:lnTo>
                      <a:pt x="250" y="390"/>
                    </a:lnTo>
                    <a:lnTo>
                      <a:pt x="248" y="387"/>
                    </a:lnTo>
                    <a:lnTo>
                      <a:pt x="246" y="384"/>
                    </a:lnTo>
                    <a:lnTo>
                      <a:pt x="246" y="383"/>
                    </a:lnTo>
                    <a:lnTo>
                      <a:pt x="246" y="383"/>
                    </a:lnTo>
                    <a:lnTo>
                      <a:pt x="243" y="379"/>
                    </a:lnTo>
                    <a:lnTo>
                      <a:pt x="242" y="374"/>
                    </a:lnTo>
                    <a:lnTo>
                      <a:pt x="242" y="374"/>
                    </a:lnTo>
                    <a:lnTo>
                      <a:pt x="242" y="371"/>
                    </a:lnTo>
                    <a:lnTo>
                      <a:pt x="242" y="371"/>
                    </a:lnTo>
                    <a:lnTo>
                      <a:pt x="242" y="371"/>
                    </a:lnTo>
                    <a:lnTo>
                      <a:pt x="242" y="371"/>
                    </a:lnTo>
                    <a:lnTo>
                      <a:pt x="239" y="371"/>
                    </a:lnTo>
                    <a:lnTo>
                      <a:pt x="239" y="371"/>
                    </a:lnTo>
                    <a:lnTo>
                      <a:pt x="238" y="371"/>
                    </a:lnTo>
                    <a:lnTo>
                      <a:pt x="238" y="371"/>
                    </a:lnTo>
                    <a:lnTo>
                      <a:pt x="238" y="371"/>
                    </a:lnTo>
                    <a:lnTo>
                      <a:pt x="238" y="371"/>
                    </a:lnTo>
                    <a:lnTo>
                      <a:pt x="240" y="370"/>
                    </a:lnTo>
                    <a:lnTo>
                      <a:pt x="240" y="370"/>
                    </a:lnTo>
                    <a:lnTo>
                      <a:pt x="242" y="366"/>
                    </a:lnTo>
                    <a:lnTo>
                      <a:pt x="235" y="372"/>
                    </a:lnTo>
                    <a:lnTo>
                      <a:pt x="235" y="372"/>
                    </a:lnTo>
                    <a:lnTo>
                      <a:pt x="235" y="372"/>
                    </a:lnTo>
                    <a:lnTo>
                      <a:pt x="235" y="372"/>
                    </a:lnTo>
                    <a:lnTo>
                      <a:pt x="236" y="372"/>
                    </a:lnTo>
                    <a:lnTo>
                      <a:pt x="235" y="374"/>
                    </a:lnTo>
                    <a:lnTo>
                      <a:pt x="235" y="374"/>
                    </a:lnTo>
                    <a:lnTo>
                      <a:pt x="232" y="374"/>
                    </a:lnTo>
                    <a:lnTo>
                      <a:pt x="232" y="374"/>
                    </a:lnTo>
                    <a:lnTo>
                      <a:pt x="230" y="374"/>
                    </a:lnTo>
                    <a:lnTo>
                      <a:pt x="227" y="371"/>
                    </a:lnTo>
                    <a:lnTo>
                      <a:pt x="227" y="371"/>
                    </a:lnTo>
                    <a:lnTo>
                      <a:pt x="224" y="372"/>
                    </a:lnTo>
                    <a:lnTo>
                      <a:pt x="222" y="374"/>
                    </a:lnTo>
                    <a:lnTo>
                      <a:pt x="222" y="374"/>
                    </a:lnTo>
                    <a:lnTo>
                      <a:pt x="219" y="372"/>
                    </a:lnTo>
                    <a:lnTo>
                      <a:pt x="215" y="371"/>
                    </a:lnTo>
                    <a:lnTo>
                      <a:pt x="214" y="368"/>
                    </a:lnTo>
                    <a:lnTo>
                      <a:pt x="214" y="368"/>
                    </a:lnTo>
                    <a:lnTo>
                      <a:pt x="213" y="366"/>
                    </a:lnTo>
                    <a:lnTo>
                      <a:pt x="213" y="363"/>
                    </a:lnTo>
                    <a:lnTo>
                      <a:pt x="213" y="363"/>
                    </a:lnTo>
                    <a:lnTo>
                      <a:pt x="213" y="360"/>
                    </a:lnTo>
                    <a:lnTo>
                      <a:pt x="214" y="358"/>
                    </a:lnTo>
                    <a:lnTo>
                      <a:pt x="217" y="356"/>
                    </a:lnTo>
                    <a:lnTo>
                      <a:pt x="217" y="356"/>
                    </a:lnTo>
                    <a:lnTo>
                      <a:pt x="218" y="356"/>
                    </a:lnTo>
                    <a:lnTo>
                      <a:pt x="218" y="356"/>
                    </a:lnTo>
                    <a:lnTo>
                      <a:pt x="217" y="358"/>
                    </a:lnTo>
                    <a:lnTo>
                      <a:pt x="217" y="358"/>
                    </a:lnTo>
                    <a:lnTo>
                      <a:pt x="219" y="354"/>
                    </a:lnTo>
                    <a:lnTo>
                      <a:pt x="219" y="354"/>
                    </a:lnTo>
                    <a:lnTo>
                      <a:pt x="218" y="354"/>
                    </a:lnTo>
                    <a:lnTo>
                      <a:pt x="218" y="354"/>
                    </a:lnTo>
                    <a:lnTo>
                      <a:pt x="219" y="353"/>
                    </a:lnTo>
                    <a:lnTo>
                      <a:pt x="219" y="353"/>
                    </a:lnTo>
                    <a:lnTo>
                      <a:pt x="221" y="347"/>
                    </a:lnTo>
                    <a:lnTo>
                      <a:pt x="222" y="346"/>
                    </a:lnTo>
                    <a:lnTo>
                      <a:pt x="223" y="343"/>
                    </a:lnTo>
                    <a:lnTo>
                      <a:pt x="224" y="345"/>
                    </a:lnTo>
                    <a:lnTo>
                      <a:pt x="227" y="341"/>
                    </a:lnTo>
                    <a:lnTo>
                      <a:pt x="227" y="341"/>
                    </a:lnTo>
                    <a:lnTo>
                      <a:pt x="227" y="341"/>
                    </a:lnTo>
                    <a:lnTo>
                      <a:pt x="227" y="341"/>
                    </a:lnTo>
                    <a:lnTo>
                      <a:pt x="224" y="342"/>
                    </a:lnTo>
                    <a:lnTo>
                      <a:pt x="223" y="338"/>
                    </a:lnTo>
                    <a:lnTo>
                      <a:pt x="223" y="338"/>
                    </a:lnTo>
                    <a:lnTo>
                      <a:pt x="223" y="338"/>
                    </a:lnTo>
                    <a:lnTo>
                      <a:pt x="222" y="338"/>
                    </a:lnTo>
                    <a:lnTo>
                      <a:pt x="222" y="338"/>
                    </a:lnTo>
                    <a:lnTo>
                      <a:pt x="221" y="338"/>
                    </a:lnTo>
                    <a:lnTo>
                      <a:pt x="221" y="338"/>
                    </a:lnTo>
                    <a:lnTo>
                      <a:pt x="217" y="338"/>
                    </a:lnTo>
                    <a:lnTo>
                      <a:pt x="213" y="337"/>
                    </a:lnTo>
                    <a:lnTo>
                      <a:pt x="209" y="334"/>
                    </a:lnTo>
                    <a:lnTo>
                      <a:pt x="206" y="327"/>
                    </a:lnTo>
                    <a:lnTo>
                      <a:pt x="206" y="327"/>
                    </a:lnTo>
                    <a:lnTo>
                      <a:pt x="205" y="330"/>
                    </a:lnTo>
                    <a:lnTo>
                      <a:pt x="205" y="330"/>
                    </a:lnTo>
                    <a:lnTo>
                      <a:pt x="202" y="333"/>
                    </a:lnTo>
                    <a:lnTo>
                      <a:pt x="199" y="333"/>
                    </a:lnTo>
                    <a:lnTo>
                      <a:pt x="198" y="333"/>
                    </a:lnTo>
                    <a:lnTo>
                      <a:pt x="198" y="333"/>
                    </a:lnTo>
                    <a:lnTo>
                      <a:pt x="194" y="335"/>
                    </a:lnTo>
                    <a:lnTo>
                      <a:pt x="187" y="337"/>
                    </a:lnTo>
                    <a:lnTo>
                      <a:pt x="187" y="337"/>
                    </a:lnTo>
                    <a:lnTo>
                      <a:pt x="181" y="335"/>
                    </a:lnTo>
                    <a:lnTo>
                      <a:pt x="177" y="331"/>
                    </a:lnTo>
                    <a:lnTo>
                      <a:pt x="176" y="331"/>
                    </a:lnTo>
                    <a:lnTo>
                      <a:pt x="176" y="331"/>
                    </a:lnTo>
                    <a:lnTo>
                      <a:pt x="177" y="331"/>
                    </a:lnTo>
                    <a:lnTo>
                      <a:pt x="177" y="331"/>
                    </a:lnTo>
                    <a:lnTo>
                      <a:pt x="177" y="331"/>
                    </a:lnTo>
                    <a:lnTo>
                      <a:pt x="177" y="331"/>
                    </a:lnTo>
                    <a:lnTo>
                      <a:pt x="174" y="333"/>
                    </a:lnTo>
                    <a:lnTo>
                      <a:pt x="166" y="329"/>
                    </a:lnTo>
                    <a:lnTo>
                      <a:pt x="166" y="329"/>
                    </a:lnTo>
                    <a:lnTo>
                      <a:pt x="166" y="326"/>
                    </a:lnTo>
                    <a:lnTo>
                      <a:pt x="166" y="323"/>
                    </a:lnTo>
                    <a:lnTo>
                      <a:pt x="166" y="323"/>
                    </a:lnTo>
                    <a:lnTo>
                      <a:pt x="166" y="323"/>
                    </a:lnTo>
                    <a:lnTo>
                      <a:pt x="165" y="322"/>
                    </a:lnTo>
                    <a:lnTo>
                      <a:pt x="165" y="322"/>
                    </a:lnTo>
                    <a:lnTo>
                      <a:pt x="166" y="323"/>
                    </a:lnTo>
                    <a:lnTo>
                      <a:pt x="166" y="323"/>
                    </a:lnTo>
                    <a:lnTo>
                      <a:pt x="166" y="323"/>
                    </a:lnTo>
                    <a:lnTo>
                      <a:pt x="164" y="322"/>
                    </a:lnTo>
                    <a:lnTo>
                      <a:pt x="164" y="322"/>
                    </a:lnTo>
                    <a:lnTo>
                      <a:pt x="165" y="322"/>
                    </a:lnTo>
                    <a:lnTo>
                      <a:pt x="165" y="322"/>
                    </a:lnTo>
                    <a:lnTo>
                      <a:pt x="164" y="322"/>
                    </a:lnTo>
                    <a:lnTo>
                      <a:pt x="164" y="322"/>
                    </a:lnTo>
                    <a:lnTo>
                      <a:pt x="161" y="321"/>
                    </a:lnTo>
                    <a:lnTo>
                      <a:pt x="158" y="317"/>
                    </a:lnTo>
                    <a:lnTo>
                      <a:pt x="157" y="314"/>
                    </a:lnTo>
                    <a:lnTo>
                      <a:pt x="157" y="314"/>
                    </a:lnTo>
                    <a:lnTo>
                      <a:pt x="154" y="317"/>
                    </a:lnTo>
                    <a:lnTo>
                      <a:pt x="150" y="318"/>
                    </a:lnTo>
                    <a:lnTo>
                      <a:pt x="150" y="318"/>
                    </a:lnTo>
                    <a:lnTo>
                      <a:pt x="146" y="317"/>
                    </a:lnTo>
                    <a:lnTo>
                      <a:pt x="143" y="316"/>
                    </a:lnTo>
                    <a:lnTo>
                      <a:pt x="143" y="314"/>
                    </a:lnTo>
                    <a:lnTo>
                      <a:pt x="143" y="314"/>
                    </a:lnTo>
                    <a:lnTo>
                      <a:pt x="145" y="316"/>
                    </a:lnTo>
                    <a:lnTo>
                      <a:pt x="143" y="312"/>
                    </a:lnTo>
                    <a:lnTo>
                      <a:pt x="141" y="309"/>
                    </a:lnTo>
                    <a:lnTo>
                      <a:pt x="141" y="309"/>
                    </a:lnTo>
                    <a:lnTo>
                      <a:pt x="141" y="310"/>
                    </a:lnTo>
                    <a:lnTo>
                      <a:pt x="140" y="309"/>
                    </a:lnTo>
                    <a:lnTo>
                      <a:pt x="140" y="309"/>
                    </a:lnTo>
                    <a:lnTo>
                      <a:pt x="140" y="309"/>
                    </a:lnTo>
                    <a:lnTo>
                      <a:pt x="137" y="310"/>
                    </a:lnTo>
                    <a:lnTo>
                      <a:pt x="135" y="310"/>
                    </a:lnTo>
                    <a:lnTo>
                      <a:pt x="135" y="310"/>
                    </a:lnTo>
                    <a:lnTo>
                      <a:pt x="132" y="310"/>
                    </a:lnTo>
                    <a:lnTo>
                      <a:pt x="132" y="310"/>
                    </a:lnTo>
                    <a:lnTo>
                      <a:pt x="129" y="312"/>
                    </a:lnTo>
                    <a:lnTo>
                      <a:pt x="124" y="308"/>
                    </a:lnTo>
                    <a:lnTo>
                      <a:pt x="124" y="308"/>
                    </a:lnTo>
                    <a:lnTo>
                      <a:pt x="120" y="312"/>
                    </a:lnTo>
                    <a:lnTo>
                      <a:pt x="116" y="313"/>
                    </a:lnTo>
                    <a:lnTo>
                      <a:pt x="116" y="313"/>
                    </a:lnTo>
                    <a:lnTo>
                      <a:pt x="116" y="313"/>
                    </a:lnTo>
                    <a:lnTo>
                      <a:pt x="116" y="314"/>
                    </a:lnTo>
                    <a:lnTo>
                      <a:pt x="115" y="314"/>
                    </a:lnTo>
                    <a:lnTo>
                      <a:pt x="115" y="314"/>
                    </a:lnTo>
                    <a:lnTo>
                      <a:pt x="115" y="314"/>
                    </a:lnTo>
                    <a:lnTo>
                      <a:pt x="112" y="314"/>
                    </a:lnTo>
                    <a:lnTo>
                      <a:pt x="112" y="314"/>
                    </a:lnTo>
                    <a:lnTo>
                      <a:pt x="111" y="314"/>
                    </a:lnTo>
                    <a:lnTo>
                      <a:pt x="108" y="313"/>
                    </a:lnTo>
                    <a:lnTo>
                      <a:pt x="105" y="310"/>
                    </a:lnTo>
                    <a:lnTo>
                      <a:pt x="104" y="306"/>
                    </a:lnTo>
                    <a:lnTo>
                      <a:pt x="104" y="306"/>
                    </a:lnTo>
                    <a:lnTo>
                      <a:pt x="103" y="305"/>
                    </a:lnTo>
                    <a:lnTo>
                      <a:pt x="103" y="305"/>
                    </a:lnTo>
                    <a:lnTo>
                      <a:pt x="103" y="305"/>
                    </a:lnTo>
                    <a:lnTo>
                      <a:pt x="102" y="304"/>
                    </a:lnTo>
                    <a:lnTo>
                      <a:pt x="102" y="304"/>
                    </a:lnTo>
                    <a:lnTo>
                      <a:pt x="104" y="301"/>
                    </a:lnTo>
                    <a:lnTo>
                      <a:pt x="104" y="301"/>
                    </a:lnTo>
                    <a:lnTo>
                      <a:pt x="104" y="300"/>
                    </a:lnTo>
                    <a:lnTo>
                      <a:pt x="104" y="297"/>
                    </a:lnTo>
                    <a:lnTo>
                      <a:pt x="102" y="301"/>
                    </a:lnTo>
                    <a:lnTo>
                      <a:pt x="99" y="297"/>
                    </a:lnTo>
                    <a:lnTo>
                      <a:pt x="99" y="297"/>
                    </a:lnTo>
                    <a:lnTo>
                      <a:pt x="99" y="300"/>
                    </a:lnTo>
                    <a:lnTo>
                      <a:pt x="100" y="301"/>
                    </a:lnTo>
                    <a:lnTo>
                      <a:pt x="100" y="301"/>
                    </a:lnTo>
                    <a:lnTo>
                      <a:pt x="100" y="302"/>
                    </a:lnTo>
                    <a:lnTo>
                      <a:pt x="99" y="305"/>
                    </a:lnTo>
                    <a:lnTo>
                      <a:pt x="98" y="305"/>
                    </a:lnTo>
                    <a:lnTo>
                      <a:pt x="91" y="298"/>
                    </a:lnTo>
                    <a:lnTo>
                      <a:pt x="91" y="298"/>
                    </a:lnTo>
                    <a:lnTo>
                      <a:pt x="92" y="302"/>
                    </a:lnTo>
                    <a:lnTo>
                      <a:pt x="92" y="302"/>
                    </a:lnTo>
                    <a:lnTo>
                      <a:pt x="95" y="304"/>
                    </a:lnTo>
                    <a:lnTo>
                      <a:pt x="96" y="304"/>
                    </a:lnTo>
                    <a:lnTo>
                      <a:pt x="96" y="304"/>
                    </a:lnTo>
                    <a:lnTo>
                      <a:pt x="95" y="304"/>
                    </a:lnTo>
                    <a:lnTo>
                      <a:pt x="95" y="304"/>
                    </a:lnTo>
                    <a:lnTo>
                      <a:pt x="92" y="304"/>
                    </a:lnTo>
                    <a:lnTo>
                      <a:pt x="92" y="304"/>
                    </a:lnTo>
                    <a:lnTo>
                      <a:pt x="90" y="304"/>
                    </a:lnTo>
                    <a:lnTo>
                      <a:pt x="86" y="298"/>
                    </a:lnTo>
                    <a:lnTo>
                      <a:pt x="86" y="296"/>
                    </a:lnTo>
                    <a:lnTo>
                      <a:pt x="87" y="292"/>
                    </a:lnTo>
                    <a:lnTo>
                      <a:pt x="87" y="292"/>
                    </a:lnTo>
                    <a:lnTo>
                      <a:pt x="87" y="292"/>
                    </a:lnTo>
                    <a:lnTo>
                      <a:pt x="87" y="292"/>
                    </a:lnTo>
                    <a:lnTo>
                      <a:pt x="86" y="289"/>
                    </a:lnTo>
                    <a:lnTo>
                      <a:pt x="83" y="290"/>
                    </a:lnTo>
                    <a:lnTo>
                      <a:pt x="82" y="290"/>
                    </a:lnTo>
                    <a:lnTo>
                      <a:pt x="79" y="289"/>
                    </a:lnTo>
                    <a:lnTo>
                      <a:pt x="79" y="289"/>
                    </a:lnTo>
                    <a:lnTo>
                      <a:pt x="76" y="286"/>
                    </a:lnTo>
                    <a:lnTo>
                      <a:pt x="75" y="284"/>
                    </a:lnTo>
                    <a:lnTo>
                      <a:pt x="75" y="284"/>
                    </a:lnTo>
                    <a:lnTo>
                      <a:pt x="74" y="284"/>
                    </a:lnTo>
                    <a:lnTo>
                      <a:pt x="71" y="284"/>
                    </a:lnTo>
                    <a:lnTo>
                      <a:pt x="65" y="278"/>
                    </a:lnTo>
                    <a:lnTo>
                      <a:pt x="65" y="278"/>
                    </a:lnTo>
                    <a:lnTo>
                      <a:pt x="66" y="281"/>
                    </a:lnTo>
                    <a:lnTo>
                      <a:pt x="68" y="282"/>
                    </a:lnTo>
                    <a:lnTo>
                      <a:pt x="68" y="282"/>
                    </a:lnTo>
                    <a:lnTo>
                      <a:pt x="65" y="281"/>
                    </a:lnTo>
                    <a:lnTo>
                      <a:pt x="62" y="278"/>
                    </a:lnTo>
                    <a:lnTo>
                      <a:pt x="61" y="275"/>
                    </a:lnTo>
                    <a:lnTo>
                      <a:pt x="61" y="273"/>
                    </a:lnTo>
                    <a:lnTo>
                      <a:pt x="62" y="271"/>
                    </a:lnTo>
                    <a:lnTo>
                      <a:pt x="62" y="271"/>
                    </a:lnTo>
                    <a:lnTo>
                      <a:pt x="65" y="268"/>
                    </a:lnTo>
                    <a:lnTo>
                      <a:pt x="67" y="267"/>
                    </a:lnTo>
                    <a:lnTo>
                      <a:pt x="71" y="267"/>
                    </a:lnTo>
                    <a:lnTo>
                      <a:pt x="71" y="267"/>
                    </a:lnTo>
                    <a:lnTo>
                      <a:pt x="74" y="267"/>
                    </a:lnTo>
                    <a:lnTo>
                      <a:pt x="74" y="267"/>
                    </a:lnTo>
                    <a:lnTo>
                      <a:pt x="76" y="267"/>
                    </a:lnTo>
                    <a:lnTo>
                      <a:pt x="76" y="267"/>
                    </a:lnTo>
                    <a:lnTo>
                      <a:pt x="78" y="267"/>
                    </a:lnTo>
                    <a:lnTo>
                      <a:pt x="78" y="267"/>
                    </a:lnTo>
                    <a:lnTo>
                      <a:pt x="78" y="267"/>
                    </a:lnTo>
                    <a:lnTo>
                      <a:pt x="76" y="264"/>
                    </a:lnTo>
                    <a:lnTo>
                      <a:pt x="75" y="261"/>
                    </a:lnTo>
                    <a:lnTo>
                      <a:pt x="75" y="261"/>
                    </a:lnTo>
                    <a:lnTo>
                      <a:pt x="71" y="259"/>
                    </a:lnTo>
                    <a:lnTo>
                      <a:pt x="68" y="255"/>
                    </a:lnTo>
                    <a:lnTo>
                      <a:pt x="68" y="255"/>
                    </a:lnTo>
                    <a:lnTo>
                      <a:pt x="63" y="256"/>
                    </a:lnTo>
                    <a:lnTo>
                      <a:pt x="63" y="256"/>
                    </a:lnTo>
                    <a:lnTo>
                      <a:pt x="61" y="257"/>
                    </a:lnTo>
                    <a:lnTo>
                      <a:pt x="57" y="259"/>
                    </a:lnTo>
                    <a:lnTo>
                      <a:pt x="53" y="259"/>
                    </a:lnTo>
                    <a:lnTo>
                      <a:pt x="50" y="257"/>
                    </a:lnTo>
                    <a:lnTo>
                      <a:pt x="50" y="257"/>
                    </a:lnTo>
                    <a:lnTo>
                      <a:pt x="49" y="257"/>
                    </a:lnTo>
                    <a:lnTo>
                      <a:pt x="49" y="257"/>
                    </a:lnTo>
                    <a:lnTo>
                      <a:pt x="43" y="259"/>
                    </a:lnTo>
                    <a:lnTo>
                      <a:pt x="43" y="259"/>
                    </a:lnTo>
                    <a:lnTo>
                      <a:pt x="39" y="261"/>
                    </a:lnTo>
                    <a:lnTo>
                      <a:pt x="33" y="260"/>
                    </a:lnTo>
                    <a:lnTo>
                      <a:pt x="33" y="260"/>
                    </a:lnTo>
                    <a:lnTo>
                      <a:pt x="30" y="257"/>
                    </a:lnTo>
                    <a:lnTo>
                      <a:pt x="29" y="253"/>
                    </a:lnTo>
                    <a:lnTo>
                      <a:pt x="30" y="249"/>
                    </a:lnTo>
                    <a:lnTo>
                      <a:pt x="30" y="249"/>
                    </a:lnTo>
                    <a:lnTo>
                      <a:pt x="30" y="248"/>
                    </a:lnTo>
                    <a:lnTo>
                      <a:pt x="30" y="248"/>
                    </a:lnTo>
                    <a:lnTo>
                      <a:pt x="31" y="243"/>
                    </a:lnTo>
                    <a:lnTo>
                      <a:pt x="33" y="239"/>
                    </a:lnTo>
                    <a:lnTo>
                      <a:pt x="33" y="239"/>
                    </a:lnTo>
                    <a:lnTo>
                      <a:pt x="33" y="238"/>
                    </a:lnTo>
                    <a:lnTo>
                      <a:pt x="35" y="235"/>
                    </a:lnTo>
                    <a:lnTo>
                      <a:pt x="35" y="235"/>
                    </a:lnTo>
                    <a:lnTo>
                      <a:pt x="34" y="232"/>
                    </a:lnTo>
                    <a:lnTo>
                      <a:pt x="30" y="227"/>
                    </a:lnTo>
                    <a:lnTo>
                      <a:pt x="30" y="226"/>
                    </a:lnTo>
                    <a:lnTo>
                      <a:pt x="33" y="220"/>
                    </a:lnTo>
                    <a:lnTo>
                      <a:pt x="33" y="220"/>
                    </a:lnTo>
                    <a:lnTo>
                      <a:pt x="38" y="218"/>
                    </a:lnTo>
                    <a:lnTo>
                      <a:pt x="38" y="218"/>
                    </a:lnTo>
                    <a:lnTo>
                      <a:pt x="47" y="212"/>
                    </a:lnTo>
                    <a:lnTo>
                      <a:pt x="49" y="208"/>
                    </a:lnTo>
                    <a:lnTo>
                      <a:pt x="50" y="206"/>
                    </a:lnTo>
                    <a:lnTo>
                      <a:pt x="50" y="206"/>
                    </a:lnTo>
                    <a:lnTo>
                      <a:pt x="50" y="206"/>
                    </a:lnTo>
                    <a:lnTo>
                      <a:pt x="46" y="202"/>
                    </a:lnTo>
                    <a:lnTo>
                      <a:pt x="42" y="198"/>
                    </a:lnTo>
                    <a:lnTo>
                      <a:pt x="42" y="198"/>
                    </a:lnTo>
                    <a:lnTo>
                      <a:pt x="39" y="197"/>
                    </a:lnTo>
                    <a:lnTo>
                      <a:pt x="39" y="195"/>
                    </a:lnTo>
                    <a:lnTo>
                      <a:pt x="39" y="195"/>
                    </a:lnTo>
                    <a:lnTo>
                      <a:pt x="39" y="195"/>
                    </a:lnTo>
                    <a:lnTo>
                      <a:pt x="39" y="195"/>
                    </a:lnTo>
                    <a:lnTo>
                      <a:pt x="37" y="197"/>
                    </a:lnTo>
                    <a:lnTo>
                      <a:pt x="37" y="197"/>
                    </a:lnTo>
                    <a:lnTo>
                      <a:pt x="34" y="197"/>
                    </a:lnTo>
                    <a:lnTo>
                      <a:pt x="34" y="197"/>
                    </a:lnTo>
                    <a:lnTo>
                      <a:pt x="30" y="195"/>
                    </a:lnTo>
                    <a:lnTo>
                      <a:pt x="30" y="195"/>
                    </a:lnTo>
                    <a:lnTo>
                      <a:pt x="31" y="195"/>
                    </a:lnTo>
                    <a:lnTo>
                      <a:pt x="31" y="195"/>
                    </a:lnTo>
                    <a:lnTo>
                      <a:pt x="30" y="195"/>
                    </a:lnTo>
                    <a:lnTo>
                      <a:pt x="30" y="195"/>
                    </a:lnTo>
                    <a:lnTo>
                      <a:pt x="25" y="195"/>
                    </a:lnTo>
                    <a:lnTo>
                      <a:pt x="21" y="197"/>
                    </a:lnTo>
                    <a:lnTo>
                      <a:pt x="20" y="197"/>
                    </a:lnTo>
                    <a:lnTo>
                      <a:pt x="20" y="197"/>
                    </a:lnTo>
                    <a:lnTo>
                      <a:pt x="21" y="197"/>
                    </a:lnTo>
                    <a:lnTo>
                      <a:pt x="22" y="194"/>
                    </a:lnTo>
                    <a:lnTo>
                      <a:pt x="13" y="198"/>
                    </a:lnTo>
                    <a:lnTo>
                      <a:pt x="13" y="198"/>
                    </a:lnTo>
                    <a:lnTo>
                      <a:pt x="13" y="197"/>
                    </a:lnTo>
                    <a:lnTo>
                      <a:pt x="6" y="191"/>
                    </a:lnTo>
                    <a:lnTo>
                      <a:pt x="6" y="186"/>
                    </a:lnTo>
                    <a:lnTo>
                      <a:pt x="6" y="186"/>
                    </a:lnTo>
                    <a:lnTo>
                      <a:pt x="6" y="185"/>
                    </a:lnTo>
                    <a:lnTo>
                      <a:pt x="6" y="185"/>
                    </a:lnTo>
                    <a:lnTo>
                      <a:pt x="6" y="183"/>
                    </a:lnTo>
                    <a:lnTo>
                      <a:pt x="6" y="183"/>
                    </a:lnTo>
                    <a:lnTo>
                      <a:pt x="8" y="186"/>
                    </a:lnTo>
                    <a:lnTo>
                      <a:pt x="10" y="187"/>
                    </a:lnTo>
                    <a:lnTo>
                      <a:pt x="5" y="181"/>
                    </a:lnTo>
                    <a:lnTo>
                      <a:pt x="5" y="178"/>
                    </a:lnTo>
                    <a:lnTo>
                      <a:pt x="6" y="177"/>
                    </a:lnTo>
                    <a:lnTo>
                      <a:pt x="6" y="177"/>
                    </a:lnTo>
                    <a:lnTo>
                      <a:pt x="5" y="177"/>
                    </a:lnTo>
                    <a:lnTo>
                      <a:pt x="5" y="177"/>
                    </a:lnTo>
                    <a:lnTo>
                      <a:pt x="1" y="173"/>
                    </a:lnTo>
                    <a:lnTo>
                      <a:pt x="0" y="170"/>
                    </a:lnTo>
                    <a:lnTo>
                      <a:pt x="0" y="170"/>
                    </a:lnTo>
                    <a:lnTo>
                      <a:pt x="0" y="165"/>
                    </a:lnTo>
                    <a:lnTo>
                      <a:pt x="1" y="161"/>
                    </a:lnTo>
                    <a:lnTo>
                      <a:pt x="4" y="157"/>
                    </a:lnTo>
                    <a:lnTo>
                      <a:pt x="6" y="156"/>
                    </a:lnTo>
                    <a:lnTo>
                      <a:pt x="6" y="154"/>
                    </a:lnTo>
                    <a:lnTo>
                      <a:pt x="12" y="149"/>
                    </a:lnTo>
                    <a:lnTo>
                      <a:pt x="12" y="149"/>
                    </a:lnTo>
                    <a:lnTo>
                      <a:pt x="9" y="150"/>
                    </a:lnTo>
                    <a:lnTo>
                      <a:pt x="8" y="152"/>
                    </a:lnTo>
                    <a:lnTo>
                      <a:pt x="8" y="152"/>
                    </a:lnTo>
                    <a:lnTo>
                      <a:pt x="8" y="150"/>
                    </a:lnTo>
                    <a:lnTo>
                      <a:pt x="10" y="146"/>
                    </a:lnTo>
                    <a:lnTo>
                      <a:pt x="10" y="146"/>
                    </a:lnTo>
                    <a:lnTo>
                      <a:pt x="10" y="148"/>
                    </a:lnTo>
                    <a:lnTo>
                      <a:pt x="10" y="148"/>
                    </a:lnTo>
                    <a:lnTo>
                      <a:pt x="10" y="146"/>
                    </a:lnTo>
                    <a:lnTo>
                      <a:pt x="10" y="146"/>
                    </a:lnTo>
                    <a:lnTo>
                      <a:pt x="13" y="142"/>
                    </a:lnTo>
                    <a:lnTo>
                      <a:pt x="17" y="140"/>
                    </a:lnTo>
                    <a:lnTo>
                      <a:pt x="18" y="140"/>
                    </a:lnTo>
                    <a:lnTo>
                      <a:pt x="18" y="140"/>
                    </a:lnTo>
                    <a:lnTo>
                      <a:pt x="20" y="140"/>
                    </a:lnTo>
                    <a:lnTo>
                      <a:pt x="20" y="140"/>
                    </a:lnTo>
                    <a:lnTo>
                      <a:pt x="18" y="141"/>
                    </a:lnTo>
                    <a:lnTo>
                      <a:pt x="17" y="144"/>
                    </a:lnTo>
                    <a:lnTo>
                      <a:pt x="22" y="138"/>
                    </a:lnTo>
                    <a:lnTo>
                      <a:pt x="24" y="138"/>
                    </a:lnTo>
                    <a:lnTo>
                      <a:pt x="24" y="138"/>
                    </a:lnTo>
                    <a:lnTo>
                      <a:pt x="25" y="137"/>
                    </a:lnTo>
                    <a:lnTo>
                      <a:pt x="25" y="137"/>
                    </a:lnTo>
                    <a:lnTo>
                      <a:pt x="25" y="136"/>
                    </a:lnTo>
                    <a:lnTo>
                      <a:pt x="27" y="134"/>
                    </a:lnTo>
                    <a:lnTo>
                      <a:pt x="27" y="134"/>
                    </a:lnTo>
                    <a:lnTo>
                      <a:pt x="38" y="129"/>
                    </a:lnTo>
                    <a:lnTo>
                      <a:pt x="39" y="128"/>
                    </a:lnTo>
                    <a:lnTo>
                      <a:pt x="41" y="128"/>
                    </a:lnTo>
                    <a:lnTo>
                      <a:pt x="41" y="128"/>
                    </a:lnTo>
                    <a:lnTo>
                      <a:pt x="43" y="128"/>
                    </a:lnTo>
                    <a:lnTo>
                      <a:pt x="43" y="128"/>
                    </a:lnTo>
                    <a:lnTo>
                      <a:pt x="41" y="129"/>
                    </a:lnTo>
                    <a:lnTo>
                      <a:pt x="39" y="132"/>
                    </a:lnTo>
                    <a:lnTo>
                      <a:pt x="46" y="126"/>
                    </a:lnTo>
                    <a:lnTo>
                      <a:pt x="46" y="126"/>
                    </a:lnTo>
                    <a:lnTo>
                      <a:pt x="46" y="126"/>
                    </a:lnTo>
                    <a:lnTo>
                      <a:pt x="46" y="126"/>
                    </a:lnTo>
                    <a:lnTo>
                      <a:pt x="46" y="126"/>
                    </a:lnTo>
                    <a:lnTo>
                      <a:pt x="47" y="125"/>
                    </a:lnTo>
                    <a:lnTo>
                      <a:pt x="51" y="124"/>
                    </a:lnTo>
                    <a:lnTo>
                      <a:pt x="51" y="124"/>
                    </a:lnTo>
                    <a:lnTo>
                      <a:pt x="54" y="120"/>
                    </a:lnTo>
                    <a:lnTo>
                      <a:pt x="57" y="119"/>
                    </a:lnTo>
                    <a:lnTo>
                      <a:pt x="61" y="117"/>
                    </a:lnTo>
                    <a:lnTo>
                      <a:pt x="61" y="117"/>
                    </a:lnTo>
                    <a:lnTo>
                      <a:pt x="62" y="119"/>
                    </a:lnTo>
                    <a:lnTo>
                      <a:pt x="63" y="119"/>
                    </a:lnTo>
                    <a:lnTo>
                      <a:pt x="67" y="120"/>
                    </a:lnTo>
                    <a:lnTo>
                      <a:pt x="67" y="120"/>
                    </a:lnTo>
                    <a:lnTo>
                      <a:pt x="71" y="124"/>
                    </a:lnTo>
                    <a:lnTo>
                      <a:pt x="72" y="129"/>
                    </a:lnTo>
                    <a:lnTo>
                      <a:pt x="72" y="129"/>
                    </a:lnTo>
                    <a:lnTo>
                      <a:pt x="72" y="126"/>
                    </a:lnTo>
                    <a:lnTo>
                      <a:pt x="72" y="126"/>
                    </a:lnTo>
                    <a:lnTo>
                      <a:pt x="74" y="128"/>
                    </a:lnTo>
                    <a:lnTo>
                      <a:pt x="74" y="132"/>
                    </a:lnTo>
                    <a:lnTo>
                      <a:pt x="74" y="138"/>
                    </a:lnTo>
                    <a:lnTo>
                      <a:pt x="74" y="140"/>
                    </a:lnTo>
                    <a:lnTo>
                      <a:pt x="74" y="140"/>
                    </a:lnTo>
                    <a:lnTo>
                      <a:pt x="72" y="142"/>
                    </a:lnTo>
                    <a:lnTo>
                      <a:pt x="72" y="142"/>
                    </a:lnTo>
                    <a:lnTo>
                      <a:pt x="75" y="141"/>
                    </a:lnTo>
                    <a:lnTo>
                      <a:pt x="75" y="141"/>
                    </a:lnTo>
                    <a:lnTo>
                      <a:pt x="80" y="141"/>
                    </a:lnTo>
                    <a:lnTo>
                      <a:pt x="80" y="141"/>
                    </a:lnTo>
                    <a:lnTo>
                      <a:pt x="83" y="141"/>
                    </a:lnTo>
                    <a:lnTo>
                      <a:pt x="84" y="141"/>
                    </a:lnTo>
                    <a:lnTo>
                      <a:pt x="86" y="141"/>
                    </a:lnTo>
                    <a:lnTo>
                      <a:pt x="86" y="141"/>
                    </a:lnTo>
                    <a:lnTo>
                      <a:pt x="90" y="142"/>
                    </a:lnTo>
                    <a:lnTo>
                      <a:pt x="90" y="142"/>
                    </a:lnTo>
                    <a:lnTo>
                      <a:pt x="87" y="142"/>
                    </a:lnTo>
                    <a:lnTo>
                      <a:pt x="92" y="144"/>
                    </a:lnTo>
                    <a:lnTo>
                      <a:pt x="92" y="144"/>
                    </a:lnTo>
                    <a:lnTo>
                      <a:pt x="94" y="145"/>
                    </a:lnTo>
                    <a:lnTo>
                      <a:pt x="98" y="146"/>
                    </a:lnTo>
                    <a:lnTo>
                      <a:pt x="98" y="146"/>
                    </a:lnTo>
                    <a:lnTo>
                      <a:pt x="98" y="146"/>
                    </a:lnTo>
                    <a:lnTo>
                      <a:pt x="102" y="145"/>
                    </a:lnTo>
                    <a:lnTo>
                      <a:pt x="103" y="145"/>
                    </a:lnTo>
                    <a:lnTo>
                      <a:pt x="103" y="145"/>
                    </a:lnTo>
                    <a:lnTo>
                      <a:pt x="105" y="144"/>
                    </a:lnTo>
                    <a:lnTo>
                      <a:pt x="105" y="144"/>
                    </a:lnTo>
                    <a:lnTo>
                      <a:pt x="109" y="142"/>
                    </a:lnTo>
                    <a:lnTo>
                      <a:pt x="113" y="142"/>
                    </a:lnTo>
                    <a:lnTo>
                      <a:pt x="113" y="142"/>
                    </a:lnTo>
                    <a:lnTo>
                      <a:pt x="117" y="142"/>
                    </a:lnTo>
                    <a:lnTo>
                      <a:pt x="117" y="142"/>
                    </a:lnTo>
                    <a:lnTo>
                      <a:pt x="119" y="142"/>
                    </a:lnTo>
                    <a:lnTo>
                      <a:pt x="119" y="142"/>
                    </a:lnTo>
                    <a:lnTo>
                      <a:pt x="119" y="142"/>
                    </a:lnTo>
                    <a:lnTo>
                      <a:pt x="123" y="140"/>
                    </a:lnTo>
                    <a:lnTo>
                      <a:pt x="125" y="140"/>
                    </a:lnTo>
                    <a:lnTo>
                      <a:pt x="125" y="140"/>
                    </a:lnTo>
                    <a:lnTo>
                      <a:pt x="128" y="140"/>
                    </a:lnTo>
                    <a:lnTo>
                      <a:pt x="132" y="142"/>
                    </a:lnTo>
                    <a:lnTo>
                      <a:pt x="132" y="142"/>
                    </a:lnTo>
                    <a:lnTo>
                      <a:pt x="135" y="142"/>
                    </a:lnTo>
                    <a:lnTo>
                      <a:pt x="135" y="142"/>
                    </a:lnTo>
                    <a:lnTo>
                      <a:pt x="139" y="142"/>
                    </a:lnTo>
                    <a:lnTo>
                      <a:pt x="139" y="142"/>
                    </a:lnTo>
                    <a:lnTo>
                      <a:pt x="143" y="142"/>
                    </a:lnTo>
                    <a:lnTo>
                      <a:pt x="143" y="142"/>
                    </a:lnTo>
                    <a:lnTo>
                      <a:pt x="146" y="142"/>
                    </a:lnTo>
                    <a:lnTo>
                      <a:pt x="148" y="142"/>
                    </a:lnTo>
                    <a:lnTo>
                      <a:pt x="148" y="142"/>
                    </a:lnTo>
                    <a:lnTo>
                      <a:pt x="150" y="144"/>
                    </a:lnTo>
                    <a:lnTo>
                      <a:pt x="152" y="146"/>
                    </a:lnTo>
                    <a:lnTo>
                      <a:pt x="153" y="150"/>
                    </a:lnTo>
                    <a:lnTo>
                      <a:pt x="153" y="150"/>
                    </a:lnTo>
                    <a:lnTo>
                      <a:pt x="153" y="150"/>
                    </a:lnTo>
                    <a:lnTo>
                      <a:pt x="154" y="152"/>
                    </a:lnTo>
                    <a:lnTo>
                      <a:pt x="154" y="152"/>
                    </a:lnTo>
                    <a:lnTo>
                      <a:pt x="153" y="150"/>
                    </a:lnTo>
                    <a:lnTo>
                      <a:pt x="153" y="150"/>
                    </a:lnTo>
                    <a:lnTo>
                      <a:pt x="153" y="150"/>
                    </a:lnTo>
                    <a:lnTo>
                      <a:pt x="153" y="150"/>
                    </a:lnTo>
                    <a:lnTo>
                      <a:pt x="153" y="150"/>
                    </a:lnTo>
                    <a:lnTo>
                      <a:pt x="152" y="150"/>
                    </a:lnTo>
                    <a:lnTo>
                      <a:pt x="157" y="156"/>
                    </a:lnTo>
                    <a:lnTo>
                      <a:pt x="157" y="156"/>
                    </a:lnTo>
                    <a:lnTo>
                      <a:pt x="156" y="153"/>
                    </a:lnTo>
                    <a:lnTo>
                      <a:pt x="156" y="153"/>
                    </a:lnTo>
                    <a:lnTo>
                      <a:pt x="157" y="153"/>
                    </a:lnTo>
                    <a:lnTo>
                      <a:pt x="161" y="152"/>
                    </a:lnTo>
                    <a:lnTo>
                      <a:pt x="165" y="152"/>
                    </a:lnTo>
                    <a:lnTo>
                      <a:pt x="170" y="156"/>
                    </a:lnTo>
                    <a:lnTo>
                      <a:pt x="170" y="156"/>
                    </a:lnTo>
                    <a:lnTo>
                      <a:pt x="170" y="156"/>
                    </a:lnTo>
                    <a:lnTo>
                      <a:pt x="170" y="156"/>
                    </a:lnTo>
                    <a:lnTo>
                      <a:pt x="169" y="154"/>
                    </a:lnTo>
                    <a:lnTo>
                      <a:pt x="172" y="157"/>
                    </a:lnTo>
                    <a:lnTo>
                      <a:pt x="172" y="157"/>
                    </a:lnTo>
                    <a:lnTo>
                      <a:pt x="173" y="158"/>
                    </a:lnTo>
                    <a:lnTo>
                      <a:pt x="176" y="160"/>
                    </a:lnTo>
                    <a:lnTo>
                      <a:pt x="176" y="160"/>
                    </a:lnTo>
                    <a:lnTo>
                      <a:pt x="178" y="161"/>
                    </a:lnTo>
                    <a:lnTo>
                      <a:pt x="178" y="161"/>
                    </a:lnTo>
                    <a:lnTo>
                      <a:pt x="181" y="160"/>
                    </a:lnTo>
                    <a:lnTo>
                      <a:pt x="185" y="158"/>
                    </a:lnTo>
                    <a:lnTo>
                      <a:pt x="185" y="158"/>
                    </a:lnTo>
                    <a:lnTo>
                      <a:pt x="187" y="158"/>
                    </a:lnTo>
                    <a:lnTo>
                      <a:pt x="187" y="158"/>
                    </a:lnTo>
                    <a:lnTo>
                      <a:pt x="187" y="158"/>
                    </a:lnTo>
                    <a:lnTo>
                      <a:pt x="191" y="157"/>
                    </a:lnTo>
                    <a:lnTo>
                      <a:pt x="193" y="154"/>
                    </a:lnTo>
                    <a:lnTo>
                      <a:pt x="193" y="149"/>
                    </a:lnTo>
                    <a:lnTo>
                      <a:pt x="193" y="149"/>
                    </a:lnTo>
                    <a:lnTo>
                      <a:pt x="193" y="149"/>
                    </a:lnTo>
                    <a:lnTo>
                      <a:pt x="193" y="148"/>
                    </a:lnTo>
                    <a:lnTo>
                      <a:pt x="193" y="148"/>
                    </a:lnTo>
                    <a:lnTo>
                      <a:pt x="194" y="149"/>
                    </a:lnTo>
                    <a:lnTo>
                      <a:pt x="195" y="150"/>
                    </a:lnTo>
                    <a:lnTo>
                      <a:pt x="191" y="141"/>
                    </a:lnTo>
                    <a:lnTo>
                      <a:pt x="191" y="141"/>
                    </a:lnTo>
                    <a:lnTo>
                      <a:pt x="194" y="138"/>
                    </a:lnTo>
                    <a:lnTo>
                      <a:pt x="197" y="137"/>
                    </a:lnTo>
                    <a:lnTo>
                      <a:pt x="201" y="137"/>
                    </a:lnTo>
                    <a:lnTo>
                      <a:pt x="201" y="137"/>
                    </a:lnTo>
                    <a:lnTo>
                      <a:pt x="203" y="137"/>
                    </a:lnTo>
                    <a:lnTo>
                      <a:pt x="203" y="137"/>
                    </a:lnTo>
                    <a:lnTo>
                      <a:pt x="206" y="137"/>
                    </a:lnTo>
                    <a:lnTo>
                      <a:pt x="206" y="137"/>
                    </a:lnTo>
                    <a:lnTo>
                      <a:pt x="210" y="137"/>
                    </a:lnTo>
                    <a:lnTo>
                      <a:pt x="210" y="137"/>
                    </a:lnTo>
                    <a:lnTo>
                      <a:pt x="210" y="137"/>
                    </a:lnTo>
                    <a:lnTo>
                      <a:pt x="210" y="137"/>
                    </a:lnTo>
                    <a:lnTo>
                      <a:pt x="215" y="136"/>
                    </a:lnTo>
                    <a:lnTo>
                      <a:pt x="215" y="136"/>
                    </a:lnTo>
                    <a:lnTo>
                      <a:pt x="215" y="134"/>
                    </a:lnTo>
                    <a:lnTo>
                      <a:pt x="215" y="134"/>
                    </a:lnTo>
                    <a:lnTo>
                      <a:pt x="214" y="132"/>
                    </a:lnTo>
                    <a:lnTo>
                      <a:pt x="214" y="129"/>
                    </a:lnTo>
                    <a:lnTo>
                      <a:pt x="215" y="125"/>
                    </a:lnTo>
                    <a:lnTo>
                      <a:pt x="215" y="125"/>
                    </a:lnTo>
                    <a:lnTo>
                      <a:pt x="218" y="121"/>
                    </a:lnTo>
                    <a:lnTo>
                      <a:pt x="218" y="121"/>
                    </a:lnTo>
                    <a:lnTo>
                      <a:pt x="221" y="119"/>
                    </a:lnTo>
                    <a:lnTo>
                      <a:pt x="224" y="119"/>
                    </a:lnTo>
                    <a:lnTo>
                      <a:pt x="224" y="119"/>
                    </a:lnTo>
                    <a:lnTo>
                      <a:pt x="226" y="119"/>
                    </a:lnTo>
                    <a:lnTo>
                      <a:pt x="226" y="119"/>
                    </a:lnTo>
                    <a:lnTo>
                      <a:pt x="231" y="120"/>
                    </a:lnTo>
                    <a:lnTo>
                      <a:pt x="231" y="119"/>
                    </a:lnTo>
                    <a:lnTo>
                      <a:pt x="234" y="113"/>
                    </a:lnTo>
                    <a:lnTo>
                      <a:pt x="234" y="113"/>
                    </a:lnTo>
                    <a:lnTo>
                      <a:pt x="236" y="113"/>
                    </a:lnTo>
                    <a:lnTo>
                      <a:pt x="239" y="112"/>
                    </a:lnTo>
                    <a:lnTo>
                      <a:pt x="239" y="112"/>
                    </a:lnTo>
                    <a:lnTo>
                      <a:pt x="242" y="108"/>
                    </a:lnTo>
                    <a:lnTo>
                      <a:pt x="242" y="108"/>
                    </a:lnTo>
                    <a:lnTo>
                      <a:pt x="246" y="105"/>
                    </a:lnTo>
                    <a:lnTo>
                      <a:pt x="250" y="103"/>
                    </a:lnTo>
                    <a:lnTo>
                      <a:pt x="252" y="101"/>
                    </a:lnTo>
                    <a:lnTo>
                      <a:pt x="254" y="101"/>
                    </a:lnTo>
                    <a:lnTo>
                      <a:pt x="259" y="105"/>
                    </a:lnTo>
                    <a:lnTo>
                      <a:pt x="259" y="105"/>
                    </a:lnTo>
                    <a:lnTo>
                      <a:pt x="259" y="105"/>
                    </a:lnTo>
                    <a:lnTo>
                      <a:pt x="259" y="105"/>
                    </a:lnTo>
                    <a:lnTo>
                      <a:pt x="263" y="107"/>
                    </a:lnTo>
                    <a:lnTo>
                      <a:pt x="263" y="107"/>
                    </a:lnTo>
                    <a:lnTo>
                      <a:pt x="268" y="107"/>
                    </a:lnTo>
                    <a:lnTo>
                      <a:pt x="272" y="109"/>
                    </a:lnTo>
                    <a:lnTo>
                      <a:pt x="273" y="108"/>
                    </a:lnTo>
                    <a:lnTo>
                      <a:pt x="277" y="108"/>
                    </a:lnTo>
                    <a:lnTo>
                      <a:pt x="277" y="108"/>
                    </a:lnTo>
                    <a:lnTo>
                      <a:pt x="280" y="108"/>
                    </a:lnTo>
                    <a:lnTo>
                      <a:pt x="280" y="108"/>
                    </a:lnTo>
                    <a:lnTo>
                      <a:pt x="283" y="108"/>
                    </a:lnTo>
                    <a:lnTo>
                      <a:pt x="285" y="109"/>
                    </a:lnTo>
                    <a:lnTo>
                      <a:pt x="289" y="111"/>
                    </a:lnTo>
                    <a:lnTo>
                      <a:pt x="289" y="111"/>
                    </a:lnTo>
                    <a:lnTo>
                      <a:pt x="289" y="112"/>
                    </a:lnTo>
                    <a:lnTo>
                      <a:pt x="289" y="112"/>
                    </a:lnTo>
                    <a:lnTo>
                      <a:pt x="291" y="112"/>
                    </a:lnTo>
                    <a:lnTo>
                      <a:pt x="292" y="112"/>
                    </a:lnTo>
                    <a:lnTo>
                      <a:pt x="292" y="112"/>
                    </a:lnTo>
                    <a:lnTo>
                      <a:pt x="296" y="111"/>
                    </a:lnTo>
                    <a:lnTo>
                      <a:pt x="296" y="111"/>
                    </a:lnTo>
                    <a:lnTo>
                      <a:pt x="297" y="111"/>
                    </a:lnTo>
                    <a:lnTo>
                      <a:pt x="297" y="111"/>
                    </a:lnTo>
                    <a:lnTo>
                      <a:pt x="301" y="111"/>
                    </a:lnTo>
                    <a:lnTo>
                      <a:pt x="304" y="113"/>
                    </a:lnTo>
                    <a:lnTo>
                      <a:pt x="305" y="116"/>
                    </a:lnTo>
                    <a:lnTo>
                      <a:pt x="305" y="116"/>
                    </a:lnTo>
                    <a:lnTo>
                      <a:pt x="304" y="115"/>
                    </a:lnTo>
                    <a:lnTo>
                      <a:pt x="301" y="115"/>
                    </a:lnTo>
                    <a:lnTo>
                      <a:pt x="308" y="119"/>
                    </a:lnTo>
                    <a:lnTo>
                      <a:pt x="308" y="119"/>
                    </a:lnTo>
                    <a:lnTo>
                      <a:pt x="309" y="120"/>
                    </a:lnTo>
                    <a:lnTo>
                      <a:pt x="309" y="120"/>
                    </a:lnTo>
                    <a:lnTo>
                      <a:pt x="309" y="121"/>
                    </a:lnTo>
                    <a:lnTo>
                      <a:pt x="309" y="121"/>
                    </a:lnTo>
                    <a:lnTo>
                      <a:pt x="310" y="121"/>
                    </a:lnTo>
                    <a:lnTo>
                      <a:pt x="310" y="121"/>
                    </a:lnTo>
                    <a:lnTo>
                      <a:pt x="316" y="124"/>
                    </a:lnTo>
                    <a:lnTo>
                      <a:pt x="316" y="124"/>
                    </a:lnTo>
                    <a:lnTo>
                      <a:pt x="314" y="124"/>
                    </a:lnTo>
                    <a:lnTo>
                      <a:pt x="314" y="124"/>
                    </a:lnTo>
                    <a:lnTo>
                      <a:pt x="316" y="124"/>
                    </a:lnTo>
                    <a:lnTo>
                      <a:pt x="316" y="124"/>
                    </a:lnTo>
                    <a:lnTo>
                      <a:pt x="318" y="124"/>
                    </a:lnTo>
                    <a:lnTo>
                      <a:pt x="321" y="122"/>
                    </a:lnTo>
                    <a:lnTo>
                      <a:pt x="321" y="122"/>
                    </a:lnTo>
                    <a:lnTo>
                      <a:pt x="326" y="124"/>
                    </a:lnTo>
                    <a:lnTo>
                      <a:pt x="329" y="126"/>
                    </a:lnTo>
                    <a:lnTo>
                      <a:pt x="334" y="130"/>
                    </a:lnTo>
                    <a:lnTo>
                      <a:pt x="334" y="130"/>
                    </a:lnTo>
                    <a:lnTo>
                      <a:pt x="336" y="133"/>
                    </a:lnTo>
                    <a:lnTo>
                      <a:pt x="338" y="134"/>
                    </a:lnTo>
                    <a:lnTo>
                      <a:pt x="338" y="134"/>
                    </a:lnTo>
                    <a:lnTo>
                      <a:pt x="340" y="134"/>
                    </a:lnTo>
                    <a:lnTo>
                      <a:pt x="340" y="134"/>
                    </a:lnTo>
                    <a:lnTo>
                      <a:pt x="342" y="134"/>
                    </a:lnTo>
                    <a:lnTo>
                      <a:pt x="343" y="136"/>
                    </a:lnTo>
                    <a:lnTo>
                      <a:pt x="346" y="137"/>
                    </a:lnTo>
                    <a:lnTo>
                      <a:pt x="347" y="140"/>
                    </a:lnTo>
                    <a:lnTo>
                      <a:pt x="347" y="142"/>
                    </a:lnTo>
                    <a:lnTo>
                      <a:pt x="347" y="142"/>
                    </a:lnTo>
                    <a:lnTo>
                      <a:pt x="347" y="145"/>
                    </a:lnTo>
                    <a:lnTo>
                      <a:pt x="347" y="145"/>
                    </a:lnTo>
                    <a:lnTo>
                      <a:pt x="347" y="145"/>
                    </a:lnTo>
                    <a:lnTo>
                      <a:pt x="347" y="145"/>
                    </a:lnTo>
                    <a:lnTo>
                      <a:pt x="349" y="146"/>
                    </a:lnTo>
                    <a:lnTo>
                      <a:pt x="349" y="146"/>
                    </a:lnTo>
                    <a:lnTo>
                      <a:pt x="349" y="149"/>
                    </a:lnTo>
                    <a:lnTo>
                      <a:pt x="347" y="152"/>
                    </a:lnTo>
                    <a:lnTo>
                      <a:pt x="350" y="149"/>
                    </a:lnTo>
                    <a:lnTo>
                      <a:pt x="353" y="152"/>
                    </a:lnTo>
                    <a:lnTo>
                      <a:pt x="353" y="152"/>
                    </a:lnTo>
                    <a:lnTo>
                      <a:pt x="351" y="149"/>
                    </a:lnTo>
                    <a:lnTo>
                      <a:pt x="351" y="148"/>
                    </a:lnTo>
                    <a:lnTo>
                      <a:pt x="354" y="145"/>
                    </a:lnTo>
                    <a:lnTo>
                      <a:pt x="354" y="145"/>
                    </a:lnTo>
                    <a:lnTo>
                      <a:pt x="355" y="145"/>
                    </a:lnTo>
                    <a:lnTo>
                      <a:pt x="355" y="145"/>
                    </a:lnTo>
                    <a:lnTo>
                      <a:pt x="359" y="145"/>
                    </a:lnTo>
                    <a:lnTo>
                      <a:pt x="359" y="145"/>
                    </a:lnTo>
                    <a:lnTo>
                      <a:pt x="362" y="145"/>
                    </a:lnTo>
                    <a:lnTo>
                      <a:pt x="362" y="145"/>
                    </a:lnTo>
                    <a:lnTo>
                      <a:pt x="366" y="140"/>
                    </a:lnTo>
                    <a:lnTo>
                      <a:pt x="366" y="140"/>
                    </a:lnTo>
                    <a:lnTo>
                      <a:pt x="371" y="134"/>
                    </a:lnTo>
                    <a:lnTo>
                      <a:pt x="371" y="121"/>
                    </a:lnTo>
                    <a:lnTo>
                      <a:pt x="373" y="120"/>
                    </a:lnTo>
                    <a:lnTo>
                      <a:pt x="373" y="120"/>
                    </a:lnTo>
                    <a:lnTo>
                      <a:pt x="374" y="117"/>
                    </a:lnTo>
                    <a:lnTo>
                      <a:pt x="375" y="115"/>
                    </a:lnTo>
                    <a:lnTo>
                      <a:pt x="379" y="115"/>
                    </a:lnTo>
                    <a:lnTo>
                      <a:pt x="379" y="113"/>
                    </a:lnTo>
                    <a:lnTo>
                      <a:pt x="379" y="113"/>
                    </a:lnTo>
                    <a:lnTo>
                      <a:pt x="381" y="113"/>
                    </a:lnTo>
                    <a:lnTo>
                      <a:pt x="381" y="112"/>
                    </a:lnTo>
                    <a:lnTo>
                      <a:pt x="381" y="112"/>
                    </a:lnTo>
                    <a:lnTo>
                      <a:pt x="381" y="113"/>
                    </a:lnTo>
                    <a:lnTo>
                      <a:pt x="381" y="113"/>
                    </a:lnTo>
                    <a:lnTo>
                      <a:pt x="382" y="116"/>
                    </a:lnTo>
                    <a:lnTo>
                      <a:pt x="386" y="117"/>
                    </a:lnTo>
                    <a:lnTo>
                      <a:pt x="382" y="112"/>
                    </a:lnTo>
                    <a:lnTo>
                      <a:pt x="384" y="109"/>
                    </a:lnTo>
                    <a:lnTo>
                      <a:pt x="384" y="109"/>
                    </a:lnTo>
                    <a:lnTo>
                      <a:pt x="383" y="109"/>
                    </a:lnTo>
                    <a:lnTo>
                      <a:pt x="382" y="112"/>
                    </a:lnTo>
                    <a:lnTo>
                      <a:pt x="381" y="109"/>
                    </a:lnTo>
                    <a:lnTo>
                      <a:pt x="381" y="109"/>
                    </a:lnTo>
                    <a:lnTo>
                      <a:pt x="383" y="105"/>
                    </a:lnTo>
                    <a:lnTo>
                      <a:pt x="387" y="104"/>
                    </a:lnTo>
                    <a:lnTo>
                      <a:pt x="387" y="104"/>
                    </a:lnTo>
                    <a:lnTo>
                      <a:pt x="388" y="104"/>
                    </a:lnTo>
                    <a:lnTo>
                      <a:pt x="387" y="104"/>
                    </a:lnTo>
                    <a:lnTo>
                      <a:pt x="387" y="104"/>
                    </a:lnTo>
                    <a:lnTo>
                      <a:pt x="387" y="99"/>
                    </a:lnTo>
                    <a:lnTo>
                      <a:pt x="388" y="96"/>
                    </a:lnTo>
                    <a:lnTo>
                      <a:pt x="388" y="96"/>
                    </a:lnTo>
                    <a:lnTo>
                      <a:pt x="386" y="93"/>
                    </a:lnTo>
                    <a:lnTo>
                      <a:pt x="386" y="88"/>
                    </a:lnTo>
                    <a:lnTo>
                      <a:pt x="391" y="84"/>
                    </a:lnTo>
                    <a:lnTo>
                      <a:pt x="391" y="84"/>
                    </a:lnTo>
                    <a:lnTo>
                      <a:pt x="391" y="84"/>
                    </a:lnTo>
                    <a:lnTo>
                      <a:pt x="391" y="84"/>
                    </a:lnTo>
                    <a:lnTo>
                      <a:pt x="391" y="83"/>
                    </a:lnTo>
                    <a:lnTo>
                      <a:pt x="391" y="83"/>
                    </a:lnTo>
                    <a:lnTo>
                      <a:pt x="392" y="79"/>
                    </a:lnTo>
                    <a:lnTo>
                      <a:pt x="398" y="76"/>
                    </a:lnTo>
                    <a:lnTo>
                      <a:pt x="404" y="76"/>
                    </a:lnTo>
                    <a:lnTo>
                      <a:pt x="404" y="76"/>
                    </a:lnTo>
                    <a:lnTo>
                      <a:pt x="406" y="76"/>
                    </a:lnTo>
                    <a:lnTo>
                      <a:pt x="406" y="76"/>
                    </a:lnTo>
                    <a:lnTo>
                      <a:pt x="408" y="76"/>
                    </a:lnTo>
                    <a:lnTo>
                      <a:pt x="411" y="78"/>
                    </a:lnTo>
                    <a:lnTo>
                      <a:pt x="414" y="80"/>
                    </a:lnTo>
                    <a:lnTo>
                      <a:pt x="414" y="80"/>
                    </a:lnTo>
                    <a:lnTo>
                      <a:pt x="414" y="80"/>
                    </a:lnTo>
                    <a:lnTo>
                      <a:pt x="414" y="80"/>
                    </a:lnTo>
                    <a:lnTo>
                      <a:pt x="412" y="80"/>
                    </a:lnTo>
                    <a:lnTo>
                      <a:pt x="416" y="84"/>
                    </a:lnTo>
                    <a:lnTo>
                      <a:pt x="416" y="83"/>
                    </a:lnTo>
                    <a:lnTo>
                      <a:pt x="416" y="83"/>
                    </a:lnTo>
                    <a:lnTo>
                      <a:pt x="414" y="82"/>
                    </a:lnTo>
                    <a:lnTo>
                      <a:pt x="415" y="82"/>
                    </a:lnTo>
                    <a:lnTo>
                      <a:pt x="415" y="82"/>
                    </a:lnTo>
                    <a:lnTo>
                      <a:pt x="416" y="82"/>
                    </a:lnTo>
                    <a:lnTo>
                      <a:pt x="418" y="82"/>
                    </a:lnTo>
                    <a:lnTo>
                      <a:pt x="421" y="83"/>
                    </a:lnTo>
                    <a:lnTo>
                      <a:pt x="421" y="83"/>
                    </a:lnTo>
                    <a:lnTo>
                      <a:pt x="424" y="85"/>
                    </a:lnTo>
                    <a:lnTo>
                      <a:pt x="424" y="88"/>
                    </a:lnTo>
                    <a:lnTo>
                      <a:pt x="424" y="92"/>
                    </a:lnTo>
                    <a:lnTo>
                      <a:pt x="423" y="96"/>
                    </a:lnTo>
                    <a:lnTo>
                      <a:pt x="423" y="96"/>
                    </a:lnTo>
                    <a:lnTo>
                      <a:pt x="423" y="101"/>
                    </a:lnTo>
                    <a:lnTo>
                      <a:pt x="423" y="101"/>
                    </a:lnTo>
                    <a:lnTo>
                      <a:pt x="423" y="104"/>
                    </a:lnTo>
                    <a:lnTo>
                      <a:pt x="421" y="107"/>
                    </a:lnTo>
                    <a:lnTo>
                      <a:pt x="421" y="109"/>
                    </a:lnTo>
                    <a:lnTo>
                      <a:pt x="421" y="109"/>
                    </a:lnTo>
                    <a:lnTo>
                      <a:pt x="423" y="111"/>
                    </a:lnTo>
                    <a:lnTo>
                      <a:pt x="423" y="111"/>
                    </a:lnTo>
                    <a:lnTo>
                      <a:pt x="425" y="112"/>
                    </a:lnTo>
                    <a:lnTo>
                      <a:pt x="425" y="112"/>
                    </a:lnTo>
                    <a:lnTo>
                      <a:pt x="425" y="112"/>
                    </a:lnTo>
                    <a:lnTo>
                      <a:pt x="425" y="112"/>
                    </a:lnTo>
                    <a:lnTo>
                      <a:pt x="424" y="112"/>
                    </a:lnTo>
                    <a:lnTo>
                      <a:pt x="431" y="119"/>
                    </a:lnTo>
                    <a:lnTo>
                      <a:pt x="431" y="119"/>
                    </a:lnTo>
                    <a:lnTo>
                      <a:pt x="431" y="117"/>
                    </a:lnTo>
                    <a:lnTo>
                      <a:pt x="431" y="117"/>
                    </a:lnTo>
                    <a:lnTo>
                      <a:pt x="432" y="117"/>
                    </a:lnTo>
                    <a:lnTo>
                      <a:pt x="432" y="117"/>
                    </a:lnTo>
                    <a:lnTo>
                      <a:pt x="432" y="116"/>
                    </a:lnTo>
                    <a:lnTo>
                      <a:pt x="435" y="115"/>
                    </a:lnTo>
                    <a:lnTo>
                      <a:pt x="435" y="115"/>
                    </a:lnTo>
                    <a:lnTo>
                      <a:pt x="435" y="115"/>
                    </a:lnTo>
                    <a:lnTo>
                      <a:pt x="440" y="111"/>
                    </a:lnTo>
                    <a:lnTo>
                      <a:pt x="443" y="111"/>
                    </a:lnTo>
                    <a:lnTo>
                      <a:pt x="443" y="108"/>
                    </a:lnTo>
                    <a:lnTo>
                      <a:pt x="443" y="108"/>
                    </a:lnTo>
                    <a:lnTo>
                      <a:pt x="449" y="95"/>
                    </a:lnTo>
                    <a:lnTo>
                      <a:pt x="451" y="93"/>
                    </a:lnTo>
                    <a:lnTo>
                      <a:pt x="451" y="92"/>
                    </a:lnTo>
                    <a:lnTo>
                      <a:pt x="457" y="87"/>
                    </a:lnTo>
                    <a:lnTo>
                      <a:pt x="462" y="87"/>
                    </a:lnTo>
                    <a:lnTo>
                      <a:pt x="464" y="87"/>
                    </a:lnTo>
                    <a:lnTo>
                      <a:pt x="464" y="87"/>
                    </a:lnTo>
                    <a:lnTo>
                      <a:pt x="465" y="87"/>
                    </a:lnTo>
                    <a:lnTo>
                      <a:pt x="465" y="87"/>
                    </a:lnTo>
                    <a:lnTo>
                      <a:pt x="466" y="85"/>
                    </a:lnTo>
                    <a:lnTo>
                      <a:pt x="466" y="85"/>
                    </a:lnTo>
                    <a:lnTo>
                      <a:pt x="466" y="85"/>
                    </a:lnTo>
                    <a:lnTo>
                      <a:pt x="466" y="84"/>
                    </a:lnTo>
                    <a:lnTo>
                      <a:pt x="466" y="84"/>
                    </a:lnTo>
                    <a:lnTo>
                      <a:pt x="466" y="84"/>
                    </a:lnTo>
                    <a:lnTo>
                      <a:pt x="465" y="82"/>
                    </a:lnTo>
                    <a:lnTo>
                      <a:pt x="464" y="82"/>
                    </a:lnTo>
                    <a:lnTo>
                      <a:pt x="464" y="82"/>
                    </a:lnTo>
                    <a:lnTo>
                      <a:pt x="462" y="79"/>
                    </a:lnTo>
                    <a:lnTo>
                      <a:pt x="462" y="74"/>
                    </a:lnTo>
                    <a:lnTo>
                      <a:pt x="464" y="70"/>
                    </a:lnTo>
                    <a:lnTo>
                      <a:pt x="464" y="70"/>
                    </a:lnTo>
                    <a:lnTo>
                      <a:pt x="466" y="68"/>
                    </a:lnTo>
                    <a:lnTo>
                      <a:pt x="469" y="67"/>
                    </a:lnTo>
                    <a:lnTo>
                      <a:pt x="469" y="67"/>
                    </a:lnTo>
                    <a:lnTo>
                      <a:pt x="473" y="68"/>
                    </a:lnTo>
                    <a:lnTo>
                      <a:pt x="473" y="68"/>
                    </a:lnTo>
                    <a:lnTo>
                      <a:pt x="477" y="70"/>
                    </a:lnTo>
                    <a:lnTo>
                      <a:pt x="480" y="71"/>
                    </a:lnTo>
                    <a:lnTo>
                      <a:pt x="480" y="71"/>
                    </a:lnTo>
                    <a:lnTo>
                      <a:pt x="480" y="71"/>
                    </a:lnTo>
                    <a:lnTo>
                      <a:pt x="481" y="71"/>
                    </a:lnTo>
                    <a:lnTo>
                      <a:pt x="482" y="72"/>
                    </a:lnTo>
                    <a:lnTo>
                      <a:pt x="482" y="72"/>
                    </a:lnTo>
                    <a:lnTo>
                      <a:pt x="482" y="72"/>
                    </a:lnTo>
                    <a:lnTo>
                      <a:pt x="484" y="71"/>
                    </a:lnTo>
                    <a:lnTo>
                      <a:pt x="484" y="70"/>
                    </a:lnTo>
                    <a:lnTo>
                      <a:pt x="489" y="67"/>
                    </a:lnTo>
                    <a:lnTo>
                      <a:pt x="488" y="67"/>
                    </a:lnTo>
                    <a:lnTo>
                      <a:pt x="488" y="67"/>
                    </a:lnTo>
                    <a:lnTo>
                      <a:pt x="490" y="66"/>
                    </a:lnTo>
                    <a:lnTo>
                      <a:pt x="490" y="66"/>
                    </a:lnTo>
                    <a:lnTo>
                      <a:pt x="492" y="64"/>
                    </a:lnTo>
                    <a:lnTo>
                      <a:pt x="496" y="62"/>
                    </a:lnTo>
                    <a:lnTo>
                      <a:pt x="497" y="62"/>
                    </a:lnTo>
                    <a:lnTo>
                      <a:pt x="498" y="62"/>
                    </a:lnTo>
                    <a:lnTo>
                      <a:pt x="501" y="64"/>
                    </a:lnTo>
                    <a:lnTo>
                      <a:pt x="501" y="64"/>
                    </a:lnTo>
                    <a:lnTo>
                      <a:pt x="499" y="66"/>
                    </a:lnTo>
                    <a:lnTo>
                      <a:pt x="499" y="66"/>
                    </a:lnTo>
                    <a:lnTo>
                      <a:pt x="499" y="67"/>
                    </a:lnTo>
                    <a:lnTo>
                      <a:pt x="499" y="70"/>
                    </a:lnTo>
                    <a:lnTo>
                      <a:pt x="502" y="66"/>
                    </a:lnTo>
                    <a:lnTo>
                      <a:pt x="505" y="70"/>
                    </a:lnTo>
                    <a:lnTo>
                      <a:pt x="505" y="70"/>
                    </a:lnTo>
                    <a:lnTo>
                      <a:pt x="505" y="67"/>
                    </a:lnTo>
                    <a:lnTo>
                      <a:pt x="503" y="66"/>
                    </a:lnTo>
                    <a:lnTo>
                      <a:pt x="503" y="66"/>
                    </a:lnTo>
                    <a:lnTo>
                      <a:pt x="503" y="64"/>
                    </a:lnTo>
                    <a:lnTo>
                      <a:pt x="503" y="64"/>
                    </a:lnTo>
                    <a:lnTo>
                      <a:pt x="503" y="63"/>
                    </a:lnTo>
                    <a:lnTo>
                      <a:pt x="503" y="63"/>
                    </a:lnTo>
                    <a:lnTo>
                      <a:pt x="507" y="59"/>
                    </a:lnTo>
                    <a:lnTo>
                      <a:pt x="507" y="59"/>
                    </a:lnTo>
                    <a:lnTo>
                      <a:pt x="511" y="55"/>
                    </a:lnTo>
                    <a:lnTo>
                      <a:pt x="518" y="52"/>
                    </a:lnTo>
                    <a:lnTo>
                      <a:pt x="518" y="52"/>
                    </a:lnTo>
                    <a:lnTo>
                      <a:pt x="518" y="52"/>
                    </a:lnTo>
                    <a:lnTo>
                      <a:pt x="526" y="50"/>
                    </a:lnTo>
                    <a:lnTo>
                      <a:pt x="526" y="50"/>
                    </a:lnTo>
                    <a:lnTo>
                      <a:pt x="526" y="50"/>
                    </a:lnTo>
                    <a:lnTo>
                      <a:pt x="529" y="47"/>
                    </a:lnTo>
                    <a:lnTo>
                      <a:pt x="529" y="47"/>
                    </a:lnTo>
                    <a:lnTo>
                      <a:pt x="529" y="47"/>
                    </a:lnTo>
                    <a:lnTo>
                      <a:pt x="533" y="44"/>
                    </a:lnTo>
                    <a:lnTo>
                      <a:pt x="535" y="44"/>
                    </a:lnTo>
                    <a:lnTo>
                      <a:pt x="535" y="44"/>
                    </a:lnTo>
                    <a:lnTo>
                      <a:pt x="538" y="43"/>
                    </a:lnTo>
                    <a:lnTo>
                      <a:pt x="538" y="43"/>
                    </a:lnTo>
                    <a:lnTo>
                      <a:pt x="537" y="44"/>
                    </a:lnTo>
                    <a:lnTo>
                      <a:pt x="540" y="42"/>
                    </a:lnTo>
                    <a:lnTo>
                      <a:pt x="540" y="42"/>
                    </a:lnTo>
                    <a:lnTo>
                      <a:pt x="542" y="39"/>
                    </a:lnTo>
                    <a:lnTo>
                      <a:pt x="542" y="39"/>
                    </a:lnTo>
                    <a:lnTo>
                      <a:pt x="544" y="37"/>
                    </a:lnTo>
                    <a:lnTo>
                      <a:pt x="544" y="37"/>
                    </a:lnTo>
                    <a:lnTo>
                      <a:pt x="544" y="37"/>
                    </a:lnTo>
                    <a:lnTo>
                      <a:pt x="542" y="39"/>
                    </a:lnTo>
                    <a:lnTo>
                      <a:pt x="542" y="39"/>
                    </a:lnTo>
                    <a:lnTo>
                      <a:pt x="542" y="38"/>
                    </a:lnTo>
                    <a:lnTo>
                      <a:pt x="542" y="38"/>
                    </a:lnTo>
                    <a:lnTo>
                      <a:pt x="542" y="37"/>
                    </a:lnTo>
                    <a:lnTo>
                      <a:pt x="542" y="37"/>
                    </a:lnTo>
                    <a:lnTo>
                      <a:pt x="543" y="31"/>
                    </a:lnTo>
                    <a:lnTo>
                      <a:pt x="544" y="29"/>
                    </a:lnTo>
                    <a:lnTo>
                      <a:pt x="544" y="29"/>
                    </a:lnTo>
                    <a:lnTo>
                      <a:pt x="544" y="27"/>
                    </a:lnTo>
                    <a:lnTo>
                      <a:pt x="550" y="21"/>
                    </a:lnTo>
                    <a:lnTo>
                      <a:pt x="550" y="21"/>
                    </a:lnTo>
                    <a:lnTo>
                      <a:pt x="547" y="21"/>
                    </a:lnTo>
                    <a:lnTo>
                      <a:pt x="546" y="22"/>
                    </a:lnTo>
                    <a:lnTo>
                      <a:pt x="546" y="22"/>
                    </a:lnTo>
                    <a:lnTo>
                      <a:pt x="547" y="21"/>
                    </a:lnTo>
                    <a:lnTo>
                      <a:pt x="548" y="18"/>
                    </a:lnTo>
                    <a:lnTo>
                      <a:pt x="548" y="18"/>
                    </a:lnTo>
                    <a:lnTo>
                      <a:pt x="550" y="14"/>
                    </a:lnTo>
                    <a:lnTo>
                      <a:pt x="550" y="14"/>
                    </a:lnTo>
                    <a:lnTo>
                      <a:pt x="551" y="6"/>
                    </a:lnTo>
                    <a:lnTo>
                      <a:pt x="552" y="3"/>
                    </a:lnTo>
                    <a:lnTo>
                      <a:pt x="555" y="1"/>
                    </a:lnTo>
                    <a:lnTo>
                      <a:pt x="560" y="0"/>
                    </a:lnTo>
                    <a:lnTo>
                      <a:pt x="560" y="0"/>
                    </a:lnTo>
                    <a:lnTo>
                      <a:pt x="563" y="2"/>
                    </a:lnTo>
                    <a:lnTo>
                      <a:pt x="566" y="3"/>
                    </a:lnTo>
                    <a:lnTo>
                      <a:pt x="570" y="10"/>
                    </a:lnTo>
                    <a:lnTo>
                      <a:pt x="570" y="10"/>
                    </a:lnTo>
                    <a:lnTo>
                      <a:pt x="570" y="10"/>
                    </a:lnTo>
                    <a:lnTo>
                      <a:pt x="570" y="10"/>
                    </a:lnTo>
                    <a:lnTo>
                      <a:pt x="570" y="10"/>
                    </a:lnTo>
                    <a:lnTo>
                      <a:pt x="576" y="7"/>
                    </a:lnTo>
                    <a:lnTo>
                      <a:pt x="581" y="10"/>
                    </a:lnTo>
                    <a:lnTo>
                      <a:pt x="581" y="10"/>
                    </a:lnTo>
                    <a:lnTo>
                      <a:pt x="585" y="14"/>
                    </a:lnTo>
                    <a:lnTo>
                      <a:pt x="589" y="17"/>
                    </a:lnTo>
                    <a:lnTo>
                      <a:pt x="589" y="17"/>
                    </a:lnTo>
                    <a:lnTo>
                      <a:pt x="596" y="23"/>
                    </a:lnTo>
                    <a:lnTo>
                      <a:pt x="599" y="27"/>
                    </a:lnTo>
                    <a:lnTo>
                      <a:pt x="601" y="31"/>
                    </a:lnTo>
                    <a:lnTo>
                      <a:pt x="603" y="33"/>
                    </a:lnTo>
                    <a:lnTo>
                      <a:pt x="603" y="33"/>
                    </a:lnTo>
                    <a:lnTo>
                      <a:pt x="603" y="33"/>
                    </a:lnTo>
                    <a:lnTo>
                      <a:pt x="603" y="33"/>
                    </a:lnTo>
                    <a:lnTo>
                      <a:pt x="607" y="35"/>
                    </a:lnTo>
                    <a:lnTo>
                      <a:pt x="608" y="38"/>
                    </a:lnTo>
                    <a:lnTo>
                      <a:pt x="609" y="41"/>
                    </a:lnTo>
                    <a:lnTo>
                      <a:pt x="608" y="47"/>
                    </a:lnTo>
                    <a:lnTo>
                      <a:pt x="608" y="47"/>
                    </a:lnTo>
                    <a:lnTo>
                      <a:pt x="608" y="47"/>
                    </a:lnTo>
                    <a:lnTo>
                      <a:pt x="608" y="48"/>
                    </a:lnTo>
                    <a:lnTo>
                      <a:pt x="609" y="47"/>
                    </a:lnTo>
                    <a:lnTo>
                      <a:pt x="609" y="47"/>
                    </a:lnTo>
                    <a:lnTo>
                      <a:pt x="609" y="47"/>
                    </a:lnTo>
                    <a:lnTo>
                      <a:pt x="611" y="47"/>
                    </a:lnTo>
                    <a:lnTo>
                      <a:pt x="611" y="47"/>
                    </a:lnTo>
                    <a:lnTo>
                      <a:pt x="615" y="47"/>
                    </a:lnTo>
                    <a:lnTo>
                      <a:pt x="616" y="48"/>
                    </a:lnTo>
                    <a:lnTo>
                      <a:pt x="618" y="51"/>
                    </a:lnTo>
                    <a:lnTo>
                      <a:pt x="618" y="51"/>
                    </a:lnTo>
                    <a:lnTo>
                      <a:pt x="617" y="50"/>
                    </a:lnTo>
                    <a:lnTo>
                      <a:pt x="615" y="50"/>
                    </a:lnTo>
                    <a:lnTo>
                      <a:pt x="617" y="52"/>
                    </a:lnTo>
                    <a:lnTo>
                      <a:pt x="617" y="52"/>
                    </a:lnTo>
                    <a:lnTo>
                      <a:pt x="617" y="52"/>
                    </a:lnTo>
                    <a:lnTo>
                      <a:pt x="621" y="54"/>
                    </a:lnTo>
                    <a:lnTo>
                      <a:pt x="621" y="54"/>
                    </a:lnTo>
                    <a:lnTo>
                      <a:pt x="621" y="54"/>
                    </a:lnTo>
                    <a:lnTo>
                      <a:pt x="621" y="54"/>
                    </a:lnTo>
                    <a:lnTo>
                      <a:pt x="621" y="54"/>
                    </a:lnTo>
                    <a:lnTo>
                      <a:pt x="620" y="54"/>
                    </a:lnTo>
                    <a:lnTo>
                      <a:pt x="620" y="54"/>
                    </a:lnTo>
                    <a:lnTo>
                      <a:pt x="622" y="54"/>
                    </a:lnTo>
                    <a:lnTo>
                      <a:pt x="622" y="54"/>
                    </a:lnTo>
                    <a:lnTo>
                      <a:pt x="625" y="52"/>
                    </a:lnTo>
                    <a:lnTo>
                      <a:pt x="625" y="52"/>
                    </a:lnTo>
                    <a:lnTo>
                      <a:pt x="629" y="54"/>
                    </a:lnTo>
                    <a:lnTo>
                      <a:pt x="632" y="55"/>
                    </a:lnTo>
                    <a:lnTo>
                      <a:pt x="636" y="58"/>
                    </a:lnTo>
                    <a:lnTo>
                      <a:pt x="636" y="58"/>
                    </a:lnTo>
                    <a:lnTo>
                      <a:pt x="638" y="60"/>
                    </a:lnTo>
                    <a:lnTo>
                      <a:pt x="642" y="60"/>
                    </a:lnTo>
                    <a:lnTo>
                      <a:pt x="642" y="60"/>
                    </a:lnTo>
                    <a:lnTo>
                      <a:pt x="645" y="62"/>
                    </a:lnTo>
                    <a:lnTo>
                      <a:pt x="645" y="62"/>
                    </a:lnTo>
                    <a:lnTo>
                      <a:pt x="649" y="59"/>
                    </a:lnTo>
                    <a:lnTo>
                      <a:pt x="649" y="59"/>
                    </a:lnTo>
                    <a:lnTo>
                      <a:pt x="652" y="56"/>
                    </a:lnTo>
                    <a:lnTo>
                      <a:pt x="654" y="55"/>
                    </a:lnTo>
                    <a:lnTo>
                      <a:pt x="657" y="55"/>
                    </a:lnTo>
                    <a:lnTo>
                      <a:pt x="657" y="55"/>
                    </a:lnTo>
                    <a:lnTo>
                      <a:pt x="661" y="56"/>
                    </a:lnTo>
                    <a:lnTo>
                      <a:pt x="663" y="58"/>
                    </a:lnTo>
                    <a:lnTo>
                      <a:pt x="666" y="59"/>
                    </a:lnTo>
                    <a:lnTo>
                      <a:pt x="666" y="59"/>
                    </a:lnTo>
                    <a:lnTo>
                      <a:pt x="669" y="60"/>
                    </a:lnTo>
                    <a:lnTo>
                      <a:pt x="670" y="62"/>
                    </a:lnTo>
                    <a:lnTo>
                      <a:pt x="671" y="64"/>
                    </a:lnTo>
                    <a:lnTo>
                      <a:pt x="673" y="67"/>
                    </a:lnTo>
                    <a:lnTo>
                      <a:pt x="673" y="67"/>
                    </a:lnTo>
                    <a:lnTo>
                      <a:pt x="675" y="68"/>
                    </a:lnTo>
                    <a:lnTo>
                      <a:pt x="675" y="68"/>
                    </a:lnTo>
                    <a:lnTo>
                      <a:pt x="675" y="68"/>
                    </a:lnTo>
                    <a:lnTo>
                      <a:pt x="674" y="68"/>
                    </a:lnTo>
                    <a:lnTo>
                      <a:pt x="677" y="70"/>
                    </a:lnTo>
                    <a:lnTo>
                      <a:pt x="677" y="70"/>
                    </a:lnTo>
                    <a:lnTo>
                      <a:pt x="679" y="67"/>
                    </a:lnTo>
                    <a:lnTo>
                      <a:pt x="679" y="67"/>
                    </a:lnTo>
                    <a:lnTo>
                      <a:pt x="679" y="63"/>
                    </a:lnTo>
                    <a:lnTo>
                      <a:pt x="681" y="62"/>
                    </a:lnTo>
                    <a:lnTo>
                      <a:pt x="681" y="62"/>
                    </a:lnTo>
                    <a:lnTo>
                      <a:pt x="683" y="59"/>
                    </a:lnTo>
                    <a:lnTo>
                      <a:pt x="687" y="58"/>
                    </a:lnTo>
                    <a:lnTo>
                      <a:pt x="687" y="58"/>
                    </a:lnTo>
                    <a:lnTo>
                      <a:pt x="687" y="58"/>
                    </a:lnTo>
                    <a:lnTo>
                      <a:pt x="690" y="58"/>
                    </a:lnTo>
                    <a:lnTo>
                      <a:pt x="690" y="58"/>
                    </a:lnTo>
                    <a:lnTo>
                      <a:pt x="694" y="52"/>
                    </a:lnTo>
                    <a:lnTo>
                      <a:pt x="694" y="52"/>
                    </a:lnTo>
                    <a:lnTo>
                      <a:pt x="693" y="52"/>
                    </a:lnTo>
                    <a:lnTo>
                      <a:pt x="693" y="52"/>
                    </a:lnTo>
                    <a:lnTo>
                      <a:pt x="695" y="50"/>
                    </a:lnTo>
                    <a:lnTo>
                      <a:pt x="699" y="48"/>
                    </a:lnTo>
                    <a:lnTo>
                      <a:pt x="700" y="48"/>
                    </a:lnTo>
                    <a:lnTo>
                      <a:pt x="700" y="48"/>
                    </a:lnTo>
                    <a:lnTo>
                      <a:pt x="700" y="48"/>
                    </a:lnTo>
                    <a:lnTo>
                      <a:pt x="704" y="47"/>
                    </a:lnTo>
                    <a:lnTo>
                      <a:pt x="704" y="47"/>
                    </a:lnTo>
                    <a:lnTo>
                      <a:pt x="704" y="46"/>
                    </a:lnTo>
                    <a:lnTo>
                      <a:pt x="710" y="44"/>
                    </a:lnTo>
                    <a:lnTo>
                      <a:pt x="710" y="44"/>
                    </a:lnTo>
                    <a:lnTo>
                      <a:pt x="710" y="44"/>
                    </a:lnTo>
                    <a:lnTo>
                      <a:pt x="711" y="44"/>
                    </a:lnTo>
                    <a:lnTo>
                      <a:pt x="711" y="44"/>
                    </a:lnTo>
                    <a:lnTo>
                      <a:pt x="715" y="44"/>
                    </a:lnTo>
                    <a:lnTo>
                      <a:pt x="716" y="46"/>
                    </a:lnTo>
                    <a:lnTo>
                      <a:pt x="719" y="48"/>
                    </a:lnTo>
                    <a:lnTo>
                      <a:pt x="719" y="48"/>
                    </a:lnTo>
                    <a:lnTo>
                      <a:pt x="719" y="48"/>
                    </a:lnTo>
                    <a:lnTo>
                      <a:pt x="719" y="48"/>
                    </a:lnTo>
                    <a:lnTo>
                      <a:pt x="718" y="48"/>
                    </a:lnTo>
                    <a:lnTo>
                      <a:pt x="722" y="52"/>
                    </a:lnTo>
                    <a:lnTo>
                      <a:pt x="722" y="51"/>
                    </a:lnTo>
                    <a:lnTo>
                      <a:pt x="722" y="51"/>
                    </a:lnTo>
                    <a:lnTo>
                      <a:pt x="723" y="55"/>
                    </a:lnTo>
                    <a:lnTo>
                      <a:pt x="724" y="55"/>
                    </a:lnTo>
                    <a:lnTo>
                      <a:pt x="724" y="55"/>
                    </a:lnTo>
                    <a:lnTo>
                      <a:pt x="728" y="58"/>
                    </a:lnTo>
                    <a:lnTo>
                      <a:pt x="731" y="60"/>
                    </a:lnTo>
                    <a:lnTo>
                      <a:pt x="731" y="60"/>
                    </a:lnTo>
                    <a:lnTo>
                      <a:pt x="734" y="63"/>
                    </a:lnTo>
                    <a:lnTo>
                      <a:pt x="735" y="63"/>
                    </a:lnTo>
                    <a:lnTo>
                      <a:pt x="735" y="63"/>
                    </a:lnTo>
                    <a:lnTo>
                      <a:pt x="739" y="68"/>
                    </a:lnTo>
                    <a:lnTo>
                      <a:pt x="739" y="68"/>
                    </a:lnTo>
                    <a:lnTo>
                      <a:pt x="740" y="68"/>
                    </a:lnTo>
                    <a:lnTo>
                      <a:pt x="740" y="68"/>
                    </a:lnTo>
                    <a:lnTo>
                      <a:pt x="740" y="70"/>
                    </a:lnTo>
                    <a:lnTo>
                      <a:pt x="740" y="70"/>
                    </a:lnTo>
                    <a:lnTo>
                      <a:pt x="744" y="71"/>
                    </a:lnTo>
                    <a:lnTo>
                      <a:pt x="747" y="72"/>
                    </a:lnTo>
                    <a:lnTo>
                      <a:pt x="747" y="72"/>
                    </a:lnTo>
                    <a:lnTo>
                      <a:pt x="747" y="72"/>
                    </a:lnTo>
                    <a:lnTo>
                      <a:pt x="753" y="78"/>
                    </a:lnTo>
                    <a:lnTo>
                      <a:pt x="753" y="79"/>
                    </a:lnTo>
                    <a:lnTo>
                      <a:pt x="751" y="84"/>
                    </a:lnTo>
                    <a:lnTo>
                      <a:pt x="751" y="84"/>
                    </a:lnTo>
                    <a:lnTo>
                      <a:pt x="751" y="84"/>
                    </a:lnTo>
                    <a:lnTo>
                      <a:pt x="751" y="84"/>
                    </a:lnTo>
                    <a:lnTo>
                      <a:pt x="749" y="85"/>
                    </a:lnTo>
                    <a:lnTo>
                      <a:pt x="747" y="88"/>
                    </a:lnTo>
                    <a:lnTo>
                      <a:pt x="747" y="88"/>
                    </a:lnTo>
                    <a:lnTo>
                      <a:pt x="743" y="91"/>
                    </a:lnTo>
                    <a:lnTo>
                      <a:pt x="739" y="93"/>
                    </a:lnTo>
                    <a:lnTo>
                      <a:pt x="739" y="93"/>
                    </a:lnTo>
                    <a:lnTo>
                      <a:pt x="735" y="97"/>
                    </a:lnTo>
                    <a:lnTo>
                      <a:pt x="734" y="100"/>
                    </a:lnTo>
                    <a:lnTo>
                      <a:pt x="734" y="100"/>
                    </a:lnTo>
                    <a:lnTo>
                      <a:pt x="732" y="104"/>
                    </a:lnTo>
                    <a:lnTo>
                      <a:pt x="732" y="104"/>
                    </a:lnTo>
                    <a:lnTo>
                      <a:pt x="724" y="111"/>
                    </a:lnTo>
                    <a:lnTo>
                      <a:pt x="724" y="111"/>
                    </a:lnTo>
                    <a:lnTo>
                      <a:pt x="720" y="113"/>
                    </a:lnTo>
                    <a:lnTo>
                      <a:pt x="718" y="117"/>
                    </a:lnTo>
                    <a:lnTo>
                      <a:pt x="716" y="121"/>
                    </a:lnTo>
                    <a:lnTo>
                      <a:pt x="716" y="121"/>
                    </a:lnTo>
                    <a:lnTo>
                      <a:pt x="710" y="126"/>
                    </a:lnTo>
                    <a:lnTo>
                      <a:pt x="710" y="126"/>
                    </a:lnTo>
                    <a:lnTo>
                      <a:pt x="706" y="130"/>
                    </a:lnTo>
                    <a:lnTo>
                      <a:pt x="703" y="134"/>
                    </a:lnTo>
                    <a:lnTo>
                      <a:pt x="703" y="134"/>
                    </a:lnTo>
                    <a:lnTo>
                      <a:pt x="700" y="138"/>
                    </a:lnTo>
                    <a:lnTo>
                      <a:pt x="700" y="138"/>
                    </a:lnTo>
                    <a:lnTo>
                      <a:pt x="696" y="141"/>
                    </a:lnTo>
                    <a:lnTo>
                      <a:pt x="696" y="141"/>
                    </a:lnTo>
                    <a:lnTo>
                      <a:pt x="693" y="145"/>
                    </a:lnTo>
                    <a:lnTo>
                      <a:pt x="689" y="146"/>
                    </a:lnTo>
                    <a:lnTo>
                      <a:pt x="689" y="146"/>
                    </a:lnTo>
                    <a:lnTo>
                      <a:pt x="686" y="148"/>
                    </a:lnTo>
                    <a:lnTo>
                      <a:pt x="685" y="152"/>
                    </a:lnTo>
                    <a:lnTo>
                      <a:pt x="682" y="154"/>
                    </a:lnTo>
                    <a:lnTo>
                      <a:pt x="682" y="154"/>
                    </a:lnTo>
                    <a:lnTo>
                      <a:pt x="681" y="156"/>
                    </a:lnTo>
                    <a:lnTo>
                      <a:pt x="677" y="157"/>
                    </a:lnTo>
                    <a:lnTo>
                      <a:pt x="677" y="157"/>
                    </a:lnTo>
                    <a:lnTo>
                      <a:pt x="673" y="161"/>
                    </a:lnTo>
                    <a:lnTo>
                      <a:pt x="669" y="166"/>
                    </a:lnTo>
                    <a:lnTo>
                      <a:pt x="669" y="166"/>
                    </a:lnTo>
                    <a:lnTo>
                      <a:pt x="659" y="175"/>
                    </a:lnTo>
                    <a:lnTo>
                      <a:pt x="659" y="175"/>
                    </a:lnTo>
                    <a:lnTo>
                      <a:pt x="659" y="175"/>
                    </a:lnTo>
                    <a:lnTo>
                      <a:pt x="661" y="173"/>
                    </a:lnTo>
                    <a:lnTo>
                      <a:pt x="658" y="175"/>
                    </a:lnTo>
                    <a:lnTo>
                      <a:pt x="656" y="177"/>
                    </a:lnTo>
                    <a:lnTo>
                      <a:pt x="656" y="177"/>
                    </a:lnTo>
                    <a:lnTo>
                      <a:pt x="656" y="177"/>
                    </a:lnTo>
                    <a:lnTo>
                      <a:pt x="658" y="175"/>
                    </a:lnTo>
                    <a:lnTo>
                      <a:pt x="657" y="178"/>
                    </a:lnTo>
                    <a:lnTo>
                      <a:pt x="657" y="178"/>
                    </a:lnTo>
                    <a:lnTo>
                      <a:pt x="652" y="182"/>
                    </a:lnTo>
                    <a:lnTo>
                      <a:pt x="646" y="187"/>
                    </a:lnTo>
                    <a:lnTo>
                      <a:pt x="646" y="187"/>
                    </a:lnTo>
                    <a:lnTo>
                      <a:pt x="641" y="193"/>
                    </a:lnTo>
                    <a:lnTo>
                      <a:pt x="634" y="198"/>
                    </a:lnTo>
                    <a:lnTo>
                      <a:pt x="634" y="198"/>
                    </a:lnTo>
                    <a:lnTo>
                      <a:pt x="634" y="198"/>
                    </a:lnTo>
                    <a:lnTo>
                      <a:pt x="633" y="200"/>
                    </a:lnTo>
                    <a:lnTo>
                      <a:pt x="629" y="203"/>
                    </a:lnTo>
                    <a:lnTo>
                      <a:pt x="629" y="203"/>
                    </a:lnTo>
                    <a:lnTo>
                      <a:pt x="628" y="206"/>
                    </a:lnTo>
                    <a:lnTo>
                      <a:pt x="625" y="210"/>
                    </a:lnTo>
                    <a:lnTo>
                      <a:pt x="625" y="210"/>
                    </a:lnTo>
                    <a:lnTo>
                      <a:pt x="626" y="208"/>
                    </a:lnTo>
                    <a:lnTo>
                      <a:pt x="626" y="206"/>
                    </a:lnTo>
                    <a:lnTo>
                      <a:pt x="621" y="212"/>
                    </a:lnTo>
                    <a:lnTo>
                      <a:pt x="621" y="212"/>
                    </a:lnTo>
                    <a:lnTo>
                      <a:pt x="622" y="211"/>
                    </a:lnTo>
                    <a:lnTo>
                      <a:pt x="622" y="210"/>
                    </a:lnTo>
                    <a:lnTo>
                      <a:pt x="622" y="210"/>
                    </a:lnTo>
                    <a:lnTo>
                      <a:pt x="622" y="211"/>
                    </a:lnTo>
                    <a:lnTo>
                      <a:pt x="622" y="211"/>
                    </a:lnTo>
                    <a:lnTo>
                      <a:pt x="621" y="215"/>
                    </a:lnTo>
                    <a:lnTo>
                      <a:pt x="620" y="218"/>
                    </a:lnTo>
                    <a:lnTo>
                      <a:pt x="617" y="219"/>
                    </a:lnTo>
                    <a:lnTo>
                      <a:pt x="615" y="219"/>
                    </a:lnTo>
                    <a:lnTo>
                      <a:pt x="615" y="219"/>
                    </a:lnTo>
                    <a:lnTo>
                      <a:pt x="615" y="220"/>
                    </a:lnTo>
                    <a:lnTo>
                      <a:pt x="615" y="220"/>
                    </a:lnTo>
                    <a:lnTo>
                      <a:pt x="613" y="223"/>
                    </a:lnTo>
                    <a:lnTo>
                      <a:pt x="608" y="227"/>
                    </a:lnTo>
                    <a:lnTo>
                      <a:pt x="608" y="227"/>
                    </a:lnTo>
                    <a:lnTo>
                      <a:pt x="607" y="227"/>
                    </a:lnTo>
                    <a:lnTo>
                      <a:pt x="607" y="227"/>
                    </a:lnTo>
                    <a:lnTo>
                      <a:pt x="604" y="227"/>
                    </a:lnTo>
                    <a:lnTo>
                      <a:pt x="599" y="230"/>
                    </a:lnTo>
                    <a:lnTo>
                      <a:pt x="597" y="230"/>
                    </a:lnTo>
                    <a:lnTo>
                      <a:pt x="597" y="230"/>
                    </a:lnTo>
                    <a:lnTo>
                      <a:pt x="593" y="231"/>
                    </a:lnTo>
                    <a:lnTo>
                      <a:pt x="592" y="232"/>
                    </a:lnTo>
                    <a:lnTo>
                      <a:pt x="592" y="232"/>
                    </a:lnTo>
                    <a:lnTo>
                      <a:pt x="589" y="236"/>
                    </a:lnTo>
                    <a:lnTo>
                      <a:pt x="589" y="236"/>
                    </a:lnTo>
                    <a:lnTo>
                      <a:pt x="588" y="239"/>
                    </a:lnTo>
                    <a:lnTo>
                      <a:pt x="588" y="240"/>
                    </a:lnTo>
                    <a:lnTo>
                      <a:pt x="584" y="241"/>
                    </a:lnTo>
                    <a:lnTo>
                      <a:pt x="584" y="243"/>
                    </a:lnTo>
                    <a:lnTo>
                      <a:pt x="584" y="243"/>
                    </a:lnTo>
                    <a:lnTo>
                      <a:pt x="580" y="245"/>
                    </a:lnTo>
                    <a:lnTo>
                      <a:pt x="580" y="245"/>
                    </a:lnTo>
                    <a:lnTo>
                      <a:pt x="576" y="251"/>
                    </a:lnTo>
                    <a:lnTo>
                      <a:pt x="571" y="253"/>
                    </a:lnTo>
                    <a:lnTo>
                      <a:pt x="568" y="255"/>
                    </a:lnTo>
                    <a:lnTo>
                      <a:pt x="568" y="255"/>
                    </a:lnTo>
                    <a:lnTo>
                      <a:pt x="566" y="256"/>
                    </a:lnTo>
                    <a:lnTo>
                      <a:pt x="566" y="256"/>
                    </a:lnTo>
                    <a:lnTo>
                      <a:pt x="562" y="259"/>
                    </a:lnTo>
                    <a:lnTo>
                      <a:pt x="558" y="260"/>
                    </a:lnTo>
                    <a:lnTo>
                      <a:pt x="559" y="260"/>
                    </a:lnTo>
                    <a:lnTo>
                      <a:pt x="558" y="261"/>
                    </a:lnTo>
                    <a:lnTo>
                      <a:pt x="558" y="261"/>
                    </a:lnTo>
                    <a:lnTo>
                      <a:pt x="550" y="267"/>
                    </a:lnTo>
                    <a:lnTo>
                      <a:pt x="550" y="267"/>
                    </a:lnTo>
                    <a:lnTo>
                      <a:pt x="546" y="269"/>
                    </a:lnTo>
                    <a:lnTo>
                      <a:pt x="546" y="269"/>
                    </a:lnTo>
                    <a:lnTo>
                      <a:pt x="544" y="269"/>
                    </a:lnTo>
                    <a:lnTo>
                      <a:pt x="544" y="269"/>
                    </a:lnTo>
                    <a:lnTo>
                      <a:pt x="546" y="269"/>
                    </a:lnTo>
                    <a:lnTo>
                      <a:pt x="539" y="272"/>
                    </a:lnTo>
                    <a:lnTo>
                      <a:pt x="539" y="272"/>
                    </a:lnTo>
                    <a:lnTo>
                      <a:pt x="539" y="272"/>
                    </a:lnTo>
                    <a:lnTo>
                      <a:pt x="539" y="272"/>
                    </a:lnTo>
                    <a:lnTo>
                      <a:pt x="537" y="273"/>
                    </a:lnTo>
                    <a:lnTo>
                      <a:pt x="534" y="273"/>
                    </a:lnTo>
                    <a:lnTo>
                      <a:pt x="534" y="273"/>
                    </a:lnTo>
                    <a:lnTo>
                      <a:pt x="531" y="273"/>
                    </a:lnTo>
                    <a:lnTo>
                      <a:pt x="531" y="273"/>
                    </a:lnTo>
                    <a:lnTo>
                      <a:pt x="527" y="275"/>
                    </a:lnTo>
                    <a:lnTo>
                      <a:pt x="525" y="277"/>
                    </a:lnTo>
                    <a:lnTo>
                      <a:pt x="522" y="278"/>
                    </a:lnTo>
                    <a:lnTo>
                      <a:pt x="522" y="278"/>
                    </a:lnTo>
                    <a:lnTo>
                      <a:pt x="522" y="278"/>
                    </a:lnTo>
                    <a:lnTo>
                      <a:pt x="521" y="280"/>
                    </a:lnTo>
                    <a:lnTo>
                      <a:pt x="518" y="282"/>
                    </a:lnTo>
                    <a:lnTo>
                      <a:pt x="518" y="282"/>
                    </a:lnTo>
                    <a:lnTo>
                      <a:pt x="518" y="286"/>
                    </a:lnTo>
                    <a:lnTo>
                      <a:pt x="518" y="290"/>
                    </a:lnTo>
                    <a:lnTo>
                      <a:pt x="515" y="296"/>
                    </a:lnTo>
                    <a:lnTo>
                      <a:pt x="513" y="297"/>
                    </a:lnTo>
                    <a:lnTo>
                      <a:pt x="513" y="297"/>
                    </a:lnTo>
                    <a:lnTo>
                      <a:pt x="513" y="298"/>
                    </a:lnTo>
                    <a:lnTo>
                      <a:pt x="513" y="298"/>
                    </a:lnTo>
                    <a:lnTo>
                      <a:pt x="511" y="301"/>
                    </a:lnTo>
                    <a:lnTo>
                      <a:pt x="503" y="304"/>
                    </a:lnTo>
                    <a:lnTo>
                      <a:pt x="503" y="304"/>
                    </a:lnTo>
                    <a:lnTo>
                      <a:pt x="496" y="298"/>
                    </a:lnTo>
                    <a:lnTo>
                      <a:pt x="488" y="293"/>
                    </a:lnTo>
                    <a:lnTo>
                      <a:pt x="476" y="280"/>
                    </a:lnTo>
                    <a:lnTo>
                      <a:pt x="474" y="277"/>
                    </a:lnTo>
                    <a:lnTo>
                      <a:pt x="474" y="277"/>
                    </a:lnTo>
                    <a:lnTo>
                      <a:pt x="474" y="277"/>
                    </a:lnTo>
                    <a:lnTo>
                      <a:pt x="474" y="277"/>
                    </a:lnTo>
                    <a:lnTo>
                      <a:pt x="474" y="277"/>
                    </a:lnTo>
                    <a:lnTo>
                      <a:pt x="474" y="277"/>
                    </a:lnTo>
                    <a:lnTo>
                      <a:pt x="473" y="275"/>
                    </a:lnTo>
                    <a:lnTo>
                      <a:pt x="472" y="272"/>
                    </a:lnTo>
                    <a:lnTo>
                      <a:pt x="472" y="272"/>
                    </a:lnTo>
                    <a:lnTo>
                      <a:pt x="472" y="269"/>
                    </a:lnTo>
                    <a:lnTo>
                      <a:pt x="470" y="265"/>
                    </a:lnTo>
                    <a:lnTo>
                      <a:pt x="473" y="261"/>
                    </a:lnTo>
                    <a:lnTo>
                      <a:pt x="473" y="261"/>
                    </a:lnTo>
                    <a:lnTo>
                      <a:pt x="472" y="261"/>
                    </a:lnTo>
                    <a:lnTo>
                      <a:pt x="472" y="261"/>
                    </a:lnTo>
                    <a:lnTo>
                      <a:pt x="468" y="263"/>
                    </a:lnTo>
                    <a:lnTo>
                      <a:pt x="468" y="263"/>
                    </a:lnTo>
                    <a:lnTo>
                      <a:pt x="468" y="264"/>
                    </a:lnTo>
                    <a:lnTo>
                      <a:pt x="468" y="264"/>
                    </a:lnTo>
                    <a:lnTo>
                      <a:pt x="465" y="268"/>
                    </a:lnTo>
                    <a:lnTo>
                      <a:pt x="461" y="271"/>
                    </a:lnTo>
                    <a:lnTo>
                      <a:pt x="456" y="273"/>
                    </a:lnTo>
                    <a:lnTo>
                      <a:pt x="449" y="271"/>
                    </a:lnTo>
                    <a:lnTo>
                      <a:pt x="449" y="271"/>
                    </a:lnTo>
                    <a:lnTo>
                      <a:pt x="448" y="269"/>
                    </a:lnTo>
                    <a:lnTo>
                      <a:pt x="448" y="269"/>
                    </a:lnTo>
                    <a:lnTo>
                      <a:pt x="445" y="267"/>
                    </a:lnTo>
                    <a:lnTo>
                      <a:pt x="443" y="264"/>
                    </a:lnTo>
                    <a:lnTo>
                      <a:pt x="441" y="263"/>
                    </a:lnTo>
                    <a:lnTo>
                      <a:pt x="441" y="263"/>
                    </a:lnTo>
                    <a:lnTo>
                      <a:pt x="440" y="261"/>
                    </a:lnTo>
                    <a:lnTo>
                      <a:pt x="440" y="261"/>
                    </a:lnTo>
                    <a:lnTo>
                      <a:pt x="437" y="264"/>
                    </a:lnTo>
                    <a:lnTo>
                      <a:pt x="437" y="264"/>
                    </a:lnTo>
                    <a:lnTo>
                      <a:pt x="433" y="267"/>
                    </a:lnTo>
                    <a:lnTo>
                      <a:pt x="427" y="269"/>
                    </a:lnTo>
                    <a:lnTo>
                      <a:pt x="427" y="269"/>
                    </a:lnTo>
                    <a:lnTo>
                      <a:pt x="424" y="269"/>
                    </a:lnTo>
                    <a:lnTo>
                      <a:pt x="424" y="269"/>
                    </a:lnTo>
                    <a:lnTo>
                      <a:pt x="424" y="271"/>
                    </a:lnTo>
                    <a:lnTo>
                      <a:pt x="419" y="276"/>
                    </a:lnTo>
                    <a:lnTo>
                      <a:pt x="420" y="277"/>
                    </a:lnTo>
                    <a:lnTo>
                      <a:pt x="418" y="278"/>
                    </a:lnTo>
                    <a:lnTo>
                      <a:pt x="418" y="278"/>
                    </a:lnTo>
                    <a:lnTo>
                      <a:pt x="419" y="278"/>
                    </a:lnTo>
                    <a:lnTo>
                      <a:pt x="419" y="278"/>
                    </a:lnTo>
                    <a:lnTo>
                      <a:pt x="415" y="281"/>
                    </a:lnTo>
                    <a:lnTo>
                      <a:pt x="412" y="281"/>
                    </a:lnTo>
                    <a:lnTo>
                      <a:pt x="412" y="281"/>
                    </a:lnTo>
                    <a:lnTo>
                      <a:pt x="410" y="281"/>
                    </a:lnTo>
                    <a:lnTo>
                      <a:pt x="408" y="280"/>
                    </a:lnTo>
                    <a:lnTo>
                      <a:pt x="404" y="277"/>
                    </a:lnTo>
                    <a:lnTo>
                      <a:pt x="404" y="277"/>
                    </a:lnTo>
                    <a:lnTo>
                      <a:pt x="404" y="277"/>
                    </a:lnTo>
                    <a:lnTo>
                      <a:pt x="403" y="278"/>
                    </a:lnTo>
                    <a:lnTo>
                      <a:pt x="399" y="278"/>
                    </a:lnTo>
                    <a:lnTo>
                      <a:pt x="396" y="275"/>
                    </a:lnTo>
                    <a:lnTo>
                      <a:pt x="396" y="276"/>
                    </a:lnTo>
                    <a:lnTo>
                      <a:pt x="396" y="276"/>
                    </a:lnTo>
                    <a:lnTo>
                      <a:pt x="396" y="276"/>
                    </a:lnTo>
                    <a:lnTo>
                      <a:pt x="396" y="276"/>
                    </a:lnTo>
                    <a:lnTo>
                      <a:pt x="396" y="276"/>
                    </a:lnTo>
                    <a:lnTo>
                      <a:pt x="396" y="276"/>
                    </a:lnTo>
                    <a:lnTo>
                      <a:pt x="395" y="276"/>
                    </a:lnTo>
                    <a:lnTo>
                      <a:pt x="395" y="276"/>
                    </a:lnTo>
                    <a:lnTo>
                      <a:pt x="394" y="276"/>
                    </a:lnTo>
                    <a:lnTo>
                      <a:pt x="394" y="276"/>
                    </a:lnTo>
                    <a:lnTo>
                      <a:pt x="391" y="276"/>
                    </a:lnTo>
                    <a:lnTo>
                      <a:pt x="388" y="275"/>
                    </a:lnTo>
                    <a:lnTo>
                      <a:pt x="386" y="272"/>
                    </a:lnTo>
                    <a:lnTo>
                      <a:pt x="386" y="272"/>
                    </a:lnTo>
                    <a:lnTo>
                      <a:pt x="384" y="272"/>
                    </a:lnTo>
                    <a:lnTo>
                      <a:pt x="384" y="272"/>
                    </a:lnTo>
                    <a:lnTo>
                      <a:pt x="381" y="272"/>
                    </a:lnTo>
                    <a:lnTo>
                      <a:pt x="378" y="271"/>
                    </a:lnTo>
                    <a:lnTo>
                      <a:pt x="378" y="271"/>
                    </a:lnTo>
                    <a:lnTo>
                      <a:pt x="377" y="267"/>
                    </a:lnTo>
                    <a:lnTo>
                      <a:pt x="375" y="261"/>
                    </a:lnTo>
                    <a:lnTo>
                      <a:pt x="375" y="261"/>
                    </a:lnTo>
                    <a:lnTo>
                      <a:pt x="375" y="259"/>
                    </a:lnTo>
                    <a:lnTo>
                      <a:pt x="377" y="256"/>
                    </a:lnTo>
                    <a:lnTo>
                      <a:pt x="378" y="253"/>
                    </a:lnTo>
                    <a:lnTo>
                      <a:pt x="381" y="251"/>
                    </a:lnTo>
                    <a:lnTo>
                      <a:pt x="379" y="249"/>
                    </a:lnTo>
                    <a:lnTo>
                      <a:pt x="379" y="249"/>
                    </a:lnTo>
                    <a:lnTo>
                      <a:pt x="379" y="248"/>
                    </a:lnTo>
                    <a:lnTo>
                      <a:pt x="379" y="248"/>
                    </a:lnTo>
                    <a:lnTo>
                      <a:pt x="381" y="247"/>
                    </a:lnTo>
                    <a:lnTo>
                      <a:pt x="381" y="244"/>
                    </a:lnTo>
                    <a:lnTo>
                      <a:pt x="377" y="247"/>
                    </a:lnTo>
                    <a:lnTo>
                      <a:pt x="375" y="244"/>
                    </a:lnTo>
                    <a:lnTo>
                      <a:pt x="375" y="244"/>
                    </a:lnTo>
                    <a:lnTo>
                      <a:pt x="375" y="247"/>
                    </a:lnTo>
                    <a:lnTo>
                      <a:pt x="375" y="248"/>
                    </a:lnTo>
                    <a:lnTo>
                      <a:pt x="375" y="248"/>
                    </a:lnTo>
                    <a:lnTo>
                      <a:pt x="375" y="248"/>
                    </a:lnTo>
                    <a:lnTo>
                      <a:pt x="374" y="251"/>
                    </a:lnTo>
                    <a:lnTo>
                      <a:pt x="374" y="252"/>
                    </a:lnTo>
                    <a:lnTo>
                      <a:pt x="374" y="252"/>
                    </a:lnTo>
                    <a:lnTo>
                      <a:pt x="375" y="251"/>
                    </a:lnTo>
                    <a:lnTo>
                      <a:pt x="378" y="251"/>
                    </a:lnTo>
                    <a:lnTo>
                      <a:pt x="377" y="251"/>
                    </a:lnTo>
                    <a:lnTo>
                      <a:pt x="377" y="251"/>
                    </a:lnTo>
                    <a:lnTo>
                      <a:pt x="378" y="251"/>
                    </a:lnTo>
                    <a:lnTo>
                      <a:pt x="378" y="251"/>
                    </a:lnTo>
                    <a:lnTo>
                      <a:pt x="378" y="251"/>
                    </a:lnTo>
                    <a:lnTo>
                      <a:pt x="378" y="251"/>
                    </a:lnTo>
                    <a:lnTo>
                      <a:pt x="378" y="249"/>
                    </a:lnTo>
                    <a:lnTo>
                      <a:pt x="378" y="249"/>
                    </a:lnTo>
                    <a:lnTo>
                      <a:pt x="378" y="249"/>
                    </a:lnTo>
                    <a:lnTo>
                      <a:pt x="378" y="251"/>
                    </a:lnTo>
                    <a:lnTo>
                      <a:pt x="378" y="251"/>
                    </a:lnTo>
                    <a:lnTo>
                      <a:pt x="370" y="260"/>
                    </a:lnTo>
                    <a:lnTo>
                      <a:pt x="363" y="268"/>
                    </a:lnTo>
                    <a:lnTo>
                      <a:pt x="363" y="268"/>
                    </a:lnTo>
                    <a:lnTo>
                      <a:pt x="362" y="271"/>
                    </a:lnTo>
                    <a:lnTo>
                      <a:pt x="362" y="271"/>
                    </a:lnTo>
                    <a:lnTo>
                      <a:pt x="359" y="272"/>
                    </a:lnTo>
                    <a:lnTo>
                      <a:pt x="355" y="273"/>
                    </a:lnTo>
                    <a:lnTo>
                      <a:pt x="354" y="273"/>
                    </a:lnTo>
                    <a:lnTo>
                      <a:pt x="350" y="272"/>
                    </a:lnTo>
                    <a:lnTo>
                      <a:pt x="350" y="272"/>
                    </a:lnTo>
                    <a:lnTo>
                      <a:pt x="349" y="272"/>
                    </a:lnTo>
                    <a:lnTo>
                      <a:pt x="349" y="272"/>
                    </a:lnTo>
                    <a:lnTo>
                      <a:pt x="347" y="273"/>
                    </a:lnTo>
                    <a:lnTo>
                      <a:pt x="347" y="273"/>
                    </a:lnTo>
                    <a:lnTo>
                      <a:pt x="347" y="272"/>
                    </a:lnTo>
                    <a:lnTo>
                      <a:pt x="342" y="278"/>
                    </a:lnTo>
                    <a:lnTo>
                      <a:pt x="341" y="278"/>
                    </a:lnTo>
                    <a:lnTo>
                      <a:pt x="341" y="278"/>
                    </a:lnTo>
                    <a:lnTo>
                      <a:pt x="338" y="278"/>
                    </a:lnTo>
                    <a:lnTo>
                      <a:pt x="337" y="277"/>
                    </a:lnTo>
                    <a:lnTo>
                      <a:pt x="334" y="275"/>
                    </a:lnTo>
                    <a:lnTo>
                      <a:pt x="333" y="271"/>
                    </a:lnTo>
                    <a:lnTo>
                      <a:pt x="333" y="271"/>
                    </a:lnTo>
                    <a:lnTo>
                      <a:pt x="334" y="272"/>
                    </a:lnTo>
                    <a:lnTo>
                      <a:pt x="337" y="273"/>
                    </a:lnTo>
                    <a:lnTo>
                      <a:pt x="332" y="268"/>
                    </a:lnTo>
                    <a:lnTo>
                      <a:pt x="332" y="252"/>
                    </a:lnTo>
                    <a:lnTo>
                      <a:pt x="334" y="247"/>
                    </a:lnTo>
                    <a:lnTo>
                      <a:pt x="334" y="247"/>
                    </a:lnTo>
                    <a:lnTo>
                      <a:pt x="337" y="245"/>
                    </a:lnTo>
                    <a:lnTo>
                      <a:pt x="340" y="245"/>
                    </a:lnTo>
                    <a:lnTo>
                      <a:pt x="340" y="245"/>
                    </a:lnTo>
                    <a:lnTo>
                      <a:pt x="342" y="245"/>
                    </a:lnTo>
                    <a:lnTo>
                      <a:pt x="342" y="245"/>
                    </a:lnTo>
                    <a:lnTo>
                      <a:pt x="341" y="241"/>
                    </a:lnTo>
                    <a:lnTo>
                      <a:pt x="342" y="238"/>
                    </a:lnTo>
                    <a:lnTo>
                      <a:pt x="342" y="238"/>
                    </a:lnTo>
                    <a:lnTo>
                      <a:pt x="342" y="232"/>
                    </a:lnTo>
                    <a:lnTo>
                      <a:pt x="342" y="236"/>
                    </a:lnTo>
                    <a:lnTo>
                      <a:pt x="340" y="235"/>
                    </a:lnTo>
                    <a:lnTo>
                      <a:pt x="340" y="236"/>
                    </a:lnTo>
                    <a:lnTo>
                      <a:pt x="340" y="236"/>
                    </a:lnTo>
                    <a:lnTo>
                      <a:pt x="342" y="238"/>
                    </a:lnTo>
                    <a:lnTo>
                      <a:pt x="342" y="238"/>
                    </a:lnTo>
                    <a:lnTo>
                      <a:pt x="341" y="238"/>
                    </a:lnTo>
                    <a:lnTo>
                      <a:pt x="341" y="238"/>
                    </a:lnTo>
                    <a:lnTo>
                      <a:pt x="340" y="238"/>
                    </a:lnTo>
                    <a:lnTo>
                      <a:pt x="329" y="238"/>
                    </a:lnTo>
                    <a:lnTo>
                      <a:pt x="329" y="238"/>
                    </a:lnTo>
                    <a:lnTo>
                      <a:pt x="326" y="238"/>
                    </a:lnTo>
                    <a:lnTo>
                      <a:pt x="326" y="238"/>
                    </a:lnTo>
                    <a:lnTo>
                      <a:pt x="325" y="238"/>
                    </a:lnTo>
                    <a:lnTo>
                      <a:pt x="325" y="238"/>
                    </a:lnTo>
                    <a:lnTo>
                      <a:pt x="326" y="238"/>
                    </a:lnTo>
                    <a:lnTo>
                      <a:pt x="325" y="238"/>
                    </a:lnTo>
                    <a:lnTo>
                      <a:pt x="325" y="238"/>
                    </a:lnTo>
                    <a:lnTo>
                      <a:pt x="325" y="236"/>
                    </a:lnTo>
                    <a:lnTo>
                      <a:pt x="322" y="239"/>
                    </a:lnTo>
                    <a:lnTo>
                      <a:pt x="321" y="240"/>
                    </a:lnTo>
                    <a:lnTo>
                      <a:pt x="321" y="240"/>
                    </a:lnTo>
                    <a:lnTo>
                      <a:pt x="321" y="240"/>
                    </a:lnTo>
                    <a:lnTo>
                      <a:pt x="321" y="240"/>
                    </a:lnTo>
                    <a:lnTo>
                      <a:pt x="320" y="241"/>
                    </a:lnTo>
                    <a:lnTo>
                      <a:pt x="318" y="241"/>
                    </a:lnTo>
                    <a:lnTo>
                      <a:pt x="318" y="241"/>
                    </a:lnTo>
                    <a:lnTo>
                      <a:pt x="317" y="243"/>
                    </a:lnTo>
                    <a:lnTo>
                      <a:pt x="317" y="243"/>
                    </a:lnTo>
                    <a:lnTo>
                      <a:pt x="313" y="245"/>
                    </a:lnTo>
                    <a:lnTo>
                      <a:pt x="313" y="245"/>
                    </a:lnTo>
                    <a:lnTo>
                      <a:pt x="313" y="248"/>
                    </a:lnTo>
                    <a:lnTo>
                      <a:pt x="313" y="248"/>
                    </a:lnTo>
                    <a:lnTo>
                      <a:pt x="314" y="252"/>
                    </a:lnTo>
                    <a:lnTo>
                      <a:pt x="313" y="260"/>
                    </a:lnTo>
                    <a:lnTo>
                      <a:pt x="313" y="260"/>
                    </a:lnTo>
                    <a:lnTo>
                      <a:pt x="309" y="261"/>
                    </a:lnTo>
                    <a:lnTo>
                      <a:pt x="309" y="263"/>
                    </a:lnTo>
                    <a:lnTo>
                      <a:pt x="309" y="265"/>
                    </a:lnTo>
                    <a:lnTo>
                      <a:pt x="301" y="271"/>
                    </a:lnTo>
                    <a:lnTo>
                      <a:pt x="301" y="271"/>
                    </a:lnTo>
                    <a:lnTo>
                      <a:pt x="301" y="271"/>
                    </a:lnTo>
                    <a:lnTo>
                      <a:pt x="301" y="271"/>
                    </a:lnTo>
                    <a:lnTo>
                      <a:pt x="302" y="271"/>
                    </a:lnTo>
                    <a:lnTo>
                      <a:pt x="302" y="271"/>
                    </a:lnTo>
                    <a:lnTo>
                      <a:pt x="300" y="272"/>
                    </a:lnTo>
                    <a:lnTo>
                      <a:pt x="300" y="272"/>
                    </a:lnTo>
                    <a:lnTo>
                      <a:pt x="299" y="273"/>
                    </a:lnTo>
                    <a:lnTo>
                      <a:pt x="299" y="273"/>
                    </a:lnTo>
                    <a:lnTo>
                      <a:pt x="296" y="277"/>
                    </a:lnTo>
                    <a:lnTo>
                      <a:pt x="296" y="277"/>
                    </a:lnTo>
                    <a:lnTo>
                      <a:pt x="297" y="277"/>
                    </a:lnTo>
                    <a:lnTo>
                      <a:pt x="297" y="277"/>
                    </a:lnTo>
                    <a:lnTo>
                      <a:pt x="300" y="278"/>
                    </a:lnTo>
                    <a:lnTo>
                      <a:pt x="301" y="280"/>
                    </a:lnTo>
                    <a:lnTo>
                      <a:pt x="301" y="280"/>
                    </a:lnTo>
                    <a:lnTo>
                      <a:pt x="301" y="280"/>
                    </a:lnTo>
                    <a:lnTo>
                      <a:pt x="305" y="280"/>
                    </a:lnTo>
                    <a:lnTo>
                      <a:pt x="306" y="281"/>
                    </a:lnTo>
                    <a:lnTo>
                      <a:pt x="309" y="284"/>
                    </a:lnTo>
                    <a:lnTo>
                      <a:pt x="309" y="286"/>
                    </a:lnTo>
                    <a:lnTo>
                      <a:pt x="309" y="294"/>
                    </a:lnTo>
                    <a:lnTo>
                      <a:pt x="309" y="294"/>
                    </a:lnTo>
                    <a:lnTo>
                      <a:pt x="310" y="297"/>
                    </a:lnTo>
                    <a:lnTo>
                      <a:pt x="310" y="297"/>
                    </a:lnTo>
                    <a:lnTo>
                      <a:pt x="312" y="300"/>
                    </a:lnTo>
                    <a:lnTo>
                      <a:pt x="312" y="300"/>
                    </a:lnTo>
                    <a:lnTo>
                      <a:pt x="313" y="300"/>
                    </a:lnTo>
                    <a:lnTo>
                      <a:pt x="314" y="300"/>
                    </a:lnTo>
                    <a:lnTo>
                      <a:pt x="318" y="302"/>
                    </a:lnTo>
                    <a:lnTo>
                      <a:pt x="318" y="302"/>
                    </a:lnTo>
                    <a:lnTo>
                      <a:pt x="322" y="301"/>
                    </a:lnTo>
                    <a:lnTo>
                      <a:pt x="325" y="301"/>
                    </a:lnTo>
                    <a:lnTo>
                      <a:pt x="329" y="302"/>
                    </a:lnTo>
                    <a:lnTo>
                      <a:pt x="329" y="302"/>
                    </a:lnTo>
                    <a:lnTo>
                      <a:pt x="329" y="302"/>
                    </a:lnTo>
                    <a:lnTo>
                      <a:pt x="329" y="302"/>
                    </a:lnTo>
                    <a:lnTo>
                      <a:pt x="329" y="302"/>
                    </a:lnTo>
                    <a:lnTo>
                      <a:pt x="329" y="302"/>
                    </a:lnTo>
                    <a:lnTo>
                      <a:pt x="333" y="301"/>
                    </a:lnTo>
                    <a:lnTo>
                      <a:pt x="333" y="301"/>
                    </a:lnTo>
                    <a:lnTo>
                      <a:pt x="333" y="302"/>
                    </a:lnTo>
                    <a:lnTo>
                      <a:pt x="334" y="301"/>
                    </a:lnTo>
                    <a:lnTo>
                      <a:pt x="334" y="301"/>
                    </a:lnTo>
                    <a:lnTo>
                      <a:pt x="333" y="304"/>
                    </a:lnTo>
                    <a:lnTo>
                      <a:pt x="338" y="300"/>
                    </a:lnTo>
                    <a:lnTo>
                      <a:pt x="338" y="300"/>
                    </a:lnTo>
                    <a:lnTo>
                      <a:pt x="338" y="300"/>
                    </a:lnTo>
                    <a:lnTo>
                      <a:pt x="340" y="298"/>
                    </a:lnTo>
                    <a:lnTo>
                      <a:pt x="340" y="298"/>
                    </a:lnTo>
                    <a:lnTo>
                      <a:pt x="343" y="300"/>
                    </a:lnTo>
                    <a:lnTo>
                      <a:pt x="343" y="300"/>
                    </a:lnTo>
                    <a:lnTo>
                      <a:pt x="341" y="300"/>
                    </a:lnTo>
                    <a:lnTo>
                      <a:pt x="347" y="308"/>
                    </a:lnTo>
                    <a:lnTo>
                      <a:pt x="347" y="308"/>
                    </a:lnTo>
                    <a:lnTo>
                      <a:pt x="345" y="310"/>
                    </a:lnTo>
                    <a:lnTo>
                      <a:pt x="343" y="313"/>
                    </a:lnTo>
                    <a:lnTo>
                      <a:pt x="343" y="313"/>
                    </a:lnTo>
                    <a:lnTo>
                      <a:pt x="342" y="313"/>
                    </a:lnTo>
                    <a:lnTo>
                      <a:pt x="343" y="313"/>
                    </a:lnTo>
                    <a:lnTo>
                      <a:pt x="343" y="313"/>
                    </a:lnTo>
                    <a:lnTo>
                      <a:pt x="343" y="314"/>
                    </a:lnTo>
                    <a:lnTo>
                      <a:pt x="343" y="314"/>
                    </a:lnTo>
                    <a:lnTo>
                      <a:pt x="343" y="314"/>
                    </a:lnTo>
                    <a:lnTo>
                      <a:pt x="349" y="318"/>
                    </a:lnTo>
                    <a:lnTo>
                      <a:pt x="351" y="322"/>
                    </a:lnTo>
                    <a:lnTo>
                      <a:pt x="351" y="322"/>
                    </a:lnTo>
                    <a:lnTo>
                      <a:pt x="353" y="323"/>
                    </a:lnTo>
                    <a:lnTo>
                      <a:pt x="353" y="323"/>
                    </a:lnTo>
                    <a:lnTo>
                      <a:pt x="353" y="323"/>
                    </a:lnTo>
                    <a:lnTo>
                      <a:pt x="353" y="323"/>
                    </a:lnTo>
                    <a:lnTo>
                      <a:pt x="355" y="321"/>
                    </a:lnTo>
                    <a:lnTo>
                      <a:pt x="361" y="321"/>
                    </a:lnTo>
                    <a:lnTo>
                      <a:pt x="361" y="321"/>
                    </a:lnTo>
                    <a:lnTo>
                      <a:pt x="363" y="321"/>
                    </a:lnTo>
                    <a:lnTo>
                      <a:pt x="365" y="321"/>
                    </a:lnTo>
                    <a:lnTo>
                      <a:pt x="365" y="321"/>
                    </a:lnTo>
                    <a:lnTo>
                      <a:pt x="365" y="321"/>
                    </a:lnTo>
                    <a:lnTo>
                      <a:pt x="365" y="321"/>
                    </a:lnTo>
                    <a:lnTo>
                      <a:pt x="365" y="322"/>
                    </a:lnTo>
                    <a:lnTo>
                      <a:pt x="370" y="327"/>
                    </a:lnTo>
                    <a:lnTo>
                      <a:pt x="370" y="327"/>
                    </a:lnTo>
                    <a:lnTo>
                      <a:pt x="369" y="333"/>
                    </a:lnTo>
                    <a:lnTo>
                      <a:pt x="366" y="335"/>
                    </a:lnTo>
                    <a:lnTo>
                      <a:pt x="366" y="335"/>
                    </a:lnTo>
                    <a:lnTo>
                      <a:pt x="366" y="337"/>
                    </a:lnTo>
                    <a:lnTo>
                      <a:pt x="363" y="339"/>
                    </a:lnTo>
                    <a:lnTo>
                      <a:pt x="363" y="339"/>
                    </a:lnTo>
                    <a:lnTo>
                      <a:pt x="359" y="342"/>
                    </a:lnTo>
                    <a:lnTo>
                      <a:pt x="359" y="342"/>
                    </a:lnTo>
                    <a:lnTo>
                      <a:pt x="358" y="345"/>
                    </a:lnTo>
                    <a:lnTo>
                      <a:pt x="358" y="345"/>
                    </a:lnTo>
                    <a:lnTo>
                      <a:pt x="358" y="347"/>
                    </a:lnTo>
                    <a:lnTo>
                      <a:pt x="359" y="347"/>
                    </a:lnTo>
                    <a:lnTo>
                      <a:pt x="359" y="347"/>
                    </a:lnTo>
                    <a:lnTo>
                      <a:pt x="361" y="350"/>
                    </a:lnTo>
                    <a:lnTo>
                      <a:pt x="361" y="354"/>
                    </a:lnTo>
                    <a:lnTo>
                      <a:pt x="361" y="354"/>
                    </a:lnTo>
                    <a:lnTo>
                      <a:pt x="361" y="358"/>
                    </a:lnTo>
                    <a:lnTo>
                      <a:pt x="359" y="360"/>
                    </a:lnTo>
                    <a:lnTo>
                      <a:pt x="359" y="360"/>
                    </a:lnTo>
                    <a:lnTo>
                      <a:pt x="357" y="363"/>
                    </a:lnTo>
                    <a:lnTo>
                      <a:pt x="353" y="363"/>
                    </a:lnTo>
                    <a:lnTo>
                      <a:pt x="353" y="363"/>
                    </a:lnTo>
                    <a:lnTo>
                      <a:pt x="353" y="363"/>
                    </a:lnTo>
                    <a:lnTo>
                      <a:pt x="350" y="363"/>
                    </a:lnTo>
                    <a:lnTo>
                      <a:pt x="350" y="363"/>
                    </a:lnTo>
                    <a:lnTo>
                      <a:pt x="347" y="363"/>
                    </a:lnTo>
                    <a:lnTo>
                      <a:pt x="347" y="363"/>
                    </a:lnTo>
                    <a:lnTo>
                      <a:pt x="343" y="366"/>
                    </a:lnTo>
                    <a:lnTo>
                      <a:pt x="343" y="366"/>
                    </a:lnTo>
                    <a:lnTo>
                      <a:pt x="343" y="366"/>
                    </a:lnTo>
                    <a:lnTo>
                      <a:pt x="343" y="372"/>
                    </a:lnTo>
                    <a:lnTo>
                      <a:pt x="343" y="372"/>
                    </a:lnTo>
                    <a:lnTo>
                      <a:pt x="345" y="375"/>
                    </a:lnTo>
                    <a:lnTo>
                      <a:pt x="346" y="376"/>
                    </a:lnTo>
                    <a:lnTo>
                      <a:pt x="346" y="376"/>
                    </a:lnTo>
                    <a:lnTo>
                      <a:pt x="345" y="375"/>
                    </a:lnTo>
                    <a:lnTo>
                      <a:pt x="345" y="375"/>
                    </a:lnTo>
                    <a:lnTo>
                      <a:pt x="346" y="375"/>
                    </a:lnTo>
                    <a:lnTo>
                      <a:pt x="346" y="375"/>
                    </a:lnTo>
                    <a:lnTo>
                      <a:pt x="349" y="375"/>
                    </a:lnTo>
                    <a:lnTo>
                      <a:pt x="349" y="375"/>
                    </a:lnTo>
                    <a:lnTo>
                      <a:pt x="349" y="376"/>
                    </a:lnTo>
                    <a:lnTo>
                      <a:pt x="349" y="376"/>
                    </a:lnTo>
                    <a:lnTo>
                      <a:pt x="349" y="376"/>
                    </a:lnTo>
                    <a:lnTo>
                      <a:pt x="349" y="376"/>
                    </a:lnTo>
                    <a:lnTo>
                      <a:pt x="354" y="384"/>
                    </a:lnTo>
                    <a:lnTo>
                      <a:pt x="354" y="384"/>
                    </a:lnTo>
                    <a:lnTo>
                      <a:pt x="351" y="388"/>
                    </a:lnTo>
                    <a:lnTo>
                      <a:pt x="351" y="388"/>
                    </a:lnTo>
                    <a:lnTo>
                      <a:pt x="351" y="388"/>
                    </a:lnTo>
                    <a:lnTo>
                      <a:pt x="351" y="388"/>
                    </a:lnTo>
                    <a:lnTo>
                      <a:pt x="354" y="391"/>
                    </a:lnTo>
                    <a:lnTo>
                      <a:pt x="354" y="391"/>
                    </a:lnTo>
                    <a:lnTo>
                      <a:pt x="358" y="395"/>
                    </a:lnTo>
                    <a:lnTo>
                      <a:pt x="362" y="400"/>
                    </a:lnTo>
                    <a:lnTo>
                      <a:pt x="362" y="403"/>
                    </a:lnTo>
                    <a:lnTo>
                      <a:pt x="362" y="404"/>
                    </a:lnTo>
                    <a:lnTo>
                      <a:pt x="362" y="408"/>
                    </a:lnTo>
                    <a:lnTo>
                      <a:pt x="362" y="408"/>
                    </a:lnTo>
                    <a:lnTo>
                      <a:pt x="357" y="413"/>
                    </a:lnTo>
                    <a:lnTo>
                      <a:pt x="350" y="419"/>
                    </a:lnTo>
                    <a:lnTo>
                      <a:pt x="337" y="428"/>
                    </a:lnTo>
                    <a:lnTo>
                      <a:pt x="337" y="428"/>
                    </a:lnTo>
                    <a:lnTo>
                      <a:pt x="325" y="435"/>
                    </a:lnTo>
                    <a:lnTo>
                      <a:pt x="320" y="438"/>
                    </a:lnTo>
                    <a:lnTo>
                      <a:pt x="316" y="442"/>
                    </a:lnTo>
                    <a:lnTo>
                      <a:pt x="314" y="444"/>
                    </a:lnTo>
                    <a:lnTo>
                      <a:pt x="314" y="444"/>
                    </a:lnTo>
                    <a:lnTo>
                      <a:pt x="312" y="445"/>
                    </a:lnTo>
                    <a:lnTo>
                      <a:pt x="309" y="446"/>
                    </a:lnTo>
                    <a:lnTo>
                      <a:pt x="309" y="446"/>
                    </a:lnTo>
                    <a:lnTo>
                      <a:pt x="306" y="448"/>
                    </a:lnTo>
                    <a:lnTo>
                      <a:pt x="306" y="448"/>
                    </a:lnTo>
                    <a:lnTo>
                      <a:pt x="302" y="452"/>
                    </a:lnTo>
                    <a:lnTo>
                      <a:pt x="300" y="453"/>
                    </a:lnTo>
                    <a:lnTo>
                      <a:pt x="297" y="454"/>
                    </a:lnTo>
                    <a:lnTo>
                      <a:pt x="296" y="454"/>
                    </a:lnTo>
                    <a:lnTo>
                      <a:pt x="295" y="454"/>
                    </a:lnTo>
                    <a:lnTo>
                      <a:pt x="295" y="454"/>
                    </a:lnTo>
                    <a:lnTo>
                      <a:pt x="293" y="454"/>
                    </a:lnTo>
                    <a:lnTo>
                      <a:pt x="293" y="454"/>
                    </a:lnTo>
                    <a:lnTo>
                      <a:pt x="295" y="454"/>
                    </a:lnTo>
                    <a:lnTo>
                      <a:pt x="292" y="456"/>
                    </a:lnTo>
                    <a:lnTo>
                      <a:pt x="292" y="456"/>
                    </a:lnTo>
                    <a:lnTo>
                      <a:pt x="292" y="456"/>
                    </a:lnTo>
                    <a:lnTo>
                      <a:pt x="289" y="457"/>
                    </a:lnTo>
                    <a:lnTo>
                      <a:pt x="289" y="457"/>
                    </a:lnTo>
                    <a:lnTo>
                      <a:pt x="288" y="458"/>
                    </a:lnTo>
                    <a:lnTo>
                      <a:pt x="283" y="461"/>
                    </a:lnTo>
                    <a:lnTo>
                      <a:pt x="281" y="461"/>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7" name="Freeform 54">
                <a:extLst>
                  <a:ext uri="{FF2B5EF4-FFF2-40B4-BE49-F238E27FC236}">
                    <a16:creationId xmlns:a16="http://schemas.microsoft.com/office/drawing/2014/main" xmlns="" id="{4DEE8356-D776-4C59-8285-1ACD86E32283}"/>
                  </a:ext>
                </a:extLst>
              </p:cNvPr>
              <p:cNvSpPr>
                <a:spLocks/>
              </p:cNvSpPr>
              <p:nvPr/>
            </p:nvSpPr>
            <p:spPr bwMode="auto">
              <a:xfrm>
                <a:off x="5550484" y="5589254"/>
                <a:ext cx="370849" cy="299465"/>
              </a:xfrm>
              <a:custGeom>
                <a:avLst/>
                <a:gdLst>
                  <a:gd name="T0" fmla="*/ 58 w 213"/>
                  <a:gd name="T1" fmla="*/ 159 h 172"/>
                  <a:gd name="T2" fmla="*/ 61 w 213"/>
                  <a:gd name="T3" fmla="*/ 151 h 172"/>
                  <a:gd name="T4" fmla="*/ 65 w 213"/>
                  <a:gd name="T5" fmla="*/ 151 h 172"/>
                  <a:gd name="T6" fmla="*/ 61 w 213"/>
                  <a:gd name="T7" fmla="*/ 150 h 172"/>
                  <a:gd name="T8" fmla="*/ 59 w 213"/>
                  <a:gd name="T9" fmla="*/ 150 h 172"/>
                  <a:gd name="T10" fmla="*/ 55 w 213"/>
                  <a:gd name="T11" fmla="*/ 147 h 172"/>
                  <a:gd name="T12" fmla="*/ 49 w 213"/>
                  <a:gd name="T13" fmla="*/ 138 h 172"/>
                  <a:gd name="T14" fmla="*/ 59 w 213"/>
                  <a:gd name="T15" fmla="*/ 127 h 172"/>
                  <a:gd name="T16" fmla="*/ 66 w 213"/>
                  <a:gd name="T17" fmla="*/ 123 h 172"/>
                  <a:gd name="T18" fmla="*/ 69 w 213"/>
                  <a:gd name="T19" fmla="*/ 103 h 172"/>
                  <a:gd name="T20" fmla="*/ 74 w 213"/>
                  <a:gd name="T21" fmla="*/ 97 h 172"/>
                  <a:gd name="T22" fmla="*/ 69 w 213"/>
                  <a:gd name="T23" fmla="*/ 93 h 172"/>
                  <a:gd name="T24" fmla="*/ 63 w 213"/>
                  <a:gd name="T25" fmla="*/ 93 h 172"/>
                  <a:gd name="T26" fmla="*/ 67 w 213"/>
                  <a:gd name="T27" fmla="*/ 91 h 172"/>
                  <a:gd name="T28" fmla="*/ 66 w 213"/>
                  <a:gd name="T29" fmla="*/ 90 h 172"/>
                  <a:gd name="T30" fmla="*/ 54 w 213"/>
                  <a:gd name="T31" fmla="*/ 89 h 172"/>
                  <a:gd name="T32" fmla="*/ 57 w 213"/>
                  <a:gd name="T33" fmla="*/ 74 h 172"/>
                  <a:gd name="T34" fmla="*/ 53 w 213"/>
                  <a:gd name="T35" fmla="*/ 73 h 172"/>
                  <a:gd name="T36" fmla="*/ 51 w 213"/>
                  <a:gd name="T37" fmla="*/ 72 h 172"/>
                  <a:gd name="T38" fmla="*/ 38 w 213"/>
                  <a:gd name="T39" fmla="*/ 73 h 172"/>
                  <a:gd name="T40" fmla="*/ 26 w 213"/>
                  <a:gd name="T41" fmla="*/ 74 h 172"/>
                  <a:gd name="T42" fmla="*/ 13 w 213"/>
                  <a:gd name="T43" fmla="*/ 58 h 172"/>
                  <a:gd name="T44" fmla="*/ 8 w 213"/>
                  <a:gd name="T45" fmla="*/ 52 h 172"/>
                  <a:gd name="T46" fmla="*/ 1 w 213"/>
                  <a:gd name="T47" fmla="*/ 41 h 172"/>
                  <a:gd name="T48" fmla="*/ 9 w 213"/>
                  <a:gd name="T49" fmla="*/ 33 h 172"/>
                  <a:gd name="T50" fmla="*/ 13 w 213"/>
                  <a:gd name="T51" fmla="*/ 31 h 172"/>
                  <a:gd name="T52" fmla="*/ 18 w 213"/>
                  <a:gd name="T53" fmla="*/ 23 h 172"/>
                  <a:gd name="T54" fmla="*/ 29 w 213"/>
                  <a:gd name="T55" fmla="*/ 3 h 172"/>
                  <a:gd name="T56" fmla="*/ 37 w 213"/>
                  <a:gd name="T57" fmla="*/ 3 h 172"/>
                  <a:gd name="T58" fmla="*/ 54 w 213"/>
                  <a:gd name="T59" fmla="*/ 8 h 172"/>
                  <a:gd name="T60" fmla="*/ 46 w 213"/>
                  <a:gd name="T61" fmla="*/ 16 h 172"/>
                  <a:gd name="T62" fmla="*/ 45 w 213"/>
                  <a:gd name="T63" fmla="*/ 29 h 172"/>
                  <a:gd name="T64" fmla="*/ 44 w 213"/>
                  <a:gd name="T65" fmla="*/ 36 h 172"/>
                  <a:gd name="T66" fmla="*/ 51 w 213"/>
                  <a:gd name="T67" fmla="*/ 45 h 172"/>
                  <a:gd name="T68" fmla="*/ 65 w 213"/>
                  <a:gd name="T69" fmla="*/ 37 h 172"/>
                  <a:gd name="T70" fmla="*/ 71 w 213"/>
                  <a:gd name="T71" fmla="*/ 29 h 172"/>
                  <a:gd name="T72" fmla="*/ 81 w 213"/>
                  <a:gd name="T73" fmla="*/ 23 h 172"/>
                  <a:gd name="T74" fmla="*/ 92 w 213"/>
                  <a:gd name="T75" fmla="*/ 36 h 172"/>
                  <a:gd name="T76" fmla="*/ 108 w 213"/>
                  <a:gd name="T77" fmla="*/ 43 h 172"/>
                  <a:gd name="T78" fmla="*/ 122 w 213"/>
                  <a:gd name="T79" fmla="*/ 45 h 172"/>
                  <a:gd name="T80" fmla="*/ 132 w 213"/>
                  <a:gd name="T81" fmla="*/ 36 h 172"/>
                  <a:gd name="T82" fmla="*/ 155 w 213"/>
                  <a:gd name="T83" fmla="*/ 35 h 172"/>
                  <a:gd name="T84" fmla="*/ 161 w 213"/>
                  <a:gd name="T85" fmla="*/ 39 h 172"/>
                  <a:gd name="T86" fmla="*/ 184 w 213"/>
                  <a:gd name="T87" fmla="*/ 36 h 172"/>
                  <a:gd name="T88" fmla="*/ 188 w 213"/>
                  <a:gd name="T89" fmla="*/ 44 h 172"/>
                  <a:gd name="T90" fmla="*/ 194 w 213"/>
                  <a:gd name="T91" fmla="*/ 54 h 172"/>
                  <a:gd name="T92" fmla="*/ 201 w 213"/>
                  <a:gd name="T93" fmla="*/ 60 h 172"/>
                  <a:gd name="T94" fmla="*/ 210 w 213"/>
                  <a:gd name="T95" fmla="*/ 68 h 172"/>
                  <a:gd name="T96" fmla="*/ 211 w 213"/>
                  <a:gd name="T97" fmla="*/ 76 h 172"/>
                  <a:gd name="T98" fmla="*/ 194 w 213"/>
                  <a:gd name="T99" fmla="*/ 89 h 172"/>
                  <a:gd name="T100" fmla="*/ 168 w 213"/>
                  <a:gd name="T101" fmla="*/ 111 h 172"/>
                  <a:gd name="T102" fmla="*/ 148 w 213"/>
                  <a:gd name="T103" fmla="*/ 123 h 172"/>
                  <a:gd name="T104" fmla="*/ 140 w 213"/>
                  <a:gd name="T105" fmla="*/ 126 h 172"/>
                  <a:gd name="T106" fmla="*/ 104 w 213"/>
                  <a:gd name="T107" fmla="*/ 154 h 172"/>
                  <a:gd name="T108" fmla="*/ 87 w 213"/>
                  <a:gd name="T109" fmla="*/ 165 h 172"/>
                  <a:gd name="T110" fmla="*/ 73 w 213"/>
                  <a:gd name="T11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 h="172">
                    <a:moveTo>
                      <a:pt x="73" y="172"/>
                    </a:moveTo>
                    <a:lnTo>
                      <a:pt x="70" y="171"/>
                    </a:lnTo>
                    <a:lnTo>
                      <a:pt x="70" y="171"/>
                    </a:lnTo>
                    <a:lnTo>
                      <a:pt x="65" y="168"/>
                    </a:lnTo>
                    <a:lnTo>
                      <a:pt x="61" y="163"/>
                    </a:lnTo>
                    <a:lnTo>
                      <a:pt x="59" y="160"/>
                    </a:lnTo>
                    <a:lnTo>
                      <a:pt x="59" y="160"/>
                    </a:lnTo>
                    <a:lnTo>
                      <a:pt x="58" y="159"/>
                    </a:lnTo>
                    <a:lnTo>
                      <a:pt x="57" y="155"/>
                    </a:lnTo>
                    <a:lnTo>
                      <a:pt x="57" y="155"/>
                    </a:lnTo>
                    <a:lnTo>
                      <a:pt x="58" y="152"/>
                    </a:lnTo>
                    <a:lnTo>
                      <a:pt x="59" y="150"/>
                    </a:lnTo>
                    <a:lnTo>
                      <a:pt x="59" y="150"/>
                    </a:lnTo>
                    <a:lnTo>
                      <a:pt x="61" y="151"/>
                    </a:lnTo>
                    <a:lnTo>
                      <a:pt x="61" y="151"/>
                    </a:lnTo>
                    <a:lnTo>
                      <a:pt x="61" y="151"/>
                    </a:lnTo>
                    <a:lnTo>
                      <a:pt x="61" y="150"/>
                    </a:lnTo>
                    <a:lnTo>
                      <a:pt x="63" y="152"/>
                    </a:lnTo>
                    <a:lnTo>
                      <a:pt x="63" y="152"/>
                    </a:lnTo>
                    <a:lnTo>
                      <a:pt x="65" y="152"/>
                    </a:lnTo>
                    <a:lnTo>
                      <a:pt x="65" y="151"/>
                    </a:lnTo>
                    <a:lnTo>
                      <a:pt x="65" y="151"/>
                    </a:lnTo>
                    <a:lnTo>
                      <a:pt x="65" y="152"/>
                    </a:lnTo>
                    <a:lnTo>
                      <a:pt x="65" y="151"/>
                    </a:lnTo>
                    <a:lnTo>
                      <a:pt x="61" y="150"/>
                    </a:lnTo>
                    <a:lnTo>
                      <a:pt x="65" y="148"/>
                    </a:lnTo>
                    <a:lnTo>
                      <a:pt x="65" y="146"/>
                    </a:lnTo>
                    <a:lnTo>
                      <a:pt x="65" y="146"/>
                    </a:lnTo>
                    <a:lnTo>
                      <a:pt x="62" y="147"/>
                    </a:lnTo>
                    <a:lnTo>
                      <a:pt x="59" y="150"/>
                    </a:lnTo>
                    <a:lnTo>
                      <a:pt x="59" y="150"/>
                    </a:lnTo>
                    <a:lnTo>
                      <a:pt x="61" y="150"/>
                    </a:lnTo>
                    <a:lnTo>
                      <a:pt x="61" y="150"/>
                    </a:lnTo>
                    <a:lnTo>
                      <a:pt x="59" y="150"/>
                    </a:lnTo>
                    <a:lnTo>
                      <a:pt x="59" y="150"/>
                    </a:lnTo>
                    <a:lnTo>
                      <a:pt x="59" y="150"/>
                    </a:lnTo>
                    <a:lnTo>
                      <a:pt x="59" y="150"/>
                    </a:lnTo>
                    <a:lnTo>
                      <a:pt x="59" y="150"/>
                    </a:lnTo>
                    <a:lnTo>
                      <a:pt x="59" y="150"/>
                    </a:lnTo>
                    <a:lnTo>
                      <a:pt x="59" y="150"/>
                    </a:lnTo>
                    <a:lnTo>
                      <a:pt x="54" y="143"/>
                    </a:lnTo>
                    <a:lnTo>
                      <a:pt x="54" y="143"/>
                    </a:lnTo>
                    <a:lnTo>
                      <a:pt x="54" y="146"/>
                    </a:lnTo>
                    <a:lnTo>
                      <a:pt x="53" y="143"/>
                    </a:lnTo>
                    <a:lnTo>
                      <a:pt x="53" y="143"/>
                    </a:lnTo>
                    <a:lnTo>
                      <a:pt x="54" y="146"/>
                    </a:lnTo>
                    <a:lnTo>
                      <a:pt x="55" y="147"/>
                    </a:lnTo>
                    <a:lnTo>
                      <a:pt x="55" y="147"/>
                    </a:lnTo>
                    <a:lnTo>
                      <a:pt x="55" y="147"/>
                    </a:lnTo>
                    <a:lnTo>
                      <a:pt x="55" y="147"/>
                    </a:lnTo>
                    <a:lnTo>
                      <a:pt x="53" y="147"/>
                    </a:lnTo>
                    <a:lnTo>
                      <a:pt x="50" y="146"/>
                    </a:lnTo>
                    <a:lnTo>
                      <a:pt x="49" y="143"/>
                    </a:lnTo>
                    <a:lnTo>
                      <a:pt x="50" y="136"/>
                    </a:lnTo>
                    <a:lnTo>
                      <a:pt x="50" y="136"/>
                    </a:lnTo>
                    <a:lnTo>
                      <a:pt x="49" y="138"/>
                    </a:lnTo>
                    <a:lnTo>
                      <a:pt x="49" y="138"/>
                    </a:lnTo>
                    <a:lnTo>
                      <a:pt x="49" y="134"/>
                    </a:lnTo>
                    <a:lnTo>
                      <a:pt x="54" y="127"/>
                    </a:lnTo>
                    <a:lnTo>
                      <a:pt x="54" y="127"/>
                    </a:lnTo>
                    <a:lnTo>
                      <a:pt x="57" y="127"/>
                    </a:lnTo>
                    <a:lnTo>
                      <a:pt x="57" y="127"/>
                    </a:lnTo>
                    <a:lnTo>
                      <a:pt x="59" y="127"/>
                    </a:lnTo>
                    <a:lnTo>
                      <a:pt x="59" y="127"/>
                    </a:lnTo>
                    <a:lnTo>
                      <a:pt x="62" y="127"/>
                    </a:lnTo>
                    <a:lnTo>
                      <a:pt x="62" y="127"/>
                    </a:lnTo>
                    <a:lnTo>
                      <a:pt x="59" y="128"/>
                    </a:lnTo>
                    <a:lnTo>
                      <a:pt x="58" y="131"/>
                    </a:lnTo>
                    <a:lnTo>
                      <a:pt x="65" y="126"/>
                    </a:lnTo>
                    <a:lnTo>
                      <a:pt x="66" y="126"/>
                    </a:lnTo>
                    <a:lnTo>
                      <a:pt x="66" y="126"/>
                    </a:lnTo>
                    <a:lnTo>
                      <a:pt x="66" y="123"/>
                    </a:lnTo>
                    <a:lnTo>
                      <a:pt x="62" y="118"/>
                    </a:lnTo>
                    <a:lnTo>
                      <a:pt x="62" y="113"/>
                    </a:lnTo>
                    <a:lnTo>
                      <a:pt x="62" y="113"/>
                    </a:lnTo>
                    <a:lnTo>
                      <a:pt x="62" y="111"/>
                    </a:lnTo>
                    <a:lnTo>
                      <a:pt x="63" y="109"/>
                    </a:lnTo>
                    <a:lnTo>
                      <a:pt x="65" y="106"/>
                    </a:lnTo>
                    <a:lnTo>
                      <a:pt x="69" y="103"/>
                    </a:lnTo>
                    <a:lnTo>
                      <a:pt x="69" y="103"/>
                    </a:lnTo>
                    <a:lnTo>
                      <a:pt x="69" y="103"/>
                    </a:lnTo>
                    <a:lnTo>
                      <a:pt x="67" y="105"/>
                    </a:lnTo>
                    <a:lnTo>
                      <a:pt x="67" y="106"/>
                    </a:lnTo>
                    <a:lnTo>
                      <a:pt x="71" y="102"/>
                    </a:lnTo>
                    <a:lnTo>
                      <a:pt x="71" y="101"/>
                    </a:lnTo>
                    <a:lnTo>
                      <a:pt x="71" y="101"/>
                    </a:lnTo>
                    <a:lnTo>
                      <a:pt x="74" y="97"/>
                    </a:lnTo>
                    <a:lnTo>
                      <a:pt x="74" y="97"/>
                    </a:lnTo>
                    <a:lnTo>
                      <a:pt x="77" y="94"/>
                    </a:lnTo>
                    <a:lnTo>
                      <a:pt x="77" y="94"/>
                    </a:lnTo>
                    <a:lnTo>
                      <a:pt x="75" y="94"/>
                    </a:lnTo>
                    <a:lnTo>
                      <a:pt x="75" y="94"/>
                    </a:lnTo>
                    <a:lnTo>
                      <a:pt x="73" y="94"/>
                    </a:lnTo>
                    <a:lnTo>
                      <a:pt x="73" y="94"/>
                    </a:lnTo>
                    <a:lnTo>
                      <a:pt x="70" y="94"/>
                    </a:lnTo>
                    <a:lnTo>
                      <a:pt x="69" y="93"/>
                    </a:lnTo>
                    <a:lnTo>
                      <a:pt x="69" y="93"/>
                    </a:lnTo>
                    <a:lnTo>
                      <a:pt x="69" y="93"/>
                    </a:lnTo>
                    <a:lnTo>
                      <a:pt x="66" y="93"/>
                    </a:lnTo>
                    <a:lnTo>
                      <a:pt x="65" y="93"/>
                    </a:lnTo>
                    <a:lnTo>
                      <a:pt x="63" y="93"/>
                    </a:lnTo>
                    <a:lnTo>
                      <a:pt x="63" y="93"/>
                    </a:lnTo>
                    <a:lnTo>
                      <a:pt x="63" y="93"/>
                    </a:lnTo>
                    <a:lnTo>
                      <a:pt x="63" y="93"/>
                    </a:lnTo>
                    <a:lnTo>
                      <a:pt x="66" y="93"/>
                    </a:lnTo>
                    <a:lnTo>
                      <a:pt x="66" y="91"/>
                    </a:lnTo>
                    <a:lnTo>
                      <a:pt x="66" y="91"/>
                    </a:lnTo>
                    <a:lnTo>
                      <a:pt x="67" y="91"/>
                    </a:lnTo>
                    <a:lnTo>
                      <a:pt x="67" y="91"/>
                    </a:lnTo>
                    <a:lnTo>
                      <a:pt x="67" y="91"/>
                    </a:lnTo>
                    <a:lnTo>
                      <a:pt x="67" y="91"/>
                    </a:lnTo>
                    <a:lnTo>
                      <a:pt x="67" y="91"/>
                    </a:lnTo>
                    <a:lnTo>
                      <a:pt x="69" y="93"/>
                    </a:lnTo>
                    <a:lnTo>
                      <a:pt x="67" y="91"/>
                    </a:lnTo>
                    <a:lnTo>
                      <a:pt x="67" y="91"/>
                    </a:lnTo>
                    <a:lnTo>
                      <a:pt x="67" y="90"/>
                    </a:lnTo>
                    <a:lnTo>
                      <a:pt x="67" y="90"/>
                    </a:lnTo>
                    <a:lnTo>
                      <a:pt x="67" y="91"/>
                    </a:lnTo>
                    <a:lnTo>
                      <a:pt x="66" y="90"/>
                    </a:lnTo>
                    <a:lnTo>
                      <a:pt x="66" y="90"/>
                    </a:lnTo>
                    <a:lnTo>
                      <a:pt x="66" y="90"/>
                    </a:lnTo>
                    <a:lnTo>
                      <a:pt x="66" y="90"/>
                    </a:lnTo>
                    <a:lnTo>
                      <a:pt x="66" y="90"/>
                    </a:lnTo>
                    <a:lnTo>
                      <a:pt x="66" y="90"/>
                    </a:lnTo>
                    <a:lnTo>
                      <a:pt x="57" y="91"/>
                    </a:lnTo>
                    <a:lnTo>
                      <a:pt x="57" y="91"/>
                    </a:lnTo>
                    <a:lnTo>
                      <a:pt x="54" y="89"/>
                    </a:lnTo>
                    <a:lnTo>
                      <a:pt x="54" y="89"/>
                    </a:lnTo>
                    <a:lnTo>
                      <a:pt x="51" y="86"/>
                    </a:lnTo>
                    <a:lnTo>
                      <a:pt x="49" y="82"/>
                    </a:lnTo>
                    <a:lnTo>
                      <a:pt x="55" y="74"/>
                    </a:lnTo>
                    <a:lnTo>
                      <a:pt x="55" y="74"/>
                    </a:lnTo>
                    <a:lnTo>
                      <a:pt x="57" y="74"/>
                    </a:lnTo>
                    <a:lnTo>
                      <a:pt x="57" y="74"/>
                    </a:lnTo>
                    <a:lnTo>
                      <a:pt x="57" y="74"/>
                    </a:lnTo>
                    <a:lnTo>
                      <a:pt x="57" y="74"/>
                    </a:lnTo>
                    <a:lnTo>
                      <a:pt x="57" y="74"/>
                    </a:lnTo>
                    <a:lnTo>
                      <a:pt x="57" y="74"/>
                    </a:lnTo>
                    <a:lnTo>
                      <a:pt x="57" y="74"/>
                    </a:lnTo>
                    <a:lnTo>
                      <a:pt x="54" y="73"/>
                    </a:lnTo>
                    <a:lnTo>
                      <a:pt x="54" y="73"/>
                    </a:lnTo>
                    <a:lnTo>
                      <a:pt x="54" y="73"/>
                    </a:lnTo>
                    <a:lnTo>
                      <a:pt x="54" y="73"/>
                    </a:lnTo>
                    <a:lnTo>
                      <a:pt x="53" y="73"/>
                    </a:lnTo>
                    <a:lnTo>
                      <a:pt x="53" y="72"/>
                    </a:lnTo>
                    <a:lnTo>
                      <a:pt x="49" y="68"/>
                    </a:lnTo>
                    <a:lnTo>
                      <a:pt x="49" y="68"/>
                    </a:lnTo>
                    <a:lnTo>
                      <a:pt x="50" y="70"/>
                    </a:lnTo>
                    <a:lnTo>
                      <a:pt x="51" y="72"/>
                    </a:lnTo>
                    <a:lnTo>
                      <a:pt x="51" y="72"/>
                    </a:lnTo>
                    <a:lnTo>
                      <a:pt x="51" y="72"/>
                    </a:lnTo>
                    <a:lnTo>
                      <a:pt x="51" y="72"/>
                    </a:lnTo>
                    <a:lnTo>
                      <a:pt x="50" y="72"/>
                    </a:lnTo>
                    <a:lnTo>
                      <a:pt x="50" y="72"/>
                    </a:lnTo>
                    <a:lnTo>
                      <a:pt x="46" y="72"/>
                    </a:lnTo>
                    <a:lnTo>
                      <a:pt x="46" y="72"/>
                    </a:lnTo>
                    <a:lnTo>
                      <a:pt x="45" y="72"/>
                    </a:lnTo>
                    <a:lnTo>
                      <a:pt x="41" y="72"/>
                    </a:lnTo>
                    <a:lnTo>
                      <a:pt x="41" y="72"/>
                    </a:lnTo>
                    <a:lnTo>
                      <a:pt x="38" y="73"/>
                    </a:lnTo>
                    <a:lnTo>
                      <a:pt x="36" y="74"/>
                    </a:lnTo>
                    <a:lnTo>
                      <a:pt x="36" y="74"/>
                    </a:lnTo>
                    <a:lnTo>
                      <a:pt x="33" y="74"/>
                    </a:lnTo>
                    <a:lnTo>
                      <a:pt x="30" y="74"/>
                    </a:lnTo>
                    <a:lnTo>
                      <a:pt x="30" y="74"/>
                    </a:lnTo>
                    <a:lnTo>
                      <a:pt x="29" y="74"/>
                    </a:lnTo>
                    <a:lnTo>
                      <a:pt x="29" y="74"/>
                    </a:lnTo>
                    <a:lnTo>
                      <a:pt x="26" y="74"/>
                    </a:lnTo>
                    <a:lnTo>
                      <a:pt x="25" y="73"/>
                    </a:lnTo>
                    <a:lnTo>
                      <a:pt x="24" y="73"/>
                    </a:lnTo>
                    <a:lnTo>
                      <a:pt x="20" y="73"/>
                    </a:lnTo>
                    <a:lnTo>
                      <a:pt x="14" y="68"/>
                    </a:lnTo>
                    <a:lnTo>
                      <a:pt x="14" y="65"/>
                    </a:lnTo>
                    <a:lnTo>
                      <a:pt x="14" y="65"/>
                    </a:lnTo>
                    <a:lnTo>
                      <a:pt x="13" y="61"/>
                    </a:lnTo>
                    <a:lnTo>
                      <a:pt x="13" y="58"/>
                    </a:lnTo>
                    <a:lnTo>
                      <a:pt x="13" y="57"/>
                    </a:lnTo>
                    <a:lnTo>
                      <a:pt x="16" y="54"/>
                    </a:lnTo>
                    <a:lnTo>
                      <a:pt x="16" y="54"/>
                    </a:lnTo>
                    <a:lnTo>
                      <a:pt x="13" y="53"/>
                    </a:lnTo>
                    <a:lnTo>
                      <a:pt x="13" y="53"/>
                    </a:lnTo>
                    <a:lnTo>
                      <a:pt x="8" y="52"/>
                    </a:lnTo>
                    <a:lnTo>
                      <a:pt x="8" y="52"/>
                    </a:lnTo>
                    <a:lnTo>
                      <a:pt x="8" y="52"/>
                    </a:lnTo>
                    <a:lnTo>
                      <a:pt x="8" y="52"/>
                    </a:lnTo>
                    <a:lnTo>
                      <a:pt x="5" y="50"/>
                    </a:lnTo>
                    <a:lnTo>
                      <a:pt x="3" y="50"/>
                    </a:lnTo>
                    <a:lnTo>
                      <a:pt x="1" y="48"/>
                    </a:lnTo>
                    <a:lnTo>
                      <a:pt x="1" y="48"/>
                    </a:lnTo>
                    <a:lnTo>
                      <a:pt x="0" y="45"/>
                    </a:lnTo>
                    <a:lnTo>
                      <a:pt x="1" y="41"/>
                    </a:lnTo>
                    <a:lnTo>
                      <a:pt x="1" y="41"/>
                    </a:lnTo>
                    <a:lnTo>
                      <a:pt x="1" y="41"/>
                    </a:lnTo>
                    <a:lnTo>
                      <a:pt x="1" y="41"/>
                    </a:lnTo>
                    <a:lnTo>
                      <a:pt x="1" y="43"/>
                    </a:lnTo>
                    <a:lnTo>
                      <a:pt x="1" y="40"/>
                    </a:lnTo>
                    <a:lnTo>
                      <a:pt x="1" y="40"/>
                    </a:lnTo>
                    <a:lnTo>
                      <a:pt x="5" y="36"/>
                    </a:lnTo>
                    <a:lnTo>
                      <a:pt x="9" y="33"/>
                    </a:lnTo>
                    <a:lnTo>
                      <a:pt x="9" y="33"/>
                    </a:lnTo>
                    <a:lnTo>
                      <a:pt x="10" y="33"/>
                    </a:lnTo>
                    <a:lnTo>
                      <a:pt x="12" y="32"/>
                    </a:lnTo>
                    <a:lnTo>
                      <a:pt x="12" y="32"/>
                    </a:lnTo>
                    <a:lnTo>
                      <a:pt x="12" y="32"/>
                    </a:lnTo>
                    <a:lnTo>
                      <a:pt x="13" y="31"/>
                    </a:lnTo>
                    <a:lnTo>
                      <a:pt x="13" y="31"/>
                    </a:lnTo>
                    <a:lnTo>
                      <a:pt x="13" y="31"/>
                    </a:lnTo>
                    <a:lnTo>
                      <a:pt x="13" y="31"/>
                    </a:lnTo>
                    <a:lnTo>
                      <a:pt x="13" y="28"/>
                    </a:lnTo>
                    <a:lnTo>
                      <a:pt x="18" y="24"/>
                    </a:lnTo>
                    <a:lnTo>
                      <a:pt x="18" y="24"/>
                    </a:lnTo>
                    <a:lnTo>
                      <a:pt x="20" y="25"/>
                    </a:lnTo>
                    <a:lnTo>
                      <a:pt x="18" y="23"/>
                    </a:lnTo>
                    <a:lnTo>
                      <a:pt x="18" y="23"/>
                    </a:lnTo>
                    <a:lnTo>
                      <a:pt x="18" y="23"/>
                    </a:lnTo>
                    <a:lnTo>
                      <a:pt x="18" y="23"/>
                    </a:lnTo>
                    <a:lnTo>
                      <a:pt x="17" y="20"/>
                    </a:lnTo>
                    <a:lnTo>
                      <a:pt x="17" y="13"/>
                    </a:lnTo>
                    <a:lnTo>
                      <a:pt x="18" y="9"/>
                    </a:lnTo>
                    <a:lnTo>
                      <a:pt x="18" y="9"/>
                    </a:lnTo>
                    <a:lnTo>
                      <a:pt x="22" y="7"/>
                    </a:lnTo>
                    <a:lnTo>
                      <a:pt x="26" y="4"/>
                    </a:lnTo>
                    <a:lnTo>
                      <a:pt x="26" y="4"/>
                    </a:lnTo>
                    <a:lnTo>
                      <a:pt x="29" y="3"/>
                    </a:lnTo>
                    <a:lnTo>
                      <a:pt x="30" y="3"/>
                    </a:lnTo>
                    <a:lnTo>
                      <a:pt x="30" y="3"/>
                    </a:lnTo>
                    <a:lnTo>
                      <a:pt x="32" y="2"/>
                    </a:lnTo>
                    <a:lnTo>
                      <a:pt x="36" y="2"/>
                    </a:lnTo>
                    <a:lnTo>
                      <a:pt x="36" y="2"/>
                    </a:lnTo>
                    <a:lnTo>
                      <a:pt x="38" y="2"/>
                    </a:lnTo>
                    <a:lnTo>
                      <a:pt x="38" y="2"/>
                    </a:lnTo>
                    <a:lnTo>
                      <a:pt x="37" y="3"/>
                    </a:lnTo>
                    <a:lnTo>
                      <a:pt x="36" y="4"/>
                    </a:lnTo>
                    <a:lnTo>
                      <a:pt x="41" y="0"/>
                    </a:lnTo>
                    <a:lnTo>
                      <a:pt x="45" y="0"/>
                    </a:lnTo>
                    <a:lnTo>
                      <a:pt x="46" y="2"/>
                    </a:lnTo>
                    <a:lnTo>
                      <a:pt x="46" y="2"/>
                    </a:lnTo>
                    <a:lnTo>
                      <a:pt x="51" y="3"/>
                    </a:lnTo>
                    <a:lnTo>
                      <a:pt x="54" y="7"/>
                    </a:lnTo>
                    <a:lnTo>
                      <a:pt x="54" y="8"/>
                    </a:lnTo>
                    <a:lnTo>
                      <a:pt x="54" y="9"/>
                    </a:lnTo>
                    <a:lnTo>
                      <a:pt x="48" y="16"/>
                    </a:lnTo>
                    <a:lnTo>
                      <a:pt x="46" y="16"/>
                    </a:lnTo>
                    <a:lnTo>
                      <a:pt x="46" y="16"/>
                    </a:lnTo>
                    <a:lnTo>
                      <a:pt x="46" y="16"/>
                    </a:lnTo>
                    <a:lnTo>
                      <a:pt x="46" y="16"/>
                    </a:lnTo>
                    <a:lnTo>
                      <a:pt x="46" y="16"/>
                    </a:lnTo>
                    <a:lnTo>
                      <a:pt x="46" y="16"/>
                    </a:lnTo>
                    <a:lnTo>
                      <a:pt x="46" y="17"/>
                    </a:lnTo>
                    <a:lnTo>
                      <a:pt x="46" y="17"/>
                    </a:lnTo>
                    <a:lnTo>
                      <a:pt x="42" y="20"/>
                    </a:lnTo>
                    <a:lnTo>
                      <a:pt x="42" y="20"/>
                    </a:lnTo>
                    <a:lnTo>
                      <a:pt x="42" y="20"/>
                    </a:lnTo>
                    <a:lnTo>
                      <a:pt x="44" y="23"/>
                    </a:lnTo>
                    <a:lnTo>
                      <a:pt x="45" y="28"/>
                    </a:lnTo>
                    <a:lnTo>
                      <a:pt x="45" y="29"/>
                    </a:lnTo>
                    <a:lnTo>
                      <a:pt x="38" y="35"/>
                    </a:lnTo>
                    <a:lnTo>
                      <a:pt x="38" y="35"/>
                    </a:lnTo>
                    <a:lnTo>
                      <a:pt x="38" y="35"/>
                    </a:lnTo>
                    <a:lnTo>
                      <a:pt x="41" y="35"/>
                    </a:lnTo>
                    <a:lnTo>
                      <a:pt x="44" y="32"/>
                    </a:lnTo>
                    <a:lnTo>
                      <a:pt x="42" y="33"/>
                    </a:lnTo>
                    <a:lnTo>
                      <a:pt x="42" y="33"/>
                    </a:lnTo>
                    <a:lnTo>
                      <a:pt x="44" y="36"/>
                    </a:lnTo>
                    <a:lnTo>
                      <a:pt x="46" y="39"/>
                    </a:lnTo>
                    <a:lnTo>
                      <a:pt x="48" y="41"/>
                    </a:lnTo>
                    <a:lnTo>
                      <a:pt x="48" y="41"/>
                    </a:lnTo>
                    <a:lnTo>
                      <a:pt x="49" y="44"/>
                    </a:lnTo>
                    <a:lnTo>
                      <a:pt x="49" y="44"/>
                    </a:lnTo>
                    <a:lnTo>
                      <a:pt x="50" y="45"/>
                    </a:lnTo>
                    <a:lnTo>
                      <a:pt x="51" y="45"/>
                    </a:lnTo>
                    <a:lnTo>
                      <a:pt x="51" y="45"/>
                    </a:lnTo>
                    <a:lnTo>
                      <a:pt x="51" y="44"/>
                    </a:lnTo>
                    <a:lnTo>
                      <a:pt x="51" y="43"/>
                    </a:lnTo>
                    <a:lnTo>
                      <a:pt x="51" y="43"/>
                    </a:lnTo>
                    <a:lnTo>
                      <a:pt x="53" y="40"/>
                    </a:lnTo>
                    <a:lnTo>
                      <a:pt x="55" y="37"/>
                    </a:lnTo>
                    <a:lnTo>
                      <a:pt x="59" y="36"/>
                    </a:lnTo>
                    <a:lnTo>
                      <a:pt x="65" y="37"/>
                    </a:lnTo>
                    <a:lnTo>
                      <a:pt x="65" y="37"/>
                    </a:lnTo>
                    <a:lnTo>
                      <a:pt x="66" y="39"/>
                    </a:lnTo>
                    <a:lnTo>
                      <a:pt x="66" y="36"/>
                    </a:lnTo>
                    <a:lnTo>
                      <a:pt x="73" y="32"/>
                    </a:lnTo>
                    <a:lnTo>
                      <a:pt x="73" y="31"/>
                    </a:lnTo>
                    <a:lnTo>
                      <a:pt x="73" y="31"/>
                    </a:lnTo>
                    <a:lnTo>
                      <a:pt x="70" y="31"/>
                    </a:lnTo>
                    <a:lnTo>
                      <a:pt x="71" y="29"/>
                    </a:lnTo>
                    <a:lnTo>
                      <a:pt x="71" y="29"/>
                    </a:lnTo>
                    <a:lnTo>
                      <a:pt x="71" y="29"/>
                    </a:lnTo>
                    <a:lnTo>
                      <a:pt x="71" y="29"/>
                    </a:lnTo>
                    <a:lnTo>
                      <a:pt x="73" y="28"/>
                    </a:lnTo>
                    <a:lnTo>
                      <a:pt x="73" y="28"/>
                    </a:lnTo>
                    <a:lnTo>
                      <a:pt x="75" y="25"/>
                    </a:lnTo>
                    <a:lnTo>
                      <a:pt x="78" y="24"/>
                    </a:lnTo>
                    <a:lnTo>
                      <a:pt x="81" y="23"/>
                    </a:lnTo>
                    <a:lnTo>
                      <a:pt x="81" y="23"/>
                    </a:lnTo>
                    <a:lnTo>
                      <a:pt x="85" y="24"/>
                    </a:lnTo>
                    <a:lnTo>
                      <a:pt x="87" y="25"/>
                    </a:lnTo>
                    <a:lnTo>
                      <a:pt x="90" y="31"/>
                    </a:lnTo>
                    <a:lnTo>
                      <a:pt x="90" y="32"/>
                    </a:lnTo>
                    <a:lnTo>
                      <a:pt x="90" y="32"/>
                    </a:lnTo>
                    <a:lnTo>
                      <a:pt x="90" y="35"/>
                    </a:lnTo>
                    <a:lnTo>
                      <a:pt x="91" y="36"/>
                    </a:lnTo>
                    <a:lnTo>
                      <a:pt x="92" y="36"/>
                    </a:lnTo>
                    <a:lnTo>
                      <a:pt x="95" y="36"/>
                    </a:lnTo>
                    <a:lnTo>
                      <a:pt x="95" y="36"/>
                    </a:lnTo>
                    <a:lnTo>
                      <a:pt x="100" y="39"/>
                    </a:lnTo>
                    <a:lnTo>
                      <a:pt x="100" y="39"/>
                    </a:lnTo>
                    <a:lnTo>
                      <a:pt x="103" y="41"/>
                    </a:lnTo>
                    <a:lnTo>
                      <a:pt x="107" y="43"/>
                    </a:lnTo>
                    <a:lnTo>
                      <a:pt x="108" y="43"/>
                    </a:lnTo>
                    <a:lnTo>
                      <a:pt x="108" y="43"/>
                    </a:lnTo>
                    <a:lnTo>
                      <a:pt x="111" y="43"/>
                    </a:lnTo>
                    <a:lnTo>
                      <a:pt x="114" y="44"/>
                    </a:lnTo>
                    <a:lnTo>
                      <a:pt x="116" y="46"/>
                    </a:lnTo>
                    <a:lnTo>
                      <a:pt x="116" y="46"/>
                    </a:lnTo>
                    <a:lnTo>
                      <a:pt x="119" y="46"/>
                    </a:lnTo>
                    <a:lnTo>
                      <a:pt x="119" y="46"/>
                    </a:lnTo>
                    <a:lnTo>
                      <a:pt x="122" y="45"/>
                    </a:lnTo>
                    <a:lnTo>
                      <a:pt x="122" y="45"/>
                    </a:lnTo>
                    <a:lnTo>
                      <a:pt x="123" y="44"/>
                    </a:lnTo>
                    <a:lnTo>
                      <a:pt x="123" y="44"/>
                    </a:lnTo>
                    <a:lnTo>
                      <a:pt x="122" y="45"/>
                    </a:lnTo>
                    <a:lnTo>
                      <a:pt x="124" y="43"/>
                    </a:lnTo>
                    <a:lnTo>
                      <a:pt x="124" y="43"/>
                    </a:lnTo>
                    <a:lnTo>
                      <a:pt x="124" y="43"/>
                    </a:lnTo>
                    <a:lnTo>
                      <a:pt x="128" y="39"/>
                    </a:lnTo>
                    <a:lnTo>
                      <a:pt x="132" y="36"/>
                    </a:lnTo>
                    <a:lnTo>
                      <a:pt x="141" y="31"/>
                    </a:lnTo>
                    <a:lnTo>
                      <a:pt x="141" y="31"/>
                    </a:lnTo>
                    <a:lnTo>
                      <a:pt x="145" y="28"/>
                    </a:lnTo>
                    <a:lnTo>
                      <a:pt x="155" y="33"/>
                    </a:lnTo>
                    <a:lnTo>
                      <a:pt x="155" y="33"/>
                    </a:lnTo>
                    <a:lnTo>
                      <a:pt x="155" y="33"/>
                    </a:lnTo>
                    <a:lnTo>
                      <a:pt x="155" y="35"/>
                    </a:lnTo>
                    <a:lnTo>
                      <a:pt x="155" y="35"/>
                    </a:lnTo>
                    <a:lnTo>
                      <a:pt x="155" y="33"/>
                    </a:lnTo>
                    <a:lnTo>
                      <a:pt x="155" y="33"/>
                    </a:lnTo>
                    <a:lnTo>
                      <a:pt x="157" y="36"/>
                    </a:lnTo>
                    <a:lnTo>
                      <a:pt x="157" y="37"/>
                    </a:lnTo>
                    <a:lnTo>
                      <a:pt x="159" y="40"/>
                    </a:lnTo>
                    <a:lnTo>
                      <a:pt x="159" y="40"/>
                    </a:lnTo>
                    <a:lnTo>
                      <a:pt x="161" y="39"/>
                    </a:lnTo>
                    <a:lnTo>
                      <a:pt x="161" y="39"/>
                    </a:lnTo>
                    <a:lnTo>
                      <a:pt x="163" y="37"/>
                    </a:lnTo>
                    <a:lnTo>
                      <a:pt x="168" y="35"/>
                    </a:lnTo>
                    <a:lnTo>
                      <a:pt x="168" y="35"/>
                    </a:lnTo>
                    <a:lnTo>
                      <a:pt x="170" y="31"/>
                    </a:lnTo>
                    <a:lnTo>
                      <a:pt x="173" y="29"/>
                    </a:lnTo>
                    <a:lnTo>
                      <a:pt x="177" y="28"/>
                    </a:lnTo>
                    <a:lnTo>
                      <a:pt x="177" y="28"/>
                    </a:lnTo>
                    <a:lnTo>
                      <a:pt x="184" y="36"/>
                    </a:lnTo>
                    <a:lnTo>
                      <a:pt x="184" y="36"/>
                    </a:lnTo>
                    <a:lnTo>
                      <a:pt x="184" y="33"/>
                    </a:lnTo>
                    <a:lnTo>
                      <a:pt x="185" y="36"/>
                    </a:lnTo>
                    <a:lnTo>
                      <a:pt x="185" y="37"/>
                    </a:lnTo>
                    <a:lnTo>
                      <a:pt x="185" y="37"/>
                    </a:lnTo>
                    <a:lnTo>
                      <a:pt x="186" y="40"/>
                    </a:lnTo>
                    <a:lnTo>
                      <a:pt x="186" y="40"/>
                    </a:lnTo>
                    <a:lnTo>
                      <a:pt x="188" y="44"/>
                    </a:lnTo>
                    <a:lnTo>
                      <a:pt x="189" y="46"/>
                    </a:lnTo>
                    <a:lnTo>
                      <a:pt x="189" y="46"/>
                    </a:lnTo>
                    <a:lnTo>
                      <a:pt x="192" y="50"/>
                    </a:lnTo>
                    <a:lnTo>
                      <a:pt x="192" y="50"/>
                    </a:lnTo>
                    <a:lnTo>
                      <a:pt x="193" y="50"/>
                    </a:lnTo>
                    <a:lnTo>
                      <a:pt x="193" y="50"/>
                    </a:lnTo>
                    <a:lnTo>
                      <a:pt x="192" y="50"/>
                    </a:lnTo>
                    <a:lnTo>
                      <a:pt x="194" y="54"/>
                    </a:lnTo>
                    <a:lnTo>
                      <a:pt x="194" y="54"/>
                    </a:lnTo>
                    <a:lnTo>
                      <a:pt x="194" y="54"/>
                    </a:lnTo>
                    <a:lnTo>
                      <a:pt x="197" y="56"/>
                    </a:lnTo>
                    <a:lnTo>
                      <a:pt x="198" y="57"/>
                    </a:lnTo>
                    <a:lnTo>
                      <a:pt x="200" y="58"/>
                    </a:lnTo>
                    <a:lnTo>
                      <a:pt x="200" y="58"/>
                    </a:lnTo>
                    <a:lnTo>
                      <a:pt x="201" y="60"/>
                    </a:lnTo>
                    <a:lnTo>
                      <a:pt x="201" y="60"/>
                    </a:lnTo>
                    <a:lnTo>
                      <a:pt x="202" y="61"/>
                    </a:lnTo>
                    <a:lnTo>
                      <a:pt x="202" y="61"/>
                    </a:lnTo>
                    <a:lnTo>
                      <a:pt x="202" y="61"/>
                    </a:lnTo>
                    <a:lnTo>
                      <a:pt x="206" y="64"/>
                    </a:lnTo>
                    <a:lnTo>
                      <a:pt x="206" y="64"/>
                    </a:lnTo>
                    <a:lnTo>
                      <a:pt x="204" y="62"/>
                    </a:lnTo>
                    <a:lnTo>
                      <a:pt x="210" y="68"/>
                    </a:lnTo>
                    <a:lnTo>
                      <a:pt x="210" y="68"/>
                    </a:lnTo>
                    <a:lnTo>
                      <a:pt x="209" y="65"/>
                    </a:lnTo>
                    <a:lnTo>
                      <a:pt x="206" y="64"/>
                    </a:lnTo>
                    <a:lnTo>
                      <a:pt x="206" y="64"/>
                    </a:lnTo>
                    <a:lnTo>
                      <a:pt x="209" y="64"/>
                    </a:lnTo>
                    <a:lnTo>
                      <a:pt x="213" y="68"/>
                    </a:lnTo>
                    <a:lnTo>
                      <a:pt x="213" y="68"/>
                    </a:lnTo>
                    <a:lnTo>
                      <a:pt x="213" y="73"/>
                    </a:lnTo>
                    <a:lnTo>
                      <a:pt x="211" y="76"/>
                    </a:lnTo>
                    <a:lnTo>
                      <a:pt x="209" y="78"/>
                    </a:lnTo>
                    <a:lnTo>
                      <a:pt x="209" y="78"/>
                    </a:lnTo>
                    <a:lnTo>
                      <a:pt x="209" y="77"/>
                    </a:lnTo>
                    <a:lnTo>
                      <a:pt x="210" y="74"/>
                    </a:lnTo>
                    <a:lnTo>
                      <a:pt x="206" y="78"/>
                    </a:lnTo>
                    <a:lnTo>
                      <a:pt x="206" y="80"/>
                    </a:lnTo>
                    <a:lnTo>
                      <a:pt x="206" y="80"/>
                    </a:lnTo>
                    <a:lnTo>
                      <a:pt x="194" y="89"/>
                    </a:lnTo>
                    <a:lnTo>
                      <a:pt x="194" y="89"/>
                    </a:lnTo>
                    <a:lnTo>
                      <a:pt x="182" y="97"/>
                    </a:lnTo>
                    <a:lnTo>
                      <a:pt x="178" y="102"/>
                    </a:lnTo>
                    <a:lnTo>
                      <a:pt x="176" y="107"/>
                    </a:lnTo>
                    <a:lnTo>
                      <a:pt x="169" y="111"/>
                    </a:lnTo>
                    <a:lnTo>
                      <a:pt x="169" y="111"/>
                    </a:lnTo>
                    <a:lnTo>
                      <a:pt x="169" y="111"/>
                    </a:lnTo>
                    <a:lnTo>
                      <a:pt x="168" y="111"/>
                    </a:lnTo>
                    <a:lnTo>
                      <a:pt x="168" y="111"/>
                    </a:lnTo>
                    <a:lnTo>
                      <a:pt x="168" y="111"/>
                    </a:lnTo>
                    <a:lnTo>
                      <a:pt x="164" y="114"/>
                    </a:lnTo>
                    <a:lnTo>
                      <a:pt x="164" y="114"/>
                    </a:lnTo>
                    <a:lnTo>
                      <a:pt x="164" y="114"/>
                    </a:lnTo>
                    <a:lnTo>
                      <a:pt x="156" y="118"/>
                    </a:lnTo>
                    <a:lnTo>
                      <a:pt x="151" y="122"/>
                    </a:lnTo>
                    <a:lnTo>
                      <a:pt x="148" y="123"/>
                    </a:lnTo>
                    <a:lnTo>
                      <a:pt x="148" y="123"/>
                    </a:lnTo>
                    <a:lnTo>
                      <a:pt x="149" y="123"/>
                    </a:lnTo>
                    <a:lnTo>
                      <a:pt x="149" y="123"/>
                    </a:lnTo>
                    <a:lnTo>
                      <a:pt x="147" y="126"/>
                    </a:lnTo>
                    <a:lnTo>
                      <a:pt x="143" y="127"/>
                    </a:lnTo>
                    <a:lnTo>
                      <a:pt x="143" y="127"/>
                    </a:lnTo>
                    <a:lnTo>
                      <a:pt x="140" y="126"/>
                    </a:lnTo>
                    <a:lnTo>
                      <a:pt x="140" y="126"/>
                    </a:lnTo>
                    <a:lnTo>
                      <a:pt x="139" y="127"/>
                    </a:lnTo>
                    <a:lnTo>
                      <a:pt x="135" y="128"/>
                    </a:lnTo>
                    <a:lnTo>
                      <a:pt x="135" y="128"/>
                    </a:lnTo>
                    <a:lnTo>
                      <a:pt x="135" y="128"/>
                    </a:lnTo>
                    <a:lnTo>
                      <a:pt x="119" y="143"/>
                    </a:lnTo>
                    <a:lnTo>
                      <a:pt x="119" y="143"/>
                    </a:lnTo>
                    <a:lnTo>
                      <a:pt x="107" y="152"/>
                    </a:lnTo>
                    <a:lnTo>
                      <a:pt x="104" y="154"/>
                    </a:lnTo>
                    <a:lnTo>
                      <a:pt x="104" y="154"/>
                    </a:lnTo>
                    <a:lnTo>
                      <a:pt x="102" y="156"/>
                    </a:lnTo>
                    <a:lnTo>
                      <a:pt x="100" y="158"/>
                    </a:lnTo>
                    <a:lnTo>
                      <a:pt x="98" y="159"/>
                    </a:lnTo>
                    <a:lnTo>
                      <a:pt x="98" y="159"/>
                    </a:lnTo>
                    <a:lnTo>
                      <a:pt x="91" y="163"/>
                    </a:lnTo>
                    <a:lnTo>
                      <a:pt x="91" y="163"/>
                    </a:lnTo>
                    <a:lnTo>
                      <a:pt x="87" y="165"/>
                    </a:lnTo>
                    <a:lnTo>
                      <a:pt x="85" y="167"/>
                    </a:lnTo>
                    <a:lnTo>
                      <a:pt x="85" y="167"/>
                    </a:lnTo>
                    <a:lnTo>
                      <a:pt x="83" y="167"/>
                    </a:lnTo>
                    <a:lnTo>
                      <a:pt x="83" y="167"/>
                    </a:lnTo>
                    <a:lnTo>
                      <a:pt x="81" y="171"/>
                    </a:lnTo>
                    <a:lnTo>
                      <a:pt x="78" y="172"/>
                    </a:lnTo>
                    <a:lnTo>
                      <a:pt x="75" y="172"/>
                    </a:lnTo>
                    <a:lnTo>
                      <a:pt x="73" y="17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8" name="Freeform 56">
                <a:extLst>
                  <a:ext uri="{FF2B5EF4-FFF2-40B4-BE49-F238E27FC236}">
                    <a16:creationId xmlns:a16="http://schemas.microsoft.com/office/drawing/2014/main" xmlns="" id="{F40927F3-E7A4-42B6-B0E0-ECE7CBEB1D24}"/>
                  </a:ext>
                </a:extLst>
              </p:cNvPr>
              <p:cNvSpPr>
                <a:spLocks/>
              </p:cNvSpPr>
              <p:nvPr/>
            </p:nvSpPr>
            <p:spPr bwMode="auto">
              <a:xfrm>
                <a:off x="4751332" y="6000148"/>
                <a:ext cx="273348" cy="247232"/>
              </a:xfrm>
              <a:custGeom>
                <a:avLst/>
                <a:gdLst>
                  <a:gd name="T0" fmla="*/ 86 w 157"/>
                  <a:gd name="T1" fmla="*/ 141 h 142"/>
                  <a:gd name="T2" fmla="*/ 82 w 157"/>
                  <a:gd name="T3" fmla="*/ 141 h 142"/>
                  <a:gd name="T4" fmla="*/ 73 w 157"/>
                  <a:gd name="T5" fmla="*/ 138 h 142"/>
                  <a:gd name="T6" fmla="*/ 60 w 157"/>
                  <a:gd name="T7" fmla="*/ 134 h 142"/>
                  <a:gd name="T8" fmla="*/ 60 w 157"/>
                  <a:gd name="T9" fmla="*/ 137 h 142"/>
                  <a:gd name="T10" fmla="*/ 40 w 157"/>
                  <a:gd name="T11" fmla="*/ 134 h 142"/>
                  <a:gd name="T12" fmla="*/ 29 w 157"/>
                  <a:gd name="T13" fmla="*/ 128 h 142"/>
                  <a:gd name="T14" fmla="*/ 25 w 157"/>
                  <a:gd name="T15" fmla="*/ 125 h 142"/>
                  <a:gd name="T16" fmla="*/ 23 w 157"/>
                  <a:gd name="T17" fmla="*/ 124 h 142"/>
                  <a:gd name="T18" fmla="*/ 21 w 157"/>
                  <a:gd name="T19" fmla="*/ 124 h 142"/>
                  <a:gd name="T20" fmla="*/ 12 w 157"/>
                  <a:gd name="T21" fmla="*/ 120 h 142"/>
                  <a:gd name="T22" fmla="*/ 8 w 157"/>
                  <a:gd name="T23" fmla="*/ 119 h 142"/>
                  <a:gd name="T24" fmla="*/ 4 w 157"/>
                  <a:gd name="T25" fmla="*/ 108 h 142"/>
                  <a:gd name="T26" fmla="*/ 1 w 157"/>
                  <a:gd name="T27" fmla="*/ 95 h 142"/>
                  <a:gd name="T28" fmla="*/ 11 w 157"/>
                  <a:gd name="T29" fmla="*/ 92 h 142"/>
                  <a:gd name="T30" fmla="*/ 7 w 157"/>
                  <a:gd name="T31" fmla="*/ 82 h 142"/>
                  <a:gd name="T32" fmla="*/ 13 w 157"/>
                  <a:gd name="T33" fmla="*/ 71 h 142"/>
                  <a:gd name="T34" fmla="*/ 23 w 157"/>
                  <a:gd name="T35" fmla="*/ 59 h 142"/>
                  <a:gd name="T36" fmla="*/ 27 w 157"/>
                  <a:gd name="T37" fmla="*/ 47 h 142"/>
                  <a:gd name="T38" fmla="*/ 35 w 157"/>
                  <a:gd name="T39" fmla="*/ 43 h 142"/>
                  <a:gd name="T40" fmla="*/ 32 w 157"/>
                  <a:gd name="T41" fmla="*/ 38 h 142"/>
                  <a:gd name="T42" fmla="*/ 31 w 157"/>
                  <a:gd name="T43" fmla="*/ 29 h 142"/>
                  <a:gd name="T44" fmla="*/ 32 w 157"/>
                  <a:gd name="T45" fmla="*/ 22 h 142"/>
                  <a:gd name="T46" fmla="*/ 31 w 157"/>
                  <a:gd name="T47" fmla="*/ 15 h 142"/>
                  <a:gd name="T48" fmla="*/ 35 w 157"/>
                  <a:gd name="T49" fmla="*/ 5 h 142"/>
                  <a:gd name="T50" fmla="*/ 45 w 157"/>
                  <a:gd name="T51" fmla="*/ 1 h 142"/>
                  <a:gd name="T52" fmla="*/ 54 w 157"/>
                  <a:gd name="T53" fmla="*/ 2 h 142"/>
                  <a:gd name="T54" fmla="*/ 60 w 157"/>
                  <a:gd name="T55" fmla="*/ 0 h 142"/>
                  <a:gd name="T56" fmla="*/ 75 w 157"/>
                  <a:gd name="T57" fmla="*/ 7 h 142"/>
                  <a:gd name="T58" fmla="*/ 74 w 157"/>
                  <a:gd name="T59" fmla="*/ 13 h 142"/>
                  <a:gd name="T60" fmla="*/ 77 w 157"/>
                  <a:gd name="T61" fmla="*/ 17 h 142"/>
                  <a:gd name="T62" fmla="*/ 86 w 157"/>
                  <a:gd name="T63" fmla="*/ 23 h 142"/>
                  <a:gd name="T64" fmla="*/ 82 w 157"/>
                  <a:gd name="T65" fmla="*/ 19 h 142"/>
                  <a:gd name="T66" fmla="*/ 87 w 157"/>
                  <a:gd name="T67" fmla="*/ 11 h 142"/>
                  <a:gd name="T68" fmla="*/ 102 w 157"/>
                  <a:gd name="T69" fmla="*/ 14 h 142"/>
                  <a:gd name="T70" fmla="*/ 111 w 157"/>
                  <a:gd name="T71" fmla="*/ 19 h 142"/>
                  <a:gd name="T72" fmla="*/ 130 w 157"/>
                  <a:gd name="T73" fmla="*/ 25 h 142"/>
                  <a:gd name="T74" fmla="*/ 134 w 157"/>
                  <a:gd name="T75" fmla="*/ 34 h 142"/>
                  <a:gd name="T76" fmla="*/ 139 w 157"/>
                  <a:gd name="T77" fmla="*/ 38 h 142"/>
                  <a:gd name="T78" fmla="*/ 150 w 157"/>
                  <a:gd name="T79" fmla="*/ 33 h 142"/>
                  <a:gd name="T80" fmla="*/ 157 w 157"/>
                  <a:gd name="T81" fmla="*/ 43 h 142"/>
                  <a:gd name="T82" fmla="*/ 153 w 157"/>
                  <a:gd name="T83" fmla="*/ 52 h 142"/>
                  <a:gd name="T84" fmla="*/ 142 w 157"/>
                  <a:gd name="T85" fmla="*/ 56 h 142"/>
                  <a:gd name="T86" fmla="*/ 132 w 157"/>
                  <a:gd name="T87" fmla="*/ 63 h 142"/>
                  <a:gd name="T88" fmla="*/ 127 w 157"/>
                  <a:gd name="T89" fmla="*/ 67 h 142"/>
                  <a:gd name="T90" fmla="*/ 114 w 157"/>
                  <a:gd name="T91" fmla="*/ 75 h 142"/>
                  <a:gd name="T92" fmla="*/ 103 w 157"/>
                  <a:gd name="T93" fmla="*/ 93 h 142"/>
                  <a:gd name="T94" fmla="*/ 98 w 157"/>
                  <a:gd name="T95" fmla="*/ 107 h 142"/>
                  <a:gd name="T96" fmla="*/ 102 w 157"/>
                  <a:gd name="T97" fmla="*/ 112 h 142"/>
                  <a:gd name="T98" fmla="*/ 116 w 157"/>
                  <a:gd name="T99" fmla="*/ 126 h 142"/>
                  <a:gd name="T100" fmla="*/ 115 w 157"/>
                  <a:gd name="T101" fmla="*/ 133 h 142"/>
                  <a:gd name="T102" fmla="*/ 109 w 157"/>
                  <a:gd name="T103" fmla="*/ 136 h 142"/>
                  <a:gd name="T104" fmla="*/ 95 w 157"/>
                  <a:gd name="T105" fmla="*/ 141 h 142"/>
                  <a:gd name="T106" fmla="*/ 93 w 157"/>
                  <a:gd name="T107" fmla="*/ 141 h 142"/>
                  <a:gd name="T108" fmla="*/ 91 w 157"/>
                  <a:gd name="T10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142">
                    <a:moveTo>
                      <a:pt x="91" y="142"/>
                    </a:moveTo>
                    <a:lnTo>
                      <a:pt x="91" y="142"/>
                    </a:lnTo>
                    <a:lnTo>
                      <a:pt x="89" y="142"/>
                    </a:lnTo>
                    <a:lnTo>
                      <a:pt x="86" y="141"/>
                    </a:lnTo>
                    <a:lnTo>
                      <a:pt x="86" y="141"/>
                    </a:lnTo>
                    <a:lnTo>
                      <a:pt x="86" y="141"/>
                    </a:lnTo>
                    <a:lnTo>
                      <a:pt x="78" y="136"/>
                    </a:lnTo>
                    <a:lnTo>
                      <a:pt x="78" y="136"/>
                    </a:lnTo>
                    <a:lnTo>
                      <a:pt x="79" y="140"/>
                    </a:lnTo>
                    <a:lnTo>
                      <a:pt x="82" y="141"/>
                    </a:lnTo>
                    <a:lnTo>
                      <a:pt x="82" y="141"/>
                    </a:lnTo>
                    <a:lnTo>
                      <a:pt x="79" y="140"/>
                    </a:lnTo>
                    <a:lnTo>
                      <a:pt x="77" y="138"/>
                    </a:lnTo>
                    <a:lnTo>
                      <a:pt x="77" y="138"/>
                    </a:lnTo>
                    <a:lnTo>
                      <a:pt x="73" y="138"/>
                    </a:lnTo>
                    <a:lnTo>
                      <a:pt x="73" y="138"/>
                    </a:lnTo>
                    <a:lnTo>
                      <a:pt x="72" y="138"/>
                    </a:lnTo>
                    <a:lnTo>
                      <a:pt x="65" y="138"/>
                    </a:lnTo>
                    <a:lnTo>
                      <a:pt x="60" y="134"/>
                    </a:lnTo>
                    <a:lnTo>
                      <a:pt x="60" y="134"/>
                    </a:lnTo>
                    <a:lnTo>
                      <a:pt x="60" y="134"/>
                    </a:lnTo>
                    <a:lnTo>
                      <a:pt x="62" y="137"/>
                    </a:lnTo>
                    <a:lnTo>
                      <a:pt x="61" y="137"/>
                    </a:lnTo>
                    <a:lnTo>
                      <a:pt x="61" y="137"/>
                    </a:lnTo>
                    <a:lnTo>
                      <a:pt x="60" y="137"/>
                    </a:lnTo>
                    <a:lnTo>
                      <a:pt x="48" y="137"/>
                    </a:lnTo>
                    <a:lnTo>
                      <a:pt x="44" y="136"/>
                    </a:lnTo>
                    <a:lnTo>
                      <a:pt x="44" y="136"/>
                    </a:lnTo>
                    <a:lnTo>
                      <a:pt x="44" y="136"/>
                    </a:lnTo>
                    <a:lnTo>
                      <a:pt x="40" y="134"/>
                    </a:lnTo>
                    <a:lnTo>
                      <a:pt x="40" y="134"/>
                    </a:lnTo>
                    <a:lnTo>
                      <a:pt x="36" y="132"/>
                    </a:lnTo>
                    <a:lnTo>
                      <a:pt x="36" y="132"/>
                    </a:lnTo>
                    <a:lnTo>
                      <a:pt x="31" y="129"/>
                    </a:lnTo>
                    <a:lnTo>
                      <a:pt x="29" y="128"/>
                    </a:lnTo>
                    <a:lnTo>
                      <a:pt x="29" y="128"/>
                    </a:lnTo>
                    <a:lnTo>
                      <a:pt x="28" y="126"/>
                    </a:lnTo>
                    <a:lnTo>
                      <a:pt x="28" y="126"/>
                    </a:lnTo>
                    <a:lnTo>
                      <a:pt x="25" y="125"/>
                    </a:lnTo>
                    <a:lnTo>
                      <a:pt x="25" y="125"/>
                    </a:lnTo>
                    <a:lnTo>
                      <a:pt x="23" y="124"/>
                    </a:lnTo>
                    <a:lnTo>
                      <a:pt x="23" y="124"/>
                    </a:lnTo>
                    <a:lnTo>
                      <a:pt x="23" y="124"/>
                    </a:lnTo>
                    <a:lnTo>
                      <a:pt x="23" y="124"/>
                    </a:lnTo>
                    <a:lnTo>
                      <a:pt x="23" y="124"/>
                    </a:lnTo>
                    <a:lnTo>
                      <a:pt x="23" y="124"/>
                    </a:lnTo>
                    <a:lnTo>
                      <a:pt x="23" y="124"/>
                    </a:lnTo>
                    <a:lnTo>
                      <a:pt x="23" y="124"/>
                    </a:lnTo>
                    <a:lnTo>
                      <a:pt x="21" y="124"/>
                    </a:lnTo>
                    <a:lnTo>
                      <a:pt x="21" y="124"/>
                    </a:lnTo>
                    <a:lnTo>
                      <a:pt x="17" y="124"/>
                    </a:lnTo>
                    <a:lnTo>
                      <a:pt x="16" y="123"/>
                    </a:lnTo>
                    <a:lnTo>
                      <a:pt x="11" y="117"/>
                    </a:lnTo>
                    <a:lnTo>
                      <a:pt x="11" y="117"/>
                    </a:lnTo>
                    <a:lnTo>
                      <a:pt x="12" y="120"/>
                    </a:lnTo>
                    <a:lnTo>
                      <a:pt x="15" y="121"/>
                    </a:lnTo>
                    <a:lnTo>
                      <a:pt x="13" y="121"/>
                    </a:lnTo>
                    <a:lnTo>
                      <a:pt x="13" y="121"/>
                    </a:lnTo>
                    <a:lnTo>
                      <a:pt x="11" y="120"/>
                    </a:lnTo>
                    <a:lnTo>
                      <a:pt x="8" y="119"/>
                    </a:lnTo>
                    <a:lnTo>
                      <a:pt x="7" y="116"/>
                    </a:lnTo>
                    <a:lnTo>
                      <a:pt x="5" y="113"/>
                    </a:lnTo>
                    <a:lnTo>
                      <a:pt x="5" y="113"/>
                    </a:lnTo>
                    <a:lnTo>
                      <a:pt x="5" y="111"/>
                    </a:lnTo>
                    <a:lnTo>
                      <a:pt x="4" y="108"/>
                    </a:lnTo>
                    <a:lnTo>
                      <a:pt x="4" y="108"/>
                    </a:lnTo>
                    <a:lnTo>
                      <a:pt x="1" y="105"/>
                    </a:lnTo>
                    <a:lnTo>
                      <a:pt x="0" y="100"/>
                    </a:lnTo>
                    <a:lnTo>
                      <a:pt x="1" y="95"/>
                    </a:lnTo>
                    <a:lnTo>
                      <a:pt x="1" y="95"/>
                    </a:lnTo>
                    <a:lnTo>
                      <a:pt x="3" y="93"/>
                    </a:lnTo>
                    <a:lnTo>
                      <a:pt x="5" y="92"/>
                    </a:lnTo>
                    <a:lnTo>
                      <a:pt x="11" y="92"/>
                    </a:lnTo>
                    <a:lnTo>
                      <a:pt x="11" y="92"/>
                    </a:lnTo>
                    <a:lnTo>
                      <a:pt x="11" y="92"/>
                    </a:lnTo>
                    <a:lnTo>
                      <a:pt x="9" y="87"/>
                    </a:lnTo>
                    <a:lnTo>
                      <a:pt x="9" y="87"/>
                    </a:lnTo>
                    <a:lnTo>
                      <a:pt x="8" y="85"/>
                    </a:lnTo>
                    <a:lnTo>
                      <a:pt x="7" y="83"/>
                    </a:lnTo>
                    <a:lnTo>
                      <a:pt x="7" y="82"/>
                    </a:lnTo>
                    <a:lnTo>
                      <a:pt x="11" y="76"/>
                    </a:lnTo>
                    <a:lnTo>
                      <a:pt x="11" y="76"/>
                    </a:lnTo>
                    <a:lnTo>
                      <a:pt x="13" y="72"/>
                    </a:lnTo>
                    <a:lnTo>
                      <a:pt x="13" y="72"/>
                    </a:lnTo>
                    <a:lnTo>
                      <a:pt x="13" y="71"/>
                    </a:lnTo>
                    <a:lnTo>
                      <a:pt x="13" y="68"/>
                    </a:lnTo>
                    <a:lnTo>
                      <a:pt x="13" y="68"/>
                    </a:lnTo>
                    <a:lnTo>
                      <a:pt x="17" y="63"/>
                    </a:lnTo>
                    <a:lnTo>
                      <a:pt x="23" y="59"/>
                    </a:lnTo>
                    <a:lnTo>
                      <a:pt x="23" y="59"/>
                    </a:lnTo>
                    <a:lnTo>
                      <a:pt x="21" y="56"/>
                    </a:lnTo>
                    <a:lnTo>
                      <a:pt x="21" y="54"/>
                    </a:lnTo>
                    <a:lnTo>
                      <a:pt x="21" y="54"/>
                    </a:lnTo>
                    <a:lnTo>
                      <a:pt x="23" y="50"/>
                    </a:lnTo>
                    <a:lnTo>
                      <a:pt x="27" y="47"/>
                    </a:lnTo>
                    <a:lnTo>
                      <a:pt x="29" y="46"/>
                    </a:lnTo>
                    <a:lnTo>
                      <a:pt x="32" y="46"/>
                    </a:lnTo>
                    <a:lnTo>
                      <a:pt x="32" y="46"/>
                    </a:lnTo>
                    <a:lnTo>
                      <a:pt x="32" y="45"/>
                    </a:lnTo>
                    <a:lnTo>
                      <a:pt x="35" y="43"/>
                    </a:lnTo>
                    <a:lnTo>
                      <a:pt x="35" y="43"/>
                    </a:lnTo>
                    <a:lnTo>
                      <a:pt x="35" y="43"/>
                    </a:lnTo>
                    <a:lnTo>
                      <a:pt x="35" y="43"/>
                    </a:lnTo>
                    <a:lnTo>
                      <a:pt x="33" y="39"/>
                    </a:lnTo>
                    <a:lnTo>
                      <a:pt x="32" y="38"/>
                    </a:lnTo>
                    <a:lnTo>
                      <a:pt x="32" y="37"/>
                    </a:lnTo>
                    <a:lnTo>
                      <a:pt x="33" y="34"/>
                    </a:lnTo>
                    <a:lnTo>
                      <a:pt x="33" y="34"/>
                    </a:lnTo>
                    <a:lnTo>
                      <a:pt x="31" y="31"/>
                    </a:lnTo>
                    <a:lnTo>
                      <a:pt x="31" y="29"/>
                    </a:lnTo>
                    <a:lnTo>
                      <a:pt x="31" y="27"/>
                    </a:lnTo>
                    <a:lnTo>
                      <a:pt x="31" y="27"/>
                    </a:lnTo>
                    <a:lnTo>
                      <a:pt x="32" y="23"/>
                    </a:lnTo>
                    <a:lnTo>
                      <a:pt x="32" y="22"/>
                    </a:lnTo>
                    <a:lnTo>
                      <a:pt x="32" y="22"/>
                    </a:lnTo>
                    <a:lnTo>
                      <a:pt x="31" y="22"/>
                    </a:lnTo>
                    <a:lnTo>
                      <a:pt x="31" y="22"/>
                    </a:lnTo>
                    <a:lnTo>
                      <a:pt x="31" y="19"/>
                    </a:lnTo>
                    <a:lnTo>
                      <a:pt x="31" y="15"/>
                    </a:lnTo>
                    <a:lnTo>
                      <a:pt x="31" y="15"/>
                    </a:lnTo>
                    <a:lnTo>
                      <a:pt x="31" y="11"/>
                    </a:lnTo>
                    <a:lnTo>
                      <a:pt x="32" y="9"/>
                    </a:lnTo>
                    <a:lnTo>
                      <a:pt x="32" y="7"/>
                    </a:lnTo>
                    <a:lnTo>
                      <a:pt x="32" y="7"/>
                    </a:lnTo>
                    <a:lnTo>
                      <a:pt x="35" y="5"/>
                    </a:lnTo>
                    <a:lnTo>
                      <a:pt x="36" y="2"/>
                    </a:lnTo>
                    <a:lnTo>
                      <a:pt x="40" y="2"/>
                    </a:lnTo>
                    <a:lnTo>
                      <a:pt x="42" y="1"/>
                    </a:lnTo>
                    <a:lnTo>
                      <a:pt x="42" y="1"/>
                    </a:lnTo>
                    <a:lnTo>
                      <a:pt x="45" y="1"/>
                    </a:lnTo>
                    <a:lnTo>
                      <a:pt x="53" y="1"/>
                    </a:lnTo>
                    <a:lnTo>
                      <a:pt x="53" y="1"/>
                    </a:lnTo>
                    <a:lnTo>
                      <a:pt x="53" y="1"/>
                    </a:lnTo>
                    <a:lnTo>
                      <a:pt x="54" y="2"/>
                    </a:lnTo>
                    <a:lnTo>
                      <a:pt x="54" y="2"/>
                    </a:lnTo>
                    <a:lnTo>
                      <a:pt x="56" y="1"/>
                    </a:lnTo>
                    <a:lnTo>
                      <a:pt x="58" y="0"/>
                    </a:lnTo>
                    <a:lnTo>
                      <a:pt x="58" y="0"/>
                    </a:lnTo>
                    <a:lnTo>
                      <a:pt x="60" y="0"/>
                    </a:lnTo>
                    <a:lnTo>
                      <a:pt x="60" y="0"/>
                    </a:lnTo>
                    <a:lnTo>
                      <a:pt x="64" y="1"/>
                    </a:lnTo>
                    <a:lnTo>
                      <a:pt x="68" y="2"/>
                    </a:lnTo>
                    <a:lnTo>
                      <a:pt x="68" y="2"/>
                    </a:lnTo>
                    <a:lnTo>
                      <a:pt x="69" y="2"/>
                    </a:lnTo>
                    <a:lnTo>
                      <a:pt x="75" y="7"/>
                    </a:lnTo>
                    <a:lnTo>
                      <a:pt x="75" y="7"/>
                    </a:lnTo>
                    <a:lnTo>
                      <a:pt x="75" y="13"/>
                    </a:lnTo>
                    <a:lnTo>
                      <a:pt x="74" y="15"/>
                    </a:lnTo>
                    <a:lnTo>
                      <a:pt x="74" y="15"/>
                    </a:lnTo>
                    <a:lnTo>
                      <a:pt x="74" y="13"/>
                    </a:lnTo>
                    <a:lnTo>
                      <a:pt x="73" y="15"/>
                    </a:lnTo>
                    <a:lnTo>
                      <a:pt x="73" y="15"/>
                    </a:lnTo>
                    <a:lnTo>
                      <a:pt x="73" y="15"/>
                    </a:lnTo>
                    <a:lnTo>
                      <a:pt x="77" y="17"/>
                    </a:lnTo>
                    <a:lnTo>
                      <a:pt x="77" y="17"/>
                    </a:lnTo>
                    <a:lnTo>
                      <a:pt x="79" y="18"/>
                    </a:lnTo>
                    <a:lnTo>
                      <a:pt x="82" y="21"/>
                    </a:lnTo>
                    <a:lnTo>
                      <a:pt x="82" y="21"/>
                    </a:lnTo>
                    <a:lnTo>
                      <a:pt x="82" y="19"/>
                    </a:lnTo>
                    <a:lnTo>
                      <a:pt x="86" y="23"/>
                    </a:lnTo>
                    <a:lnTo>
                      <a:pt x="86" y="23"/>
                    </a:lnTo>
                    <a:lnTo>
                      <a:pt x="85" y="21"/>
                    </a:lnTo>
                    <a:lnTo>
                      <a:pt x="85" y="21"/>
                    </a:lnTo>
                    <a:lnTo>
                      <a:pt x="83" y="19"/>
                    </a:lnTo>
                    <a:lnTo>
                      <a:pt x="82" y="19"/>
                    </a:lnTo>
                    <a:lnTo>
                      <a:pt x="82" y="19"/>
                    </a:lnTo>
                    <a:lnTo>
                      <a:pt x="83" y="17"/>
                    </a:lnTo>
                    <a:lnTo>
                      <a:pt x="85" y="14"/>
                    </a:lnTo>
                    <a:lnTo>
                      <a:pt x="87" y="11"/>
                    </a:lnTo>
                    <a:lnTo>
                      <a:pt x="87" y="11"/>
                    </a:lnTo>
                    <a:lnTo>
                      <a:pt x="93" y="11"/>
                    </a:lnTo>
                    <a:lnTo>
                      <a:pt x="93" y="11"/>
                    </a:lnTo>
                    <a:lnTo>
                      <a:pt x="98" y="13"/>
                    </a:lnTo>
                    <a:lnTo>
                      <a:pt x="102" y="14"/>
                    </a:lnTo>
                    <a:lnTo>
                      <a:pt x="102" y="14"/>
                    </a:lnTo>
                    <a:lnTo>
                      <a:pt x="103" y="15"/>
                    </a:lnTo>
                    <a:lnTo>
                      <a:pt x="105" y="15"/>
                    </a:lnTo>
                    <a:lnTo>
                      <a:pt x="105" y="15"/>
                    </a:lnTo>
                    <a:lnTo>
                      <a:pt x="109" y="17"/>
                    </a:lnTo>
                    <a:lnTo>
                      <a:pt x="111" y="19"/>
                    </a:lnTo>
                    <a:lnTo>
                      <a:pt x="111" y="19"/>
                    </a:lnTo>
                    <a:lnTo>
                      <a:pt x="114" y="21"/>
                    </a:lnTo>
                    <a:lnTo>
                      <a:pt x="116" y="19"/>
                    </a:lnTo>
                    <a:lnTo>
                      <a:pt x="123" y="19"/>
                    </a:lnTo>
                    <a:lnTo>
                      <a:pt x="130" y="25"/>
                    </a:lnTo>
                    <a:lnTo>
                      <a:pt x="130" y="31"/>
                    </a:lnTo>
                    <a:lnTo>
                      <a:pt x="130" y="31"/>
                    </a:lnTo>
                    <a:lnTo>
                      <a:pt x="131" y="31"/>
                    </a:lnTo>
                    <a:lnTo>
                      <a:pt x="130" y="31"/>
                    </a:lnTo>
                    <a:lnTo>
                      <a:pt x="134" y="34"/>
                    </a:lnTo>
                    <a:lnTo>
                      <a:pt x="134" y="34"/>
                    </a:lnTo>
                    <a:lnTo>
                      <a:pt x="138" y="38"/>
                    </a:lnTo>
                    <a:lnTo>
                      <a:pt x="138" y="39"/>
                    </a:lnTo>
                    <a:lnTo>
                      <a:pt x="138" y="39"/>
                    </a:lnTo>
                    <a:lnTo>
                      <a:pt x="139" y="38"/>
                    </a:lnTo>
                    <a:lnTo>
                      <a:pt x="139" y="38"/>
                    </a:lnTo>
                    <a:lnTo>
                      <a:pt x="143" y="35"/>
                    </a:lnTo>
                    <a:lnTo>
                      <a:pt x="146" y="34"/>
                    </a:lnTo>
                    <a:lnTo>
                      <a:pt x="150" y="33"/>
                    </a:lnTo>
                    <a:lnTo>
                      <a:pt x="150" y="33"/>
                    </a:lnTo>
                    <a:lnTo>
                      <a:pt x="151" y="34"/>
                    </a:lnTo>
                    <a:lnTo>
                      <a:pt x="155" y="35"/>
                    </a:lnTo>
                    <a:lnTo>
                      <a:pt x="155" y="35"/>
                    </a:lnTo>
                    <a:lnTo>
                      <a:pt x="157" y="39"/>
                    </a:lnTo>
                    <a:lnTo>
                      <a:pt x="157" y="43"/>
                    </a:lnTo>
                    <a:lnTo>
                      <a:pt x="157" y="43"/>
                    </a:lnTo>
                    <a:lnTo>
                      <a:pt x="157" y="47"/>
                    </a:lnTo>
                    <a:lnTo>
                      <a:pt x="156" y="50"/>
                    </a:lnTo>
                    <a:lnTo>
                      <a:pt x="156" y="50"/>
                    </a:lnTo>
                    <a:lnTo>
                      <a:pt x="153" y="52"/>
                    </a:lnTo>
                    <a:lnTo>
                      <a:pt x="150" y="52"/>
                    </a:lnTo>
                    <a:lnTo>
                      <a:pt x="150" y="52"/>
                    </a:lnTo>
                    <a:lnTo>
                      <a:pt x="146" y="54"/>
                    </a:lnTo>
                    <a:lnTo>
                      <a:pt x="143" y="56"/>
                    </a:lnTo>
                    <a:lnTo>
                      <a:pt x="142" y="56"/>
                    </a:lnTo>
                    <a:lnTo>
                      <a:pt x="142" y="56"/>
                    </a:lnTo>
                    <a:lnTo>
                      <a:pt x="140" y="58"/>
                    </a:lnTo>
                    <a:lnTo>
                      <a:pt x="136" y="59"/>
                    </a:lnTo>
                    <a:lnTo>
                      <a:pt x="136" y="59"/>
                    </a:lnTo>
                    <a:lnTo>
                      <a:pt x="132" y="63"/>
                    </a:lnTo>
                    <a:lnTo>
                      <a:pt x="132" y="63"/>
                    </a:lnTo>
                    <a:lnTo>
                      <a:pt x="130" y="64"/>
                    </a:lnTo>
                    <a:lnTo>
                      <a:pt x="128" y="66"/>
                    </a:lnTo>
                    <a:lnTo>
                      <a:pt x="128" y="66"/>
                    </a:lnTo>
                    <a:lnTo>
                      <a:pt x="127" y="67"/>
                    </a:lnTo>
                    <a:lnTo>
                      <a:pt x="127" y="67"/>
                    </a:lnTo>
                    <a:lnTo>
                      <a:pt x="124" y="68"/>
                    </a:lnTo>
                    <a:lnTo>
                      <a:pt x="119" y="70"/>
                    </a:lnTo>
                    <a:lnTo>
                      <a:pt x="119" y="70"/>
                    </a:lnTo>
                    <a:lnTo>
                      <a:pt x="114" y="75"/>
                    </a:lnTo>
                    <a:lnTo>
                      <a:pt x="110" y="80"/>
                    </a:lnTo>
                    <a:lnTo>
                      <a:pt x="109" y="83"/>
                    </a:lnTo>
                    <a:lnTo>
                      <a:pt x="109" y="83"/>
                    </a:lnTo>
                    <a:lnTo>
                      <a:pt x="105" y="87"/>
                    </a:lnTo>
                    <a:lnTo>
                      <a:pt x="103" y="93"/>
                    </a:lnTo>
                    <a:lnTo>
                      <a:pt x="103" y="93"/>
                    </a:lnTo>
                    <a:lnTo>
                      <a:pt x="102" y="99"/>
                    </a:lnTo>
                    <a:lnTo>
                      <a:pt x="99" y="105"/>
                    </a:lnTo>
                    <a:lnTo>
                      <a:pt x="98" y="107"/>
                    </a:lnTo>
                    <a:lnTo>
                      <a:pt x="98" y="107"/>
                    </a:lnTo>
                    <a:lnTo>
                      <a:pt x="99" y="107"/>
                    </a:lnTo>
                    <a:lnTo>
                      <a:pt x="99" y="107"/>
                    </a:lnTo>
                    <a:lnTo>
                      <a:pt x="99" y="111"/>
                    </a:lnTo>
                    <a:lnTo>
                      <a:pt x="102" y="112"/>
                    </a:lnTo>
                    <a:lnTo>
                      <a:pt x="102" y="112"/>
                    </a:lnTo>
                    <a:lnTo>
                      <a:pt x="106" y="116"/>
                    </a:lnTo>
                    <a:lnTo>
                      <a:pt x="111" y="120"/>
                    </a:lnTo>
                    <a:lnTo>
                      <a:pt x="111" y="120"/>
                    </a:lnTo>
                    <a:lnTo>
                      <a:pt x="114" y="121"/>
                    </a:lnTo>
                    <a:lnTo>
                      <a:pt x="116" y="126"/>
                    </a:lnTo>
                    <a:lnTo>
                      <a:pt x="116" y="128"/>
                    </a:lnTo>
                    <a:lnTo>
                      <a:pt x="116" y="128"/>
                    </a:lnTo>
                    <a:lnTo>
                      <a:pt x="116" y="130"/>
                    </a:lnTo>
                    <a:lnTo>
                      <a:pt x="115" y="133"/>
                    </a:lnTo>
                    <a:lnTo>
                      <a:pt x="115" y="133"/>
                    </a:lnTo>
                    <a:lnTo>
                      <a:pt x="114" y="134"/>
                    </a:lnTo>
                    <a:lnTo>
                      <a:pt x="110" y="136"/>
                    </a:lnTo>
                    <a:lnTo>
                      <a:pt x="110" y="136"/>
                    </a:lnTo>
                    <a:lnTo>
                      <a:pt x="109" y="136"/>
                    </a:lnTo>
                    <a:lnTo>
                      <a:pt x="109" y="136"/>
                    </a:lnTo>
                    <a:lnTo>
                      <a:pt x="103" y="138"/>
                    </a:lnTo>
                    <a:lnTo>
                      <a:pt x="99" y="140"/>
                    </a:lnTo>
                    <a:lnTo>
                      <a:pt x="99" y="140"/>
                    </a:lnTo>
                    <a:lnTo>
                      <a:pt x="95" y="141"/>
                    </a:lnTo>
                    <a:lnTo>
                      <a:pt x="95" y="141"/>
                    </a:lnTo>
                    <a:lnTo>
                      <a:pt x="95" y="141"/>
                    </a:lnTo>
                    <a:lnTo>
                      <a:pt x="97" y="140"/>
                    </a:lnTo>
                    <a:lnTo>
                      <a:pt x="98" y="137"/>
                    </a:lnTo>
                    <a:lnTo>
                      <a:pt x="94" y="141"/>
                    </a:lnTo>
                    <a:lnTo>
                      <a:pt x="93" y="141"/>
                    </a:lnTo>
                    <a:lnTo>
                      <a:pt x="93" y="141"/>
                    </a:lnTo>
                    <a:lnTo>
                      <a:pt x="93" y="141"/>
                    </a:lnTo>
                    <a:lnTo>
                      <a:pt x="93" y="141"/>
                    </a:lnTo>
                    <a:lnTo>
                      <a:pt x="91" y="142"/>
                    </a:lnTo>
                    <a:lnTo>
                      <a:pt x="91" y="14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5" name="Group 24">
              <a:extLst>
                <a:ext uri="{FF2B5EF4-FFF2-40B4-BE49-F238E27FC236}">
                  <a16:creationId xmlns:a16="http://schemas.microsoft.com/office/drawing/2014/main" xmlns="" id="{47162D7A-0751-4583-BCAD-17267A3781DF}"/>
                </a:ext>
              </a:extLst>
            </p:cNvPr>
            <p:cNvGrpSpPr/>
            <p:nvPr/>
          </p:nvGrpSpPr>
          <p:grpSpPr>
            <a:xfrm>
              <a:off x="4149966" y="4886418"/>
              <a:ext cx="2027178" cy="1564508"/>
              <a:chOff x="1711418" y="4563763"/>
              <a:chExt cx="2651654" cy="2091026"/>
            </a:xfrm>
            <a:solidFill>
              <a:srgbClr val="D8D8CD"/>
            </a:solidFill>
          </p:grpSpPr>
          <p:sp>
            <p:nvSpPr>
              <p:cNvPr id="41" name="Freeform 47">
                <a:extLst>
                  <a:ext uri="{FF2B5EF4-FFF2-40B4-BE49-F238E27FC236}">
                    <a16:creationId xmlns:a16="http://schemas.microsoft.com/office/drawing/2014/main" xmlns="" id="{A20DB0AF-9682-40E8-BEBC-34D39C703120}"/>
                  </a:ext>
                </a:extLst>
              </p:cNvPr>
              <p:cNvSpPr>
                <a:spLocks/>
              </p:cNvSpPr>
              <p:nvPr/>
            </p:nvSpPr>
            <p:spPr bwMode="auto">
              <a:xfrm>
                <a:off x="1711418" y="4563763"/>
                <a:ext cx="736475" cy="1560002"/>
              </a:xfrm>
              <a:custGeom>
                <a:avLst/>
                <a:gdLst>
                  <a:gd name="T0" fmla="*/ 226 w 423"/>
                  <a:gd name="T1" fmla="*/ 870 h 896"/>
                  <a:gd name="T2" fmla="*/ 207 w 423"/>
                  <a:gd name="T3" fmla="*/ 851 h 896"/>
                  <a:gd name="T4" fmla="*/ 173 w 423"/>
                  <a:gd name="T5" fmla="*/ 856 h 896"/>
                  <a:gd name="T6" fmla="*/ 158 w 423"/>
                  <a:gd name="T7" fmla="*/ 851 h 896"/>
                  <a:gd name="T8" fmla="*/ 126 w 423"/>
                  <a:gd name="T9" fmla="*/ 819 h 896"/>
                  <a:gd name="T10" fmla="*/ 100 w 423"/>
                  <a:gd name="T11" fmla="*/ 772 h 896"/>
                  <a:gd name="T12" fmla="*/ 84 w 423"/>
                  <a:gd name="T13" fmla="*/ 733 h 896"/>
                  <a:gd name="T14" fmla="*/ 84 w 423"/>
                  <a:gd name="T15" fmla="*/ 723 h 896"/>
                  <a:gd name="T16" fmla="*/ 45 w 423"/>
                  <a:gd name="T17" fmla="*/ 687 h 896"/>
                  <a:gd name="T18" fmla="*/ 54 w 423"/>
                  <a:gd name="T19" fmla="*/ 657 h 896"/>
                  <a:gd name="T20" fmla="*/ 74 w 423"/>
                  <a:gd name="T21" fmla="*/ 638 h 896"/>
                  <a:gd name="T22" fmla="*/ 116 w 423"/>
                  <a:gd name="T23" fmla="*/ 637 h 896"/>
                  <a:gd name="T24" fmla="*/ 146 w 423"/>
                  <a:gd name="T25" fmla="*/ 584 h 896"/>
                  <a:gd name="T26" fmla="*/ 148 w 423"/>
                  <a:gd name="T27" fmla="*/ 564 h 896"/>
                  <a:gd name="T28" fmla="*/ 145 w 423"/>
                  <a:gd name="T29" fmla="*/ 519 h 896"/>
                  <a:gd name="T30" fmla="*/ 133 w 423"/>
                  <a:gd name="T31" fmla="*/ 472 h 896"/>
                  <a:gd name="T32" fmla="*/ 129 w 423"/>
                  <a:gd name="T33" fmla="*/ 441 h 896"/>
                  <a:gd name="T34" fmla="*/ 123 w 423"/>
                  <a:gd name="T35" fmla="*/ 405 h 896"/>
                  <a:gd name="T36" fmla="*/ 101 w 423"/>
                  <a:gd name="T37" fmla="*/ 357 h 896"/>
                  <a:gd name="T38" fmla="*/ 63 w 423"/>
                  <a:gd name="T39" fmla="*/ 305 h 896"/>
                  <a:gd name="T40" fmla="*/ 22 w 423"/>
                  <a:gd name="T41" fmla="*/ 247 h 896"/>
                  <a:gd name="T42" fmla="*/ 9 w 423"/>
                  <a:gd name="T43" fmla="*/ 216 h 896"/>
                  <a:gd name="T44" fmla="*/ 5 w 423"/>
                  <a:gd name="T45" fmla="*/ 203 h 896"/>
                  <a:gd name="T46" fmla="*/ 18 w 423"/>
                  <a:gd name="T47" fmla="*/ 156 h 896"/>
                  <a:gd name="T48" fmla="*/ 43 w 423"/>
                  <a:gd name="T49" fmla="*/ 134 h 896"/>
                  <a:gd name="T50" fmla="*/ 89 w 423"/>
                  <a:gd name="T51" fmla="*/ 116 h 896"/>
                  <a:gd name="T52" fmla="*/ 125 w 423"/>
                  <a:gd name="T53" fmla="*/ 71 h 896"/>
                  <a:gd name="T54" fmla="*/ 157 w 423"/>
                  <a:gd name="T55" fmla="*/ 34 h 896"/>
                  <a:gd name="T56" fmla="*/ 157 w 423"/>
                  <a:gd name="T57" fmla="*/ 13 h 896"/>
                  <a:gd name="T58" fmla="*/ 203 w 423"/>
                  <a:gd name="T59" fmla="*/ 35 h 896"/>
                  <a:gd name="T60" fmla="*/ 234 w 423"/>
                  <a:gd name="T61" fmla="*/ 55 h 896"/>
                  <a:gd name="T62" fmla="*/ 259 w 423"/>
                  <a:gd name="T63" fmla="*/ 79 h 896"/>
                  <a:gd name="T64" fmla="*/ 271 w 423"/>
                  <a:gd name="T65" fmla="*/ 97 h 896"/>
                  <a:gd name="T66" fmla="*/ 264 w 423"/>
                  <a:gd name="T67" fmla="*/ 128 h 896"/>
                  <a:gd name="T68" fmla="*/ 264 w 423"/>
                  <a:gd name="T69" fmla="*/ 162 h 896"/>
                  <a:gd name="T70" fmla="*/ 286 w 423"/>
                  <a:gd name="T71" fmla="*/ 231 h 896"/>
                  <a:gd name="T72" fmla="*/ 296 w 423"/>
                  <a:gd name="T73" fmla="*/ 261 h 896"/>
                  <a:gd name="T74" fmla="*/ 313 w 423"/>
                  <a:gd name="T75" fmla="*/ 310 h 896"/>
                  <a:gd name="T76" fmla="*/ 316 w 423"/>
                  <a:gd name="T77" fmla="*/ 354 h 896"/>
                  <a:gd name="T78" fmla="*/ 306 w 423"/>
                  <a:gd name="T79" fmla="*/ 392 h 896"/>
                  <a:gd name="T80" fmla="*/ 338 w 423"/>
                  <a:gd name="T81" fmla="*/ 399 h 896"/>
                  <a:gd name="T82" fmla="*/ 362 w 423"/>
                  <a:gd name="T83" fmla="*/ 416 h 896"/>
                  <a:gd name="T84" fmla="*/ 380 w 423"/>
                  <a:gd name="T85" fmla="*/ 431 h 896"/>
                  <a:gd name="T86" fmla="*/ 415 w 423"/>
                  <a:gd name="T87" fmla="*/ 453 h 896"/>
                  <a:gd name="T88" fmla="*/ 412 w 423"/>
                  <a:gd name="T89" fmla="*/ 497 h 896"/>
                  <a:gd name="T90" fmla="*/ 400 w 423"/>
                  <a:gd name="T91" fmla="*/ 507 h 896"/>
                  <a:gd name="T92" fmla="*/ 416 w 423"/>
                  <a:gd name="T93" fmla="*/ 542 h 896"/>
                  <a:gd name="T94" fmla="*/ 420 w 423"/>
                  <a:gd name="T95" fmla="*/ 577 h 896"/>
                  <a:gd name="T96" fmla="*/ 395 w 423"/>
                  <a:gd name="T97" fmla="*/ 589 h 896"/>
                  <a:gd name="T98" fmla="*/ 357 w 423"/>
                  <a:gd name="T99" fmla="*/ 585 h 896"/>
                  <a:gd name="T100" fmla="*/ 342 w 423"/>
                  <a:gd name="T101" fmla="*/ 580 h 896"/>
                  <a:gd name="T102" fmla="*/ 351 w 423"/>
                  <a:gd name="T103" fmla="*/ 614 h 896"/>
                  <a:gd name="T104" fmla="*/ 351 w 423"/>
                  <a:gd name="T105" fmla="*/ 647 h 896"/>
                  <a:gd name="T106" fmla="*/ 349 w 423"/>
                  <a:gd name="T107" fmla="*/ 687 h 896"/>
                  <a:gd name="T108" fmla="*/ 347 w 423"/>
                  <a:gd name="T109" fmla="*/ 696 h 896"/>
                  <a:gd name="T110" fmla="*/ 346 w 423"/>
                  <a:gd name="T111" fmla="*/ 732 h 896"/>
                  <a:gd name="T112" fmla="*/ 310 w 423"/>
                  <a:gd name="T113" fmla="*/ 747 h 896"/>
                  <a:gd name="T114" fmla="*/ 305 w 423"/>
                  <a:gd name="T115" fmla="*/ 774 h 896"/>
                  <a:gd name="T116" fmla="*/ 309 w 423"/>
                  <a:gd name="T117" fmla="*/ 822 h 896"/>
                  <a:gd name="T118" fmla="*/ 297 w 423"/>
                  <a:gd name="T119" fmla="*/ 859 h 896"/>
                  <a:gd name="T120" fmla="*/ 281 w 423"/>
                  <a:gd name="T121" fmla="*/ 868 h 896"/>
                  <a:gd name="T122" fmla="*/ 263 w 423"/>
                  <a:gd name="T123" fmla="*/ 891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3" h="896">
                    <a:moveTo>
                      <a:pt x="255" y="896"/>
                    </a:moveTo>
                    <a:lnTo>
                      <a:pt x="255" y="896"/>
                    </a:lnTo>
                    <a:lnTo>
                      <a:pt x="253" y="896"/>
                    </a:lnTo>
                    <a:lnTo>
                      <a:pt x="251" y="896"/>
                    </a:lnTo>
                    <a:lnTo>
                      <a:pt x="247" y="893"/>
                    </a:lnTo>
                    <a:lnTo>
                      <a:pt x="247" y="893"/>
                    </a:lnTo>
                    <a:lnTo>
                      <a:pt x="244" y="891"/>
                    </a:lnTo>
                    <a:lnTo>
                      <a:pt x="244" y="891"/>
                    </a:lnTo>
                    <a:lnTo>
                      <a:pt x="240" y="887"/>
                    </a:lnTo>
                    <a:lnTo>
                      <a:pt x="236" y="884"/>
                    </a:lnTo>
                    <a:lnTo>
                      <a:pt x="236" y="884"/>
                    </a:lnTo>
                    <a:lnTo>
                      <a:pt x="236" y="884"/>
                    </a:lnTo>
                    <a:lnTo>
                      <a:pt x="236" y="884"/>
                    </a:lnTo>
                    <a:lnTo>
                      <a:pt x="232" y="883"/>
                    </a:lnTo>
                    <a:lnTo>
                      <a:pt x="230" y="881"/>
                    </a:lnTo>
                    <a:lnTo>
                      <a:pt x="230" y="881"/>
                    </a:lnTo>
                    <a:lnTo>
                      <a:pt x="228" y="879"/>
                    </a:lnTo>
                    <a:lnTo>
                      <a:pt x="227" y="876"/>
                    </a:lnTo>
                    <a:lnTo>
                      <a:pt x="227" y="872"/>
                    </a:lnTo>
                    <a:lnTo>
                      <a:pt x="227" y="872"/>
                    </a:lnTo>
                    <a:lnTo>
                      <a:pt x="227" y="871"/>
                    </a:lnTo>
                    <a:lnTo>
                      <a:pt x="227" y="871"/>
                    </a:lnTo>
                    <a:lnTo>
                      <a:pt x="227" y="871"/>
                    </a:lnTo>
                    <a:lnTo>
                      <a:pt x="226" y="870"/>
                    </a:lnTo>
                    <a:lnTo>
                      <a:pt x="223" y="871"/>
                    </a:lnTo>
                    <a:lnTo>
                      <a:pt x="218" y="866"/>
                    </a:lnTo>
                    <a:lnTo>
                      <a:pt x="218" y="866"/>
                    </a:lnTo>
                    <a:lnTo>
                      <a:pt x="218" y="859"/>
                    </a:lnTo>
                    <a:lnTo>
                      <a:pt x="218" y="859"/>
                    </a:lnTo>
                    <a:lnTo>
                      <a:pt x="218" y="856"/>
                    </a:lnTo>
                    <a:lnTo>
                      <a:pt x="218" y="856"/>
                    </a:lnTo>
                    <a:lnTo>
                      <a:pt x="218" y="859"/>
                    </a:lnTo>
                    <a:lnTo>
                      <a:pt x="220" y="860"/>
                    </a:lnTo>
                    <a:lnTo>
                      <a:pt x="216" y="855"/>
                    </a:lnTo>
                    <a:lnTo>
                      <a:pt x="216" y="855"/>
                    </a:lnTo>
                    <a:lnTo>
                      <a:pt x="216" y="855"/>
                    </a:lnTo>
                    <a:lnTo>
                      <a:pt x="216" y="855"/>
                    </a:lnTo>
                    <a:lnTo>
                      <a:pt x="216" y="855"/>
                    </a:lnTo>
                    <a:lnTo>
                      <a:pt x="216" y="855"/>
                    </a:lnTo>
                    <a:lnTo>
                      <a:pt x="214" y="855"/>
                    </a:lnTo>
                    <a:lnTo>
                      <a:pt x="214" y="855"/>
                    </a:lnTo>
                    <a:lnTo>
                      <a:pt x="212" y="855"/>
                    </a:lnTo>
                    <a:lnTo>
                      <a:pt x="212" y="855"/>
                    </a:lnTo>
                    <a:lnTo>
                      <a:pt x="208" y="854"/>
                    </a:lnTo>
                    <a:lnTo>
                      <a:pt x="207" y="852"/>
                    </a:lnTo>
                    <a:lnTo>
                      <a:pt x="206" y="850"/>
                    </a:lnTo>
                    <a:lnTo>
                      <a:pt x="206" y="850"/>
                    </a:lnTo>
                    <a:lnTo>
                      <a:pt x="207" y="851"/>
                    </a:lnTo>
                    <a:lnTo>
                      <a:pt x="208" y="852"/>
                    </a:lnTo>
                    <a:lnTo>
                      <a:pt x="204" y="848"/>
                    </a:lnTo>
                    <a:lnTo>
                      <a:pt x="204" y="848"/>
                    </a:lnTo>
                    <a:lnTo>
                      <a:pt x="204" y="848"/>
                    </a:lnTo>
                    <a:lnTo>
                      <a:pt x="202" y="844"/>
                    </a:lnTo>
                    <a:lnTo>
                      <a:pt x="199" y="843"/>
                    </a:lnTo>
                    <a:lnTo>
                      <a:pt x="198" y="843"/>
                    </a:lnTo>
                    <a:lnTo>
                      <a:pt x="193" y="839"/>
                    </a:lnTo>
                    <a:lnTo>
                      <a:pt x="193" y="840"/>
                    </a:lnTo>
                    <a:lnTo>
                      <a:pt x="193" y="840"/>
                    </a:lnTo>
                    <a:lnTo>
                      <a:pt x="195" y="842"/>
                    </a:lnTo>
                    <a:lnTo>
                      <a:pt x="194" y="842"/>
                    </a:lnTo>
                    <a:lnTo>
                      <a:pt x="194" y="842"/>
                    </a:lnTo>
                    <a:lnTo>
                      <a:pt x="193" y="842"/>
                    </a:lnTo>
                    <a:lnTo>
                      <a:pt x="191" y="842"/>
                    </a:lnTo>
                    <a:lnTo>
                      <a:pt x="191" y="843"/>
                    </a:lnTo>
                    <a:lnTo>
                      <a:pt x="190" y="846"/>
                    </a:lnTo>
                    <a:lnTo>
                      <a:pt x="190" y="846"/>
                    </a:lnTo>
                    <a:lnTo>
                      <a:pt x="183" y="852"/>
                    </a:lnTo>
                    <a:lnTo>
                      <a:pt x="181" y="854"/>
                    </a:lnTo>
                    <a:lnTo>
                      <a:pt x="174" y="854"/>
                    </a:lnTo>
                    <a:lnTo>
                      <a:pt x="174" y="854"/>
                    </a:lnTo>
                    <a:lnTo>
                      <a:pt x="173" y="856"/>
                    </a:lnTo>
                    <a:lnTo>
                      <a:pt x="173" y="856"/>
                    </a:lnTo>
                    <a:lnTo>
                      <a:pt x="170" y="860"/>
                    </a:lnTo>
                    <a:lnTo>
                      <a:pt x="170" y="860"/>
                    </a:lnTo>
                    <a:lnTo>
                      <a:pt x="171" y="860"/>
                    </a:lnTo>
                    <a:lnTo>
                      <a:pt x="171" y="860"/>
                    </a:lnTo>
                    <a:lnTo>
                      <a:pt x="170" y="862"/>
                    </a:lnTo>
                    <a:lnTo>
                      <a:pt x="170" y="862"/>
                    </a:lnTo>
                    <a:lnTo>
                      <a:pt x="169" y="866"/>
                    </a:lnTo>
                    <a:lnTo>
                      <a:pt x="162" y="867"/>
                    </a:lnTo>
                    <a:lnTo>
                      <a:pt x="162" y="867"/>
                    </a:lnTo>
                    <a:lnTo>
                      <a:pt x="160" y="867"/>
                    </a:lnTo>
                    <a:lnTo>
                      <a:pt x="158" y="864"/>
                    </a:lnTo>
                    <a:lnTo>
                      <a:pt x="157" y="862"/>
                    </a:lnTo>
                    <a:lnTo>
                      <a:pt x="157" y="858"/>
                    </a:lnTo>
                    <a:lnTo>
                      <a:pt x="157" y="858"/>
                    </a:lnTo>
                    <a:lnTo>
                      <a:pt x="157" y="858"/>
                    </a:lnTo>
                    <a:lnTo>
                      <a:pt x="157" y="856"/>
                    </a:lnTo>
                    <a:lnTo>
                      <a:pt x="157" y="855"/>
                    </a:lnTo>
                    <a:lnTo>
                      <a:pt x="158" y="852"/>
                    </a:lnTo>
                    <a:lnTo>
                      <a:pt x="158" y="852"/>
                    </a:lnTo>
                    <a:lnTo>
                      <a:pt x="160" y="854"/>
                    </a:lnTo>
                    <a:lnTo>
                      <a:pt x="158" y="852"/>
                    </a:lnTo>
                    <a:lnTo>
                      <a:pt x="161" y="850"/>
                    </a:lnTo>
                    <a:lnTo>
                      <a:pt x="161" y="850"/>
                    </a:lnTo>
                    <a:lnTo>
                      <a:pt x="158" y="851"/>
                    </a:lnTo>
                    <a:lnTo>
                      <a:pt x="158" y="852"/>
                    </a:lnTo>
                    <a:lnTo>
                      <a:pt x="156" y="851"/>
                    </a:lnTo>
                    <a:lnTo>
                      <a:pt x="156" y="851"/>
                    </a:lnTo>
                    <a:lnTo>
                      <a:pt x="156" y="850"/>
                    </a:lnTo>
                    <a:lnTo>
                      <a:pt x="156" y="850"/>
                    </a:lnTo>
                    <a:lnTo>
                      <a:pt x="157" y="851"/>
                    </a:lnTo>
                    <a:lnTo>
                      <a:pt x="153" y="846"/>
                    </a:lnTo>
                    <a:lnTo>
                      <a:pt x="153" y="843"/>
                    </a:lnTo>
                    <a:lnTo>
                      <a:pt x="153" y="843"/>
                    </a:lnTo>
                    <a:lnTo>
                      <a:pt x="145" y="834"/>
                    </a:lnTo>
                    <a:lnTo>
                      <a:pt x="136" y="826"/>
                    </a:lnTo>
                    <a:lnTo>
                      <a:pt x="136" y="826"/>
                    </a:lnTo>
                    <a:lnTo>
                      <a:pt x="133" y="823"/>
                    </a:lnTo>
                    <a:lnTo>
                      <a:pt x="133" y="823"/>
                    </a:lnTo>
                    <a:lnTo>
                      <a:pt x="130" y="822"/>
                    </a:lnTo>
                    <a:lnTo>
                      <a:pt x="129" y="822"/>
                    </a:lnTo>
                    <a:lnTo>
                      <a:pt x="129" y="821"/>
                    </a:lnTo>
                    <a:lnTo>
                      <a:pt x="125" y="818"/>
                    </a:lnTo>
                    <a:lnTo>
                      <a:pt x="125" y="818"/>
                    </a:lnTo>
                    <a:lnTo>
                      <a:pt x="125" y="818"/>
                    </a:lnTo>
                    <a:lnTo>
                      <a:pt x="125" y="818"/>
                    </a:lnTo>
                    <a:lnTo>
                      <a:pt x="125" y="818"/>
                    </a:lnTo>
                    <a:lnTo>
                      <a:pt x="126" y="819"/>
                    </a:lnTo>
                    <a:lnTo>
                      <a:pt x="126" y="819"/>
                    </a:lnTo>
                    <a:lnTo>
                      <a:pt x="125" y="819"/>
                    </a:lnTo>
                    <a:lnTo>
                      <a:pt x="125" y="819"/>
                    </a:lnTo>
                    <a:lnTo>
                      <a:pt x="124" y="818"/>
                    </a:lnTo>
                    <a:lnTo>
                      <a:pt x="124" y="818"/>
                    </a:lnTo>
                    <a:lnTo>
                      <a:pt x="121" y="817"/>
                    </a:lnTo>
                    <a:lnTo>
                      <a:pt x="117" y="815"/>
                    </a:lnTo>
                    <a:lnTo>
                      <a:pt x="117" y="815"/>
                    </a:lnTo>
                    <a:lnTo>
                      <a:pt x="116" y="813"/>
                    </a:lnTo>
                    <a:lnTo>
                      <a:pt x="116" y="810"/>
                    </a:lnTo>
                    <a:lnTo>
                      <a:pt x="117" y="806"/>
                    </a:lnTo>
                    <a:lnTo>
                      <a:pt x="117" y="806"/>
                    </a:lnTo>
                    <a:lnTo>
                      <a:pt x="117" y="805"/>
                    </a:lnTo>
                    <a:lnTo>
                      <a:pt x="117" y="805"/>
                    </a:lnTo>
                    <a:lnTo>
                      <a:pt x="115" y="797"/>
                    </a:lnTo>
                    <a:lnTo>
                      <a:pt x="112" y="793"/>
                    </a:lnTo>
                    <a:lnTo>
                      <a:pt x="109" y="789"/>
                    </a:lnTo>
                    <a:lnTo>
                      <a:pt x="109" y="788"/>
                    </a:lnTo>
                    <a:lnTo>
                      <a:pt x="109" y="788"/>
                    </a:lnTo>
                    <a:lnTo>
                      <a:pt x="108" y="786"/>
                    </a:lnTo>
                    <a:lnTo>
                      <a:pt x="105" y="782"/>
                    </a:lnTo>
                    <a:lnTo>
                      <a:pt x="105" y="782"/>
                    </a:lnTo>
                    <a:lnTo>
                      <a:pt x="101" y="778"/>
                    </a:lnTo>
                    <a:lnTo>
                      <a:pt x="101" y="776"/>
                    </a:lnTo>
                    <a:lnTo>
                      <a:pt x="100" y="772"/>
                    </a:lnTo>
                    <a:lnTo>
                      <a:pt x="103" y="768"/>
                    </a:lnTo>
                    <a:lnTo>
                      <a:pt x="103" y="768"/>
                    </a:lnTo>
                    <a:lnTo>
                      <a:pt x="105" y="766"/>
                    </a:lnTo>
                    <a:lnTo>
                      <a:pt x="105" y="766"/>
                    </a:lnTo>
                    <a:lnTo>
                      <a:pt x="105" y="766"/>
                    </a:lnTo>
                    <a:lnTo>
                      <a:pt x="105" y="765"/>
                    </a:lnTo>
                    <a:lnTo>
                      <a:pt x="107" y="765"/>
                    </a:lnTo>
                    <a:lnTo>
                      <a:pt x="107" y="765"/>
                    </a:lnTo>
                    <a:lnTo>
                      <a:pt x="103" y="764"/>
                    </a:lnTo>
                    <a:lnTo>
                      <a:pt x="101" y="761"/>
                    </a:lnTo>
                    <a:lnTo>
                      <a:pt x="100" y="760"/>
                    </a:lnTo>
                    <a:lnTo>
                      <a:pt x="99" y="756"/>
                    </a:lnTo>
                    <a:lnTo>
                      <a:pt x="99" y="754"/>
                    </a:lnTo>
                    <a:lnTo>
                      <a:pt x="99" y="754"/>
                    </a:lnTo>
                    <a:lnTo>
                      <a:pt x="99" y="753"/>
                    </a:lnTo>
                    <a:lnTo>
                      <a:pt x="95" y="752"/>
                    </a:lnTo>
                    <a:lnTo>
                      <a:pt x="95" y="752"/>
                    </a:lnTo>
                    <a:lnTo>
                      <a:pt x="89" y="748"/>
                    </a:lnTo>
                    <a:lnTo>
                      <a:pt x="87" y="745"/>
                    </a:lnTo>
                    <a:lnTo>
                      <a:pt x="84" y="741"/>
                    </a:lnTo>
                    <a:lnTo>
                      <a:pt x="84" y="740"/>
                    </a:lnTo>
                    <a:lnTo>
                      <a:pt x="84" y="737"/>
                    </a:lnTo>
                    <a:lnTo>
                      <a:pt x="84" y="737"/>
                    </a:lnTo>
                    <a:lnTo>
                      <a:pt x="84" y="733"/>
                    </a:lnTo>
                    <a:lnTo>
                      <a:pt x="85" y="732"/>
                    </a:lnTo>
                    <a:lnTo>
                      <a:pt x="85" y="732"/>
                    </a:lnTo>
                    <a:lnTo>
                      <a:pt x="85" y="732"/>
                    </a:lnTo>
                    <a:lnTo>
                      <a:pt x="85" y="733"/>
                    </a:lnTo>
                    <a:lnTo>
                      <a:pt x="88" y="732"/>
                    </a:lnTo>
                    <a:lnTo>
                      <a:pt x="88" y="732"/>
                    </a:lnTo>
                    <a:lnTo>
                      <a:pt x="89" y="732"/>
                    </a:lnTo>
                    <a:lnTo>
                      <a:pt x="91" y="733"/>
                    </a:lnTo>
                    <a:lnTo>
                      <a:pt x="91" y="732"/>
                    </a:lnTo>
                    <a:lnTo>
                      <a:pt x="89" y="731"/>
                    </a:lnTo>
                    <a:lnTo>
                      <a:pt x="92" y="728"/>
                    </a:lnTo>
                    <a:lnTo>
                      <a:pt x="92" y="728"/>
                    </a:lnTo>
                    <a:lnTo>
                      <a:pt x="92" y="728"/>
                    </a:lnTo>
                    <a:lnTo>
                      <a:pt x="89" y="728"/>
                    </a:lnTo>
                    <a:lnTo>
                      <a:pt x="88" y="729"/>
                    </a:lnTo>
                    <a:lnTo>
                      <a:pt x="85" y="727"/>
                    </a:lnTo>
                    <a:lnTo>
                      <a:pt x="85" y="725"/>
                    </a:lnTo>
                    <a:lnTo>
                      <a:pt x="85" y="725"/>
                    </a:lnTo>
                    <a:lnTo>
                      <a:pt x="85" y="725"/>
                    </a:lnTo>
                    <a:lnTo>
                      <a:pt x="85" y="725"/>
                    </a:lnTo>
                    <a:lnTo>
                      <a:pt x="85" y="727"/>
                    </a:lnTo>
                    <a:lnTo>
                      <a:pt x="84" y="723"/>
                    </a:lnTo>
                    <a:lnTo>
                      <a:pt x="84" y="723"/>
                    </a:lnTo>
                    <a:lnTo>
                      <a:pt x="84" y="723"/>
                    </a:lnTo>
                    <a:lnTo>
                      <a:pt x="80" y="719"/>
                    </a:lnTo>
                    <a:lnTo>
                      <a:pt x="75" y="716"/>
                    </a:lnTo>
                    <a:lnTo>
                      <a:pt x="71" y="716"/>
                    </a:lnTo>
                    <a:lnTo>
                      <a:pt x="71" y="716"/>
                    </a:lnTo>
                    <a:lnTo>
                      <a:pt x="70" y="716"/>
                    </a:lnTo>
                    <a:lnTo>
                      <a:pt x="70" y="716"/>
                    </a:lnTo>
                    <a:lnTo>
                      <a:pt x="68" y="717"/>
                    </a:lnTo>
                    <a:lnTo>
                      <a:pt x="67" y="721"/>
                    </a:lnTo>
                    <a:lnTo>
                      <a:pt x="67" y="724"/>
                    </a:lnTo>
                    <a:lnTo>
                      <a:pt x="58" y="727"/>
                    </a:lnTo>
                    <a:lnTo>
                      <a:pt x="58" y="727"/>
                    </a:lnTo>
                    <a:lnTo>
                      <a:pt x="55" y="724"/>
                    </a:lnTo>
                    <a:lnTo>
                      <a:pt x="54" y="720"/>
                    </a:lnTo>
                    <a:lnTo>
                      <a:pt x="54" y="720"/>
                    </a:lnTo>
                    <a:lnTo>
                      <a:pt x="50" y="719"/>
                    </a:lnTo>
                    <a:lnTo>
                      <a:pt x="48" y="716"/>
                    </a:lnTo>
                    <a:lnTo>
                      <a:pt x="47" y="712"/>
                    </a:lnTo>
                    <a:lnTo>
                      <a:pt x="47" y="710"/>
                    </a:lnTo>
                    <a:lnTo>
                      <a:pt x="47" y="710"/>
                    </a:lnTo>
                    <a:lnTo>
                      <a:pt x="48" y="706"/>
                    </a:lnTo>
                    <a:lnTo>
                      <a:pt x="48" y="702"/>
                    </a:lnTo>
                    <a:lnTo>
                      <a:pt x="47" y="695"/>
                    </a:lnTo>
                    <a:lnTo>
                      <a:pt x="47" y="695"/>
                    </a:lnTo>
                    <a:lnTo>
                      <a:pt x="45" y="687"/>
                    </a:lnTo>
                    <a:lnTo>
                      <a:pt x="45" y="683"/>
                    </a:lnTo>
                    <a:lnTo>
                      <a:pt x="46" y="679"/>
                    </a:lnTo>
                    <a:lnTo>
                      <a:pt x="45" y="678"/>
                    </a:lnTo>
                    <a:lnTo>
                      <a:pt x="45" y="675"/>
                    </a:lnTo>
                    <a:lnTo>
                      <a:pt x="45" y="675"/>
                    </a:lnTo>
                    <a:lnTo>
                      <a:pt x="45" y="675"/>
                    </a:lnTo>
                    <a:lnTo>
                      <a:pt x="45" y="675"/>
                    </a:lnTo>
                    <a:lnTo>
                      <a:pt x="45" y="675"/>
                    </a:lnTo>
                    <a:lnTo>
                      <a:pt x="45" y="674"/>
                    </a:lnTo>
                    <a:lnTo>
                      <a:pt x="39" y="669"/>
                    </a:lnTo>
                    <a:lnTo>
                      <a:pt x="39" y="669"/>
                    </a:lnTo>
                    <a:lnTo>
                      <a:pt x="42" y="666"/>
                    </a:lnTo>
                    <a:lnTo>
                      <a:pt x="45" y="663"/>
                    </a:lnTo>
                    <a:lnTo>
                      <a:pt x="45" y="663"/>
                    </a:lnTo>
                    <a:lnTo>
                      <a:pt x="43" y="665"/>
                    </a:lnTo>
                    <a:lnTo>
                      <a:pt x="42" y="667"/>
                    </a:lnTo>
                    <a:lnTo>
                      <a:pt x="47" y="663"/>
                    </a:lnTo>
                    <a:lnTo>
                      <a:pt x="47" y="662"/>
                    </a:lnTo>
                    <a:lnTo>
                      <a:pt x="48" y="662"/>
                    </a:lnTo>
                    <a:lnTo>
                      <a:pt x="48" y="662"/>
                    </a:lnTo>
                    <a:lnTo>
                      <a:pt x="50" y="661"/>
                    </a:lnTo>
                    <a:lnTo>
                      <a:pt x="50" y="661"/>
                    </a:lnTo>
                    <a:lnTo>
                      <a:pt x="54" y="657"/>
                    </a:lnTo>
                    <a:lnTo>
                      <a:pt x="54" y="657"/>
                    </a:lnTo>
                    <a:lnTo>
                      <a:pt x="54" y="657"/>
                    </a:lnTo>
                    <a:lnTo>
                      <a:pt x="54" y="657"/>
                    </a:lnTo>
                    <a:lnTo>
                      <a:pt x="54" y="655"/>
                    </a:lnTo>
                    <a:lnTo>
                      <a:pt x="54" y="655"/>
                    </a:lnTo>
                    <a:lnTo>
                      <a:pt x="54" y="655"/>
                    </a:lnTo>
                    <a:lnTo>
                      <a:pt x="50" y="651"/>
                    </a:lnTo>
                    <a:lnTo>
                      <a:pt x="50" y="650"/>
                    </a:lnTo>
                    <a:lnTo>
                      <a:pt x="50" y="649"/>
                    </a:lnTo>
                    <a:lnTo>
                      <a:pt x="50" y="649"/>
                    </a:lnTo>
                    <a:lnTo>
                      <a:pt x="51" y="651"/>
                    </a:lnTo>
                    <a:lnTo>
                      <a:pt x="52" y="653"/>
                    </a:lnTo>
                    <a:lnTo>
                      <a:pt x="50" y="645"/>
                    </a:lnTo>
                    <a:lnTo>
                      <a:pt x="50" y="645"/>
                    </a:lnTo>
                    <a:lnTo>
                      <a:pt x="52" y="639"/>
                    </a:lnTo>
                    <a:lnTo>
                      <a:pt x="56" y="637"/>
                    </a:lnTo>
                    <a:lnTo>
                      <a:pt x="59" y="635"/>
                    </a:lnTo>
                    <a:lnTo>
                      <a:pt x="63" y="635"/>
                    </a:lnTo>
                    <a:lnTo>
                      <a:pt x="63" y="635"/>
                    </a:lnTo>
                    <a:lnTo>
                      <a:pt x="64" y="635"/>
                    </a:lnTo>
                    <a:lnTo>
                      <a:pt x="64" y="635"/>
                    </a:lnTo>
                    <a:lnTo>
                      <a:pt x="67" y="637"/>
                    </a:lnTo>
                    <a:lnTo>
                      <a:pt x="70" y="637"/>
                    </a:lnTo>
                    <a:lnTo>
                      <a:pt x="70" y="637"/>
                    </a:lnTo>
                    <a:lnTo>
                      <a:pt x="74" y="638"/>
                    </a:lnTo>
                    <a:lnTo>
                      <a:pt x="74" y="638"/>
                    </a:lnTo>
                    <a:lnTo>
                      <a:pt x="78" y="642"/>
                    </a:lnTo>
                    <a:lnTo>
                      <a:pt x="78" y="642"/>
                    </a:lnTo>
                    <a:lnTo>
                      <a:pt x="80" y="645"/>
                    </a:lnTo>
                    <a:lnTo>
                      <a:pt x="80" y="645"/>
                    </a:lnTo>
                    <a:lnTo>
                      <a:pt x="84" y="646"/>
                    </a:lnTo>
                    <a:lnTo>
                      <a:pt x="84" y="646"/>
                    </a:lnTo>
                    <a:lnTo>
                      <a:pt x="89" y="651"/>
                    </a:lnTo>
                    <a:lnTo>
                      <a:pt x="91" y="650"/>
                    </a:lnTo>
                    <a:lnTo>
                      <a:pt x="91" y="650"/>
                    </a:lnTo>
                    <a:lnTo>
                      <a:pt x="93" y="650"/>
                    </a:lnTo>
                    <a:lnTo>
                      <a:pt x="93" y="650"/>
                    </a:lnTo>
                    <a:lnTo>
                      <a:pt x="97" y="650"/>
                    </a:lnTo>
                    <a:lnTo>
                      <a:pt x="97" y="650"/>
                    </a:lnTo>
                    <a:lnTo>
                      <a:pt x="99" y="650"/>
                    </a:lnTo>
                    <a:lnTo>
                      <a:pt x="99" y="650"/>
                    </a:lnTo>
                    <a:lnTo>
                      <a:pt x="97" y="651"/>
                    </a:lnTo>
                    <a:lnTo>
                      <a:pt x="96" y="654"/>
                    </a:lnTo>
                    <a:lnTo>
                      <a:pt x="101" y="649"/>
                    </a:lnTo>
                    <a:lnTo>
                      <a:pt x="105" y="649"/>
                    </a:lnTo>
                    <a:lnTo>
                      <a:pt x="105" y="649"/>
                    </a:lnTo>
                    <a:lnTo>
                      <a:pt x="108" y="646"/>
                    </a:lnTo>
                    <a:lnTo>
                      <a:pt x="111" y="643"/>
                    </a:lnTo>
                    <a:lnTo>
                      <a:pt x="116" y="637"/>
                    </a:lnTo>
                    <a:lnTo>
                      <a:pt x="116" y="635"/>
                    </a:lnTo>
                    <a:lnTo>
                      <a:pt x="117" y="633"/>
                    </a:lnTo>
                    <a:lnTo>
                      <a:pt x="119" y="632"/>
                    </a:lnTo>
                    <a:lnTo>
                      <a:pt x="119" y="632"/>
                    </a:lnTo>
                    <a:lnTo>
                      <a:pt x="126" y="625"/>
                    </a:lnTo>
                    <a:lnTo>
                      <a:pt x="129" y="621"/>
                    </a:lnTo>
                    <a:lnTo>
                      <a:pt x="132" y="618"/>
                    </a:lnTo>
                    <a:lnTo>
                      <a:pt x="132" y="618"/>
                    </a:lnTo>
                    <a:lnTo>
                      <a:pt x="132" y="613"/>
                    </a:lnTo>
                    <a:lnTo>
                      <a:pt x="134" y="610"/>
                    </a:lnTo>
                    <a:lnTo>
                      <a:pt x="134" y="610"/>
                    </a:lnTo>
                    <a:lnTo>
                      <a:pt x="136" y="609"/>
                    </a:lnTo>
                    <a:lnTo>
                      <a:pt x="138" y="605"/>
                    </a:lnTo>
                    <a:lnTo>
                      <a:pt x="138" y="605"/>
                    </a:lnTo>
                    <a:lnTo>
                      <a:pt x="137" y="606"/>
                    </a:lnTo>
                    <a:lnTo>
                      <a:pt x="137" y="606"/>
                    </a:lnTo>
                    <a:lnTo>
                      <a:pt x="137" y="605"/>
                    </a:lnTo>
                    <a:lnTo>
                      <a:pt x="137" y="604"/>
                    </a:lnTo>
                    <a:lnTo>
                      <a:pt x="138" y="600"/>
                    </a:lnTo>
                    <a:lnTo>
                      <a:pt x="138" y="600"/>
                    </a:lnTo>
                    <a:lnTo>
                      <a:pt x="141" y="596"/>
                    </a:lnTo>
                    <a:lnTo>
                      <a:pt x="142" y="589"/>
                    </a:lnTo>
                    <a:lnTo>
                      <a:pt x="142" y="589"/>
                    </a:lnTo>
                    <a:lnTo>
                      <a:pt x="146" y="584"/>
                    </a:lnTo>
                    <a:lnTo>
                      <a:pt x="145" y="584"/>
                    </a:lnTo>
                    <a:lnTo>
                      <a:pt x="145" y="584"/>
                    </a:lnTo>
                    <a:lnTo>
                      <a:pt x="144" y="587"/>
                    </a:lnTo>
                    <a:lnTo>
                      <a:pt x="144" y="587"/>
                    </a:lnTo>
                    <a:lnTo>
                      <a:pt x="144" y="585"/>
                    </a:lnTo>
                    <a:lnTo>
                      <a:pt x="144" y="585"/>
                    </a:lnTo>
                    <a:lnTo>
                      <a:pt x="144" y="584"/>
                    </a:lnTo>
                    <a:lnTo>
                      <a:pt x="144" y="583"/>
                    </a:lnTo>
                    <a:lnTo>
                      <a:pt x="149" y="576"/>
                    </a:lnTo>
                    <a:lnTo>
                      <a:pt x="149" y="576"/>
                    </a:lnTo>
                    <a:lnTo>
                      <a:pt x="146" y="577"/>
                    </a:lnTo>
                    <a:lnTo>
                      <a:pt x="145" y="580"/>
                    </a:lnTo>
                    <a:lnTo>
                      <a:pt x="145" y="580"/>
                    </a:lnTo>
                    <a:lnTo>
                      <a:pt x="145" y="579"/>
                    </a:lnTo>
                    <a:lnTo>
                      <a:pt x="145" y="579"/>
                    </a:lnTo>
                    <a:lnTo>
                      <a:pt x="145" y="575"/>
                    </a:lnTo>
                    <a:lnTo>
                      <a:pt x="145" y="572"/>
                    </a:lnTo>
                    <a:lnTo>
                      <a:pt x="148" y="567"/>
                    </a:lnTo>
                    <a:lnTo>
                      <a:pt x="148" y="567"/>
                    </a:lnTo>
                    <a:lnTo>
                      <a:pt x="146" y="569"/>
                    </a:lnTo>
                    <a:lnTo>
                      <a:pt x="146" y="569"/>
                    </a:lnTo>
                    <a:lnTo>
                      <a:pt x="146" y="563"/>
                    </a:lnTo>
                    <a:lnTo>
                      <a:pt x="146" y="563"/>
                    </a:lnTo>
                    <a:lnTo>
                      <a:pt x="148" y="564"/>
                    </a:lnTo>
                    <a:lnTo>
                      <a:pt x="145" y="560"/>
                    </a:lnTo>
                    <a:lnTo>
                      <a:pt x="145" y="557"/>
                    </a:lnTo>
                    <a:lnTo>
                      <a:pt x="145" y="557"/>
                    </a:lnTo>
                    <a:lnTo>
                      <a:pt x="145" y="552"/>
                    </a:lnTo>
                    <a:lnTo>
                      <a:pt x="145" y="552"/>
                    </a:lnTo>
                    <a:lnTo>
                      <a:pt x="145" y="551"/>
                    </a:lnTo>
                    <a:lnTo>
                      <a:pt x="145" y="551"/>
                    </a:lnTo>
                    <a:lnTo>
                      <a:pt x="146" y="552"/>
                    </a:lnTo>
                    <a:lnTo>
                      <a:pt x="149" y="554"/>
                    </a:lnTo>
                    <a:lnTo>
                      <a:pt x="146" y="551"/>
                    </a:lnTo>
                    <a:lnTo>
                      <a:pt x="146" y="551"/>
                    </a:lnTo>
                    <a:lnTo>
                      <a:pt x="146" y="551"/>
                    </a:lnTo>
                    <a:lnTo>
                      <a:pt x="142" y="546"/>
                    </a:lnTo>
                    <a:lnTo>
                      <a:pt x="142" y="546"/>
                    </a:lnTo>
                    <a:lnTo>
                      <a:pt x="142" y="542"/>
                    </a:lnTo>
                    <a:lnTo>
                      <a:pt x="141" y="539"/>
                    </a:lnTo>
                    <a:lnTo>
                      <a:pt x="141" y="539"/>
                    </a:lnTo>
                    <a:lnTo>
                      <a:pt x="140" y="531"/>
                    </a:lnTo>
                    <a:lnTo>
                      <a:pt x="140" y="531"/>
                    </a:lnTo>
                    <a:lnTo>
                      <a:pt x="140" y="527"/>
                    </a:lnTo>
                    <a:lnTo>
                      <a:pt x="141" y="523"/>
                    </a:lnTo>
                    <a:lnTo>
                      <a:pt x="145" y="520"/>
                    </a:lnTo>
                    <a:lnTo>
                      <a:pt x="145" y="520"/>
                    </a:lnTo>
                    <a:lnTo>
                      <a:pt x="145" y="519"/>
                    </a:lnTo>
                    <a:lnTo>
                      <a:pt x="145" y="519"/>
                    </a:lnTo>
                    <a:lnTo>
                      <a:pt x="145" y="515"/>
                    </a:lnTo>
                    <a:lnTo>
                      <a:pt x="145" y="515"/>
                    </a:lnTo>
                    <a:lnTo>
                      <a:pt x="145" y="514"/>
                    </a:lnTo>
                    <a:lnTo>
                      <a:pt x="145" y="514"/>
                    </a:lnTo>
                    <a:lnTo>
                      <a:pt x="146" y="517"/>
                    </a:lnTo>
                    <a:lnTo>
                      <a:pt x="149" y="518"/>
                    </a:lnTo>
                    <a:lnTo>
                      <a:pt x="144" y="511"/>
                    </a:lnTo>
                    <a:lnTo>
                      <a:pt x="144" y="511"/>
                    </a:lnTo>
                    <a:lnTo>
                      <a:pt x="142" y="506"/>
                    </a:lnTo>
                    <a:lnTo>
                      <a:pt x="141" y="501"/>
                    </a:lnTo>
                    <a:lnTo>
                      <a:pt x="141" y="501"/>
                    </a:lnTo>
                    <a:lnTo>
                      <a:pt x="138" y="493"/>
                    </a:lnTo>
                    <a:lnTo>
                      <a:pt x="138" y="491"/>
                    </a:lnTo>
                    <a:lnTo>
                      <a:pt x="138" y="491"/>
                    </a:lnTo>
                    <a:lnTo>
                      <a:pt x="137" y="487"/>
                    </a:lnTo>
                    <a:lnTo>
                      <a:pt x="137" y="487"/>
                    </a:lnTo>
                    <a:lnTo>
                      <a:pt x="137" y="483"/>
                    </a:lnTo>
                    <a:lnTo>
                      <a:pt x="137" y="483"/>
                    </a:lnTo>
                    <a:lnTo>
                      <a:pt x="137" y="482"/>
                    </a:lnTo>
                    <a:lnTo>
                      <a:pt x="136" y="482"/>
                    </a:lnTo>
                    <a:lnTo>
                      <a:pt x="136" y="482"/>
                    </a:lnTo>
                    <a:lnTo>
                      <a:pt x="133" y="477"/>
                    </a:lnTo>
                    <a:lnTo>
                      <a:pt x="133" y="472"/>
                    </a:lnTo>
                    <a:lnTo>
                      <a:pt x="133" y="472"/>
                    </a:lnTo>
                    <a:lnTo>
                      <a:pt x="133" y="469"/>
                    </a:lnTo>
                    <a:lnTo>
                      <a:pt x="133" y="469"/>
                    </a:lnTo>
                    <a:lnTo>
                      <a:pt x="133" y="464"/>
                    </a:lnTo>
                    <a:lnTo>
                      <a:pt x="134" y="460"/>
                    </a:lnTo>
                    <a:lnTo>
                      <a:pt x="134" y="460"/>
                    </a:lnTo>
                    <a:lnTo>
                      <a:pt x="134" y="457"/>
                    </a:lnTo>
                    <a:lnTo>
                      <a:pt x="134" y="457"/>
                    </a:lnTo>
                    <a:lnTo>
                      <a:pt x="134" y="456"/>
                    </a:lnTo>
                    <a:lnTo>
                      <a:pt x="134" y="456"/>
                    </a:lnTo>
                    <a:lnTo>
                      <a:pt x="136" y="457"/>
                    </a:lnTo>
                    <a:lnTo>
                      <a:pt x="136" y="457"/>
                    </a:lnTo>
                    <a:lnTo>
                      <a:pt x="137" y="457"/>
                    </a:lnTo>
                    <a:lnTo>
                      <a:pt x="133" y="453"/>
                    </a:lnTo>
                    <a:lnTo>
                      <a:pt x="133" y="453"/>
                    </a:lnTo>
                    <a:lnTo>
                      <a:pt x="134" y="454"/>
                    </a:lnTo>
                    <a:lnTo>
                      <a:pt x="134" y="454"/>
                    </a:lnTo>
                    <a:lnTo>
                      <a:pt x="132" y="450"/>
                    </a:lnTo>
                    <a:lnTo>
                      <a:pt x="132" y="449"/>
                    </a:lnTo>
                    <a:lnTo>
                      <a:pt x="132" y="449"/>
                    </a:lnTo>
                    <a:lnTo>
                      <a:pt x="132" y="449"/>
                    </a:lnTo>
                    <a:lnTo>
                      <a:pt x="132" y="449"/>
                    </a:lnTo>
                    <a:lnTo>
                      <a:pt x="130" y="446"/>
                    </a:lnTo>
                    <a:lnTo>
                      <a:pt x="129" y="441"/>
                    </a:lnTo>
                    <a:lnTo>
                      <a:pt x="129" y="441"/>
                    </a:lnTo>
                    <a:lnTo>
                      <a:pt x="129" y="440"/>
                    </a:lnTo>
                    <a:lnTo>
                      <a:pt x="129" y="440"/>
                    </a:lnTo>
                    <a:lnTo>
                      <a:pt x="130" y="440"/>
                    </a:lnTo>
                    <a:lnTo>
                      <a:pt x="128" y="435"/>
                    </a:lnTo>
                    <a:lnTo>
                      <a:pt x="128" y="433"/>
                    </a:lnTo>
                    <a:lnTo>
                      <a:pt x="128" y="433"/>
                    </a:lnTo>
                    <a:lnTo>
                      <a:pt x="126" y="431"/>
                    </a:lnTo>
                    <a:lnTo>
                      <a:pt x="126" y="431"/>
                    </a:lnTo>
                    <a:lnTo>
                      <a:pt x="128" y="432"/>
                    </a:lnTo>
                    <a:lnTo>
                      <a:pt x="125" y="429"/>
                    </a:lnTo>
                    <a:lnTo>
                      <a:pt x="125" y="429"/>
                    </a:lnTo>
                    <a:lnTo>
                      <a:pt x="125" y="428"/>
                    </a:lnTo>
                    <a:lnTo>
                      <a:pt x="125" y="428"/>
                    </a:lnTo>
                    <a:lnTo>
                      <a:pt x="123" y="421"/>
                    </a:lnTo>
                    <a:lnTo>
                      <a:pt x="123" y="417"/>
                    </a:lnTo>
                    <a:lnTo>
                      <a:pt x="125" y="413"/>
                    </a:lnTo>
                    <a:lnTo>
                      <a:pt x="125" y="413"/>
                    </a:lnTo>
                    <a:lnTo>
                      <a:pt x="125" y="411"/>
                    </a:lnTo>
                    <a:lnTo>
                      <a:pt x="125" y="409"/>
                    </a:lnTo>
                    <a:lnTo>
                      <a:pt x="125" y="409"/>
                    </a:lnTo>
                    <a:lnTo>
                      <a:pt x="125" y="407"/>
                    </a:lnTo>
                    <a:lnTo>
                      <a:pt x="123" y="405"/>
                    </a:lnTo>
                    <a:lnTo>
                      <a:pt x="123" y="405"/>
                    </a:lnTo>
                    <a:lnTo>
                      <a:pt x="121" y="403"/>
                    </a:lnTo>
                    <a:lnTo>
                      <a:pt x="121" y="400"/>
                    </a:lnTo>
                    <a:lnTo>
                      <a:pt x="121" y="400"/>
                    </a:lnTo>
                    <a:lnTo>
                      <a:pt x="117" y="395"/>
                    </a:lnTo>
                    <a:lnTo>
                      <a:pt x="117" y="395"/>
                    </a:lnTo>
                    <a:lnTo>
                      <a:pt x="112" y="387"/>
                    </a:lnTo>
                    <a:lnTo>
                      <a:pt x="112" y="384"/>
                    </a:lnTo>
                    <a:lnTo>
                      <a:pt x="112" y="383"/>
                    </a:lnTo>
                    <a:lnTo>
                      <a:pt x="112" y="383"/>
                    </a:lnTo>
                    <a:lnTo>
                      <a:pt x="112" y="382"/>
                    </a:lnTo>
                    <a:lnTo>
                      <a:pt x="112" y="382"/>
                    </a:lnTo>
                    <a:lnTo>
                      <a:pt x="112" y="380"/>
                    </a:lnTo>
                    <a:lnTo>
                      <a:pt x="111" y="379"/>
                    </a:lnTo>
                    <a:lnTo>
                      <a:pt x="111" y="379"/>
                    </a:lnTo>
                    <a:lnTo>
                      <a:pt x="112" y="382"/>
                    </a:lnTo>
                    <a:lnTo>
                      <a:pt x="112" y="382"/>
                    </a:lnTo>
                    <a:lnTo>
                      <a:pt x="111" y="379"/>
                    </a:lnTo>
                    <a:lnTo>
                      <a:pt x="109" y="375"/>
                    </a:lnTo>
                    <a:lnTo>
                      <a:pt x="109" y="370"/>
                    </a:lnTo>
                    <a:lnTo>
                      <a:pt x="109" y="370"/>
                    </a:lnTo>
                    <a:lnTo>
                      <a:pt x="108" y="364"/>
                    </a:lnTo>
                    <a:lnTo>
                      <a:pt x="104" y="360"/>
                    </a:lnTo>
                    <a:lnTo>
                      <a:pt x="103" y="359"/>
                    </a:lnTo>
                    <a:lnTo>
                      <a:pt x="101" y="357"/>
                    </a:lnTo>
                    <a:lnTo>
                      <a:pt x="101" y="357"/>
                    </a:lnTo>
                    <a:lnTo>
                      <a:pt x="91" y="342"/>
                    </a:lnTo>
                    <a:lnTo>
                      <a:pt x="89" y="339"/>
                    </a:lnTo>
                    <a:lnTo>
                      <a:pt x="89" y="339"/>
                    </a:lnTo>
                    <a:lnTo>
                      <a:pt x="88" y="338"/>
                    </a:lnTo>
                    <a:lnTo>
                      <a:pt x="88" y="338"/>
                    </a:lnTo>
                    <a:lnTo>
                      <a:pt x="88" y="337"/>
                    </a:lnTo>
                    <a:lnTo>
                      <a:pt x="88" y="337"/>
                    </a:lnTo>
                    <a:lnTo>
                      <a:pt x="89" y="338"/>
                    </a:lnTo>
                    <a:lnTo>
                      <a:pt x="89" y="338"/>
                    </a:lnTo>
                    <a:lnTo>
                      <a:pt x="89" y="338"/>
                    </a:lnTo>
                    <a:lnTo>
                      <a:pt x="85" y="333"/>
                    </a:lnTo>
                    <a:lnTo>
                      <a:pt x="85" y="333"/>
                    </a:lnTo>
                    <a:lnTo>
                      <a:pt x="85" y="333"/>
                    </a:lnTo>
                    <a:lnTo>
                      <a:pt x="85" y="333"/>
                    </a:lnTo>
                    <a:lnTo>
                      <a:pt x="85" y="333"/>
                    </a:lnTo>
                    <a:lnTo>
                      <a:pt x="85" y="333"/>
                    </a:lnTo>
                    <a:lnTo>
                      <a:pt x="83" y="330"/>
                    </a:lnTo>
                    <a:lnTo>
                      <a:pt x="82" y="325"/>
                    </a:lnTo>
                    <a:lnTo>
                      <a:pt x="82" y="325"/>
                    </a:lnTo>
                    <a:lnTo>
                      <a:pt x="78" y="320"/>
                    </a:lnTo>
                    <a:lnTo>
                      <a:pt x="74" y="314"/>
                    </a:lnTo>
                    <a:lnTo>
                      <a:pt x="63" y="305"/>
                    </a:lnTo>
                    <a:lnTo>
                      <a:pt x="63" y="305"/>
                    </a:lnTo>
                    <a:lnTo>
                      <a:pt x="55" y="297"/>
                    </a:lnTo>
                    <a:lnTo>
                      <a:pt x="54" y="294"/>
                    </a:lnTo>
                    <a:lnTo>
                      <a:pt x="54" y="294"/>
                    </a:lnTo>
                    <a:lnTo>
                      <a:pt x="51" y="290"/>
                    </a:lnTo>
                    <a:lnTo>
                      <a:pt x="51" y="290"/>
                    </a:lnTo>
                    <a:lnTo>
                      <a:pt x="47" y="284"/>
                    </a:lnTo>
                    <a:lnTo>
                      <a:pt x="42" y="281"/>
                    </a:lnTo>
                    <a:lnTo>
                      <a:pt x="39" y="276"/>
                    </a:lnTo>
                    <a:lnTo>
                      <a:pt x="39" y="276"/>
                    </a:lnTo>
                    <a:lnTo>
                      <a:pt x="39" y="276"/>
                    </a:lnTo>
                    <a:lnTo>
                      <a:pt x="35" y="271"/>
                    </a:lnTo>
                    <a:lnTo>
                      <a:pt x="30" y="267"/>
                    </a:lnTo>
                    <a:lnTo>
                      <a:pt x="29" y="265"/>
                    </a:lnTo>
                    <a:lnTo>
                      <a:pt x="29" y="265"/>
                    </a:lnTo>
                    <a:lnTo>
                      <a:pt x="29" y="265"/>
                    </a:lnTo>
                    <a:lnTo>
                      <a:pt x="26" y="261"/>
                    </a:lnTo>
                    <a:lnTo>
                      <a:pt x="26" y="261"/>
                    </a:lnTo>
                    <a:lnTo>
                      <a:pt x="22" y="257"/>
                    </a:lnTo>
                    <a:lnTo>
                      <a:pt x="22" y="248"/>
                    </a:lnTo>
                    <a:lnTo>
                      <a:pt x="22" y="248"/>
                    </a:lnTo>
                    <a:lnTo>
                      <a:pt x="22" y="248"/>
                    </a:lnTo>
                    <a:lnTo>
                      <a:pt x="22" y="248"/>
                    </a:lnTo>
                    <a:lnTo>
                      <a:pt x="22" y="248"/>
                    </a:lnTo>
                    <a:lnTo>
                      <a:pt x="22" y="247"/>
                    </a:lnTo>
                    <a:lnTo>
                      <a:pt x="22" y="247"/>
                    </a:lnTo>
                    <a:lnTo>
                      <a:pt x="22" y="244"/>
                    </a:lnTo>
                    <a:lnTo>
                      <a:pt x="19" y="242"/>
                    </a:lnTo>
                    <a:lnTo>
                      <a:pt x="18" y="239"/>
                    </a:lnTo>
                    <a:lnTo>
                      <a:pt x="18" y="239"/>
                    </a:lnTo>
                    <a:lnTo>
                      <a:pt x="9" y="231"/>
                    </a:lnTo>
                    <a:lnTo>
                      <a:pt x="9" y="231"/>
                    </a:lnTo>
                    <a:lnTo>
                      <a:pt x="1" y="223"/>
                    </a:lnTo>
                    <a:lnTo>
                      <a:pt x="0" y="219"/>
                    </a:lnTo>
                    <a:lnTo>
                      <a:pt x="0" y="219"/>
                    </a:lnTo>
                    <a:lnTo>
                      <a:pt x="0" y="215"/>
                    </a:lnTo>
                    <a:lnTo>
                      <a:pt x="2" y="214"/>
                    </a:lnTo>
                    <a:lnTo>
                      <a:pt x="6" y="212"/>
                    </a:lnTo>
                    <a:lnTo>
                      <a:pt x="7" y="212"/>
                    </a:lnTo>
                    <a:lnTo>
                      <a:pt x="7" y="212"/>
                    </a:lnTo>
                    <a:lnTo>
                      <a:pt x="7" y="212"/>
                    </a:lnTo>
                    <a:lnTo>
                      <a:pt x="9" y="215"/>
                    </a:lnTo>
                    <a:lnTo>
                      <a:pt x="9" y="215"/>
                    </a:lnTo>
                    <a:lnTo>
                      <a:pt x="9" y="216"/>
                    </a:lnTo>
                    <a:lnTo>
                      <a:pt x="9" y="216"/>
                    </a:lnTo>
                    <a:lnTo>
                      <a:pt x="9" y="215"/>
                    </a:lnTo>
                    <a:lnTo>
                      <a:pt x="9" y="215"/>
                    </a:lnTo>
                    <a:lnTo>
                      <a:pt x="9" y="216"/>
                    </a:lnTo>
                    <a:lnTo>
                      <a:pt x="9" y="216"/>
                    </a:lnTo>
                    <a:lnTo>
                      <a:pt x="10" y="216"/>
                    </a:lnTo>
                    <a:lnTo>
                      <a:pt x="10" y="216"/>
                    </a:lnTo>
                    <a:lnTo>
                      <a:pt x="10" y="216"/>
                    </a:lnTo>
                    <a:lnTo>
                      <a:pt x="11" y="218"/>
                    </a:lnTo>
                    <a:lnTo>
                      <a:pt x="13" y="219"/>
                    </a:lnTo>
                    <a:lnTo>
                      <a:pt x="11" y="216"/>
                    </a:lnTo>
                    <a:lnTo>
                      <a:pt x="11" y="216"/>
                    </a:lnTo>
                    <a:lnTo>
                      <a:pt x="9" y="214"/>
                    </a:lnTo>
                    <a:lnTo>
                      <a:pt x="9" y="214"/>
                    </a:lnTo>
                    <a:lnTo>
                      <a:pt x="9" y="214"/>
                    </a:lnTo>
                    <a:lnTo>
                      <a:pt x="9" y="214"/>
                    </a:lnTo>
                    <a:lnTo>
                      <a:pt x="9" y="214"/>
                    </a:lnTo>
                    <a:lnTo>
                      <a:pt x="7" y="212"/>
                    </a:lnTo>
                    <a:lnTo>
                      <a:pt x="9" y="212"/>
                    </a:lnTo>
                    <a:lnTo>
                      <a:pt x="7" y="212"/>
                    </a:lnTo>
                    <a:lnTo>
                      <a:pt x="7" y="212"/>
                    </a:lnTo>
                    <a:lnTo>
                      <a:pt x="7" y="212"/>
                    </a:lnTo>
                    <a:lnTo>
                      <a:pt x="6" y="211"/>
                    </a:lnTo>
                    <a:lnTo>
                      <a:pt x="6" y="211"/>
                    </a:lnTo>
                    <a:lnTo>
                      <a:pt x="6" y="210"/>
                    </a:lnTo>
                    <a:lnTo>
                      <a:pt x="6" y="210"/>
                    </a:lnTo>
                    <a:lnTo>
                      <a:pt x="6" y="207"/>
                    </a:lnTo>
                    <a:lnTo>
                      <a:pt x="5" y="203"/>
                    </a:lnTo>
                    <a:lnTo>
                      <a:pt x="5" y="203"/>
                    </a:lnTo>
                    <a:lnTo>
                      <a:pt x="5" y="199"/>
                    </a:lnTo>
                    <a:lnTo>
                      <a:pt x="4" y="197"/>
                    </a:lnTo>
                    <a:lnTo>
                      <a:pt x="6" y="190"/>
                    </a:lnTo>
                    <a:lnTo>
                      <a:pt x="9" y="186"/>
                    </a:lnTo>
                    <a:lnTo>
                      <a:pt x="13" y="182"/>
                    </a:lnTo>
                    <a:lnTo>
                      <a:pt x="13" y="182"/>
                    </a:lnTo>
                    <a:lnTo>
                      <a:pt x="17" y="178"/>
                    </a:lnTo>
                    <a:lnTo>
                      <a:pt x="19" y="177"/>
                    </a:lnTo>
                    <a:lnTo>
                      <a:pt x="18" y="177"/>
                    </a:lnTo>
                    <a:lnTo>
                      <a:pt x="18" y="177"/>
                    </a:lnTo>
                    <a:lnTo>
                      <a:pt x="22" y="174"/>
                    </a:lnTo>
                    <a:lnTo>
                      <a:pt x="22" y="174"/>
                    </a:lnTo>
                    <a:lnTo>
                      <a:pt x="27" y="169"/>
                    </a:lnTo>
                    <a:lnTo>
                      <a:pt x="27" y="169"/>
                    </a:lnTo>
                    <a:lnTo>
                      <a:pt x="27" y="169"/>
                    </a:lnTo>
                    <a:lnTo>
                      <a:pt x="25" y="165"/>
                    </a:lnTo>
                    <a:lnTo>
                      <a:pt x="25" y="165"/>
                    </a:lnTo>
                    <a:lnTo>
                      <a:pt x="26" y="166"/>
                    </a:lnTo>
                    <a:lnTo>
                      <a:pt x="26" y="166"/>
                    </a:lnTo>
                    <a:lnTo>
                      <a:pt x="22" y="164"/>
                    </a:lnTo>
                    <a:lnTo>
                      <a:pt x="21" y="162"/>
                    </a:lnTo>
                    <a:lnTo>
                      <a:pt x="21" y="160"/>
                    </a:lnTo>
                    <a:lnTo>
                      <a:pt x="21" y="160"/>
                    </a:lnTo>
                    <a:lnTo>
                      <a:pt x="18" y="156"/>
                    </a:lnTo>
                    <a:lnTo>
                      <a:pt x="17" y="153"/>
                    </a:lnTo>
                    <a:lnTo>
                      <a:pt x="17" y="148"/>
                    </a:lnTo>
                    <a:lnTo>
                      <a:pt x="23" y="144"/>
                    </a:lnTo>
                    <a:lnTo>
                      <a:pt x="23" y="144"/>
                    </a:lnTo>
                    <a:lnTo>
                      <a:pt x="25" y="144"/>
                    </a:lnTo>
                    <a:lnTo>
                      <a:pt x="25" y="144"/>
                    </a:lnTo>
                    <a:lnTo>
                      <a:pt x="27" y="144"/>
                    </a:lnTo>
                    <a:lnTo>
                      <a:pt x="31" y="141"/>
                    </a:lnTo>
                    <a:lnTo>
                      <a:pt x="31" y="141"/>
                    </a:lnTo>
                    <a:lnTo>
                      <a:pt x="34" y="140"/>
                    </a:lnTo>
                    <a:lnTo>
                      <a:pt x="37" y="140"/>
                    </a:lnTo>
                    <a:lnTo>
                      <a:pt x="37" y="140"/>
                    </a:lnTo>
                    <a:lnTo>
                      <a:pt x="35" y="141"/>
                    </a:lnTo>
                    <a:lnTo>
                      <a:pt x="34" y="142"/>
                    </a:lnTo>
                    <a:lnTo>
                      <a:pt x="38" y="140"/>
                    </a:lnTo>
                    <a:lnTo>
                      <a:pt x="38" y="140"/>
                    </a:lnTo>
                    <a:lnTo>
                      <a:pt x="38" y="140"/>
                    </a:lnTo>
                    <a:lnTo>
                      <a:pt x="38" y="140"/>
                    </a:lnTo>
                    <a:lnTo>
                      <a:pt x="39" y="138"/>
                    </a:lnTo>
                    <a:lnTo>
                      <a:pt x="42" y="138"/>
                    </a:lnTo>
                    <a:lnTo>
                      <a:pt x="43" y="140"/>
                    </a:lnTo>
                    <a:lnTo>
                      <a:pt x="43" y="140"/>
                    </a:lnTo>
                    <a:lnTo>
                      <a:pt x="43" y="137"/>
                    </a:lnTo>
                    <a:lnTo>
                      <a:pt x="43" y="134"/>
                    </a:lnTo>
                    <a:lnTo>
                      <a:pt x="42" y="130"/>
                    </a:lnTo>
                    <a:lnTo>
                      <a:pt x="42" y="115"/>
                    </a:lnTo>
                    <a:lnTo>
                      <a:pt x="43" y="112"/>
                    </a:lnTo>
                    <a:lnTo>
                      <a:pt x="43" y="112"/>
                    </a:lnTo>
                    <a:lnTo>
                      <a:pt x="46" y="108"/>
                    </a:lnTo>
                    <a:lnTo>
                      <a:pt x="50" y="105"/>
                    </a:lnTo>
                    <a:lnTo>
                      <a:pt x="50" y="105"/>
                    </a:lnTo>
                    <a:lnTo>
                      <a:pt x="51" y="104"/>
                    </a:lnTo>
                    <a:lnTo>
                      <a:pt x="55" y="101"/>
                    </a:lnTo>
                    <a:lnTo>
                      <a:pt x="56" y="101"/>
                    </a:lnTo>
                    <a:lnTo>
                      <a:pt x="56" y="101"/>
                    </a:lnTo>
                    <a:lnTo>
                      <a:pt x="63" y="103"/>
                    </a:lnTo>
                    <a:lnTo>
                      <a:pt x="67" y="104"/>
                    </a:lnTo>
                    <a:lnTo>
                      <a:pt x="74" y="109"/>
                    </a:lnTo>
                    <a:lnTo>
                      <a:pt x="74" y="109"/>
                    </a:lnTo>
                    <a:lnTo>
                      <a:pt x="78" y="113"/>
                    </a:lnTo>
                    <a:lnTo>
                      <a:pt x="78" y="113"/>
                    </a:lnTo>
                    <a:lnTo>
                      <a:pt x="82" y="116"/>
                    </a:lnTo>
                    <a:lnTo>
                      <a:pt x="82" y="116"/>
                    </a:lnTo>
                    <a:lnTo>
                      <a:pt x="85" y="119"/>
                    </a:lnTo>
                    <a:lnTo>
                      <a:pt x="87" y="119"/>
                    </a:lnTo>
                    <a:lnTo>
                      <a:pt x="87" y="119"/>
                    </a:lnTo>
                    <a:lnTo>
                      <a:pt x="87" y="117"/>
                    </a:lnTo>
                    <a:lnTo>
                      <a:pt x="89" y="116"/>
                    </a:lnTo>
                    <a:lnTo>
                      <a:pt x="89" y="116"/>
                    </a:lnTo>
                    <a:lnTo>
                      <a:pt x="91" y="115"/>
                    </a:lnTo>
                    <a:lnTo>
                      <a:pt x="91" y="115"/>
                    </a:lnTo>
                    <a:lnTo>
                      <a:pt x="95" y="112"/>
                    </a:lnTo>
                    <a:lnTo>
                      <a:pt x="100" y="111"/>
                    </a:lnTo>
                    <a:lnTo>
                      <a:pt x="100" y="111"/>
                    </a:lnTo>
                    <a:lnTo>
                      <a:pt x="105" y="112"/>
                    </a:lnTo>
                    <a:lnTo>
                      <a:pt x="105" y="112"/>
                    </a:lnTo>
                    <a:lnTo>
                      <a:pt x="105" y="111"/>
                    </a:lnTo>
                    <a:lnTo>
                      <a:pt x="105" y="111"/>
                    </a:lnTo>
                    <a:lnTo>
                      <a:pt x="107" y="111"/>
                    </a:lnTo>
                    <a:lnTo>
                      <a:pt x="107" y="111"/>
                    </a:lnTo>
                    <a:lnTo>
                      <a:pt x="109" y="103"/>
                    </a:lnTo>
                    <a:lnTo>
                      <a:pt x="112" y="96"/>
                    </a:lnTo>
                    <a:lnTo>
                      <a:pt x="112" y="96"/>
                    </a:lnTo>
                    <a:lnTo>
                      <a:pt x="116" y="89"/>
                    </a:lnTo>
                    <a:lnTo>
                      <a:pt x="119" y="87"/>
                    </a:lnTo>
                    <a:lnTo>
                      <a:pt x="119" y="87"/>
                    </a:lnTo>
                    <a:lnTo>
                      <a:pt x="120" y="84"/>
                    </a:lnTo>
                    <a:lnTo>
                      <a:pt x="123" y="80"/>
                    </a:lnTo>
                    <a:lnTo>
                      <a:pt x="123" y="80"/>
                    </a:lnTo>
                    <a:lnTo>
                      <a:pt x="125" y="74"/>
                    </a:lnTo>
                    <a:lnTo>
                      <a:pt x="125" y="74"/>
                    </a:lnTo>
                    <a:lnTo>
                      <a:pt x="125" y="71"/>
                    </a:lnTo>
                    <a:lnTo>
                      <a:pt x="126" y="68"/>
                    </a:lnTo>
                    <a:lnTo>
                      <a:pt x="126" y="68"/>
                    </a:lnTo>
                    <a:lnTo>
                      <a:pt x="128" y="68"/>
                    </a:lnTo>
                    <a:lnTo>
                      <a:pt x="128" y="66"/>
                    </a:lnTo>
                    <a:lnTo>
                      <a:pt x="128" y="66"/>
                    </a:lnTo>
                    <a:lnTo>
                      <a:pt x="129" y="64"/>
                    </a:lnTo>
                    <a:lnTo>
                      <a:pt x="128" y="48"/>
                    </a:lnTo>
                    <a:lnTo>
                      <a:pt x="129" y="47"/>
                    </a:lnTo>
                    <a:lnTo>
                      <a:pt x="129" y="47"/>
                    </a:lnTo>
                    <a:lnTo>
                      <a:pt x="130" y="41"/>
                    </a:lnTo>
                    <a:lnTo>
                      <a:pt x="133" y="37"/>
                    </a:lnTo>
                    <a:lnTo>
                      <a:pt x="133" y="37"/>
                    </a:lnTo>
                    <a:lnTo>
                      <a:pt x="136" y="33"/>
                    </a:lnTo>
                    <a:lnTo>
                      <a:pt x="136" y="33"/>
                    </a:lnTo>
                    <a:lnTo>
                      <a:pt x="137" y="29"/>
                    </a:lnTo>
                    <a:lnTo>
                      <a:pt x="137" y="29"/>
                    </a:lnTo>
                    <a:lnTo>
                      <a:pt x="136" y="31"/>
                    </a:lnTo>
                    <a:lnTo>
                      <a:pt x="141" y="26"/>
                    </a:lnTo>
                    <a:lnTo>
                      <a:pt x="148" y="25"/>
                    </a:lnTo>
                    <a:lnTo>
                      <a:pt x="148" y="25"/>
                    </a:lnTo>
                    <a:lnTo>
                      <a:pt x="157" y="35"/>
                    </a:lnTo>
                    <a:lnTo>
                      <a:pt x="157" y="35"/>
                    </a:lnTo>
                    <a:lnTo>
                      <a:pt x="157" y="34"/>
                    </a:lnTo>
                    <a:lnTo>
                      <a:pt x="157" y="34"/>
                    </a:lnTo>
                    <a:lnTo>
                      <a:pt x="157" y="34"/>
                    </a:lnTo>
                    <a:lnTo>
                      <a:pt x="157" y="34"/>
                    </a:lnTo>
                    <a:lnTo>
                      <a:pt x="156" y="34"/>
                    </a:lnTo>
                    <a:lnTo>
                      <a:pt x="156" y="34"/>
                    </a:lnTo>
                    <a:lnTo>
                      <a:pt x="154" y="30"/>
                    </a:lnTo>
                    <a:lnTo>
                      <a:pt x="154" y="25"/>
                    </a:lnTo>
                    <a:lnTo>
                      <a:pt x="154" y="23"/>
                    </a:lnTo>
                    <a:lnTo>
                      <a:pt x="161" y="18"/>
                    </a:lnTo>
                    <a:lnTo>
                      <a:pt x="161" y="18"/>
                    </a:lnTo>
                    <a:lnTo>
                      <a:pt x="161" y="18"/>
                    </a:lnTo>
                    <a:lnTo>
                      <a:pt x="161" y="18"/>
                    </a:lnTo>
                    <a:lnTo>
                      <a:pt x="158" y="18"/>
                    </a:lnTo>
                    <a:lnTo>
                      <a:pt x="157" y="19"/>
                    </a:lnTo>
                    <a:lnTo>
                      <a:pt x="157" y="19"/>
                    </a:lnTo>
                    <a:lnTo>
                      <a:pt x="156" y="22"/>
                    </a:lnTo>
                    <a:lnTo>
                      <a:pt x="156" y="22"/>
                    </a:lnTo>
                    <a:lnTo>
                      <a:pt x="156" y="21"/>
                    </a:lnTo>
                    <a:lnTo>
                      <a:pt x="156" y="21"/>
                    </a:lnTo>
                    <a:lnTo>
                      <a:pt x="156" y="17"/>
                    </a:lnTo>
                    <a:lnTo>
                      <a:pt x="156" y="15"/>
                    </a:lnTo>
                    <a:lnTo>
                      <a:pt x="161" y="9"/>
                    </a:lnTo>
                    <a:lnTo>
                      <a:pt x="161" y="9"/>
                    </a:lnTo>
                    <a:lnTo>
                      <a:pt x="158" y="10"/>
                    </a:lnTo>
                    <a:lnTo>
                      <a:pt x="157" y="13"/>
                    </a:lnTo>
                    <a:lnTo>
                      <a:pt x="157" y="13"/>
                    </a:lnTo>
                    <a:lnTo>
                      <a:pt x="157" y="11"/>
                    </a:lnTo>
                    <a:lnTo>
                      <a:pt x="157" y="11"/>
                    </a:lnTo>
                    <a:lnTo>
                      <a:pt x="157" y="7"/>
                    </a:lnTo>
                    <a:lnTo>
                      <a:pt x="158" y="5"/>
                    </a:lnTo>
                    <a:lnTo>
                      <a:pt x="161" y="4"/>
                    </a:lnTo>
                    <a:lnTo>
                      <a:pt x="161" y="4"/>
                    </a:lnTo>
                    <a:lnTo>
                      <a:pt x="165" y="2"/>
                    </a:lnTo>
                    <a:lnTo>
                      <a:pt x="165" y="2"/>
                    </a:lnTo>
                    <a:lnTo>
                      <a:pt x="166" y="1"/>
                    </a:lnTo>
                    <a:lnTo>
                      <a:pt x="170" y="0"/>
                    </a:lnTo>
                    <a:lnTo>
                      <a:pt x="174" y="0"/>
                    </a:lnTo>
                    <a:lnTo>
                      <a:pt x="178" y="2"/>
                    </a:lnTo>
                    <a:lnTo>
                      <a:pt x="178" y="2"/>
                    </a:lnTo>
                    <a:lnTo>
                      <a:pt x="187" y="15"/>
                    </a:lnTo>
                    <a:lnTo>
                      <a:pt x="187" y="15"/>
                    </a:lnTo>
                    <a:lnTo>
                      <a:pt x="193" y="26"/>
                    </a:lnTo>
                    <a:lnTo>
                      <a:pt x="197" y="30"/>
                    </a:lnTo>
                    <a:lnTo>
                      <a:pt x="199" y="33"/>
                    </a:lnTo>
                    <a:lnTo>
                      <a:pt x="201" y="33"/>
                    </a:lnTo>
                    <a:lnTo>
                      <a:pt x="206" y="37"/>
                    </a:lnTo>
                    <a:lnTo>
                      <a:pt x="206" y="37"/>
                    </a:lnTo>
                    <a:lnTo>
                      <a:pt x="203" y="35"/>
                    </a:lnTo>
                    <a:lnTo>
                      <a:pt x="203" y="35"/>
                    </a:lnTo>
                    <a:lnTo>
                      <a:pt x="204" y="35"/>
                    </a:lnTo>
                    <a:lnTo>
                      <a:pt x="204" y="35"/>
                    </a:lnTo>
                    <a:lnTo>
                      <a:pt x="207" y="34"/>
                    </a:lnTo>
                    <a:lnTo>
                      <a:pt x="207" y="34"/>
                    </a:lnTo>
                    <a:lnTo>
                      <a:pt x="211" y="34"/>
                    </a:lnTo>
                    <a:lnTo>
                      <a:pt x="211" y="34"/>
                    </a:lnTo>
                    <a:lnTo>
                      <a:pt x="214" y="34"/>
                    </a:lnTo>
                    <a:lnTo>
                      <a:pt x="216" y="34"/>
                    </a:lnTo>
                    <a:lnTo>
                      <a:pt x="219" y="35"/>
                    </a:lnTo>
                    <a:lnTo>
                      <a:pt x="219" y="35"/>
                    </a:lnTo>
                    <a:lnTo>
                      <a:pt x="223" y="37"/>
                    </a:lnTo>
                    <a:lnTo>
                      <a:pt x="226" y="39"/>
                    </a:lnTo>
                    <a:lnTo>
                      <a:pt x="226" y="39"/>
                    </a:lnTo>
                    <a:lnTo>
                      <a:pt x="227" y="41"/>
                    </a:lnTo>
                    <a:lnTo>
                      <a:pt x="230" y="46"/>
                    </a:lnTo>
                    <a:lnTo>
                      <a:pt x="230" y="46"/>
                    </a:lnTo>
                    <a:lnTo>
                      <a:pt x="228" y="43"/>
                    </a:lnTo>
                    <a:lnTo>
                      <a:pt x="228" y="42"/>
                    </a:lnTo>
                    <a:lnTo>
                      <a:pt x="228" y="42"/>
                    </a:lnTo>
                    <a:lnTo>
                      <a:pt x="231" y="46"/>
                    </a:lnTo>
                    <a:lnTo>
                      <a:pt x="232" y="48"/>
                    </a:lnTo>
                    <a:lnTo>
                      <a:pt x="232" y="48"/>
                    </a:lnTo>
                    <a:lnTo>
                      <a:pt x="232" y="52"/>
                    </a:lnTo>
                    <a:lnTo>
                      <a:pt x="234" y="55"/>
                    </a:lnTo>
                    <a:lnTo>
                      <a:pt x="234" y="55"/>
                    </a:lnTo>
                    <a:lnTo>
                      <a:pt x="234" y="55"/>
                    </a:lnTo>
                    <a:lnTo>
                      <a:pt x="234" y="55"/>
                    </a:lnTo>
                    <a:lnTo>
                      <a:pt x="232" y="54"/>
                    </a:lnTo>
                    <a:lnTo>
                      <a:pt x="230" y="52"/>
                    </a:lnTo>
                    <a:lnTo>
                      <a:pt x="235" y="58"/>
                    </a:lnTo>
                    <a:lnTo>
                      <a:pt x="235" y="63"/>
                    </a:lnTo>
                    <a:lnTo>
                      <a:pt x="235" y="63"/>
                    </a:lnTo>
                    <a:lnTo>
                      <a:pt x="236" y="66"/>
                    </a:lnTo>
                    <a:lnTo>
                      <a:pt x="239" y="68"/>
                    </a:lnTo>
                    <a:lnTo>
                      <a:pt x="239" y="68"/>
                    </a:lnTo>
                    <a:lnTo>
                      <a:pt x="243" y="70"/>
                    </a:lnTo>
                    <a:lnTo>
                      <a:pt x="247" y="72"/>
                    </a:lnTo>
                    <a:lnTo>
                      <a:pt x="248" y="74"/>
                    </a:lnTo>
                    <a:lnTo>
                      <a:pt x="248" y="74"/>
                    </a:lnTo>
                    <a:lnTo>
                      <a:pt x="249" y="75"/>
                    </a:lnTo>
                    <a:lnTo>
                      <a:pt x="249" y="75"/>
                    </a:lnTo>
                    <a:lnTo>
                      <a:pt x="249" y="75"/>
                    </a:lnTo>
                    <a:lnTo>
                      <a:pt x="249" y="75"/>
                    </a:lnTo>
                    <a:lnTo>
                      <a:pt x="253" y="75"/>
                    </a:lnTo>
                    <a:lnTo>
                      <a:pt x="255" y="76"/>
                    </a:lnTo>
                    <a:lnTo>
                      <a:pt x="259" y="79"/>
                    </a:lnTo>
                    <a:lnTo>
                      <a:pt x="259" y="79"/>
                    </a:lnTo>
                    <a:lnTo>
                      <a:pt x="259" y="79"/>
                    </a:lnTo>
                    <a:lnTo>
                      <a:pt x="259" y="79"/>
                    </a:lnTo>
                    <a:lnTo>
                      <a:pt x="261" y="79"/>
                    </a:lnTo>
                    <a:lnTo>
                      <a:pt x="261" y="79"/>
                    </a:lnTo>
                    <a:lnTo>
                      <a:pt x="263" y="79"/>
                    </a:lnTo>
                    <a:lnTo>
                      <a:pt x="263" y="79"/>
                    </a:lnTo>
                    <a:lnTo>
                      <a:pt x="265" y="79"/>
                    </a:lnTo>
                    <a:lnTo>
                      <a:pt x="268" y="80"/>
                    </a:lnTo>
                    <a:lnTo>
                      <a:pt x="272" y="85"/>
                    </a:lnTo>
                    <a:lnTo>
                      <a:pt x="272" y="85"/>
                    </a:lnTo>
                    <a:lnTo>
                      <a:pt x="272" y="88"/>
                    </a:lnTo>
                    <a:lnTo>
                      <a:pt x="272" y="88"/>
                    </a:lnTo>
                    <a:lnTo>
                      <a:pt x="272" y="89"/>
                    </a:lnTo>
                    <a:lnTo>
                      <a:pt x="272" y="89"/>
                    </a:lnTo>
                    <a:lnTo>
                      <a:pt x="272" y="87"/>
                    </a:lnTo>
                    <a:lnTo>
                      <a:pt x="268" y="85"/>
                    </a:lnTo>
                    <a:lnTo>
                      <a:pt x="273" y="91"/>
                    </a:lnTo>
                    <a:lnTo>
                      <a:pt x="273" y="93"/>
                    </a:lnTo>
                    <a:lnTo>
                      <a:pt x="273" y="93"/>
                    </a:lnTo>
                    <a:lnTo>
                      <a:pt x="273" y="99"/>
                    </a:lnTo>
                    <a:lnTo>
                      <a:pt x="273" y="99"/>
                    </a:lnTo>
                    <a:lnTo>
                      <a:pt x="273" y="100"/>
                    </a:lnTo>
                    <a:lnTo>
                      <a:pt x="273" y="100"/>
                    </a:lnTo>
                    <a:lnTo>
                      <a:pt x="273" y="99"/>
                    </a:lnTo>
                    <a:lnTo>
                      <a:pt x="271" y="97"/>
                    </a:lnTo>
                    <a:lnTo>
                      <a:pt x="275" y="103"/>
                    </a:lnTo>
                    <a:lnTo>
                      <a:pt x="275" y="105"/>
                    </a:lnTo>
                    <a:lnTo>
                      <a:pt x="275" y="105"/>
                    </a:lnTo>
                    <a:lnTo>
                      <a:pt x="275" y="108"/>
                    </a:lnTo>
                    <a:lnTo>
                      <a:pt x="275" y="108"/>
                    </a:lnTo>
                    <a:lnTo>
                      <a:pt x="275" y="115"/>
                    </a:lnTo>
                    <a:lnTo>
                      <a:pt x="273" y="117"/>
                    </a:lnTo>
                    <a:lnTo>
                      <a:pt x="272" y="120"/>
                    </a:lnTo>
                    <a:lnTo>
                      <a:pt x="268" y="121"/>
                    </a:lnTo>
                    <a:lnTo>
                      <a:pt x="267" y="121"/>
                    </a:lnTo>
                    <a:lnTo>
                      <a:pt x="267" y="121"/>
                    </a:lnTo>
                    <a:lnTo>
                      <a:pt x="265" y="121"/>
                    </a:lnTo>
                    <a:lnTo>
                      <a:pt x="265" y="121"/>
                    </a:lnTo>
                    <a:lnTo>
                      <a:pt x="267" y="120"/>
                    </a:lnTo>
                    <a:lnTo>
                      <a:pt x="263" y="124"/>
                    </a:lnTo>
                    <a:lnTo>
                      <a:pt x="263" y="124"/>
                    </a:lnTo>
                    <a:lnTo>
                      <a:pt x="264" y="123"/>
                    </a:lnTo>
                    <a:lnTo>
                      <a:pt x="264" y="123"/>
                    </a:lnTo>
                    <a:lnTo>
                      <a:pt x="263" y="124"/>
                    </a:lnTo>
                    <a:lnTo>
                      <a:pt x="260" y="125"/>
                    </a:lnTo>
                    <a:lnTo>
                      <a:pt x="264" y="129"/>
                    </a:lnTo>
                    <a:lnTo>
                      <a:pt x="264" y="128"/>
                    </a:lnTo>
                    <a:lnTo>
                      <a:pt x="264" y="128"/>
                    </a:lnTo>
                    <a:lnTo>
                      <a:pt x="264" y="128"/>
                    </a:lnTo>
                    <a:lnTo>
                      <a:pt x="263" y="128"/>
                    </a:lnTo>
                    <a:lnTo>
                      <a:pt x="263" y="128"/>
                    </a:lnTo>
                    <a:lnTo>
                      <a:pt x="264" y="128"/>
                    </a:lnTo>
                    <a:lnTo>
                      <a:pt x="264" y="128"/>
                    </a:lnTo>
                    <a:lnTo>
                      <a:pt x="265" y="128"/>
                    </a:lnTo>
                    <a:lnTo>
                      <a:pt x="265" y="128"/>
                    </a:lnTo>
                    <a:lnTo>
                      <a:pt x="269" y="129"/>
                    </a:lnTo>
                    <a:lnTo>
                      <a:pt x="272" y="130"/>
                    </a:lnTo>
                    <a:lnTo>
                      <a:pt x="272" y="130"/>
                    </a:lnTo>
                    <a:lnTo>
                      <a:pt x="272" y="132"/>
                    </a:lnTo>
                    <a:lnTo>
                      <a:pt x="276" y="134"/>
                    </a:lnTo>
                    <a:lnTo>
                      <a:pt x="276" y="134"/>
                    </a:lnTo>
                    <a:lnTo>
                      <a:pt x="277" y="138"/>
                    </a:lnTo>
                    <a:lnTo>
                      <a:pt x="276" y="141"/>
                    </a:lnTo>
                    <a:lnTo>
                      <a:pt x="276" y="141"/>
                    </a:lnTo>
                    <a:lnTo>
                      <a:pt x="275" y="144"/>
                    </a:lnTo>
                    <a:lnTo>
                      <a:pt x="273" y="146"/>
                    </a:lnTo>
                    <a:lnTo>
                      <a:pt x="269" y="148"/>
                    </a:lnTo>
                    <a:lnTo>
                      <a:pt x="269" y="148"/>
                    </a:lnTo>
                    <a:lnTo>
                      <a:pt x="267" y="150"/>
                    </a:lnTo>
                    <a:lnTo>
                      <a:pt x="267" y="153"/>
                    </a:lnTo>
                    <a:lnTo>
                      <a:pt x="265" y="157"/>
                    </a:lnTo>
                    <a:lnTo>
                      <a:pt x="265" y="157"/>
                    </a:lnTo>
                    <a:lnTo>
                      <a:pt x="264" y="162"/>
                    </a:lnTo>
                    <a:lnTo>
                      <a:pt x="265" y="166"/>
                    </a:lnTo>
                    <a:lnTo>
                      <a:pt x="265" y="166"/>
                    </a:lnTo>
                    <a:lnTo>
                      <a:pt x="264" y="166"/>
                    </a:lnTo>
                    <a:lnTo>
                      <a:pt x="267" y="170"/>
                    </a:lnTo>
                    <a:lnTo>
                      <a:pt x="267" y="169"/>
                    </a:lnTo>
                    <a:lnTo>
                      <a:pt x="267" y="169"/>
                    </a:lnTo>
                    <a:lnTo>
                      <a:pt x="268" y="171"/>
                    </a:lnTo>
                    <a:lnTo>
                      <a:pt x="268" y="171"/>
                    </a:lnTo>
                    <a:lnTo>
                      <a:pt x="271" y="177"/>
                    </a:lnTo>
                    <a:lnTo>
                      <a:pt x="272" y="178"/>
                    </a:lnTo>
                    <a:lnTo>
                      <a:pt x="272" y="178"/>
                    </a:lnTo>
                    <a:lnTo>
                      <a:pt x="275" y="181"/>
                    </a:lnTo>
                    <a:lnTo>
                      <a:pt x="276" y="185"/>
                    </a:lnTo>
                    <a:lnTo>
                      <a:pt x="276" y="191"/>
                    </a:lnTo>
                    <a:lnTo>
                      <a:pt x="276" y="191"/>
                    </a:lnTo>
                    <a:lnTo>
                      <a:pt x="276" y="195"/>
                    </a:lnTo>
                    <a:lnTo>
                      <a:pt x="277" y="199"/>
                    </a:lnTo>
                    <a:lnTo>
                      <a:pt x="277" y="220"/>
                    </a:lnTo>
                    <a:lnTo>
                      <a:pt x="277" y="220"/>
                    </a:lnTo>
                    <a:lnTo>
                      <a:pt x="280" y="224"/>
                    </a:lnTo>
                    <a:lnTo>
                      <a:pt x="281" y="226"/>
                    </a:lnTo>
                    <a:lnTo>
                      <a:pt x="281" y="226"/>
                    </a:lnTo>
                    <a:lnTo>
                      <a:pt x="283" y="230"/>
                    </a:lnTo>
                    <a:lnTo>
                      <a:pt x="286" y="231"/>
                    </a:lnTo>
                    <a:lnTo>
                      <a:pt x="289" y="234"/>
                    </a:lnTo>
                    <a:lnTo>
                      <a:pt x="289" y="234"/>
                    </a:lnTo>
                    <a:lnTo>
                      <a:pt x="290" y="238"/>
                    </a:lnTo>
                    <a:lnTo>
                      <a:pt x="292" y="242"/>
                    </a:lnTo>
                    <a:lnTo>
                      <a:pt x="290" y="245"/>
                    </a:lnTo>
                    <a:lnTo>
                      <a:pt x="289" y="248"/>
                    </a:lnTo>
                    <a:lnTo>
                      <a:pt x="289" y="248"/>
                    </a:lnTo>
                    <a:lnTo>
                      <a:pt x="288" y="249"/>
                    </a:lnTo>
                    <a:lnTo>
                      <a:pt x="288" y="249"/>
                    </a:lnTo>
                    <a:lnTo>
                      <a:pt x="292" y="251"/>
                    </a:lnTo>
                    <a:lnTo>
                      <a:pt x="292" y="251"/>
                    </a:lnTo>
                    <a:lnTo>
                      <a:pt x="292" y="252"/>
                    </a:lnTo>
                    <a:lnTo>
                      <a:pt x="292" y="252"/>
                    </a:lnTo>
                    <a:lnTo>
                      <a:pt x="296" y="253"/>
                    </a:lnTo>
                    <a:lnTo>
                      <a:pt x="297" y="255"/>
                    </a:lnTo>
                    <a:lnTo>
                      <a:pt x="298" y="257"/>
                    </a:lnTo>
                    <a:lnTo>
                      <a:pt x="298" y="257"/>
                    </a:lnTo>
                    <a:lnTo>
                      <a:pt x="298" y="261"/>
                    </a:lnTo>
                    <a:lnTo>
                      <a:pt x="298" y="264"/>
                    </a:lnTo>
                    <a:lnTo>
                      <a:pt x="298" y="264"/>
                    </a:lnTo>
                    <a:lnTo>
                      <a:pt x="298" y="265"/>
                    </a:lnTo>
                    <a:lnTo>
                      <a:pt x="298" y="265"/>
                    </a:lnTo>
                    <a:lnTo>
                      <a:pt x="298" y="263"/>
                    </a:lnTo>
                    <a:lnTo>
                      <a:pt x="296" y="261"/>
                    </a:lnTo>
                    <a:lnTo>
                      <a:pt x="298" y="265"/>
                    </a:lnTo>
                    <a:lnTo>
                      <a:pt x="300" y="265"/>
                    </a:lnTo>
                    <a:lnTo>
                      <a:pt x="300" y="265"/>
                    </a:lnTo>
                    <a:lnTo>
                      <a:pt x="301" y="271"/>
                    </a:lnTo>
                    <a:lnTo>
                      <a:pt x="302" y="277"/>
                    </a:lnTo>
                    <a:lnTo>
                      <a:pt x="301" y="282"/>
                    </a:lnTo>
                    <a:lnTo>
                      <a:pt x="300" y="286"/>
                    </a:lnTo>
                    <a:lnTo>
                      <a:pt x="298" y="288"/>
                    </a:lnTo>
                    <a:lnTo>
                      <a:pt x="298" y="288"/>
                    </a:lnTo>
                    <a:lnTo>
                      <a:pt x="297" y="292"/>
                    </a:lnTo>
                    <a:lnTo>
                      <a:pt x="302" y="294"/>
                    </a:lnTo>
                    <a:lnTo>
                      <a:pt x="302" y="294"/>
                    </a:lnTo>
                    <a:lnTo>
                      <a:pt x="301" y="293"/>
                    </a:lnTo>
                    <a:lnTo>
                      <a:pt x="301" y="293"/>
                    </a:lnTo>
                    <a:lnTo>
                      <a:pt x="304" y="293"/>
                    </a:lnTo>
                    <a:lnTo>
                      <a:pt x="304" y="293"/>
                    </a:lnTo>
                    <a:lnTo>
                      <a:pt x="305" y="293"/>
                    </a:lnTo>
                    <a:lnTo>
                      <a:pt x="312" y="301"/>
                    </a:lnTo>
                    <a:lnTo>
                      <a:pt x="312" y="301"/>
                    </a:lnTo>
                    <a:lnTo>
                      <a:pt x="310" y="304"/>
                    </a:lnTo>
                    <a:lnTo>
                      <a:pt x="310" y="304"/>
                    </a:lnTo>
                    <a:lnTo>
                      <a:pt x="309" y="309"/>
                    </a:lnTo>
                    <a:lnTo>
                      <a:pt x="309" y="309"/>
                    </a:lnTo>
                    <a:lnTo>
                      <a:pt x="313" y="310"/>
                    </a:lnTo>
                    <a:lnTo>
                      <a:pt x="316" y="314"/>
                    </a:lnTo>
                    <a:lnTo>
                      <a:pt x="316" y="314"/>
                    </a:lnTo>
                    <a:lnTo>
                      <a:pt x="316" y="320"/>
                    </a:lnTo>
                    <a:lnTo>
                      <a:pt x="314" y="322"/>
                    </a:lnTo>
                    <a:lnTo>
                      <a:pt x="314" y="322"/>
                    </a:lnTo>
                    <a:lnTo>
                      <a:pt x="314" y="322"/>
                    </a:lnTo>
                    <a:lnTo>
                      <a:pt x="314" y="322"/>
                    </a:lnTo>
                    <a:lnTo>
                      <a:pt x="314" y="320"/>
                    </a:lnTo>
                    <a:lnTo>
                      <a:pt x="312" y="325"/>
                    </a:lnTo>
                    <a:lnTo>
                      <a:pt x="312" y="325"/>
                    </a:lnTo>
                    <a:lnTo>
                      <a:pt x="312" y="323"/>
                    </a:lnTo>
                    <a:lnTo>
                      <a:pt x="312" y="323"/>
                    </a:lnTo>
                    <a:lnTo>
                      <a:pt x="312" y="327"/>
                    </a:lnTo>
                    <a:lnTo>
                      <a:pt x="312" y="327"/>
                    </a:lnTo>
                    <a:lnTo>
                      <a:pt x="313" y="333"/>
                    </a:lnTo>
                    <a:lnTo>
                      <a:pt x="312" y="337"/>
                    </a:lnTo>
                    <a:lnTo>
                      <a:pt x="309" y="339"/>
                    </a:lnTo>
                    <a:lnTo>
                      <a:pt x="310" y="341"/>
                    </a:lnTo>
                    <a:lnTo>
                      <a:pt x="310" y="345"/>
                    </a:lnTo>
                    <a:lnTo>
                      <a:pt x="310" y="345"/>
                    </a:lnTo>
                    <a:lnTo>
                      <a:pt x="313" y="347"/>
                    </a:lnTo>
                    <a:lnTo>
                      <a:pt x="316" y="353"/>
                    </a:lnTo>
                    <a:lnTo>
                      <a:pt x="316" y="354"/>
                    </a:lnTo>
                    <a:lnTo>
                      <a:pt x="316" y="354"/>
                    </a:lnTo>
                    <a:lnTo>
                      <a:pt x="317" y="357"/>
                    </a:lnTo>
                    <a:lnTo>
                      <a:pt x="317" y="359"/>
                    </a:lnTo>
                    <a:lnTo>
                      <a:pt x="313" y="364"/>
                    </a:lnTo>
                    <a:lnTo>
                      <a:pt x="313" y="364"/>
                    </a:lnTo>
                    <a:lnTo>
                      <a:pt x="313" y="364"/>
                    </a:lnTo>
                    <a:lnTo>
                      <a:pt x="313" y="364"/>
                    </a:lnTo>
                    <a:lnTo>
                      <a:pt x="313" y="368"/>
                    </a:lnTo>
                    <a:lnTo>
                      <a:pt x="313" y="368"/>
                    </a:lnTo>
                    <a:lnTo>
                      <a:pt x="313" y="375"/>
                    </a:lnTo>
                    <a:lnTo>
                      <a:pt x="310" y="379"/>
                    </a:lnTo>
                    <a:lnTo>
                      <a:pt x="308" y="383"/>
                    </a:lnTo>
                    <a:lnTo>
                      <a:pt x="306" y="383"/>
                    </a:lnTo>
                    <a:lnTo>
                      <a:pt x="306" y="383"/>
                    </a:lnTo>
                    <a:lnTo>
                      <a:pt x="305" y="384"/>
                    </a:lnTo>
                    <a:lnTo>
                      <a:pt x="305" y="384"/>
                    </a:lnTo>
                    <a:lnTo>
                      <a:pt x="305" y="387"/>
                    </a:lnTo>
                    <a:lnTo>
                      <a:pt x="305" y="387"/>
                    </a:lnTo>
                    <a:lnTo>
                      <a:pt x="305" y="391"/>
                    </a:lnTo>
                    <a:lnTo>
                      <a:pt x="305" y="391"/>
                    </a:lnTo>
                    <a:lnTo>
                      <a:pt x="309" y="395"/>
                    </a:lnTo>
                    <a:lnTo>
                      <a:pt x="309" y="394"/>
                    </a:lnTo>
                    <a:lnTo>
                      <a:pt x="309" y="394"/>
                    </a:lnTo>
                    <a:lnTo>
                      <a:pt x="306" y="392"/>
                    </a:lnTo>
                    <a:lnTo>
                      <a:pt x="306" y="392"/>
                    </a:lnTo>
                    <a:lnTo>
                      <a:pt x="309" y="392"/>
                    </a:lnTo>
                    <a:lnTo>
                      <a:pt x="309" y="392"/>
                    </a:lnTo>
                    <a:lnTo>
                      <a:pt x="310" y="392"/>
                    </a:lnTo>
                    <a:lnTo>
                      <a:pt x="310" y="392"/>
                    </a:lnTo>
                    <a:lnTo>
                      <a:pt x="313" y="394"/>
                    </a:lnTo>
                    <a:lnTo>
                      <a:pt x="316" y="394"/>
                    </a:lnTo>
                    <a:lnTo>
                      <a:pt x="316" y="394"/>
                    </a:lnTo>
                    <a:lnTo>
                      <a:pt x="316" y="394"/>
                    </a:lnTo>
                    <a:lnTo>
                      <a:pt x="316" y="394"/>
                    </a:lnTo>
                    <a:lnTo>
                      <a:pt x="314" y="394"/>
                    </a:lnTo>
                    <a:lnTo>
                      <a:pt x="318" y="396"/>
                    </a:lnTo>
                    <a:lnTo>
                      <a:pt x="318" y="396"/>
                    </a:lnTo>
                    <a:lnTo>
                      <a:pt x="321" y="398"/>
                    </a:lnTo>
                    <a:lnTo>
                      <a:pt x="325" y="399"/>
                    </a:lnTo>
                    <a:lnTo>
                      <a:pt x="326" y="399"/>
                    </a:lnTo>
                    <a:lnTo>
                      <a:pt x="327" y="399"/>
                    </a:lnTo>
                    <a:lnTo>
                      <a:pt x="329" y="400"/>
                    </a:lnTo>
                    <a:lnTo>
                      <a:pt x="329" y="400"/>
                    </a:lnTo>
                    <a:lnTo>
                      <a:pt x="331" y="399"/>
                    </a:lnTo>
                    <a:lnTo>
                      <a:pt x="334" y="399"/>
                    </a:lnTo>
                    <a:lnTo>
                      <a:pt x="334" y="399"/>
                    </a:lnTo>
                    <a:lnTo>
                      <a:pt x="337" y="399"/>
                    </a:lnTo>
                    <a:lnTo>
                      <a:pt x="337" y="399"/>
                    </a:lnTo>
                    <a:lnTo>
                      <a:pt x="338" y="399"/>
                    </a:lnTo>
                    <a:lnTo>
                      <a:pt x="338" y="399"/>
                    </a:lnTo>
                    <a:lnTo>
                      <a:pt x="342" y="399"/>
                    </a:lnTo>
                    <a:lnTo>
                      <a:pt x="343" y="400"/>
                    </a:lnTo>
                    <a:lnTo>
                      <a:pt x="343" y="400"/>
                    </a:lnTo>
                    <a:lnTo>
                      <a:pt x="343" y="400"/>
                    </a:lnTo>
                    <a:lnTo>
                      <a:pt x="342" y="400"/>
                    </a:lnTo>
                    <a:lnTo>
                      <a:pt x="347" y="405"/>
                    </a:lnTo>
                    <a:lnTo>
                      <a:pt x="347" y="407"/>
                    </a:lnTo>
                    <a:lnTo>
                      <a:pt x="347" y="407"/>
                    </a:lnTo>
                    <a:lnTo>
                      <a:pt x="350" y="403"/>
                    </a:lnTo>
                    <a:lnTo>
                      <a:pt x="351" y="400"/>
                    </a:lnTo>
                    <a:lnTo>
                      <a:pt x="351" y="400"/>
                    </a:lnTo>
                    <a:lnTo>
                      <a:pt x="353" y="400"/>
                    </a:lnTo>
                    <a:lnTo>
                      <a:pt x="353" y="400"/>
                    </a:lnTo>
                    <a:lnTo>
                      <a:pt x="351" y="403"/>
                    </a:lnTo>
                    <a:lnTo>
                      <a:pt x="357" y="398"/>
                    </a:lnTo>
                    <a:lnTo>
                      <a:pt x="357" y="398"/>
                    </a:lnTo>
                    <a:lnTo>
                      <a:pt x="361" y="399"/>
                    </a:lnTo>
                    <a:lnTo>
                      <a:pt x="362" y="400"/>
                    </a:lnTo>
                    <a:lnTo>
                      <a:pt x="363" y="404"/>
                    </a:lnTo>
                    <a:lnTo>
                      <a:pt x="363" y="405"/>
                    </a:lnTo>
                    <a:lnTo>
                      <a:pt x="363" y="405"/>
                    </a:lnTo>
                    <a:lnTo>
                      <a:pt x="363" y="411"/>
                    </a:lnTo>
                    <a:lnTo>
                      <a:pt x="362" y="416"/>
                    </a:lnTo>
                    <a:lnTo>
                      <a:pt x="361" y="416"/>
                    </a:lnTo>
                    <a:lnTo>
                      <a:pt x="362" y="417"/>
                    </a:lnTo>
                    <a:lnTo>
                      <a:pt x="362" y="417"/>
                    </a:lnTo>
                    <a:lnTo>
                      <a:pt x="359" y="419"/>
                    </a:lnTo>
                    <a:lnTo>
                      <a:pt x="362" y="417"/>
                    </a:lnTo>
                    <a:lnTo>
                      <a:pt x="362" y="417"/>
                    </a:lnTo>
                    <a:lnTo>
                      <a:pt x="362" y="417"/>
                    </a:lnTo>
                    <a:lnTo>
                      <a:pt x="362" y="416"/>
                    </a:lnTo>
                    <a:lnTo>
                      <a:pt x="362" y="416"/>
                    </a:lnTo>
                    <a:lnTo>
                      <a:pt x="362" y="416"/>
                    </a:lnTo>
                    <a:lnTo>
                      <a:pt x="364" y="415"/>
                    </a:lnTo>
                    <a:lnTo>
                      <a:pt x="368" y="415"/>
                    </a:lnTo>
                    <a:lnTo>
                      <a:pt x="374" y="419"/>
                    </a:lnTo>
                    <a:lnTo>
                      <a:pt x="374" y="419"/>
                    </a:lnTo>
                    <a:lnTo>
                      <a:pt x="374" y="419"/>
                    </a:lnTo>
                    <a:lnTo>
                      <a:pt x="374" y="419"/>
                    </a:lnTo>
                    <a:lnTo>
                      <a:pt x="371" y="417"/>
                    </a:lnTo>
                    <a:lnTo>
                      <a:pt x="376" y="424"/>
                    </a:lnTo>
                    <a:lnTo>
                      <a:pt x="376" y="425"/>
                    </a:lnTo>
                    <a:lnTo>
                      <a:pt x="376" y="425"/>
                    </a:lnTo>
                    <a:lnTo>
                      <a:pt x="376" y="427"/>
                    </a:lnTo>
                    <a:lnTo>
                      <a:pt x="379" y="428"/>
                    </a:lnTo>
                    <a:lnTo>
                      <a:pt x="379" y="428"/>
                    </a:lnTo>
                    <a:lnTo>
                      <a:pt x="380" y="431"/>
                    </a:lnTo>
                    <a:lnTo>
                      <a:pt x="380" y="431"/>
                    </a:lnTo>
                    <a:lnTo>
                      <a:pt x="383" y="432"/>
                    </a:lnTo>
                    <a:lnTo>
                      <a:pt x="383" y="432"/>
                    </a:lnTo>
                    <a:lnTo>
                      <a:pt x="386" y="432"/>
                    </a:lnTo>
                    <a:lnTo>
                      <a:pt x="386" y="432"/>
                    </a:lnTo>
                    <a:lnTo>
                      <a:pt x="387" y="429"/>
                    </a:lnTo>
                    <a:lnTo>
                      <a:pt x="390" y="428"/>
                    </a:lnTo>
                    <a:lnTo>
                      <a:pt x="392" y="428"/>
                    </a:lnTo>
                    <a:lnTo>
                      <a:pt x="392" y="428"/>
                    </a:lnTo>
                    <a:lnTo>
                      <a:pt x="395" y="428"/>
                    </a:lnTo>
                    <a:lnTo>
                      <a:pt x="396" y="429"/>
                    </a:lnTo>
                    <a:lnTo>
                      <a:pt x="396" y="429"/>
                    </a:lnTo>
                    <a:lnTo>
                      <a:pt x="401" y="433"/>
                    </a:lnTo>
                    <a:lnTo>
                      <a:pt x="405" y="437"/>
                    </a:lnTo>
                    <a:lnTo>
                      <a:pt x="405" y="437"/>
                    </a:lnTo>
                    <a:lnTo>
                      <a:pt x="408" y="440"/>
                    </a:lnTo>
                    <a:lnTo>
                      <a:pt x="408" y="440"/>
                    </a:lnTo>
                    <a:lnTo>
                      <a:pt x="411" y="441"/>
                    </a:lnTo>
                    <a:lnTo>
                      <a:pt x="413" y="444"/>
                    </a:lnTo>
                    <a:lnTo>
                      <a:pt x="415" y="446"/>
                    </a:lnTo>
                    <a:lnTo>
                      <a:pt x="415" y="452"/>
                    </a:lnTo>
                    <a:lnTo>
                      <a:pt x="415" y="452"/>
                    </a:lnTo>
                    <a:lnTo>
                      <a:pt x="415" y="453"/>
                    </a:lnTo>
                    <a:lnTo>
                      <a:pt x="415" y="453"/>
                    </a:lnTo>
                    <a:lnTo>
                      <a:pt x="413" y="452"/>
                    </a:lnTo>
                    <a:lnTo>
                      <a:pt x="416" y="457"/>
                    </a:lnTo>
                    <a:lnTo>
                      <a:pt x="416" y="458"/>
                    </a:lnTo>
                    <a:lnTo>
                      <a:pt x="412" y="462"/>
                    </a:lnTo>
                    <a:lnTo>
                      <a:pt x="412" y="462"/>
                    </a:lnTo>
                    <a:lnTo>
                      <a:pt x="411" y="461"/>
                    </a:lnTo>
                    <a:lnTo>
                      <a:pt x="412" y="462"/>
                    </a:lnTo>
                    <a:lnTo>
                      <a:pt x="411" y="464"/>
                    </a:lnTo>
                    <a:lnTo>
                      <a:pt x="411" y="464"/>
                    </a:lnTo>
                    <a:lnTo>
                      <a:pt x="412" y="464"/>
                    </a:lnTo>
                    <a:lnTo>
                      <a:pt x="413" y="466"/>
                    </a:lnTo>
                    <a:lnTo>
                      <a:pt x="413" y="466"/>
                    </a:lnTo>
                    <a:lnTo>
                      <a:pt x="417" y="469"/>
                    </a:lnTo>
                    <a:lnTo>
                      <a:pt x="419" y="472"/>
                    </a:lnTo>
                    <a:lnTo>
                      <a:pt x="419" y="476"/>
                    </a:lnTo>
                    <a:lnTo>
                      <a:pt x="419" y="476"/>
                    </a:lnTo>
                    <a:lnTo>
                      <a:pt x="419" y="476"/>
                    </a:lnTo>
                    <a:lnTo>
                      <a:pt x="419" y="479"/>
                    </a:lnTo>
                    <a:lnTo>
                      <a:pt x="417" y="485"/>
                    </a:lnTo>
                    <a:lnTo>
                      <a:pt x="417" y="485"/>
                    </a:lnTo>
                    <a:lnTo>
                      <a:pt x="416" y="493"/>
                    </a:lnTo>
                    <a:lnTo>
                      <a:pt x="412" y="497"/>
                    </a:lnTo>
                    <a:lnTo>
                      <a:pt x="412" y="497"/>
                    </a:lnTo>
                    <a:lnTo>
                      <a:pt x="412" y="497"/>
                    </a:lnTo>
                    <a:lnTo>
                      <a:pt x="408" y="499"/>
                    </a:lnTo>
                    <a:lnTo>
                      <a:pt x="408" y="499"/>
                    </a:lnTo>
                    <a:lnTo>
                      <a:pt x="408" y="499"/>
                    </a:lnTo>
                    <a:lnTo>
                      <a:pt x="408" y="499"/>
                    </a:lnTo>
                    <a:lnTo>
                      <a:pt x="409" y="498"/>
                    </a:lnTo>
                    <a:lnTo>
                      <a:pt x="408" y="498"/>
                    </a:lnTo>
                    <a:lnTo>
                      <a:pt x="408" y="498"/>
                    </a:lnTo>
                    <a:lnTo>
                      <a:pt x="405" y="501"/>
                    </a:lnTo>
                    <a:lnTo>
                      <a:pt x="405" y="501"/>
                    </a:lnTo>
                    <a:lnTo>
                      <a:pt x="405" y="501"/>
                    </a:lnTo>
                    <a:lnTo>
                      <a:pt x="403" y="503"/>
                    </a:lnTo>
                    <a:lnTo>
                      <a:pt x="403" y="503"/>
                    </a:lnTo>
                    <a:lnTo>
                      <a:pt x="401" y="503"/>
                    </a:lnTo>
                    <a:lnTo>
                      <a:pt x="401" y="503"/>
                    </a:lnTo>
                    <a:lnTo>
                      <a:pt x="403" y="502"/>
                    </a:lnTo>
                    <a:lnTo>
                      <a:pt x="403" y="502"/>
                    </a:lnTo>
                    <a:lnTo>
                      <a:pt x="403" y="502"/>
                    </a:lnTo>
                    <a:lnTo>
                      <a:pt x="398" y="506"/>
                    </a:lnTo>
                    <a:lnTo>
                      <a:pt x="398" y="506"/>
                    </a:lnTo>
                    <a:lnTo>
                      <a:pt x="399" y="505"/>
                    </a:lnTo>
                    <a:lnTo>
                      <a:pt x="399" y="505"/>
                    </a:lnTo>
                    <a:lnTo>
                      <a:pt x="400" y="509"/>
                    </a:lnTo>
                    <a:lnTo>
                      <a:pt x="400" y="509"/>
                    </a:lnTo>
                    <a:lnTo>
                      <a:pt x="400" y="507"/>
                    </a:lnTo>
                    <a:lnTo>
                      <a:pt x="401" y="513"/>
                    </a:lnTo>
                    <a:lnTo>
                      <a:pt x="401" y="514"/>
                    </a:lnTo>
                    <a:lnTo>
                      <a:pt x="401" y="514"/>
                    </a:lnTo>
                    <a:lnTo>
                      <a:pt x="403" y="517"/>
                    </a:lnTo>
                    <a:lnTo>
                      <a:pt x="404" y="520"/>
                    </a:lnTo>
                    <a:lnTo>
                      <a:pt x="404" y="520"/>
                    </a:lnTo>
                    <a:lnTo>
                      <a:pt x="404" y="519"/>
                    </a:lnTo>
                    <a:lnTo>
                      <a:pt x="404" y="519"/>
                    </a:lnTo>
                    <a:lnTo>
                      <a:pt x="405" y="520"/>
                    </a:lnTo>
                    <a:lnTo>
                      <a:pt x="405" y="524"/>
                    </a:lnTo>
                    <a:lnTo>
                      <a:pt x="405" y="524"/>
                    </a:lnTo>
                    <a:lnTo>
                      <a:pt x="408" y="527"/>
                    </a:lnTo>
                    <a:lnTo>
                      <a:pt x="408" y="527"/>
                    </a:lnTo>
                    <a:lnTo>
                      <a:pt x="409" y="530"/>
                    </a:lnTo>
                    <a:lnTo>
                      <a:pt x="412" y="534"/>
                    </a:lnTo>
                    <a:lnTo>
                      <a:pt x="412" y="534"/>
                    </a:lnTo>
                    <a:lnTo>
                      <a:pt x="413" y="538"/>
                    </a:lnTo>
                    <a:lnTo>
                      <a:pt x="413" y="538"/>
                    </a:lnTo>
                    <a:lnTo>
                      <a:pt x="413" y="539"/>
                    </a:lnTo>
                    <a:lnTo>
                      <a:pt x="413" y="539"/>
                    </a:lnTo>
                    <a:lnTo>
                      <a:pt x="412" y="538"/>
                    </a:lnTo>
                    <a:lnTo>
                      <a:pt x="416" y="540"/>
                    </a:lnTo>
                    <a:lnTo>
                      <a:pt x="416" y="540"/>
                    </a:lnTo>
                    <a:lnTo>
                      <a:pt x="416" y="542"/>
                    </a:lnTo>
                    <a:lnTo>
                      <a:pt x="416" y="542"/>
                    </a:lnTo>
                    <a:lnTo>
                      <a:pt x="419" y="546"/>
                    </a:lnTo>
                    <a:lnTo>
                      <a:pt x="420" y="550"/>
                    </a:lnTo>
                    <a:lnTo>
                      <a:pt x="420" y="550"/>
                    </a:lnTo>
                    <a:lnTo>
                      <a:pt x="421" y="552"/>
                    </a:lnTo>
                    <a:lnTo>
                      <a:pt x="423" y="556"/>
                    </a:lnTo>
                    <a:lnTo>
                      <a:pt x="423" y="556"/>
                    </a:lnTo>
                    <a:lnTo>
                      <a:pt x="423" y="560"/>
                    </a:lnTo>
                    <a:lnTo>
                      <a:pt x="420" y="563"/>
                    </a:lnTo>
                    <a:lnTo>
                      <a:pt x="420" y="563"/>
                    </a:lnTo>
                    <a:lnTo>
                      <a:pt x="419" y="565"/>
                    </a:lnTo>
                    <a:lnTo>
                      <a:pt x="419" y="565"/>
                    </a:lnTo>
                    <a:lnTo>
                      <a:pt x="420" y="564"/>
                    </a:lnTo>
                    <a:lnTo>
                      <a:pt x="421" y="563"/>
                    </a:lnTo>
                    <a:lnTo>
                      <a:pt x="421" y="563"/>
                    </a:lnTo>
                    <a:lnTo>
                      <a:pt x="421" y="565"/>
                    </a:lnTo>
                    <a:lnTo>
                      <a:pt x="421" y="565"/>
                    </a:lnTo>
                    <a:lnTo>
                      <a:pt x="421" y="572"/>
                    </a:lnTo>
                    <a:lnTo>
                      <a:pt x="421" y="575"/>
                    </a:lnTo>
                    <a:lnTo>
                      <a:pt x="415" y="581"/>
                    </a:lnTo>
                    <a:lnTo>
                      <a:pt x="415" y="581"/>
                    </a:lnTo>
                    <a:lnTo>
                      <a:pt x="419" y="580"/>
                    </a:lnTo>
                    <a:lnTo>
                      <a:pt x="420" y="577"/>
                    </a:lnTo>
                    <a:lnTo>
                      <a:pt x="420" y="577"/>
                    </a:lnTo>
                    <a:lnTo>
                      <a:pt x="420" y="579"/>
                    </a:lnTo>
                    <a:lnTo>
                      <a:pt x="420" y="579"/>
                    </a:lnTo>
                    <a:lnTo>
                      <a:pt x="420" y="583"/>
                    </a:lnTo>
                    <a:lnTo>
                      <a:pt x="420" y="584"/>
                    </a:lnTo>
                    <a:lnTo>
                      <a:pt x="420" y="584"/>
                    </a:lnTo>
                    <a:lnTo>
                      <a:pt x="420" y="584"/>
                    </a:lnTo>
                    <a:lnTo>
                      <a:pt x="420" y="584"/>
                    </a:lnTo>
                    <a:lnTo>
                      <a:pt x="419" y="584"/>
                    </a:lnTo>
                    <a:lnTo>
                      <a:pt x="416" y="589"/>
                    </a:lnTo>
                    <a:lnTo>
                      <a:pt x="416" y="589"/>
                    </a:lnTo>
                    <a:lnTo>
                      <a:pt x="413" y="592"/>
                    </a:lnTo>
                    <a:lnTo>
                      <a:pt x="413" y="592"/>
                    </a:lnTo>
                    <a:lnTo>
                      <a:pt x="411" y="596"/>
                    </a:lnTo>
                    <a:lnTo>
                      <a:pt x="407" y="597"/>
                    </a:lnTo>
                    <a:lnTo>
                      <a:pt x="407" y="597"/>
                    </a:lnTo>
                    <a:lnTo>
                      <a:pt x="405" y="597"/>
                    </a:lnTo>
                    <a:lnTo>
                      <a:pt x="405" y="597"/>
                    </a:lnTo>
                    <a:lnTo>
                      <a:pt x="401" y="597"/>
                    </a:lnTo>
                    <a:lnTo>
                      <a:pt x="400" y="596"/>
                    </a:lnTo>
                    <a:lnTo>
                      <a:pt x="400" y="596"/>
                    </a:lnTo>
                    <a:lnTo>
                      <a:pt x="400" y="596"/>
                    </a:lnTo>
                    <a:lnTo>
                      <a:pt x="400" y="596"/>
                    </a:lnTo>
                    <a:lnTo>
                      <a:pt x="395" y="589"/>
                    </a:lnTo>
                    <a:lnTo>
                      <a:pt x="395" y="589"/>
                    </a:lnTo>
                    <a:lnTo>
                      <a:pt x="395" y="592"/>
                    </a:lnTo>
                    <a:lnTo>
                      <a:pt x="391" y="595"/>
                    </a:lnTo>
                    <a:lnTo>
                      <a:pt x="390" y="595"/>
                    </a:lnTo>
                    <a:lnTo>
                      <a:pt x="383" y="589"/>
                    </a:lnTo>
                    <a:lnTo>
                      <a:pt x="383" y="589"/>
                    </a:lnTo>
                    <a:lnTo>
                      <a:pt x="383" y="587"/>
                    </a:lnTo>
                    <a:lnTo>
                      <a:pt x="382" y="587"/>
                    </a:lnTo>
                    <a:lnTo>
                      <a:pt x="379" y="587"/>
                    </a:lnTo>
                    <a:lnTo>
                      <a:pt x="379" y="587"/>
                    </a:lnTo>
                    <a:lnTo>
                      <a:pt x="379" y="587"/>
                    </a:lnTo>
                    <a:lnTo>
                      <a:pt x="379" y="587"/>
                    </a:lnTo>
                    <a:lnTo>
                      <a:pt x="374" y="588"/>
                    </a:lnTo>
                    <a:lnTo>
                      <a:pt x="374" y="588"/>
                    </a:lnTo>
                    <a:lnTo>
                      <a:pt x="371" y="587"/>
                    </a:lnTo>
                    <a:lnTo>
                      <a:pt x="371" y="587"/>
                    </a:lnTo>
                    <a:lnTo>
                      <a:pt x="370" y="588"/>
                    </a:lnTo>
                    <a:lnTo>
                      <a:pt x="370" y="588"/>
                    </a:lnTo>
                    <a:lnTo>
                      <a:pt x="368" y="588"/>
                    </a:lnTo>
                    <a:lnTo>
                      <a:pt x="364" y="589"/>
                    </a:lnTo>
                    <a:lnTo>
                      <a:pt x="364" y="589"/>
                    </a:lnTo>
                    <a:lnTo>
                      <a:pt x="362" y="588"/>
                    </a:lnTo>
                    <a:lnTo>
                      <a:pt x="359" y="588"/>
                    </a:lnTo>
                    <a:lnTo>
                      <a:pt x="357" y="585"/>
                    </a:lnTo>
                    <a:lnTo>
                      <a:pt x="357" y="585"/>
                    </a:lnTo>
                    <a:lnTo>
                      <a:pt x="358" y="585"/>
                    </a:lnTo>
                    <a:lnTo>
                      <a:pt x="358" y="585"/>
                    </a:lnTo>
                    <a:lnTo>
                      <a:pt x="359" y="583"/>
                    </a:lnTo>
                    <a:lnTo>
                      <a:pt x="359" y="581"/>
                    </a:lnTo>
                    <a:lnTo>
                      <a:pt x="357" y="584"/>
                    </a:lnTo>
                    <a:lnTo>
                      <a:pt x="354" y="581"/>
                    </a:lnTo>
                    <a:lnTo>
                      <a:pt x="354" y="581"/>
                    </a:lnTo>
                    <a:lnTo>
                      <a:pt x="353" y="583"/>
                    </a:lnTo>
                    <a:lnTo>
                      <a:pt x="354" y="585"/>
                    </a:lnTo>
                    <a:lnTo>
                      <a:pt x="354" y="585"/>
                    </a:lnTo>
                    <a:lnTo>
                      <a:pt x="355" y="585"/>
                    </a:lnTo>
                    <a:lnTo>
                      <a:pt x="353" y="588"/>
                    </a:lnTo>
                    <a:lnTo>
                      <a:pt x="350" y="588"/>
                    </a:lnTo>
                    <a:lnTo>
                      <a:pt x="346" y="584"/>
                    </a:lnTo>
                    <a:lnTo>
                      <a:pt x="346" y="584"/>
                    </a:lnTo>
                    <a:lnTo>
                      <a:pt x="346" y="584"/>
                    </a:lnTo>
                    <a:lnTo>
                      <a:pt x="346" y="584"/>
                    </a:lnTo>
                    <a:lnTo>
                      <a:pt x="347" y="581"/>
                    </a:lnTo>
                    <a:lnTo>
                      <a:pt x="347" y="580"/>
                    </a:lnTo>
                    <a:lnTo>
                      <a:pt x="345" y="584"/>
                    </a:lnTo>
                    <a:lnTo>
                      <a:pt x="345" y="583"/>
                    </a:lnTo>
                    <a:lnTo>
                      <a:pt x="345" y="583"/>
                    </a:lnTo>
                    <a:lnTo>
                      <a:pt x="345" y="584"/>
                    </a:lnTo>
                    <a:lnTo>
                      <a:pt x="342" y="580"/>
                    </a:lnTo>
                    <a:lnTo>
                      <a:pt x="342" y="580"/>
                    </a:lnTo>
                    <a:lnTo>
                      <a:pt x="342" y="581"/>
                    </a:lnTo>
                    <a:lnTo>
                      <a:pt x="342" y="584"/>
                    </a:lnTo>
                    <a:lnTo>
                      <a:pt x="342" y="584"/>
                    </a:lnTo>
                    <a:lnTo>
                      <a:pt x="345" y="585"/>
                    </a:lnTo>
                    <a:lnTo>
                      <a:pt x="343" y="587"/>
                    </a:lnTo>
                    <a:lnTo>
                      <a:pt x="343" y="587"/>
                    </a:lnTo>
                    <a:lnTo>
                      <a:pt x="343" y="587"/>
                    </a:lnTo>
                    <a:lnTo>
                      <a:pt x="342" y="588"/>
                    </a:lnTo>
                    <a:lnTo>
                      <a:pt x="342" y="588"/>
                    </a:lnTo>
                    <a:lnTo>
                      <a:pt x="342" y="588"/>
                    </a:lnTo>
                    <a:lnTo>
                      <a:pt x="342" y="588"/>
                    </a:lnTo>
                    <a:lnTo>
                      <a:pt x="342" y="591"/>
                    </a:lnTo>
                    <a:lnTo>
                      <a:pt x="341" y="593"/>
                    </a:lnTo>
                    <a:lnTo>
                      <a:pt x="341" y="597"/>
                    </a:lnTo>
                    <a:lnTo>
                      <a:pt x="341" y="597"/>
                    </a:lnTo>
                    <a:lnTo>
                      <a:pt x="343" y="601"/>
                    </a:lnTo>
                    <a:lnTo>
                      <a:pt x="346" y="605"/>
                    </a:lnTo>
                    <a:lnTo>
                      <a:pt x="347" y="606"/>
                    </a:lnTo>
                    <a:lnTo>
                      <a:pt x="347" y="606"/>
                    </a:lnTo>
                    <a:lnTo>
                      <a:pt x="349" y="608"/>
                    </a:lnTo>
                    <a:lnTo>
                      <a:pt x="350" y="612"/>
                    </a:lnTo>
                    <a:lnTo>
                      <a:pt x="350" y="612"/>
                    </a:lnTo>
                    <a:lnTo>
                      <a:pt x="351" y="614"/>
                    </a:lnTo>
                    <a:lnTo>
                      <a:pt x="351" y="614"/>
                    </a:lnTo>
                    <a:lnTo>
                      <a:pt x="354" y="618"/>
                    </a:lnTo>
                    <a:lnTo>
                      <a:pt x="357" y="624"/>
                    </a:lnTo>
                    <a:lnTo>
                      <a:pt x="350" y="630"/>
                    </a:lnTo>
                    <a:lnTo>
                      <a:pt x="350" y="630"/>
                    </a:lnTo>
                    <a:lnTo>
                      <a:pt x="350" y="630"/>
                    </a:lnTo>
                    <a:lnTo>
                      <a:pt x="349" y="630"/>
                    </a:lnTo>
                    <a:lnTo>
                      <a:pt x="349" y="630"/>
                    </a:lnTo>
                    <a:lnTo>
                      <a:pt x="349" y="637"/>
                    </a:lnTo>
                    <a:lnTo>
                      <a:pt x="349" y="642"/>
                    </a:lnTo>
                    <a:lnTo>
                      <a:pt x="350" y="643"/>
                    </a:lnTo>
                    <a:lnTo>
                      <a:pt x="350" y="643"/>
                    </a:lnTo>
                    <a:lnTo>
                      <a:pt x="349" y="642"/>
                    </a:lnTo>
                    <a:lnTo>
                      <a:pt x="349" y="642"/>
                    </a:lnTo>
                    <a:lnTo>
                      <a:pt x="347" y="641"/>
                    </a:lnTo>
                    <a:lnTo>
                      <a:pt x="346" y="639"/>
                    </a:lnTo>
                    <a:lnTo>
                      <a:pt x="350" y="645"/>
                    </a:lnTo>
                    <a:lnTo>
                      <a:pt x="350" y="646"/>
                    </a:lnTo>
                    <a:lnTo>
                      <a:pt x="350" y="646"/>
                    </a:lnTo>
                    <a:lnTo>
                      <a:pt x="350" y="645"/>
                    </a:lnTo>
                    <a:lnTo>
                      <a:pt x="351" y="646"/>
                    </a:lnTo>
                    <a:lnTo>
                      <a:pt x="351" y="647"/>
                    </a:lnTo>
                    <a:lnTo>
                      <a:pt x="351" y="647"/>
                    </a:lnTo>
                    <a:lnTo>
                      <a:pt x="351" y="647"/>
                    </a:lnTo>
                    <a:lnTo>
                      <a:pt x="351" y="647"/>
                    </a:lnTo>
                    <a:lnTo>
                      <a:pt x="350" y="647"/>
                    </a:lnTo>
                    <a:lnTo>
                      <a:pt x="354" y="653"/>
                    </a:lnTo>
                    <a:lnTo>
                      <a:pt x="354" y="669"/>
                    </a:lnTo>
                    <a:lnTo>
                      <a:pt x="350" y="674"/>
                    </a:lnTo>
                    <a:lnTo>
                      <a:pt x="351" y="674"/>
                    </a:lnTo>
                    <a:lnTo>
                      <a:pt x="351" y="674"/>
                    </a:lnTo>
                    <a:lnTo>
                      <a:pt x="353" y="671"/>
                    </a:lnTo>
                    <a:lnTo>
                      <a:pt x="353" y="671"/>
                    </a:lnTo>
                    <a:lnTo>
                      <a:pt x="353" y="673"/>
                    </a:lnTo>
                    <a:lnTo>
                      <a:pt x="353" y="673"/>
                    </a:lnTo>
                    <a:lnTo>
                      <a:pt x="353" y="674"/>
                    </a:lnTo>
                    <a:lnTo>
                      <a:pt x="353" y="675"/>
                    </a:lnTo>
                    <a:lnTo>
                      <a:pt x="349" y="680"/>
                    </a:lnTo>
                    <a:lnTo>
                      <a:pt x="350" y="680"/>
                    </a:lnTo>
                    <a:lnTo>
                      <a:pt x="350" y="680"/>
                    </a:lnTo>
                    <a:lnTo>
                      <a:pt x="351" y="678"/>
                    </a:lnTo>
                    <a:lnTo>
                      <a:pt x="351" y="678"/>
                    </a:lnTo>
                    <a:lnTo>
                      <a:pt x="351" y="678"/>
                    </a:lnTo>
                    <a:lnTo>
                      <a:pt x="351" y="678"/>
                    </a:lnTo>
                    <a:lnTo>
                      <a:pt x="351" y="680"/>
                    </a:lnTo>
                    <a:lnTo>
                      <a:pt x="351" y="682"/>
                    </a:lnTo>
                    <a:lnTo>
                      <a:pt x="347" y="687"/>
                    </a:lnTo>
                    <a:lnTo>
                      <a:pt x="349" y="687"/>
                    </a:lnTo>
                    <a:lnTo>
                      <a:pt x="349" y="687"/>
                    </a:lnTo>
                    <a:lnTo>
                      <a:pt x="350" y="684"/>
                    </a:lnTo>
                    <a:lnTo>
                      <a:pt x="350" y="684"/>
                    </a:lnTo>
                    <a:lnTo>
                      <a:pt x="350" y="684"/>
                    </a:lnTo>
                    <a:lnTo>
                      <a:pt x="350" y="684"/>
                    </a:lnTo>
                    <a:lnTo>
                      <a:pt x="350" y="687"/>
                    </a:lnTo>
                    <a:lnTo>
                      <a:pt x="350" y="688"/>
                    </a:lnTo>
                    <a:lnTo>
                      <a:pt x="347" y="692"/>
                    </a:lnTo>
                    <a:lnTo>
                      <a:pt x="349" y="692"/>
                    </a:lnTo>
                    <a:lnTo>
                      <a:pt x="349" y="692"/>
                    </a:lnTo>
                    <a:lnTo>
                      <a:pt x="349" y="692"/>
                    </a:lnTo>
                    <a:lnTo>
                      <a:pt x="349" y="692"/>
                    </a:lnTo>
                    <a:lnTo>
                      <a:pt x="349" y="691"/>
                    </a:lnTo>
                    <a:lnTo>
                      <a:pt x="349" y="691"/>
                    </a:lnTo>
                    <a:lnTo>
                      <a:pt x="349" y="692"/>
                    </a:lnTo>
                    <a:lnTo>
                      <a:pt x="349" y="692"/>
                    </a:lnTo>
                    <a:lnTo>
                      <a:pt x="349" y="694"/>
                    </a:lnTo>
                    <a:lnTo>
                      <a:pt x="349" y="694"/>
                    </a:lnTo>
                    <a:lnTo>
                      <a:pt x="349" y="698"/>
                    </a:lnTo>
                    <a:lnTo>
                      <a:pt x="349" y="698"/>
                    </a:lnTo>
                    <a:lnTo>
                      <a:pt x="349" y="699"/>
                    </a:lnTo>
                    <a:lnTo>
                      <a:pt x="349" y="699"/>
                    </a:lnTo>
                    <a:lnTo>
                      <a:pt x="347" y="696"/>
                    </a:lnTo>
                    <a:lnTo>
                      <a:pt x="347" y="696"/>
                    </a:lnTo>
                    <a:lnTo>
                      <a:pt x="346" y="695"/>
                    </a:lnTo>
                    <a:lnTo>
                      <a:pt x="346" y="695"/>
                    </a:lnTo>
                    <a:lnTo>
                      <a:pt x="346" y="695"/>
                    </a:lnTo>
                    <a:lnTo>
                      <a:pt x="346" y="695"/>
                    </a:lnTo>
                    <a:lnTo>
                      <a:pt x="345" y="695"/>
                    </a:lnTo>
                    <a:lnTo>
                      <a:pt x="345" y="695"/>
                    </a:lnTo>
                    <a:lnTo>
                      <a:pt x="343" y="695"/>
                    </a:lnTo>
                    <a:lnTo>
                      <a:pt x="350" y="700"/>
                    </a:lnTo>
                    <a:lnTo>
                      <a:pt x="350" y="700"/>
                    </a:lnTo>
                    <a:lnTo>
                      <a:pt x="350" y="706"/>
                    </a:lnTo>
                    <a:lnTo>
                      <a:pt x="351" y="710"/>
                    </a:lnTo>
                    <a:lnTo>
                      <a:pt x="353" y="710"/>
                    </a:lnTo>
                    <a:lnTo>
                      <a:pt x="353" y="712"/>
                    </a:lnTo>
                    <a:lnTo>
                      <a:pt x="353" y="713"/>
                    </a:lnTo>
                    <a:lnTo>
                      <a:pt x="353" y="715"/>
                    </a:lnTo>
                    <a:lnTo>
                      <a:pt x="353" y="715"/>
                    </a:lnTo>
                    <a:lnTo>
                      <a:pt x="354" y="719"/>
                    </a:lnTo>
                    <a:lnTo>
                      <a:pt x="354" y="725"/>
                    </a:lnTo>
                    <a:lnTo>
                      <a:pt x="353" y="728"/>
                    </a:lnTo>
                    <a:lnTo>
                      <a:pt x="353" y="728"/>
                    </a:lnTo>
                    <a:lnTo>
                      <a:pt x="350" y="731"/>
                    </a:lnTo>
                    <a:lnTo>
                      <a:pt x="347" y="732"/>
                    </a:lnTo>
                    <a:lnTo>
                      <a:pt x="347" y="732"/>
                    </a:lnTo>
                    <a:lnTo>
                      <a:pt x="346" y="732"/>
                    </a:lnTo>
                    <a:lnTo>
                      <a:pt x="341" y="735"/>
                    </a:lnTo>
                    <a:lnTo>
                      <a:pt x="341" y="735"/>
                    </a:lnTo>
                    <a:lnTo>
                      <a:pt x="339" y="735"/>
                    </a:lnTo>
                    <a:lnTo>
                      <a:pt x="339" y="735"/>
                    </a:lnTo>
                    <a:lnTo>
                      <a:pt x="338" y="735"/>
                    </a:lnTo>
                    <a:lnTo>
                      <a:pt x="338" y="735"/>
                    </a:lnTo>
                    <a:lnTo>
                      <a:pt x="339" y="733"/>
                    </a:lnTo>
                    <a:lnTo>
                      <a:pt x="341" y="731"/>
                    </a:lnTo>
                    <a:lnTo>
                      <a:pt x="337" y="736"/>
                    </a:lnTo>
                    <a:lnTo>
                      <a:pt x="337" y="736"/>
                    </a:lnTo>
                    <a:lnTo>
                      <a:pt x="338" y="735"/>
                    </a:lnTo>
                    <a:lnTo>
                      <a:pt x="338" y="735"/>
                    </a:lnTo>
                    <a:lnTo>
                      <a:pt x="335" y="736"/>
                    </a:lnTo>
                    <a:lnTo>
                      <a:pt x="333" y="737"/>
                    </a:lnTo>
                    <a:lnTo>
                      <a:pt x="331" y="737"/>
                    </a:lnTo>
                    <a:lnTo>
                      <a:pt x="331" y="737"/>
                    </a:lnTo>
                    <a:lnTo>
                      <a:pt x="330" y="739"/>
                    </a:lnTo>
                    <a:lnTo>
                      <a:pt x="330" y="739"/>
                    </a:lnTo>
                    <a:lnTo>
                      <a:pt x="326" y="741"/>
                    </a:lnTo>
                    <a:lnTo>
                      <a:pt x="322" y="744"/>
                    </a:lnTo>
                    <a:lnTo>
                      <a:pt x="320" y="744"/>
                    </a:lnTo>
                    <a:lnTo>
                      <a:pt x="317" y="744"/>
                    </a:lnTo>
                    <a:lnTo>
                      <a:pt x="317" y="744"/>
                    </a:lnTo>
                    <a:lnTo>
                      <a:pt x="310" y="747"/>
                    </a:lnTo>
                    <a:lnTo>
                      <a:pt x="305" y="749"/>
                    </a:lnTo>
                    <a:lnTo>
                      <a:pt x="305" y="751"/>
                    </a:lnTo>
                    <a:lnTo>
                      <a:pt x="305" y="751"/>
                    </a:lnTo>
                    <a:lnTo>
                      <a:pt x="302" y="757"/>
                    </a:lnTo>
                    <a:lnTo>
                      <a:pt x="302" y="757"/>
                    </a:lnTo>
                    <a:lnTo>
                      <a:pt x="301" y="758"/>
                    </a:lnTo>
                    <a:lnTo>
                      <a:pt x="301" y="758"/>
                    </a:lnTo>
                    <a:lnTo>
                      <a:pt x="302" y="761"/>
                    </a:lnTo>
                    <a:lnTo>
                      <a:pt x="304" y="764"/>
                    </a:lnTo>
                    <a:lnTo>
                      <a:pt x="304" y="768"/>
                    </a:lnTo>
                    <a:lnTo>
                      <a:pt x="304" y="768"/>
                    </a:lnTo>
                    <a:lnTo>
                      <a:pt x="304" y="772"/>
                    </a:lnTo>
                    <a:lnTo>
                      <a:pt x="304" y="772"/>
                    </a:lnTo>
                    <a:lnTo>
                      <a:pt x="304" y="772"/>
                    </a:lnTo>
                    <a:lnTo>
                      <a:pt x="304" y="772"/>
                    </a:lnTo>
                    <a:lnTo>
                      <a:pt x="302" y="769"/>
                    </a:lnTo>
                    <a:lnTo>
                      <a:pt x="302" y="769"/>
                    </a:lnTo>
                    <a:lnTo>
                      <a:pt x="302" y="769"/>
                    </a:lnTo>
                    <a:lnTo>
                      <a:pt x="300" y="768"/>
                    </a:lnTo>
                    <a:lnTo>
                      <a:pt x="300" y="768"/>
                    </a:lnTo>
                    <a:lnTo>
                      <a:pt x="300" y="768"/>
                    </a:lnTo>
                    <a:lnTo>
                      <a:pt x="305" y="774"/>
                    </a:lnTo>
                    <a:lnTo>
                      <a:pt x="305" y="774"/>
                    </a:lnTo>
                    <a:lnTo>
                      <a:pt x="305" y="774"/>
                    </a:lnTo>
                    <a:lnTo>
                      <a:pt x="306" y="776"/>
                    </a:lnTo>
                    <a:lnTo>
                      <a:pt x="309" y="780"/>
                    </a:lnTo>
                    <a:lnTo>
                      <a:pt x="309" y="780"/>
                    </a:lnTo>
                    <a:lnTo>
                      <a:pt x="310" y="781"/>
                    </a:lnTo>
                    <a:lnTo>
                      <a:pt x="310" y="781"/>
                    </a:lnTo>
                    <a:lnTo>
                      <a:pt x="309" y="781"/>
                    </a:lnTo>
                    <a:lnTo>
                      <a:pt x="313" y="786"/>
                    </a:lnTo>
                    <a:lnTo>
                      <a:pt x="313" y="788"/>
                    </a:lnTo>
                    <a:lnTo>
                      <a:pt x="312" y="793"/>
                    </a:lnTo>
                    <a:lnTo>
                      <a:pt x="312" y="793"/>
                    </a:lnTo>
                    <a:lnTo>
                      <a:pt x="312" y="792"/>
                    </a:lnTo>
                    <a:lnTo>
                      <a:pt x="312" y="792"/>
                    </a:lnTo>
                    <a:lnTo>
                      <a:pt x="312" y="797"/>
                    </a:lnTo>
                    <a:lnTo>
                      <a:pt x="312" y="797"/>
                    </a:lnTo>
                    <a:lnTo>
                      <a:pt x="310" y="795"/>
                    </a:lnTo>
                    <a:lnTo>
                      <a:pt x="309" y="794"/>
                    </a:lnTo>
                    <a:lnTo>
                      <a:pt x="314" y="801"/>
                    </a:lnTo>
                    <a:lnTo>
                      <a:pt x="314" y="803"/>
                    </a:lnTo>
                    <a:lnTo>
                      <a:pt x="314" y="803"/>
                    </a:lnTo>
                    <a:lnTo>
                      <a:pt x="314" y="809"/>
                    </a:lnTo>
                    <a:lnTo>
                      <a:pt x="313" y="813"/>
                    </a:lnTo>
                    <a:lnTo>
                      <a:pt x="310" y="819"/>
                    </a:lnTo>
                    <a:lnTo>
                      <a:pt x="310" y="819"/>
                    </a:lnTo>
                    <a:lnTo>
                      <a:pt x="309" y="822"/>
                    </a:lnTo>
                    <a:lnTo>
                      <a:pt x="309" y="822"/>
                    </a:lnTo>
                    <a:lnTo>
                      <a:pt x="309" y="825"/>
                    </a:lnTo>
                    <a:lnTo>
                      <a:pt x="308" y="830"/>
                    </a:lnTo>
                    <a:lnTo>
                      <a:pt x="308" y="830"/>
                    </a:lnTo>
                    <a:lnTo>
                      <a:pt x="305" y="832"/>
                    </a:lnTo>
                    <a:lnTo>
                      <a:pt x="305" y="835"/>
                    </a:lnTo>
                    <a:lnTo>
                      <a:pt x="298" y="840"/>
                    </a:lnTo>
                    <a:lnTo>
                      <a:pt x="298" y="840"/>
                    </a:lnTo>
                    <a:lnTo>
                      <a:pt x="300" y="840"/>
                    </a:lnTo>
                    <a:lnTo>
                      <a:pt x="302" y="839"/>
                    </a:lnTo>
                    <a:lnTo>
                      <a:pt x="302" y="839"/>
                    </a:lnTo>
                    <a:lnTo>
                      <a:pt x="304" y="836"/>
                    </a:lnTo>
                    <a:lnTo>
                      <a:pt x="304" y="836"/>
                    </a:lnTo>
                    <a:lnTo>
                      <a:pt x="304" y="838"/>
                    </a:lnTo>
                    <a:lnTo>
                      <a:pt x="304" y="838"/>
                    </a:lnTo>
                    <a:lnTo>
                      <a:pt x="304" y="840"/>
                    </a:lnTo>
                    <a:lnTo>
                      <a:pt x="304" y="840"/>
                    </a:lnTo>
                    <a:lnTo>
                      <a:pt x="305" y="846"/>
                    </a:lnTo>
                    <a:lnTo>
                      <a:pt x="304" y="848"/>
                    </a:lnTo>
                    <a:lnTo>
                      <a:pt x="304" y="848"/>
                    </a:lnTo>
                    <a:lnTo>
                      <a:pt x="304" y="850"/>
                    </a:lnTo>
                    <a:lnTo>
                      <a:pt x="304" y="852"/>
                    </a:lnTo>
                    <a:lnTo>
                      <a:pt x="297" y="859"/>
                    </a:lnTo>
                    <a:lnTo>
                      <a:pt x="297" y="859"/>
                    </a:lnTo>
                    <a:lnTo>
                      <a:pt x="297" y="859"/>
                    </a:lnTo>
                    <a:lnTo>
                      <a:pt x="297" y="859"/>
                    </a:lnTo>
                    <a:lnTo>
                      <a:pt x="290" y="866"/>
                    </a:lnTo>
                    <a:lnTo>
                      <a:pt x="285" y="866"/>
                    </a:lnTo>
                    <a:lnTo>
                      <a:pt x="284" y="864"/>
                    </a:lnTo>
                    <a:lnTo>
                      <a:pt x="284" y="864"/>
                    </a:lnTo>
                    <a:lnTo>
                      <a:pt x="284" y="864"/>
                    </a:lnTo>
                    <a:lnTo>
                      <a:pt x="284" y="864"/>
                    </a:lnTo>
                    <a:lnTo>
                      <a:pt x="284" y="864"/>
                    </a:lnTo>
                    <a:lnTo>
                      <a:pt x="284" y="864"/>
                    </a:lnTo>
                    <a:lnTo>
                      <a:pt x="284" y="864"/>
                    </a:lnTo>
                    <a:lnTo>
                      <a:pt x="284" y="864"/>
                    </a:lnTo>
                    <a:lnTo>
                      <a:pt x="284" y="864"/>
                    </a:lnTo>
                    <a:lnTo>
                      <a:pt x="284" y="863"/>
                    </a:lnTo>
                    <a:lnTo>
                      <a:pt x="283" y="864"/>
                    </a:lnTo>
                    <a:lnTo>
                      <a:pt x="283" y="863"/>
                    </a:lnTo>
                    <a:lnTo>
                      <a:pt x="283" y="863"/>
                    </a:lnTo>
                    <a:lnTo>
                      <a:pt x="283" y="864"/>
                    </a:lnTo>
                    <a:lnTo>
                      <a:pt x="283" y="864"/>
                    </a:lnTo>
                    <a:lnTo>
                      <a:pt x="283" y="864"/>
                    </a:lnTo>
                    <a:lnTo>
                      <a:pt x="283" y="864"/>
                    </a:lnTo>
                    <a:lnTo>
                      <a:pt x="283" y="864"/>
                    </a:lnTo>
                    <a:lnTo>
                      <a:pt x="281" y="867"/>
                    </a:lnTo>
                    <a:lnTo>
                      <a:pt x="281" y="868"/>
                    </a:lnTo>
                    <a:lnTo>
                      <a:pt x="281" y="868"/>
                    </a:lnTo>
                    <a:lnTo>
                      <a:pt x="281" y="868"/>
                    </a:lnTo>
                    <a:lnTo>
                      <a:pt x="281" y="867"/>
                    </a:lnTo>
                    <a:lnTo>
                      <a:pt x="277" y="872"/>
                    </a:lnTo>
                    <a:lnTo>
                      <a:pt x="277" y="872"/>
                    </a:lnTo>
                    <a:lnTo>
                      <a:pt x="276" y="875"/>
                    </a:lnTo>
                    <a:lnTo>
                      <a:pt x="276" y="876"/>
                    </a:lnTo>
                    <a:lnTo>
                      <a:pt x="272" y="879"/>
                    </a:lnTo>
                    <a:lnTo>
                      <a:pt x="272" y="879"/>
                    </a:lnTo>
                    <a:lnTo>
                      <a:pt x="272" y="879"/>
                    </a:lnTo>
                    <a:lnTo>
                      <a:pt x="272" y="879"/>
                    </a:lnTo>
                    <a:lnTo>
                      <a:pt x="273" y="877"/>
                    </a:lnTo>
                    <a:lnTo>
                      <a:pt x="273" y="877"/>
                    </a:lnTo>
                    <a:lnTo>
                      <a:pt x="273" y="879"/>
                    </a:lnTo>
                    <a:lnTo>
                      <a:pt x="273" y="879"/>
                    </a:lnTo>
                    <a:lnTo>
                      <a:pt x="271" y="881"/>
                    </a:lnTo>
                    <a:lnTo>
                      <a:pt x="271" y="881"/>
                    </a:lnTo>
                    <a:lnTo>
                      <a:pt x="269" y="885"/>
                    </a:lnTo>
                    <a:lnTo>
                      <a:pt x="268" y="885"/>
                    </a:lnTo>
                    <a:lnTo>
                      <a:pt x="268" y="885"/>
                    </a:lnTo>
                    <a:lnTo>
                      <a:pt x="265" y="887"/>
                    </a:lnTo>
                    <a:lnTo>
                      <a:pt x="265" y="887"/>
                    </a:lnTo>
                    <a:lnTo>
                      <a:pt x="263" y="891"/>
                    </a:lnTo>
                    <a:lnTo>
                      <a:pt x="263" y="891"/>
                    </a:lnTo>
                    <a:lnTo>
                      <a:pt x="264" y="891"/>
                    </a:lnTo>
                    <a:lnTo>
                      <a:pt x="264" y="891"/>
                    </a:lnTo>
                    <a:lnTo>
                      <a:pt x="264" y="891"/>
                    </a:lnTo>
                    <a:lnTo>
                      <a:pt x="255" y="896"/>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2" name="Freeform 50">
                <a:extLst>
                  <a:ext uri="{FF2B5EF4-FFF2-40B4-BE49-F238E27FC236}">
                    <a16:creationId xmlns:a16="http://schemas.microsoft.com/office/drawing/2014/main" xmlns="" id="{3177D24D-D94E-4D71-9E0E-6637F65DB17C}"/>
                  </a:ext>
                </a:extLst>
              </p:cNvPr>
              <p:cNvSpPr>
                <a:spLocks/>
              </p:cNvSpPr>
              <p:nvPr/>
            </p:nvSpPr>
            <p:spPr bwMode="auto">
              <a:xfrm>
                <a:off x="2747355" y="5059969"/>
                <a:ext cx="1615717" cy="959332"/>
              </a:xfrm>
              <a:custGeom>
                <a:avLst/>
                <a:gdLst>
                  <a:gd name="T0" fmla="*/ 47 w 928"/>
                  <a:gd name="T1" fmla="*/ 530 h 551"/>
                  <a:gd name="T2" fmla="*/ 21 w 928"/>
                  <a:gd name="T3" fmla="*/ 510 h 551"/>
                  <a:gd name="T4" fmla="*/ 5 w 928"/>
                  <a:gd name="T5" fmla="*/ 487 h 551"/>
                  <a:gd name="T6" fmla="*/ 19 w 928"/>
                  <a:gd name="T7" fmla="*/ 442 h 551"/>
                  <a:gd name="T8" fmla="*/ 35 w 928"/>
                  <a:gd name="T9" fmla="*/ 411 h 551"/>
                  <a:gd name="T10" fmla="*/ 54 w 928"/>
                  <a:gd name="T11" fmla="*/ 386 h 551"/>
                  <a:gd name="T12" fmla="*/ 91 w 928"/>
                  <a:gd name="T13" fmla="*/ 385 h 551"/>
                  <a:gd name="T14" fmla="*/ 113 w 928"/>
                  <a:gd name="T15" fmla="*/ 384 h 551"/>
                  <a:gd name="T16" fmla="*/ 158 w 928"/>
                  <a:gd name="T17" fmla="*/ 302 h 551"/>
                  <a:gd name="T18" fmla="*/ 181 w 928"/>
                  <a:gd name="T19" fmla="*/ 302 h 551"/>
                  <a:gd name="T20" fmla="*/ 208 w 928"/>
                  <a:gd name="T21" fmla="*/ 295 h 551"/>
                  <a:gd name="T22" fmla="*/ 240 w 928"/>
                  <a:gd name="T23" fmla="*/ 239 h 551"/>
                  <a:gd name="T24" fmla="*/ 282 w 928"/>
                  <a:gd name="T25" fmla="*/ 213 h 551"/>
                  <a:gd name="T26" fmla="*/ 305 w 928"/>
                  <a:gd name="T27" fmla="*/ 181 h 551"/>
                  <a:gd name="T28" fmla="*/ 349 w 928"/>
                  <a:gd name="T29" fmla="*/ 181 h 551"/>
                  <a:gd name="T30" fmla="*/ 376 w 928"/>
                  <a:gd name="T31" fmla="*/ 193 h 551"/>
                  <a:gd name="T32" fmla="*/ 403 w 928"/>
                  <a:gd name="T33" fmla="*/ 173 h 551"/>
                  <a:gd name="T34" fmla="*/ 415 w 928"/>
                  <a:gd name="T35" fmla="*/ 144 h 551"/>
                  <a:gd name="T36" fmla="*/ 425 w 928"/>
                  <a:gd name="T37" fmla="*/ 119 h 551"/>
                  <a:gd name="T38" fmla="*/ 442 w 928"/>
                  <a:gd name="T39" fmla="*/ 86 h 551"/>
                  <a:gd name="T40" fmla="*/ 457 w 928"/>
                  <a:gd name="T41" fmla="*/ 36 h 551"/>
                  <a:gd name="T42" fmla="*/ 470 w 928"/>
                  <a:gd name="T43" fmla="*/ 3 h 551"/>
                  <a:gd name="T44" fmla="*/ 519 w 928"/>
                  <a:gd name="T45" fmla="*/ 23 h 551"/>
                  <a:gd name="T46" fmla="*/ 539 w 928"/>
                  <a:gd name="T47" fmla="*/ 36 h 551"/>
                  <a:gd name="T48" fmla="*/ 543 w 928"/>
                  <a:gd name="T49" fmla="*/ 62 h 551"/>
                  <a:gd name="T50" fmla="*/ 588 w 928"/>
                  <a:gd name="T51" fmla="*/ 74 h 551"/>
                  <a:gd name="T52" fmla="*/ 613 w 928"/>
                  <a:gd name="T53" fmla="*/ 77 h 551"/>
                  <a:gd name="T54" fmla="*/ 639 w 928"/>
                  <a:gd name="T55" fmla="*/ 77 h 551"/>
                  <a:gd name="T56" fmla="*/ 683 w 928"/>
                  <a:gd name="T57" fmla="*/ 87 h 551"/>
                  <a:gd name="T58" fmla="*/ 740 w 928"/>
                  <a:gd name="T59" fmla="*/ 27 h 551"/>
                  <a:gd name="T60" fmla="*/ 773 w 928"/>
                  <a:gd name="T61" fmla="*/ 27 h 551"/>
                  <a:gd name="T62" fmla="*/ 832 w 928"/>
                  <a:gd name="T63" fmla="*/ 33 h 551"/>
                  <a:gd name="T64" fmla="*/ 854 w 928"/>
                  <a:gd name="T65" fmla="*/ 56 h 551"/>
                  <a:gd name="T66" fmla="*/ 912 w 928"/>
                  <a:gd name="T67" fmla="*/ 56 h 551"/>
                  <a:gd name="T68" fmla="*/ 900 w 928"/>
                  <a:gd name="T69" fmla="*/ 86 h 551"/>
                  <a:gd name="T70" fmla="*/ 928 w 928"/>
                  <a:gd name="T71" fmla="*/ 103 h 551"/>
                  <a:gd name="T72" fmla="*/ 909 w 928"/>
                  <a:gd name="T73" fmla="*/ 148 h 551"/>
                  <a:gd name="T74" fmla="*/ 872 w 928"/>
                  <a:gd name="T75" fmla="*/ 169 h 551"/>
                  <a:gd name="T76" fmla="*/ 842 w 928"/>
                  <a:gd name="T77" fmla="*/ 184 h 551"/>
                  <a:gd name="T78" fmla="*/ 799 w 928"/>
                  <a:gd name="T79" fmla="*/ 184 h 551"/>
                  <a:gd name="T80" fmla="*/ 776 w 928"/>
                  <a:gd name="T81" fmla="*/ 209 h 551"/>
                  <a:gd name="T82" fmla="*/ 743 w 928"/>
                  <a:gd name="T83" fmla="*/ 214 h 551"/>
                  <a:gd name="T84" fmla="*/ 706 w 928"/>
                  <a:gd name="T85" fmla="*/ 229 h 551"/>
                  <a:gd name="T86" fmla="*/ 702 w 928"/>
                  <a:gd name="T87" fmla="*/ 249 h 551"/>
                  <a:gd name="T88" fmla="*/ 721 w 928"/>
                  <a:gd name="T89" fmla="*/ 306 h 551"/>
                  <a:gd name="T90" fmla="*/ 717 w 928"/>
                  <a:gd name="T91" fmla="*/ 341 h 551"/>
                  <a:gd name="T92" fmla="*/ 662 w 928"/>
                  <a:gd name="T93" fmla="*/ 358 h 551"/>
                  <a:gd name="T94" fmla="*/ 630 w 928"/>
                  <a:gd name="T95" fmla="*/ 397 h 551"/>
                  <a:gd name="T96" fmla="*/ 612 w 928"/>
                  <a:gd name="T97" fmla="*/ 451 h 551"/>
                  <a:gd name="T98" fmla="*/ 560 w 928"/>
                  <a:gd name="T99" fmla="*/ 508 h 551"/>
                  <a:gd name="T100" fmla="*/ 516 w 928"/>
                  <a:gd name="T101" fmla="*/ 504 h 551"/>
                  <a:gd name="T102" fmla="*/ 452 w 928"/>
                  <a:gd name="T103" fmla="*/ 488 h 551"/>
                  <a:gd name="T104" fmla="*/ 425 w 928"/>
                  <a:gd name="T105" fmla="*/ 488 h 551"/>
                  <a:gd name="T106" fmla="*/ 376 w 928"/>
                  <a:gd name="T107" fmla="*/ 505 h 551"/>
                  <a:gd name="T108" fmla="*/ 343 w 928"/>
                  <a:gd name="T109" fmla="*/ 509 h 551"/>
                  <a:gd name="T110" fmla="*/ 308 w 928"/>
                  <a:gd name="T111" fmla="*/ 513 h 551"/>
                  <a:gd name="T112" fmla="*/ 280 w 928"/>
                  <a:gd name="T113" fmla="*/ 509 h 551"/>
                  <a:gd name="T114" fmla="*/ 245 w 928"/>
                  <a:gd name="T115" fmla="*/ 516 h 551"/>
                  <a:gd name="T116" fmla="*/ 216 w 928"/>
                  <a:gd name="T117" fmla="*/ 517 h 551"/>
                  <a:gd name="T118" fmla="*/ 182 w 928"/>
                  <a:gd name="T119" fmla="*/ 522 h 551"/>
                  <a:gd name="T120" fmla="*/ 140 w 928"/>
                  <a:gd name="T121" fmla="*/ 536 h 551"/>
                  <a:gd name="T122" fmla="*/ 113 w 928"/>
                  <a:gd name="T123" fmla="*/ 544 h 551"/>
                  <a:gd name="T124" fmla="*/ 93 w 928"/>
                  <a:gd name="T125" fmla="*/ 546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8" h="551">
                    <a:moveTo>
                      <a:pt x="71" y="551"/>
                    </a:moveTo>
                    <a:lnTo>
                      <a:pt x="66" y="546"/>
                    </a:lnTo>
                    <a:lnTo>
                      <a:pt x="66" y="546"/>
                    </a:lnTo>
                    <a:lnTo>
                      <a:pt x="66" y="540"/>
                    </a:lnTo>
                    <a:lnTo>
                      <a:pt x="66" y="540"/>
                    </a:lnTo>
                    <a:lnTo>
                      <a:pt x="66" y="537"/>
                    </a:lnTo>
                    <a:lnTo>
                      <a:pt x="66" y="537"/>
                    </a:lnTo>
                    <a:lnTo>
                      <a:pt x="66" y="538"/>
                    </a:lnTo>
                    <a:lnTo>
                      <a:pt x="67" y="540"/>
                    </a:lnTo>
                    <a:lnTo>
                      <a:pt x="64" y="534"/>
                    </a:lnTo>
                    <a:lnTo>
                      <a:pt x="64" y="534"/>
                    </a:lnTo>
                    <a:lnTo>
                      <a:pt x="64" y="534"/>
                    </a:lnTo>
                    <a:lnTo>
                      <a:pt x="64" y="536"/>
                    </a:lnTo>
                    <a:lnTo>
                      <a:pt x="64" y="536"/>
                    </a:lnTo>
                    <a:lnTo>
                      <a:pt x="64" y="534"/>
                    </a:lnTo>
                    <a:lnTo>
                      <a:pt x="63" y="536"/>
                    </a:lnTo>
                    <a:lnTo>
                      <a:pt x="63" y="536"/>
                    </a:lnTo>
                    <a:lnTo>
                      <a:pt x="62" y="536"/>
                    </a:lnTo>
                    <a:lnTo>
                      <a:pt x="62" y="536"/>
                    </a:lnTo>
                    <a:lnTo>
                      <a:pt x="60" y="536"/>
                    </a:lnTo>
                    <a:lnTo>
                      <a:pt x="60" y="536"/>
                    </a:lnTo>
                    <a:lnTo>
                      <a:pt x="62" y="534"/>
                    </a:lnTo>
                    <a:lnTo>
                      <a:pt x="63" y="533"/>
                    </a:lnTo>
                    <a:lnTo>
                      <a:pt x="63" y="533"/>
                    </a:lnTo>
                    <a:lnTo>
                      <a:pt x="63" y="533"/>
                    </a:lnTo>
                    <a:lnTo>
                      <a:pt x="58" y="537"/>
                    </a:lnTo>
                    <a:lnTo>
                      <a:pt x="54" y="537"/>
                    </a:lnTo>
                    <a:lnTo>
                      <a:pt x="47" y="530"/>
                    </a:lnTo>
                    <a:lnTo>
                      <a:pt x="47" y="530"/>
                    </a:lnTo>
                    <a:lnTo>
                      <a:pt x="47" y="528"/>
                    </a:lnTo>
                    <a:lnTo>
                      <a:pt x="44" y="526"/>
                    </a:lnTo>
                    <a:lnTo>
                      <a:pt x="44" y="526"/>
                    </a:lnTo>
                    <a:lnTo>
                      <a:pt x="42" y="525"/>
                    </a:lnTo>
                    <a:lnTo>
                      <a:pt x="38" y="524"/>
                    </a:lnTo>
                    <a:lnTo>
                      <a:pt x="38" y="524"/>
                    </a:lnTo>
                    <a:lnTo>
                      <a:pt x="37" y="524"/>
                    </a:lnTo>
                    <a:lnTo>
                      <a:pt x="30" y="517"/>
                    </a:lnTo>
                    <a:lnTo>
                      <a:pt x="30" y="517"/>
                    </a:lnTo>
                    <a:lnTo>
                      <a:pt x="31" y="513"/>
                    </a:lnTo>
                    <a:lnTo>
                      <a:pt x="33" y="510"/>
                    </a:lnTo>
                    <a:lnTo>
                      <a:pt x="33" y="510"/>
                    </a:lnTo>
                    <a:lnTo>
                      <a:pt x="34" y="509"/>
                    </a:lnTo>
                    <a:lnTo>
                      <a:pt x="34" y="509"/>
                    </a:lnTo>
                    <a:lnTo>
                      <a:pt x="33" y="509"/>
                    </a:lnTo>
                    <a:lnTo>
                      <a:pt x="33" y="509"/>
                    </a:lnTo>
                    <a:lnTo>
                      <a:pt x="30" y="509"/>
                    </a:lnTo>
                    <a:lnTo>
                      <a:pt x="30" y="509"/>
                    </a:lnTo>
                    <a:lnTo>
                      <a:pt x="31" y="509"/>
                    </a:lnTo>
                    <a:lnTo>
                      <a:pt x="27" y="510"/>
                    </a:lnTo>
                    <a:lnTo>
                      <a:pt x="25" y="510"/>
                    </a:lnTo>
                    <a:lnTo>
                      <a:pt x="25" y="510"/>
                    </a:lnTo>
                    <a:lnTo>
                      <a:pt x="23" y="510"/>
                    </a:lnTo>
                    <a:lnTo>
                      <a:pt x="23" y="510"/>
                    </a:lnTo>
                    <a:lnTo>
                      <a:pt x="21" y="510"/>
                    </a:lnTo>
                    <a:lnTo>
                      <a:pt x="21" y="510"/>
                    </a:lnTo>
                    <a:lnTo>
                      <a:pt x="19" y="510"/>
                    </a:lnTo>
                    <a:lnTo>
                      <a:pt x="19" y="510"/>
                    </a:lnTo>
                    <a:lnTo>
                      <a:pt x="21" y="510"/>
                    </a:lnTo>
                    <a:lnTo>
                      <a:pt x="22" y="509"/>
                    </a:lnTo>
                    <a:lnTo>
                      <a:pt x="22" y="509"/>
                    </a:lnTo>
                    <a:lnTo>
                      <a:pt x="23" y="505"/>
                    </a:lnTo>
                    <a:lnTo>
                      <a:pt x="18" y="512"/>
                    </a:lnTo>
                    <a:lnTo>
                      <a:pt x="18" y="512"/>
                    </a:lnTo>
                    <a:lnTo>
                      <a:pt x="15" y="512"/>
                    </a:lnTo>
                    <a:lnTo>
                      <a:pt x="15" y="512"/>
                    </a:lnTo>
                    <a:lnTo>
                      <a:pt x="13" y="512"/>
                    </a:lnTo>
                    <a:lnTo>
                      <a:pt x="13" y="512"/>
                    </a:lnTo>
                    <a:lnTo>
                      <a:pt x="15" y="510"/>
                    </a:lnTo>
                    <a:lnTo>
                      <a:pt x="17" y="508"/>
                    </a:lnTo>
                    <a:lnTo>
                      <a:pt x="10" y="513"/>
                    </a:lnTo>
                    <a:lnTo>
                      <a:pt x="9" y="513"/>
                    </a:lnTo>
                    <a:lnTo>
                      <a:pt x="9" y="513"/>
                    </a:lnTo>
                    <a:lnTo>
                      <a:pt x="7" y="513"/>
                    </a:lnTo>
                    <a:lnTo>
                      <a:pt x="7" y="513"/>
                    </a:lnTo>
                    <a:lnTo>
                      <a:pt x="5" y="513"/>
                    </a:lnTo>
                    <a:lnTo>
                      <a:pt x="3" y="512"/>
                    </a:lnTo>
                    <a:lnTo>
                      <a:pt x="1" y="509"/>
                    </a:lnTo>
                    <a:lnTo>
                      <a:pt x="0" y="505"/>
                    </a:lnTo>
                    <a:lnTo>
                      <a:pt x="0" y="505"/>
                    </a:lnTo>
                    <a:lnTo>
                      <a:pt x="0" y="501"/>
                    </a:lnTo>
                    <a:lnTo>
                      <a:pt x="1" y="497"/>
                    </a:lnTo>
                    <a:lnTo>
                      <a:pt x="1" y="497"/>
                    </a:lnTo>
                    <a:lnTo>
                      <a:pt x="1" y="497"/>
                    </a:lnTo>
                    <a:lnTo>
                      <a:pt x="2" y="495"/>
                    </a:lnTo>
                    <a:lnTo>
                      <a:pt x="2" y="495"/>
                    </a:lnTo>
                    <a:lnTo>
                      <a:pt x="5" y="487"/>
                    </a:lnTo>
                    <a:lnTo>
                      <a:pt x="5" y="487"/>
                    </a:lnTo>
                    <a:lnTo>
                      <a:pt x="3" y="484"/>
                    </a:lnTo>
                    <a:lnTo>
                      <a:pt x="3" y="480"/>
                    </a:lnTo>
                    <a:lnTo>
                      <a:pt x="3" y="479"/>
                    </a:lnTo>
                    <a:lnTo>
                      <a:pt x="3" y="479"/>
                    </a:lnTo>
                    <a:lnTo>
                      <a:pt x="5" y="472"/>
                    </a:lnTo>
                    <a:lnTo>
                      <a:pt x="5" y="466"/>
                    </a:lnTo>
                    <a:lnTo>
                      <a:pt x="5" y="466"/>
                    </a:lnTo>
                    <a:lnTo>
                      <a:pt x="5" y="462"/>
                    </a:lnTo>
                    <a:lnTo>
                      <a:pt x="5" y="458"/>
                    </a:lnTo>
                    <a:lnTo>
                      <a:pt x="1" y="454"/>
                    </a:lnTo>
                    <a:lnTo>
                      <a:pt x="1" y="454"/>
                    </a:lnTo>
                    <a:lnTo>
                      <a:pt x="1" y="451"/>
                    </a:lnTo>
                    <a:lnTo>
                      <a:pt x="2" y="448"/>
                    </a:lnTo>
                    <a:lnTo>
                      <a:pt x="5" y="447"/>
                    </a:lnTo>
                    <a:lnTo>
                      <a:pt x="9" y="446"/>
                    </a:lnTo>
                    <a:lnTo>
                      <a:pt x="9" y="446"/>
                    </a:lnTo>
                    <a:lnTo>
                      <a:pt x="11" y="446"/>
                    </a:lnTo>
                    <a:lnTo>
                      <a:pt x="11" y="446"/>
                    </a:lnTo>
                    <a:lnTo>
                      <a:pt x="13" y="447"/>
                    </a:lnTo>
                    <a:lnTo>
                      <a:pt x="13" y="447"/>
                    </a:lnTo>
                    <a:lnTo>
                      <a:pt x="13" y="447"/>
                    </a:lnTo>
                    <a:lnTo>
                      <a:pt x="14" y="446"/>
                    </a:lnTo>
                    <a:lnTo>
                      <a:pt x="15" y="446"/>
                    </a:lnTo>
                    <a:lnTo>
                      <a:pt x="17" y="447"/>
                    </a:lnTo>
                    <a:lnTo>
                      <a:pt x="17" y="447"/>
                    </a:lnTo>
                    <a:lnTo>
                      <a:pt x="18" y="443"/>
                    </a:lnTo>
                    <a:lnTo>
                      <a:pt x="19" y="442"/>
                    </a:lnTo>
                    <a:lnTo>
                      <a:pt x="19" y="442"/>
                    </a:lnTo>
                    <a:lnTo>
                      <a:pt x="19" y="442"/>
                    </a:lnTo>
                    <a:lnTo>
                      <a:pt x="18" y="443"/>
                    </a:lnTo>
                    <a:lnTo>
                      <a:pt x="21" y="442"/>
                    </a:lnTo>
                    <a:lnTo>
                      <a:pt x="21" y="442"/>
                    </a:lnTo>
                    <a:lnTo>
                      <a:pt x="22" y="443"/>
                    </a:lnTo>
                    <a:lnTo>
                      <a:pt x="25" y="443"/>
                    </a:lnTo>
                    <a:lnTo>
                      <a:pt x="25" y="442"/>
                    </a:lnTo>
                    <a:lnTo>
                      <a:pt x="22" y="440"/>
                    </a:lnTo>
                    <a:lnTo>
                      <a:pt x="25" y="439"/>
                    </a:lnTo>
                    <a:lnTo>
                      <a:pt x="25" y="438"/>
                    </a:lnTo>
                    <a:lnTo>
                      <a:pt x="25" y="438"/>
                    </a:lnTo>
                    <a:lnTo>
                      <a:pt x="22" y="438"/>
                    </a:lnTo>
                    <a:lnTo>
                      <a:pt x="21" y="439"/>
                    </a:lnTo>
                    <a:lnTo>
                      <a:pt x="18" y="436"/>
                    </a:lnTo>
                    <a:lnTo>
                      <a:pt x="18" y="436"/>
                    </a:lnTo>
                    <a:lnTo>
                      <a:pt x="18" y="436"/>
                    </a:lnTo>
                    <a:lnTo>
                      <a:pt x="18" y="436"/>
                    </a:lnTo>
                    <a:lnTo>
                      <a:pt x="18" y="436"/>
                    </a:lnTo>
                    <a:lnTo>
                      <a:pt x="15" y="431"/>
                    </a:lnTo>
                    <a:lnTo>
                      <a:pt x="14" y="427"/>
                    </a:lnTo>
                    <a:lnTo>
                      <a:pt x="15" y="423"/>
                    </a:lnTo>
                    <a:lnTo>
                      <a:pt x="17" y="422"/>
                    </a:lnTo>
                    <a:lnTo>
                      <a:pt x="17" y="422"/>
                    </a:lnTo>
                    <a:lnTo>
                      <a:pt x="19" y="418"/>
                    </a:lnTo>
                    <a:lnTo>
                      <a:pt x="22" y="415"/>
                    </a:lnTo>
                    <a:lnTo>
                      <a:pt x="30" y="414"/>
                    </a:lnTo>
                    <a:lnTo>
                      <a:pt x="30" y="414"/>
                    </a:lnTo>
                    <a:lnTo>
                      <a:pt x="35" y="413"/>
                    </a:lnTo>
                    <a:lnTo>
                      <a:pt x="35" y="413"/>
                    </a:lnTo>
                    <a:lnTo>
                      <a:pt x="35" y="411"/>
                    </a:lnTo>
                    <a:lnTo>
                      <a:pt x="35" y="410"/>
                    </a:lnTo>
                    <a:lnTo>
                      <a:pt x="35" y="409"/>
                    </a:lnTo>
                    <a:lnTo>
                      <a:pt x="41" y="403"/>
                    </a:lnTo>
                    <a:lnTo>
                      <a:pt x="41" y="403"/>
                    </a:lnTo>
                    <a:lnTo>
                      <a:pt x="38" y="405"/>
                    </a:lnTo>
                    <a:lnTo>
                      <a:pt x="37" y="406"/>
                    </a:lnTo>
                    <a:lnTo>
                      <a:pt x="37" y="406"/>
                    </a:lnTo>
                    <a:lnTo>
                      <a:pt x="37" y="406"/>
                    </a:lnTo>
                    <a:lnTo>
                      <a:pt x="37" y="402"/>
                    </a:lnTo>
                    <a:lnTo>
                      <a:pt x="38" y="401"/>
                    </a:lnTo>
                    <a:lnTo>
                      <a:pt x="41" y="399"/>
                    </a:lnTo>
                    <a:lnTo>
                      <a:pt x="41" y="399"/>
                    </a:lnTo>
                    <a:lnTo>
                      <a:pt x="43" y="398"/>
                    </a:lnTo>
                    <a:lnTo>
                      <a:pt x="43" y="398"/>
                    </a:lnTo>
                    <a:lnTo>
                      <a:pt x="43" y="397"/>
                    </a:lnTo>
                    <a:lnTo>
                      <a:pt x="43" y="397"/>
                    </a:lnTo>
                    <a:lnTo>
                      <a:pt x="50" y="391"/>
                    </a:lnTo>
                    <a:lnTo>
                      <a:pt x="50" y="390"/>
                    </a:lnTo>
                    <a:lnTo>
                      <a:pt x="50" y="390"/>
                    </a:lnTo>
                    <a:lnTo>
                      <a:pt x="50" y="390"/>
                    </a:lnTo>
                    <a:lnTo>
                      <a:pt x="51" y="389"/>
                    </a:lnTo>
                    <a:lnTo>
                      <a:pt x="51" y="389"/>
                    </a:lnTo>
                    <a:lnTo>
                      <a:pt x="48" y="390"/>
                    </a:lnTo>
                    <a:lnTo>
                      <a:pt x="46" y="391"/>
                    </a:lnTo>
                    <a:lnTo>
                      <a:pt x="46" y="391"/>
                    </a:lnTo>
                    <a:lnTo>
                      <a:pt x="46" y="393"/>
                    </a:lnTo>
                    <a:lnTo>
                      <a:pt x="46" y="393"/>
                    </a:lnTo>
                    <a:lnTo>
                      <a:pt x="47" y="391"/>
                    </a:lnTo>
                    <a:lnTo>
                      <a:pt x="54" y="386"/>
                    </a:lnTo>
                    <a:lnTo>
                      <a:pt x="54" y="386"/>
                    </a:lnTo>
                    <a:lnTo>
                      <a:pt x="56" y="388"/>
                    </a:lnTo>
                    <a:lnTo>
                      <a:pt x="56" y="388"/>
                    </a:lnTo>
                    <a:lnTo>
                      <a:pt x="59" y="386"/>
                    </a:lnTo>
                    <a:lnTo>
                      <a:pt x="62" y="386"/>
                    </a:lnTo>
                    <a:lnTo>
                      <a:pt x="64" y="381"/>
                    </a:lnTo>
                    <a:lnTo>
                      <a:pt x="64" y="381"/>
                    </a:lnTo>
                    <a:lnTo>
                      <a:pt x="68" y="377"/>
                    </a:lnTo>
                    <a:lnTo>
                      <a:pt x="74" y="373"/>
                    </a:lnTo>
                    <a:lnTo>
                      <a:pt x="82" y="376"/>
                    </a:lnTo>
                    <a:lnTo>
                      <a:pt x="82" y="376"/>
                    </a:lnTo>
                    <a:lnTo>
                      <a:pt x="83" y="377"/>
                    </a:lnTo>
                    <a:lnTo>
                      <a:pt x="83" y="377"/>
                    </a:lnTo>
                    <a:lnTo>
                      <a:pt x="84" y="378"/>
                    </a:lnTo>
                    <a:lnTo>
                      <a:pt x="85" y="385"/>
                    </a:lnTo>
                    <a:lnTo>
                      <a:pt x="85" y="385"/>
                    </a:lnTo>
                    <a:lnTo>
                      <a:pt x="85" y="385"/>
                    </a:lnTo>
                    <a:lnTo>
                      <a:pt x="85" y="385"/>
                    </a:lnTo>
                    <a:lnTo>
                      <a:pt x="85" y="384"/>
                    </a:lnTo>
                    <a:lnTo>
                      <a:pt x="85" y="384"/>
                    </a:lnTo>
                    <a:lnTo>
                      <a:pt x="87" y="385"/>
                    </a:lnTo>
                    <a:lnTo>
                      <a:pt x="87" y="385"/>
                    </a:lnTo>
                    <a:lnTo>
                      <a:pt x="87" y="385"/>
                    </a:lnTo>
                    <a:lnTo>
                      <a:pt x="87" y="385"/>
                    </a:lnTo>
                    <a:lnTo>
                      <a:pt x="88" y="385"/>
                    </a:lnTo>
                    <a:lnTo>
                      <a:pt x="88" y="385"/>
                    </a:lnTo>
                    <a:lnTo>
                      <a:pt x="89" y="385"/>
                    </a:lnTo>
                    <a:lnTo>
                      <a:pt x="89" y="385"/>
                    </a:lnTo>
                    <a:lnTo>
                      <a:pt x="91" y="385"/>
                    </a:lnTo>
                    <a:lnTo>
                      <a:pt x="91" y="385"/>
                    </a:lnTo>
                    <a:lnTo>
                      <a:pt x="89" y="386"/>
                    </a:lnTo>
                    <a:lnTo>
                      <a:pt x="88" y="388"/>
                    </a:lnTo>
                    <a:lnTo>
                      <a:pt x="88" y="388"/>
                    </a:lnTo>
                    <a:lnTo>
                      <a:pt x="88" y="388"/>
                    </a:lnTo>
                    <a:lnTo>
                      <a:pt x="88" y="388"/>
                    </a:lnTo>
                    <a:lnTo>
                      <a:pt x="88" y="390"/>
                    </a:lnTo>
                    <a:lnTo>
                      <a:pt x="93" y="384"/>
                    </a:lnTo>
                    <a:lnTo>
                      <a:pt x="93" y="384"/>
                    </a:lnTo>
                    <a:lnTo>
                      <a:pt x="93" y="384"/>
                    </a:lnTo>
                    <a:lnTo>
                      <a:pt x="95" y="384"/>
                    </a:lnTo>
                    <a:lnTo>
                      <a:pt x="95" y="384"/>
                    </a:lnTo>
                    <a:lnTo>
                      <a:pt x="101" y="382"/>
                    </a:lnTo>
                    <a:lnTo>
                      <a:pt x="101" y="382"/>
                    </a:lnTo>
                    <a:lnTo>
                      <a:pt x="104" y="382"/>
                    </a:lnTo>
                    <a:lnTo>
                      <a:pt x="104" y="382"/>
                    </a:lnTo>
                    <a:lnTo>
                      <a:pt x="111" y="389"/>
                    </a:lnTo>
                    <a:lnTo>
                      <a:pt x="111" y="389"/>
                    </a:lnTo>
                    <a:lnTo>
                      <a:pt x="109" y="386"/>
                    </a:lnTo>
                    <a:lnTo>
                      <a:pt x="109" y="386"/>
                    </a:lnTo>
                    <a:lnTo>
                      <a:pt x="107" y="385"/>
                    </a:lnTo>
                    <a:lnTo>
                      <a:pt x="107" y="385"/>
                    </a:lnTo>
                    <a:lnTo>
                      <a:pt x="107" y="385"/>
                    </a:lnTo>
                    <a:lnTo>
                      <a:pt x="107" y="384"/>
                    </a:lnTo>
                    <a:lnTo>
                      <a:pt x="107" y="384"/>
                    </a:lnTo>
                    <a:lnTo>
                      <a:pt x="109" y="384"/>
                    </a:lnTo>
                    <a:lnTo>
                      <a:pt x="109" y="384"/>
                    </a:lnTo>
                    <a:lnTo>
                      <a:pt x="112" y="384"/>
                    </a:lnTo>
                    <a:lnTo>
                      <a:pt x="113" y="384"/>
                    </a:lnTo>
                    <a:lnTo>
                      <a:pt x="115" y="385"/>
                    </a:lnTo>
                    <a:lnTo>
                      <a:pt x="115" y="385"/>
                    </a:lnTo>
                    <a:lnTo>
                      <a:pt x="116" y="381"/>
                    </a:lnTo>
                    <a:lnTo>
                      <a:pt x="116" y="381"/>
                    </a:lnTo>
                    <a:lnTo>
                      <a:pt x="119" y="377"/>
                    </a:lnTo>
                    <a:lnTo>
                      <a:pt x="124" y="374"/>
                    </a:lnTo>
                    <a:lnTo>
                      <a:pt x="124" y="374"/>
                    </a:lnTo>
                    <a:lnTo>
                      <a:pt x="124" y="374"/>
                    </a:lnTo>
                    <a:lnTo>
                      <a:pt x="126" y="373"/>
                    </a:lnTo>
                    <a:lnTo>
                      <a:pt x="129" y="370"/>
                    </a:lnTo>
                    <a:lnTo>
                      <a:pt x="133" y="362"/>
                    </a:lnTo>
                    <a:lnTo>
                      <a:pt x="136" y="353"/>
                    </a:lnTo>
                    <a:lnTo>
                      <a:pt x="136" y="344"/>
                    </a:lnTo>
                    <a:lnTo>
                      <a:pt x="136" y="343"/>
                    </a:lnTo>
                    <a:lnTo>
                      <a:pt x="136" y="343"/>
                    </a:lnTo>
                    <a:lnTo>
                      <a:pt x="132" y="337"/>
                    </a:lnTo>
                    <a:lnTo>
                      <a:pt x="129" y="335"/>
                    </a:lnTo>
                    <a:lnTo>
                      <a:pt x="126" y="329"/>
                    </a:lnTo>
                    <a:lnTo>
                      <a:pt x="126" y="328"/>
                    </a:lnTo>
                    <a:lnTo>
                      <a:pt x="126" y="325"/>
                    </a:lnTo>
                    <a:lnTo>
                      <a:pt x="126" y="325"/>
                    </a:lnTo>
                    <a:lnTo>
                      <a:pt x="134" y="313"/>
                    </a:lnTo>
                    <a:lnTo>
                      <a:pt x="140" y="310"/>
                    </a:lnTo>
                    <a:lnTo>
                      <a:pt x="144" y="306"/>
                    </a:lnTo>
                    <a:lnTo>
                      <a:pt x="145" y="304"/>
                    </a:lnTo>
                    <a:lnTo>
                      <a:pt x="146" y="304"/>
                    </a:lnTo>
                    <a:lnTo>
                      <a:pt x="146" y="304"/>
                    </a:lnTo>
                    <a:lnTo>
                      <a:pt x="152" y="303"/>
                    </a:lnTo>
                    <a:lnTo>
                      <a:pt x="158" y="302"/>
                    </a:lnTo>
                    <a:lnTo>
                      <a:pt x="160" y="302"/>
                    </a:lnTo>
                    <a:lnTo>
                      <a:pt x="160" y="302"/>
                    </a:lnTo>
                    <a:lnTo>
                      <a:pt x="163" y="300"/>
                    </a:lnTo>
                    <a:lnTo>
                      <a:pt x="167" y="299"/>
                    </a:lnTo>
                    <a:lnTo>
                      <a:pt x="169" y="299"/>
                    </a:lnTo>
                    <a:lnTo>
                      <a:pt x="175" y="304"/>
                    </a:lnTo>
                    <a:lnTo>
                      <a:pt x="175" y="304"/>
                    </a:lnTo>
                    <a:lnTo>
                      <a:pt x="174" y="302"/>
                    </a:lnTo>
                    <a:lnTo>
                      <a:pt x="171" y="300"/>
                    </a:lnTo>
                    <a:lnTo>
                      <a:pt x="171" y="300"/>
                    </a:lnTo>
                    <a:lnTo>
                      <a:pt x="171" y="300"/>
                    </a:lnTo>
                    <a:lnTo>
                      <a:pt x="171" y="300"/>
                    </a:lnTo>
                    <a:lnTo>
                      <a:pt x="174" y="300"/>
                    </a:lnTo>
                    <a:lnTo>
                      <a:pt x="174" y="300"/>
                    </a:lnTo>
                    <a:lnTo>
                      <a:pt x="177" y="300"/>
                    </a:lnTo>
                    <a:lnTo>
                      <a:pt x="177" y="300"/>
                    </a:lnTo>
                    <a:lnTo>
                      <a:pt x="178" y="300"/>
                    </a:lnTo>
                    <a:lnTo>
                      <a:pt x="179" y="300"/>
                    </a:lnTo>
                    <a:lnTo>
                      <a:pt x="179" y="300"/>
                    </a:lnTo>
                    <a:lnTo>
                      <a:pt x="179" y="300"/>
                    </a:lnTo>
                    <a:lnTo>
                      <a:pt x="179" y="300"/>
                    </a:lnTo>
                    <a:lnTo>
                      <a:pt x="179" y="300"/>
                    </a:lnTo>
                    <a:lnTo>
                      <a:pt x="185" y="307"/>
                    </a:lnTo>
                    <a:lnTo>
                      <a:pt x="185" y="307"/>
                    </a:lnTo>
                    <a:lnTo>
                      <a:pt x="183" y="303"/>
                    </a:lnTo>
                    <a:lnTo>
                      <a:pt x="183" y="303"/>
                    </a:lnTo>
                    <a:lnTo>
                      <a:pt x="182" y="302"/>
                    </a:lnTo>
                    <a:lnTo>
                      <a:pt x="181" y="302"/>
                    </a:lnTo>
                    <a:lnTo>
                      <a:pt x="181" y="302"/>
                    </a:lnTo>
                    <a:lnTo>
                      <a:pt x="182" y="302"/>
                    </a:lnTo>
                    <a:lnTo>
                      <a:pt x="182" y="302"/>
                    </a:lnTo>
                    <a:lnTo>
                      <a:pt x="185" y="302"/>
                    </a:lnTo>
                    <a:lnTo>
                      <a:pt x="185" y="302"/>
                    </a:lnTo>
                    <a:lnTo>
                      <a:pt x="186" y="302"/>
                    </a:lnTo>
                    <a:lnTo>
                      <a:pt x="187" y="302"/>
                    </a:lnTo>
                    <a:lnTo>
                      <a:pt x="187" y="302"/>
                    </a:lnTo>
                    <a:lnTo>
                      <a:pt x="187" y="302"/>
                    </a:lnTo>
                    <a:lnTo>
                      <a:pt x="187" y="302"/>
                    </a:lnTo>
                    <a:lnTo>
                      <a:pt x="187" y="302"/>
                    </a:lnTo>
                    <a:lnTo>
                      <a:pt x="193" y="306"/>
                    </a:lnTo>
                    <a:lnTo>
                      <a:pt x="193" y="306"/>
                    </a:lnTo>
                    <a:lnTo>
                      <a:pt x="190" y="303"/>
                    </a:lnTo>
                    <a:lnTo>
                      <a:pt x="190" y="303"/>
                    </a:lnTo>
                    <a:lnTo>
                      <a:pt x="193" y="303"/>
                    </a:lnTo>
                    <a:lnTo>
                      <a:pt x="193" y="303"/>
                    </a:lnTo>
                    <a:lnTo>
                      <a:pt x="195" y="303"/>
                    </a:lnTo>
                    <a:lnTo>
                      <a:pt x="195" y="303"/>
                    </a:lnTo>
                    <a:lnTo>
                      <a:pt x="193" y="306"/>
                    </a:lnTo>
                    <a:lnTo>
                      <a:pt x="198" y="302"/>
                    </a:lnTo>
                    <a:lnTo>
                      <a:pt x="198" y="302"/>
                    </a:lnTo>
                    <a:lnTo>
                      <a:pt x="199" y="302"/>
                    </a:lnTo>
                    <a:lnTo>
                      <a:pt x="199" y="302"/>
                    </a:lnTo>
                    <a:lnTo>
                      <a:pt x="204" y="299"/>
                    </a:lnTo>
                    <a:lnTo>
                      <a:pt x="208" y="296"/>
                    </a:lnTo>
                    <a:lnTo>
                      <a:pt x="210" y="296"/>
                    </a:lnTo>
                    <a:lnTo>
                      <a:pt x="210" y="296"/>
                    </a:lnTo>
                    <a:lnTo>
                      <a:pt x="210" y="296"/>
                    </a:lnTo>
                    <a:lnTo>
                      <a:pt x="208" y="295"/>
                    </a:lnTo>
                    <a:lnTo>
                      <a:pt x="208" y="295"/>
                    </a:lnTo>
                    <a:lnTo>
                      <a:pt x="207" y="291"/>
                    </a:lnTo>
                    <a:lnTo>
                      <a:pt x="206" y="286"/>
                    </a:lnTo>
                    <a:lnTo>
                      <a:pt x="210" y="280"/>
                    </a:lnTo>
                    <a:lnTo>
                      <a:pt x="210" y="280"/>
                    </a:lnTo>
                    <a:lnTo>
                      <a:pt x="208" y="282"/>
                    </a:lnTo>
                    <a:lnTo>
                      <a:pt x="208" y="282"/>
                    </a:lnTo>
                    <a:lnTo>
                      <a:pt x="208" y="280"/>
                    </a:lnTo>
                    <a:lnTo>
                      <a:pt x="208" y="279"/>
                    </a:lnTo>
                    <a:lnTo>
                      <a:pt x="212" y="274"/>
                    </a:lnTo>
                    <a:lnTo>
                      <a:pt x="212" y="274"/>
                    </a:lnTo>
                    <a:lnTo>
                      <a:pt x="211" y="275"/>
                    </a:lnTo>
                    <a:lnTo>
                      <a:pt x="211" y="275"/>
                    </a:lnTo>
                    <a:lnTo>
                      <a:pt x="211" y="274"/>
                    </a:lnTo>
                    <a:lnTo>
                      <a:pt x="211" y="274"/>
                    </a:lnTo>
                    <a:lnTo>
                      <a:pt x="215" y="269"/>
                    </a:lnTo>
                    <a:lnTo>
                      <a:pt x="215" y="269"/>
                    </a:lnTo>
                    <a:lnTo>
                      <a:pt x="214" y="269"/>
                    </a:lnTo>
                    <a:lnTo>
                      <a:pt x="214" y="269"/>
                    </a:lnTo>
                    <a:lnTo>
                      <a:pt x="214" y="267"/>
                    </a:lnTo>
                    <a:lnTo>
                      <a:pt x="214" y="267"/>
                    </a:lnTo>
                    <a:lnTo>
                      <a:pt x="215" y="263"/>
                    </a:lnTo>
                    <a:lnTo>
                      <a:pt x="215" y="263"/>
                    </a:lnTo>
                    <a:lnTo>
                      <a:pt x="222" y="257"/>
                    </a:lnTo>
                    <a:lnTo>
                      <a:pt x="230" y="250"/>
                    </a:lnTo>
                    <a:lnTo>
                      <a:pt x="230" y="250"/>
                    </a:lnTo>
                    <a:lnTo>
                      <a:pt x="238" y="242"/>
                    </a:lnTo>
                    <a:lnTo>
                      <a:pt x="238" y="242"/>
                    </a:lnTo>
                    <a:lnTo>
                      <a:pt x="240" y="239"/>
                    </a:lnTo>
                    <a:lnTo>
                      <a:pt x="240" y="239"/>
                    </a:lnTo>
                    <a:lnTo>
                      <a:pt x="240" y="239"/>
                    </a:lnTo>
                    <a:lnTo>
                      <a:pt x="239" y="241"/>
                    </a:lnTo>
                    <a:lnTo>
                      <a:pt x="243" y="237"/>
                    </a:lnTo>
                    <a:lnTo>
                      <a:pt x="243" y="237"/>
                    </a:lnTo>
                    <a:lnTo>
                      <a:pt x="241" y="237"/>
                    </a:lnTo>
                    <a:lnTo>
                      <a:pt x="241" y="237"/>
                    </a:lnTo>
                    <a:lnTo>
                      <a:pt x="243" y="235"/>
                    </a:lnTo>
                    <a:lnTo>
                      <a:pt x="243" y="235"/>
                    </a:lnTo>
                    <a:lnTo>
                      <a:pt x="244" y="232"/>
                    </a:lnTo>
                    <a:lnTo>
                      <a:pt x="247" y="228"/>
                    </a:lnTo>
                    <a:lnTo>
                      <a:pt x="249" y="226"/>
                    </a:lnTo>
                    <a:lnTo>
                      <a:pt x="249" y="226"/>
                    </a:lnTo>
                    <a:lnTo>
                      <a:pt x="252" y="226"/>
                    </a:lnTo>
                    <a:lnTo>
                      <a:pt x="252" y="226"/>
                    </a:lnTo>
                    <a:lnTo>
                      <a:pt x="255" y="228"/>
                    </a:lnTo>
                    <a:lnTo>
                      <a:pt x="257" y="228"/>
                    </a:lnTo>
                    <a:lnTo>
                      <a:pt x="257" y="228"/>
                    </a:lnTo>
                    <a:lnTo>
                      <a:pt x="257" y="228"/>
                    </a:lnTo>
                    <a:lnTo>
                      <a:pt x="257" y="228"/>
                    </a:lnTo>
                    <a:lnTo>
                      <a:pt x="261" y="226"/>
                    </a:lnTo>
                    <a:lnTo>
                      <a:pt x="261" y="226"/>
                    </a:lnTo>
                    <a:lnTo>
                      <a:pt x="265" y="224"/>
                    </a:lnTo>
                    <a:lnTo>
                      <a:pt x="272" y="222"/>
                    </a:lnTo>
                    <a:lnTo>
                      <a:pt x="273" y="222"/>
                    </a:lnTo>
                    <a:lnTo>
                      <a:pt x="273" y="222"/>
                    </a:lnTo>
                    <a:lnTo>
                      <a:pt x="277" y="218"/>
                    </a:lnTo>
                    <a:lnTo>
                      <a:pt x="277" y="218"/>
                    </a:lnTo>
                    <a:lnTo>
                      <a:pt x="282" y="213"/>
                    </a:lnTo>
                    <a:lnTo>
                      <a:pt x="285" y="212"/>
                    </a:lnTo>
                    <a:lnTo>
                      <a:pt x="289" y="212"/>
                    </a:lnTo>
                    <a:lnTo>
                      <a:pt x="292" y="214"/>
                    </a:lnTo>
                    <a:lnTo>
                      <a:pt x="292" y="214"/>
                    </a:lnTo>
                    <a:lnTo>
                      <a:pt x="292" y="216"/>
                    </a:lnTo>
                    <a:lnTo>
                      <a:pt x="292" y="218"/>
                    </a:lnTo>
                    <a:lnTo>
                      <a:pt x="293" y="216"/>
                    </a:lnTo>
                    <a:lnTo>
                      <a:pt x="296" y="218"/>
                    </a:lnTo>
                    <a:lnTo>
                      <a:pt x="296" y="218"/>
                    </a:lnTo>
                    <a:lnTo>
                      <a:pt x="296" y="216"/>
                    </a:lnTo>
                    <a:lnTo>
                      <a:pt x="294" y="214"/>
                    </a:lnTo>
                    <a:lnTo>
                      <a:pt x="297" y="212"/>
                    </a:lnTo>
                    <a:lnTo>
                      <a:pt x="298" y="212"/>
                    </a:lnTo>
                    <a:lnTo>
                      <a:pt x="298" y="212"/>
                    </a:lnTo>
                    <a:lnTo>
                      <a:pt x="300" y="210"/>
                    </a:lnTo>
                    <a:lnTo>
                      <a:pt x="302" y="208"/>
                    </a:lnTo>
                    <a:lnTo>
                      <a:pt x="302" y="208"/>
                    </a:lnTo>
                    <a:lnTo>
                      <a:pt x="302" y="208"/>
                    </a:lnTo>
                    <a:lnTo>
                      <a:pt x="302" y="208"/>
                    </a:lnTo>
                    <a:lnTo>
                      <a:pt x="301" y="205"/>
                    </a:lnTo>
                    <a:lnTo>
                      <a:pt x="300" y="205"/>
                    </a:lnTo>
                    <a:lnTo>
                      <a:pt x="300" y="205"/>
                    </a:lnTo>
                    <a:lnTo>
                      <a:pt x="298" y="200"/>
                    </a:lnTo>
                    <a:lnTo>
                      <a:pt x="297" y="194"/>
                    </a:lnTo>
                    <a:lnTo>
                      <a:pt x="297" y="194"/>
                    </a:lnTo>
                    <a:lnTo>
                      <a:pt x="298" y="189"/>
                    </a:lnTo>
                    <a:lnTo>
                      <a:pt x="298" y="185"/>
                    </a:lnTo>
                    <a:lnTo>
                      <a:pt x="301" y="183"/>
                    </a:lnTo>
                    <a:lnTo>
                      <a:pt x="305" y="181"/>
                    </a:lnTo>
                    <a:lnTo>
                      <a:pt x="306" y="181"/>
                    </a:lnTo>
                    <a:lnTo>
                      <a:pt x="306" y="181"/>
                    </a:lnTo>
                    <a:lnTo>
                      <a:pt x="308" y="181"/>
                    </a:lnTo>
                    <a:lnTo>
                      <a:pt x="308" y="181"/>
                    </a:lnTo>
                    <a:lnTo>
                      <a:pt x="308" y="181"/>
                    </a:lnTo>
                    <a:lnTo>
                      <a:pt x="310" y="180"/>
                    </a:lnTo>
                    <a:lnTo>
                      <a:pt x="310" y="180"/>
                    </a:lnTo>
                    <a:lnTo>
                      <a:pt x="310" y="180"/>
                    </a:lnTo>
                    <a:lnTo>
                      <a:pt x="314" y="177"/>
                    </a:lnTo>
                    <a:lnTo>
                      <a:pt x="318" y="177"/>
                    </a:lnTo>
                    <a:lnTo>
                      <a:pt x="318" y="177"/>
                    </a:lnTo>
                    <a:lnTo>
                      <a:pt x="322" y="177"/>
                    </a:lnTo>
                    <a:lnTo>
                      <a:pt x="326" y="179"/>
                    </a:lnTo>
                    <a:lnTo>
                      <a:pt x="331" y="184"/>
                    </a:lnTo>
                    <a:lnTo>
                      <a:pt x="333" y="187"/>
                    </a:lnTo>
                    <a:lnTo>
                      <a:pt x="333" y="187"/>
                    </a:lnTo>
                    <a:lnTo>
                      <a:pt x="334" y="187"/>
                    </a:lnTo>
                    <a:lnTo>
                      <a:pt x="334" y="187"/>
                    </a:lnTo>
                    <a:lnTo>
                      <a:pt x="335" y="185"/>
                    </a:lnTo>
                    <a:lnTo>
                      <a:pt x="335" y="185"/>
                    </a:lnTo>
                    <a:lnTo>
                      <a:pt x="338" y="181"/>
                    </a:lnTo>
                    <a:lnTo>
                      <a:pt x="339" y="180"/>
                    </a:lnTo>
                    <a:lnTo>
                      <a:pt x="343" y="179"/>
                    </a:lnTo>
                    <a:lnTo>
                      <a:pt x="345" y="179"/>
                    </a:lnTo>
                    <a:lnTo>
                      <a:pt x="346" y="179"/>
                    </a:lnTo>
                    <a:lnTo>
                      <a:pt x="351" y="184"/>
                    </a:lnTo>
                    <a:lnTo>
                      <a:pt x="351" y="184"/>
                    </a:lnTo>
                    <a:lnTo>
                      <a:pt x="350" y="181"/>
                    </a:lnTo>
                    <a:lnTo>
                      <a:pt x="349" y="181"/>
                    </a:lnTo>
                    <a:lnTo>
                      <a:pt x="349" y="181"/>
                    </a:lnTo>
                    <a:lnTo>
                      <a:pt x="349" y="181"/>
                    </a:lnTo>
                    <a:lnTo>
                      <a:pt x="349" y="181"/>
                    </a:lnTo>
                    <a:lnTo>
                      <a:pt x="350" y="181"/>
                    </a:lnTo>
                    <a:lnTo>
                      <a:pt x="355" y="187"/>
                    </a:lnTo>
                    <a:lnTo>
                      <a:pt x="357" y="187"/>
                    </a:lnTo>
                    <a:lnTo>
                      <a:pt x="357" y="187"/>
                    </a:lnTo>
                    <a:lnTo>
                      <a:pt x="357" y="187"/>
                    </a:lnTo>
                    <a:lnTo>
                      <a:pt x="357" y="187"/>
                    </a:lnTo>
                    <a:lnTo>
                      <a:pt x="357" y="187"/>
                    </a:lnTo>
                    <a:lnTo>
                      <a:pt x="357" y="187"/>
                    </a:lnTo>
                    <a:lnTo>
                      <a:pt x="358" y="188"/>
                    </a:lnTo>
                    <a:lnTo>
                      <a:pt x="358" y="189"/>
                    </a:lnTo>
                    <a:lnTo>
                      <a:pt x="360" y="189"/>
                    </a:lnTo>
                    <a:lnTo>
                      <a:pt x="364" y="191"/>
                    </a:lnTo>
                    <a:lnTo>
                      <a:pt x="364" y="191"/>
                    </a:lnTo>
                    <a:lnTo>
                      <a:pt x="366" y="191"/>
                    </a:lnTo>
                    <a:lnTo>
                      <a:pt x="366" y="191"/>
                    </a:lnTo>
                    <a:lnTo>
                      <a:pt x="368" y="191"/>
                    </a:lnTo>
                    <a:lnTo>
                      <a:pt x="371" y="192"/>
                    </a:lnTo>
                    <a:lnTo>
                      <a:pt x="371" y="193"/>
                    </a:lnTo>
                    <a:lnTo>
                      <a:pt x="371" y="193"/>
                    </a:lnTo>
                    <a:lnTo>
                      <a:pt x="374" y="193"/>
                    </a:lnTo>
                    <a:lnTo>
                      <a:pt x="374" y="193"/>
                    </a:lnTo>
                    <a:lnTo>
                      <a:pt x="374" y="193"/>
                    </a:lnTo>
                    <a:lnTo>
                      <a:pt x="375" y="193"/>
                    </a:lnTo>
                    <a:lnTo>
                      <a:pt x="375" y="193"/>
                    </a:lnTo>
                    <a:lnTo>
                      <a:pt x="376" y="193"/>
                    </a:lnTo>
                    <a:lnTo>
                      <a:pt x="376" y="193"/>
                    </a:lnTo>
                    <a:lnTo>
                      <a:pt x="379" y="193"/>
                    </a:lnTo>
                    <a:lnTo>
                      <a:pt x="382" y="192"/>
                    </a:lnTo>
                    <a:lnTo>
                      <a:pt x="382" y="192"/>
                    </a:lnTo>
                    <a:lnTo>
                      <a:pt x="383" y="192"/>
                    </a:lnTo>
                    <a:lnTo>
                      <a:pt x="383" y="192"/>
                    </a:lnTo>
                    <a:lnTo>
                      <a:pt x="384" y="191"/>
                    </a:lnTo>
                    <a:lnTo>
                      <a:pt x="384" y="191"/>
                    </a:lnTo>
                    <a:lnTo>
                      <a:pt x="387" y="189"/>
                    </a:lnTo>
                    <a:lnTo>
                      <a:pt x="387" y="189"/>
                    </a:lnTo>
                    <a:lnTo>
                      <a:pt x="388" y="185"/>
                    </a:lnTo>
                    <a:lnTo>
                      <a:pt x="388" y="185"/>
                    </a:lnTo>
                    <a:lnTo>
                      <a:pt x="388" y="188"/>
                    </a:lnTo>
                    <a:lnTo>
                      <a:pt x="390" y="184"/>
                    </a:lnTo>
                    <a:lnTo>
                      <a:pt x="390" y="184"/>
                    </a:lnTo>
                    <a:lnTo>
                      <a:pt x="390" y="184"/>
                    </a:lnTo>
                    <a:lnTo>
                      <a:pt x="390" y="184"/>
                    </a:lnTo>
                    <a:lnTo>
                      <a:pt x="390" y="184"/>
                    </a:lnTo>
                    <a:lnTo>
                      <a:pt x="390" y="184"/>
                    </a:lnTo>
                    <a:lnTo>
                      <a:pt x="391" y="181"/>
                    </a:lnTo>
                    <a:lnTo>
                      <a:pt x="395" y="179"/>
                    </a:lnTo>
                    <a:lnTo>
                      <a:pt x="395" y="179"/>
                    </a:lnTo>
                    <a:lnTo>
                      <a:pt x="397" y="176"/>
                    </a:lnTo>
                    <a:lnTo>
                      <a:pt x="401" y="176"/>
                    </a:lnTo>
                    <a:lnTo>
                      <a:pt x="401" y="176"/>
                    </a:lnTo>
                    <a:lnTo>
                      <a:pt x="403" y="176"/>
                    </a:lnTo>
                    <a:lnTo>
                      <a:pt x="403" y="176"/>
                    </a:lnTo>
                    <a:lnTo>
                      <a:pt x="403" y="175"/>
                    </a:lnTo>
                    <a:lnTo>
                      <a:pt x="403" y="175"/>
                    </a:lnTo>
                    <a:lnTo>
                      <a:pt x="403" y="173"/>
                    </a:lnTo>
                    <a:lnTo>
                      <a:pt x="404" y="173"/>
                    </a:lnTo>
                    <a:lnTo>
                      <a:pt x="404" y="173"/>
                    </a:lnTo>
                    <a:lnTo>
                      <a:pt x="404" y="173"/>
                    </a:lnTo>
                    <a:lnTo>
                      <a:pt x="404" y="171"/>
                    </a:lnTo>
                    <a:lnTo>
                      <a:pt x="409" y="165"/>
                    </a:lnTo>
                    <a:lnTo>
                      <a:pt x="409" y="165"/>
                    </a:lnTo>
                    <a:lnTo>
                      <a:pt x="407" y="167"/>
                    </a:lnTo>
                    <a:lnTo>
                      <a:pt x="405" y="169"/>
                    </a:lnTo>
                    <a:lnTo>
                      <a:pt x="405" y="169"/>
                    </a:lnTo>
                    <a:lnTo>
                      <a:pt x="405" y="168"/>
                    </a:lnTo>
                    <a:lnTo>
                      <a:pt x="405" y="168"/>
                    </a:lnTo>
                    <a:lnTo>
                      <a:pt x="405" y="164"/>
                    </a:lnTo>
                    <a:lnTo>
                      <a:pt x="405" y="161"/>
                    </a:lnTo>
                    <a:lnTo>
                      <a:pt x="409" y="156"/>
                    </a:lnTo>
                    <a:lnTo>
                      <a:pt x="408" y="156"/>
                    </a:lnTo>
                    <a:lnTo>
                      <a:pt x="408" y="156"/>
                    </a:lnTo>
                    <a:lnTo>
                      <a:pt x="407" y="159"/>
                    </a:lnTo>
                    <a:lnTo>
                      <a:pt x="407" y="159"/>
                    </a:lnTo>
                    <a:lnTo>
                      <a:pt x="407" y="159"/>
                    </a:lnTo>
                    <a:lnTo>
                      <a:pt x="407" y="159"/>
                    </a:lnTo>
                    <a:lnTo>
                      <a:pt x="407" y="156"/>
                    </a:lnTo>
                    <a:lnTo>
                      <a:pt x="407" y="154"/>
                    </a:lnTo>
                    <a:lnTo>
                      <a:pt x="411" y="148"/>
                    </a:lnTo>
                    <a:lnTo>
                      <a:pt x="411" y="148"/>
                    </a:lnTo>
                    <a:lnTo>
                      <a:pt x="411" y="148"/>
                    </a:lnTo>
                    <a:lnTo>
                      <a:pt x="411" y="148"/>
                    </a:lnTo>
                    <a:lnTo>
                      <a:pt x="411" y="147"/>
                    </a:lnTo>
                    <a:lnTo>
                      <a:pt x="411" y="147"/>
                    </a:lnTo>
                    <a:lnTo>
                      <a:pt x="415" y="144"/>
                    </a:lnTo>
                    <a:lnTo>
                      <a:pt x="416" y="143"/>
                    </a:lnTo>
                    <a:lnTo>
                      <a:pt x="419" y="143"/>
                    </a:lnTo>
                    <a:lnTo>
                      <a:pt x="419" y="143"/>
                    </a:lnTo>
                    <a:lnTo>
                      <a:pt x="423" y="144"/>
                    </a:lnTo>
                    <a:lnTo>
                      <a:pt x="425" y="146"/>
                    </a:lnTo>
                    <a:lnTo>
                      <a:pt x="428" y="150"/>
                    </a:lnTo>
                    <a:lnTo>
                      <a:pt x="428" y="150"/>
                    </a:lnTo>
                    <a:lnTo>
                      <a:pt x="428" y="148"/>
                    </a:lnTo>
                    <a:lnTo>
                      <a:pt x="428" y="148"/>
                    </a:lnTo>
                    <a:lnTo>
                      <a:pt x="429" y="147"/>
                    </a:lnTo>
                    <a:lnTo>
                      <a:pt x="431" y="144"/>
                    </a:lnTo>
                    <a:lnTo>
                      <a:pt x="431" y="144"/>
                    </a:lnTo>
                    <a:lnTo>
                      <a:pt x="431" y="144"/>
                    </a:lnTo>
                    <a:lnTo>
                      <a:pt x="431" y="144"/>
                    </a:lnTo>
                    <a:lnTo>
                      <a:pt x="432" y="143"/>
                    </a:lnTo>
                    <a:lnTo>
                      <a:pt x="432" y="143"/>
                    </a:lnTo>
                    <a:lnTo>
                      <a:pt x="433" y="138"/>
                    </a:lnTo>
                    <a:lnTo>
                      <a:pt x="433" y="138"/>
                    </a:lnTo>
                    <a:lnTo>
                      <a:pt x="432" y="138"/>
                    </a:lnTo>
                    <a:lnTo>
                      <a:pt x="432" y="138"/>
                    </a:lnTo>
                    <a:lnTo>
                      <a:pt x="428" y="135"/>
                    </a:lnTo>
                    <a:lnTo>
                      <a:pt x="425" y="134"/>
                    </a:lnTo>
                    <a:lnTo>
                      <a:pt x="424" y="131"/>
                    </a:lnTo>
                    <a:lnTo>
                      <a:pt x="424" y="131"/>
                    </a:lnTo>
                    <a:lnTo>
                      <a:pt x="423" y="127"/>
                    </a:lnTo>
                    <a:lnTo>
                      <a:pt x="423" y="127"/>
                    </a:lnTo>
                    <a:lnTo>
                      <a:pt x="423" y="124"/>
                    </a:lnTo>
                    <a:lnTo>
                      <a:pt x="423" y="122"/>
                    </a:lnTo>
                    <a:lnTo>
                      <a:pt x="425" y="119"/>
                    </a:lnTo>
                    <a:lnTo>
                      <a:pt x="424" y="118"/>
                    </a:lnTo>
                    <a:lnTo>
                      <a:pt x="424" y="115"/>
                    </a:lnTo>
                    <a:lnTo>
                      <a:pt x="424" y="115"/>
                    </a:lnTo>
                    <a:lnTo>
                      <a:pt x="424" y="113"/>
                    </a:lnTo>
                    <a:lnTo>
                      <a:pt x="423" y="111"/>
                    </a:lnTo>
                    <a:lnTo>
                      <a:pt x="423" y="111"/>
                    </a:lnTo>
                    <a:lnTo>
                      <a:pt x="421" y="109"/>
                    </a:lnTo>
                    <a:lnTo>
                      <a:pt x="421" y="105"/>
                    </a:lnTo>
                    <a:lnTo>
                      <a:pt x="424" y="99"/>
                    </a:lnTo>
                    <a:lnTo>
                      <a:pt x="424" y="99"/>
                    </a:lnTo>
                    <a:lnTo>
                      <a:pt x="427" y="97"/>
                    </a:lnTo>
                    <a:lnTo>
                      <a:pt x="427" y="97"/>
                    </a:lnTo>
                    <a:lnTo>
                      <a:pt x="432" y="93"/>
                    </a:lnTo>
                    <a:lnTo>
                      <a:pt x="432" y="93"/>
                    </a:lnTo>
                    <a:lnTo>
                      <a:pt x="428" y="94"/>
                    </a:lnTo>
                    <a:lnTo>
                      <a:pt x="427" y="95"/>
                    </a:lnTo>
                    <a:lnTo>
                      <a:pt x="427" y="95"/>
                    </a:lnTo>
                    <a:lnTo>
                      <a:pt x="427" y="94"/>
                    </a:lnTo>
                    <a:lnTo>
                      <a:pt x="427" y="94"/>
                    </a:lnTo>
                    <a:lnTo>
                      <a:pt x="427" y="91"/>
                    </a:lnTo>
                    <a:lnTo>
                      <a:pt x="428" y="89"/>
                    </a:lnTo>
                    <a:lnTo>
                      <a:pt x="432" y="85"/>
                    </a:lnTo>
                    <a:lnTo>
                      <a:pt x="432" y="85"/>
                    </a:lnTo>
                    <a:lnTo>
                      <a:pt x="433" y="85"/>
                    </a:lnTo>
                    <a:lnTo>
                      <a:pt x="433" y="85"/>
                    </a:lnTo>
                    <a:lnTo>
                      <a:pt x="437" y="85"/>
                    </a:lnTo>
                    <a:lnTo>
                      <a:pt x="438" y="86"/>
                    </a:lnTo>
                    <a:lnTo>
                      <a:pt x="440" y="86"/>
                    </a:lnTo>
                    <a:lnTo>
                      <a:pt x="442" y="86"/>
                    </a:lnTo>
                    <a:lnTo>
                      <a:pt x="442" y="86"/>
                    </a:lnTo>
                    <a:lnTo>
                      <a:pt x="442" y="86"/>
                    </a:lnTo>
                    <a:lnTo>
                      <a:pt x="442" y="86"/>
                    </a:lnTo>
                    <a:lnTo>
                      <a:pt x="442" y="81"/>
                    </a:lnTo>
                    <a:lnTo>
                      <a:pt x="442" y="79"/>
                    </a:lnTo>
                    <a:lnTo>
                      <a:pt x="445" y="74"/>
                    </a:lnTo>
                    <a:lnTo>
                      <a:pt x="445" y="74"/>
                    </a:lnTo>
                    <a:lnTo>
                      <a:pt x="444" y="75"/>
                    </a:lnTo>
                    <a:lnTo>
                      <a:pt x="444" y="75"/>
                    </a:lnTo>
                    <a:lnTo>
                      <a:pt x="444" y="72"/>
                    </a:lnTo>
                    <a:lnTo>
                      <a:pt x="444" y="72"/>
                    </a:lnTo>
                    <a:lnTo>
                      <a:pt x="444" y="65"/>
                    </a:lnTo>
                    <a:lnTo>
                      <a:pt x="449" y="61"/>
                    </a:lnTo>
                    <a:lnTo>
                      <a:pt x="450" y="61"/>
                    </a:lnTo>
                    <a:lnTo>
                      <a:pt x="450" y="56"/>
                    </a:lnTo>
                    <a:lnTo>
                      <a:pt x="450" y="56"/>
                    </a:lnTo>
                    <a:lnTo>
                      <a:pt x="450" y="53"/>
                    </a:lnTo>
                    <a:lnTo>
                      <a:pt x="452" y="52"/>
                    </a:lnTo>
                    <a:lnTo>
                      <a:pt x="452" y="52"/>
                    </a:lnTo>
                    <a:lnTo>
                      <a:pt x="452" y="48"/>
                    </a:lnTo>
                    <a:lnTo>
                      <a:pt x="453" y="45"/>
                    </a:lnTo>
                    <a:lnTo>
                      <a:pt x="453" y="45"/>
                    </a:lnTo>
                    <a:lnTo>
                      <a:pt x="453" y="45"/>
                    </a:lnTo>
                    <a:lnTo>
                      <a:pt x="453" y="48"/>
                    </a:lnTo>
                    <a:lnTo>
                      <a:pt x="454" y="42"/>
                    </a:lnTo>
                    <a:lnTo>
                      <a:pt x="454" y="42"/>
                    </a:lnTo>
                    <a:lnTo>
                      <a:pt x="456" y="40"/>
                    </a:lnTo>
                    <a:lnTo>
                      <a:pt x="456" y="40"/>
                    </a:lnTo>
                    <a:lnTo>
                      <a:pt x="457" y="36"/>
                    </a:lnTo>
                    <a:lnTo>
                      <a:pt x="457" y="33"/>
                    </a:lnTo>
                    <a:lnTo>
                      <a:pt x="457" y="33"/>
                    </a:lnTo>
                    <a:lnTo>
                      <a:pt x="458" y="33"/>
                    </a:lnTo>
                    <a:lnTo>
                      <a:pt x="458" y="31"/>
                    </a:lnTo>
                    <a:lnTo>
                      <a:pt x="458" y="31"/>
                    </a:lnTo>
                    <a:lnTo>
                      <a:pt x="458" y="31"/>
                    </a:lnTo>
                    <a:lnTo>
                      <a:pt x="458" y="31"/>
                    </a:lnTo>
                    <a:lnTo>
                      <a:pt x="462" y="25"/>
                    </a:lnTo>
                    <a:lnTo>
                      <a:pt x="462" y="25"/>
                    </a:lnTo>
                    <a:lnTo>
                      <a:pt x="461" y="25"/>
                    </a:lnTo>
                    <a:lnTo>
                      <a:pt x="462" y="24"/>
                    </a:lnTo>
                    <a:lnTo>
                      <a:pt x="462" y="24"/>
                    </a:lnTo>
                    <a:lnTo>
                      <a:pt x="462" y="24"/>
                    </a:lnTo>
                    <a:lnTo>
                      <a:pt x="462" y="23"/>
                    </a:lnTo>
                    <a:lnTo>
                      <a:pt x="462" y="23"/>
                    </a:lnTo>
                    <a:lnTo>
                      <a:pt x="468" y="16"/>
                    </a:lnTo>
                    <a:lnTo>
                      <a:pt x="468" y="16"/>
                    </a:lnTo>
                    <a:lnTo>
                      <a:pt x="465" y="17"/>
                    </a:lnTo>
                    <a:lnTo>
                      <a:pt x="464" y="20"/>
                    </a:lnTo>
                    <a:lnTo>
                      <a:pt x="464" y="20"/>
                    </a:lnTo>
                    <a:lnTo>
                      <a:pt x="464" y="19"/>
                    </a:lnTo>
                    <a:lnTo>
                      <a:pt x="464" y="19"/>
                    </a:lnTo>
                    <a:lnTo>
                      <a:pt x="464" y="13"/>
                    </a:lnTo>
                    <a:lnTo>
                      <a:pt x="464" y="12"/>
                    </a:lnTo>
                    <a:lnTo>
                      <a:pt x="466" y="8"/>
                    </a:lnTo>
                    <a:lnTo>
                      <a:pt x="466" y="8"/>
                    </a:lnTo>
                    <a:lnTo>
                      <a:pt x="469" y="4"/>
                    </a:lnTo>
                    <a:lnTo>
                      <a:pt x="470" y="3"/>
                    </a:lnTo>
                    <a:lnTo>
                      <a:pt x="470" y="3"/>
                    </a:lnTo>
                    <a:lnTo>
                      <a:pt x="470" y="4"/>
                    </a:lnTo>
                    <a:lnTo>
                      <a:pt x="470" y="4"/>
                    </a:lnTo>
                    <a:lnTo>
                      <a:pt x="469" y="7"/>
                    </a:lnTo>
                    <a:lnTo>
                      <a:pt x="469" y="8"/>
                    </a:lnTo>
                    <a:lnTo>
                      <a:pt x="476" y="0"/>
                    </a:lnTo>
                    <a:lnTo>
                      <a:pt x="476" y="0"/>
                    </a:lnTo>
                    <a:lnTo>
                      <a:pt x="479" y="1"/>
                    </a:lnTo>
                    <a:lnTo>
                      <a:pt x="479" y="1"/>
                    </a:lnTo>
                    <a:lnTo>
                      <a:pt x="485" y="5"/>
                    </a:lnTo>
                    <a:lnTo>
                      <a:pt x="490" y="8"/>
                    </a:lnTo>
                    <a:lnTo>
                      <a:pt x="490" y="8"/>
                    </a:lnTo>
                    <a:lnTo>
                      <a:pt x="498" y="12"/>
                    </a:lnTo>
                    <a:lnTo>
                      <a:pt x="499" y="12"/>
                    </a:lnTo>
                    <a:lnTo>
                      <a:pt x="499" y="12"/>
                    </a:lnTo>
                    <a:lnTo>
                      <a:pt x="506" y="16"/>
                    </a:lnTo>
                    <a:lnTo>
                      <a:pt x="506" y="16"/>
                    </a:lnTo>
                    <a:lnTo>
                      <a:pt x="513" y="20"/>
                    </a:lnTo>
                    <a:lnTo>
                      <a:pt x="513" y="20"/>
                    </a:lnTo>
                    <a:lnTo>
                      <a:pt x="515" y="23"/>
                    </a:lnTo>
                    <a:lnTo>
                      <a:pt x="515" y="23"/>
                    </a:lnTo>
                    <a:lnTo>
                      <a:pt x="515" y="23"/>
                    </a:lnTo>
                    <a:lnTo>
                      <a:pt x="515" y="23"/>
                    </a:lnTo>
                    <a:lnTo>
                      <a:pt x="515" y="21"/>
                    </a:lnTo>
                    <a:lnTo>
                      <a:pt x="515" y="21"/>
                    </a:lnTo>
                    <a:lnTo>
                      <a:pt x="515" y="21"/>
                    </a:lnTo>
                    <a:lnTo>
                      <a:pt x="515" y="21"/>
                    </a:lnTo>
                    <a:lnTo>
                      <a:pt x="516" y="23"/>
                    </a:lnTo>
                    <a:lnTo>
                      <a:pt x="516" y="23"/>
                    </a:lnTo>
                    <a:lnTo>
                      <a:pt x="519" y="23"/>
                    </a:lnTo>
                    <a:lnTo>
                      <a:pt x="522" y="24"/>
                    </a:lnTo>
                    <a:lnTo>
                      <a:pt x="522" y="24"/>
                    </a:lnTo>
                    <a:lnTo>
                      <a:pt x="522" y="24"/>
                    </a:lnTo>
                    <a:lnTo>
                      <a:pt x="522" y="24"/>
                    </a:lnTo>
                    <a:lnTo>
                      <a:pt x="519" y="24"/>
                    </a:lnTo>
                    <a:lnTo>
                      <a:pt x="526" y="31"/>
                    </a:lnTo>
                    <a:lnTo>
                      <a:pt x="526" y="31"/>
                    </a:lnTo>
                    <a:lnTo>
                      <a:pt x="524" y="27"/>
                    </a:lnTo>
                    <a:lnTo>
                      <a:pt x="524" y="27"/>
                    </a:lnTo>
                    <a:lnTo>
                      <a:pt x="522" y="25"/>
                    </a:lnTo>
                    <a:lnTo>
                      <a:pt x="520" y="25"/>
                    </a:lnTo>
                    <a:lnTo>
                      <a:pt x="520" y="25"/>
                    </a:lnTo>
                    <a:lnTo>
                      <a:pt x="522" y="25"/>
                    </a:lnTo>
                    <a:lnTo>
                      <a:pt x="522" y="25"/>
                    </a:lnTo>
                    <a:lnTo>
                      <a:pt x="524" y="25"/>
                    </a:lnTo>
                    <a:lnTo>
                      <a:pt x="524" y="25"/>
                    </a:lnTo>
                    <a:lnTo>
                      <a:pt x="526" y="25"/>
                    </a:lnTo>
                    <a:lnTo>
                      <a:pt x="528" y="25"/>
                    </a:lnTo>
                    <a:lnTo>
                      <a:pt x="534" y="29"/>
                    </a:lnTo>
                    <a:lnTo>
                      <a:pt x="534" y="29"/>
                    </a:lnTo>
                    <a:lnTo>
                      <a:pt x="532" y="27"/>
                    </a:lnTo>
                    <a:lnTo>
                      <a:pt x="531" y="27"/>
                    </a:lnTo>
                    <a:lnTo>
                      <a:pt x="532" y="27"/>
                    </a:lnTo>
                    <a:lnTo>
                      <a:pt x="532" y="27"/>
                    </a:lnTo>
                    <a:lnTo>
                      <a:pt x="534" y="27"/>
                    </a:lnTo>
                    <a:lnTo>
                      <a:pt x="539" y="33"/>
                    </a:lnTo>
                    <a:lnTo>
                      <a:pt x="539" y="33"/>
                    </a:lnTo>
                    <a:lnTo>
                      <a:pt x="539" y="36"/>
                    </a:lnTo>
                    <a:lnTo>
                      <a:pt x="539" y="36"/>
                    </a:lnTo>
                    <a:lnTo>
                      <a:pt x="546" y="44"/>
                    </a:lnTo>
                    <a:lnTo>
                      <a:pt x="546" y="44"/>
                    </a:lnTo>
                    <a:lnTo>
                      <a:pt x="546" y="41"/>
                    </a:lnTo>
                    <a:lnTo>
                      <a:pt x="544" y="40"/>
                    </a:lnTo>
                    <a:lnTo>
                      <a:pt x="544" y="40"/>
                    </a:lnTo>
                    <a:lnTo>
                      <a:pt x="543" y="38"/>
                    </a:lnTo>
                    <a:lnTo>
                      <a:pt x="542" y="37"/>
                    </a:lnTo>
                    <a:lnTo>
                      <a:pt x="542" y="37"/>
                    </a:lnTo>
                    <a:lnTo>
                      <a:pt x="542" y="37"/>
                    </a:lnTo>
                    <a:lnTo>
                      <a:pt x="546" y="38"/>
                    </a:lnTo>
                    <a:lnTo>
                      <a:pt x="548" y="41"/>
                    </a:lnTo>
                    <a:lnTo>
                      <a:pt x="548" y="41"/>
                    </a:lnTo>
                    <a:lnTo>
                      <a:pt x="550" y="44"/>
                    </a:lnTo>
                    <a:lnTo>
                      <a:pt x="550" y="48"/>
                    </a:lnTo>
                    <a:lnTo>
                      <a:pt x="550" y="48"/>
                    </a:lnTo>
                    <a:lnTo>
                      <a:pt x="550" y="48"/>
                    </a:lnTo>
                    <a:lnTo>
                      <a:pt x="550" y="48"/>
                    </a:lnTo>
                    <a:lnTo>
                      <a:pt x="550" y="49"/>
                    </a:lnTo>
                    <a:lnTo>
                      <a:pt x="548" y="49"/>
                    </a:lnTo>
                    <a:lnTo>
                      <a:pt x="546" y="53"/>
                    </a:lnTo>
                    <a:lnTo>
                      <a:pt x="546" y="53"/>
                    </a:lnTo>
                    <a:lnTo>
                      <a:pt x="547" y="52"/>
                    </a:lnTo>
                    <a:lnTo>
                      <a:pt x="547" y="52"/>
                    </a:lnTo>
                    <a:lnTo>
                      <a:pt x="547" y="53"/>
                    </a:lnTo>
                    <a:lnTo>
                      <a:pt x="547" y="54"/>
                    </a:lnTo>
                    <a:lnTo>
                      <a:pt x="546" y="58"/>
                    </a:lnTo>
                    <a:lnTo>
                      <a:pt x="546" y="58"/>
                    </a:lnTo>
                    <a:lnTo>
                      <a:pt x="543" y="62"/>
                    </a:lnTo>
                    <a:lnTo>
                      <a:pt x="543" y="62"/>
                    </a:lnTo>
                    <a:lnTo>
                      <a:pt x="543" y="61"/>
                    </a:lnTo>
                    <a:lnTo>
                      <a:pt x="543" y="64"/>
                    </a:lnTo>
                    <a:lnTo>
                      <a:pt x="543" y="64"/>
                    </a:lnTo>
                    <a:lnTo>
                      <a:pt x="544" y="64"/>
                    </a:lnTo>
                    <a:lnTo>
                      <a:pt x="544" y="64"/>
                    </a:lnTo>
                    <a:lnTo>
                      <a:pt x="547" y="64"/>
                    </a:lnTo>
                    <a:lnTo>
                      <a:pt x="548" y="64"/>
                    </a:lnTo>
                    <a:lnTo>
                      <a:pt x="550" y="65"/>
                    </a:lnTo>
                    <a:lnTo>
                      <a:pt x="554" y="65"/>
                    </a:lnTo>
                    <a:lnTo>
                      <a:pt x="554" y="65"/>
                    </a:lnTo>
                    <a:lnTo>
                      <a:pt x="556" y="65"/>
                    </a:lnTo>
                    <a:lnTo>
                      <a:pt x="556" y="65"/>
                    </a:lnTo>
                    <a:lnTo>
                      <a:pt x="560" y="65"/>
                    </a:lnTo>
                    <a:lnTo>
                      <a:pt x="561" y="65"/>
                    </a:lnTo>
                    <a:lnTo>
                      <a:pt x="561" y="65"/>
                    </a:lnTo>
                    <a:lnTo>
                      <a:pt x="564" y="62"/>
                    </a:lnTo>
                    <a:lnTo>
                      <a:pt x="569" y="62"/>
                    </a:lnTo>
                    <a:lnTo>
                      <a:pt x="569" y="62"/>
                    </a:lnTo>
                    <a:lnTo>
                      <a:pt x="569" y="62"/>
                    </a:lnTo>
                    <a:lnTo>
                      <a:pt x="572" y="61"/>
                    </a:lnTo>
                    <a:lnTo>
                      <a:pt x="575" y="60"/>
                    </a:lnTo>
                    <a:lnTo>
                      <a:pt x="575" y="60"/>
                    </a:lnTo>
                    <a:lnTo>
                      <a:pt x="579" y="61"/>
                    </a:lnTo>
                    <a:lnTo>
                      <a:pt x="581" y="64"/>
                    </a:lnTo>
                    <a:lnTo>
                      <a:pt x="581" y="64"/>
                    </a:lnTo>
                    <a:lnTo>
                      <a:pt x="583" y="66"/>
                    </a:lnTo>
                    <a:lnTo>
                      <a:pt x="583" y="66"/>
                    </a:lnTo>
                    <a:lnTo>
                      <a:pt x="585" y="70"/>
                    </a:lnTo>
                    <a:lnTo>
                      <a:pt x="588" y="74"/>
                    </a:lnTo>
                    <a:lnTo>
                      <a:pt x="588" y="74"/>
                    </a:lnTo>
                    <a:lnTo>
                      <a:pt x="588" y="74"/>
                    </a:lnTo>
                    <a:lnTo>
                      <a:pt x="588" y="74"/>
                    </a:lnTo>
                    <a:lnTo>
                      <a:pt x="588" y="74"/>
                    </a:lnTo>
                    <a:lnTo>
                      <a:pt x="592" y="72"/>
                    </a:lnTo>
                    <a:lnTo>
                      <a:pt x="592" y="72"/>
                    </a:lnTo>
                    <a:lnTo>
                      <a:pt x="592" y="72"/>
                    </a:lnTo>
                    <a:lnTo>
                      <a:pt x="592" y="72"/>
                    </a:lnTo>
                    <a:lnTo>
                      <a:pt x="595" y="70"/>
                    </a:lnTo>
                    <a:lnTo>
                      <a:pt x="597" y="69"/>
                    </a:lnTo>
                    <a:lnTo>
                      <a:pt x="597" y="69"/>
                    </a:lnTo>
                    <a:lnTo>
                      <a:pt x="600" y="69"/>
                    </a:lnTo>
                    <a:lnTo>
                      <a:pt x="600" y="69"/>
                    </a:lnTo>
                    <a:lnTo>
                      <a:pt x="598" y="69"/>
                    </a:lnTo>
                    <a:lnTo>
                      <a:pt x="598" y="69"/>
                    </a:lnTo>
                    <a:lnTo>
                      <a:pt x="600" y="69"/>
                    </a:lnTo>
                    <a:lnTo>
                      <a:pt x="600" y="70"/>
                    </a:lnTo>
                    <a:lnTo>
                      <a:pt x="605" y="68"/>
                    </a:lnTo>
                    <a:lnTo>
                      <a:pt x="605" y="68"/>
                    </a:lnTo>
                    <a:lnTo>
                      <a:pt x="608" y="69"/>
                    </a:lnTo>
                    <a:lnTo>
                      <a:pt x="608" y="69"/>
                    </a:lnTo>
                    <a:lnTo>
                      <a:pt x="605" y="68"/>
                    </a:lnTo>
                    <a:lnTo>
                      <a:pt x="612" y="73"/>
                    </a:lnTo>
                    <a:lnTo>
                      <a:pt x="612" y="73"/>
                    </a:lnTo>
                    <a:lnTo>
                      <a:pt x="610" y="72"/>
                    </a:lnTo>
                    <a:lnTo>
                      <a:pt x="610" y="72"/>
                    </a:lnTo>
                    <a:lnTo>
                      <a:pt x="612" y="73"/>
                    </a:lnTo>
                    <a:lnTo>
                      <a:pt x="613" y="77"/>
                    </a:lnTo>
                    <a:lnTo>
                      <a:pt x="613" y="77"/>
                    </a:lnTo>
                    <a:lnTo>
                      <a:pt x="613" y="77"/>
                    </a:lnTo>
                    <a:lnTo>
                      <a:pt x="616" y="79"/>
                    </a:lnTo>
                    <a:lnTo>
                      <a:pt x="616" y="79"/>
                    </a:lnTo>
                    <a:lnTo>
                      <a:pt x="616" y="81"/>
                    </a:lnTo>
                    <a:lnTo>
                      <a:pt x="616" y="81"/>
                    </a:lnTo>
                    <a:lnTo>
                      <a:pt x="614" y="82"/>
                    </a:lnTo>
                    <a:lnTo>
                      <a:pt x="614" y="82"/>
                    </a:lnTo>
                    <a:lnTo>
                      <a:pt x="614" y="82"/>
                    </a:lnTo>
                    <a:lnTo>
                      <a:pt x="614" y="85"/>
                    </a:lnTo>
                    <a:lnTo>
                      <a:pt x="614" y="86"/>
                    </a:lnTo>
                    <a:lnTo>
                      <a:pt x="617" y="82"/>
                    </a:lnTo>
                    <a:lnTo>
                      <a:pt x="620" y="86"/>
                    </a:lnTo>
                    <a:lnTo>
                      <a:pt x="620" y="86"/>
                    </a:lnTo>
                    <a:lnTo>
                      <a:pt x="621" y="85"/>
                    </a:lnTo>
                    <a:lnTo>
                      <a:pt x="620" y="82"/>
                    </a:lnTo>
                    <a:lnTo>
                      <a:pt x="620" y="82"/>
                    </a:lnTo>
                    <a:lnTo>
                      <a:pt x="618" y="81"/>
                    </a:lnTo>
                    <a:lnTo>
                      <a:pt x="620" y="78"/>
                    </a:lnTo>
                    <a:lnTo>
                      <a:pt x="621" y="78"/>
                    </a:lnTo>
                    <a:lnTo>
                      <a:pt x="621" y="78"/>
                    </a:lnTo>
                    <a:lnTo>
                      <a:pt x="624" y="78"/>
                    </a:lnTo>
                    <a:lnTo>
                      <a:pt x="629" y="75"/>
                    </a:lnTo>
                    <a:lnTo>
                      <a:pt x="629" y="75"/>
                    </a:lnTo>
                    <a:lnTo>
                      <a:pt x="629" y="75"/>
                    </a:lnTo>
                    <a:lnTo>
                      <a:pt x="632" y="75"/>
                    </a:lnTo>
                    <a:lnTo>
                      <a:pt x="632" y="75"/>
                    </a:lnTo>
                    <a:lnTo>
                      <a:pt x="638" y="77"/>
                    </a:lnTo>
                    <a:lnTo>
                      <a:pt x="638" y="77"/>
                    </a:lnTo>
                    <a:lnTo>
                      <a:pt x="639" y="77"/>
                    </a:lnTo>
                    <a:lnTo>
                      <a:pt x="641" y="77"/>
                    </a:lnTo>
                    <a:lnTo>
                      <a:pt x="641" y="77"/>
                    </a:lnTo>
                    <a:lnTo>
                      <a:pt x="645" y="78"/>
                    </a:lnTo>
                    <a:lnTo>
                      <a:pt x="649" y="79"/>
                    </a:lnTo>
                    <a:lnTo>
                      <a:pt x="649" y="79"/>
                    </a:lnTo>
                    <a:lnTo>
                      <a:pt x="651" y="79"/>
                    </a:lnTo>
                    <a:lnTo>
                      <a:pt x="653" y="81"/>
                    </a:lnTo>
                    <a:lnTo>
                      <a:pt x="653" y="81"/>
                    </a:lnTo>
                    <a:lnTo>
                      <a:pt x="655" y="85"/>
                    </a:lnTo>
                    <a:lnTo>
                      <a:pt x="655" y="87"/>
                    </a:lnTo>
                    <a:lnTo>
                      <a:pt x="655" y="91"/>
                    </a:lnTo>
                    <a:lnTo>
                      <a:pt x="655" y="91"/>
                    </a:lnTo>
                    <a:lnTo>
                      <a:pt x="655" y="95"/>
                    </a:lnTo>
                    <a:lnTo>
                      <a:pt x="655" y="95"/>
                    </a:lnTo>
                    <a:lnTo>
                      <a:pt x="654" y="97"/>
                    </a:lnTo>
                    <a:lnTo>
                      <a:pt x="654" y="97"/>
                    </a:lnTo>
                    <a:lnTo>
                      <a:pt x="653" y="94"/>
                    </a:lnTo>
                    <a:lnTo>
                      <a:pt x="653" y="94"/>
                    </a:lnTo>
                    <a:lnTo>
                      <a:pt x="650" y="93"/>
                    </a:lnTo>
                    <a:lnTo>
                      <a:pt x="657" y="98"/>
                    </a:lnTo>
                    <a:lnTo>
                      <a:pt x="657" y="101"/>
                    </a:lnTo>
                    <a:lnTo>
                      <a:pt x="657" y="101"/>
                    </a:lnTo>
                    <a:lnTo>
                      <a:pt x="662" y="106"/>
                    </a:lnTo>
                    <a:lnTo>
                      <a:pt x="662" y="106"/>
                    </a:lnTo>
                    <a:lnTo>
                      <a:pt x="667" y="103"/>
                    </a:lnTo>
                    <a:lnTo>
                      <a:pt x="673" y="99"/>
                    </a:lnTo>
                    <a:lnTo>
                      <a:pt x="676" y="95"/>
                    </a:lnTo>
                    <a:lnTo>
                      <a:pt x="679" y="90"/>
                    </a:lnTo>
                    <a:lnTo>
                      <a:pt x="683" y="87"/>
                    </a:lnTo>
                    <a:lnTo>
                      <a:pt x="683" y="87"/>
                    </a:lnTo>
                    <a:lnTo>
                      <a:pt x="683" y="87"/>
                    </a:lnTo>
                    <a:lnTo>
                      <a:pt x="687" y="85"/>
                    </a:lnTo>
                    <a:lnTo>
                      <a:pt x="690" y="81"/>
                    </a:lnTo>
                    <a:lnTo>
                      <a:pt x="695" y="70"/>
                    </a:lnTo>
                    <a:lnTo>
                      <a:pt x="695" y="70"/>
                    </a:lnTo>
                    <a:lnTo>
                      <a:pt x="699" y="61"/>
                    </a:lnTo>
                    <a:lnTo>
                      <a:pt x="699" y="54"/>
                    </a:lnTo>
                    <a:lnTo>
                      <a:pt x="700" y="50"/>
                    </a:lnTo>
                    <a:lnTo>
                      <a:pt x="700" y="50"/>
                    </a:lnTo>
                    <a:lnTo>
                      <a:pt x="704" y="46"/>
                    </a:lnTo>
                    <a:lnTo>
                      <a:pt x="704" y="46"/>
                    </a:lnTo>
                    <a:lnTo>
                      <a:pt x="706" y="42"/>
                    </a:lnTo>
                    <a:lnTo>
                      <a:pt x="707" y="40"/>
                    </a:lnTo>
                    <a:lnTo>
                      <a:pt x="707" y="40"/>
                    </a:lnTo>
                    <a:lnTo>
                      <a:pt x="711" y="38"/>
                    </a:lnTo>
                    <a:lnTo>
                      <a:pt x="711" y="38"/>
                    </a:lnTo>
                    <a:lnTo>
                      <a:pt x="712" y="38"/>
                    </a:lnTo>
                    <a:lnTo>
                      <a:pt x="712" y="36"/>
                    </a:lnTo>
                    <a:lnTo>
                      <a:pt x="712" y="36"/>
                    </a:lnTo>
                    <a:lnTo>
                      <a:pt x="715" y="35"/>
                    </a:lnTo>
                    <a:lnTo>
                      <a:pt x="720" y="33"/>
                    </a:lnTo>
                    <a:lnTo>
                      <a:pt x="731" y="33"/>
                    </a:lnTo>
                    <a:lnTo>
                      <a:pt x="731" y="33"/>
                    </a:lnTo>
                    <a:lnTo>
                      <a:pt x="732" y="33"/>
                    </a:lnTo>
                    <a:lnTo>
                      <a:pt x="732" y="32"/>
                    </a:lnTo>
                    <a:lnTo>
                      <a:pt x="736" y="27"/>
                    </a:lnTo>
                    <a:lnTo>
                      <a:pt x="736" y="27"/>
                    </a:lnTo>
                    <a:lnTo>
                      <a:pt x="740" y="27"/>
                    </a:lnTo>
                    <a:lnTo>
                      <a:pt x="740" y="27"/>
                    </a:lnTo>
                    <a:lnTo>
                      <a:pt x="743" y="27"/>
                    </a:lnTo>
                    <a:lnTo>
                      <a:pt x="745" y="28"/>
                    </a:lnTo>
                    <a:lnTo>
                      <a:pt x="745" y="28"/>
                    </a:lnTo>
                    <a:lnTo>
                      <a:pt x="745" y="28"/>
                    </a:lnTo>
                    <a:lnTo>
                      <a:pt x="745" y="28"/>
                    </a:lnTo>
                    <a:lnTo>
                      <a:pt x="748" y="28"/>
                    </a:lnTo>
                    <a:lnTo>
                      <a:pt x="748" y="28"/>
                    </a:lnTo>
                    <a:lnTo>
                      <a:pt x="752" y="28"/>
                    </a:lnTo>
                    <a:lnTo>
                      <a:pt x="753" y="29"/>
                    </a:lnTo>
                    <a:lnTo>
                      <a:pt x="753" y="29"/>
                    </a:lnTo>
                    <a:lnTo>
                      <a:pt x="753" y="29"/>
                    </a:lnTo>
                    <a:lnTo>
                      <a:pt x="753" y="29"/>
                    </a:lnTo>
                    <a:lnTo>
                      <a:pt x="753" y="29"/>
                    </a:lnTo>
                    <a:lnTo>
                      <a:pt x="760" y="35"/>
                    </a:lnTo>
                    <a:lnTo>
                      <a:pt x="760" y="35"/>
                    </a:lnTo>
                    <a:lnTo>
                      <a:pt x="758" y="32"/>
                    </a:lnTo>
                    <a:lnTo>
                      <a:pt x="756" y="29"/>
                    </a:lnTo>
                    <a:lnTo>
                      <a:pt x="756" y="29"/>
                    </a:lnTo>
                    <a:lnTo>
                      <a:pt x="758" y="31"/>
                    </a:lnTo>
                    <a:lnTo>
                      <a:pt x="760" y="31"/>
                    </a:lnTo>
                    <a:lnTo>
                      <a:pt x="760" y="31"/>
                    </a:lnTo>
                    <a:lnTo>
                      <a:pt x="760" y="31"/>
                    </a:lnTo>
                    <a:lnTo>
                      <a:pt x="760" y="31"/>
                    </a:lnTo>
                    <a:lnTo>
                      <a:pt x="764" y="29"/>
                    </a:lnTo>
                    <a:lnTo>
                      <a:pt x="764" y="29"/>
                    </a:lnTo>
                    <a:lnTo>
                      <a:pt x="768" y="28"/>
                    </a:lnTo>
                    <a:lnTo>
                      <a:pt x="773" y="27"/>
                    </a:lnTo>
                    <a:lnTo>
                      <a:pt x="773" y="27"/>
                    </a:lnTo>
                    <a:lnTo>
                      <a:pt x="773" y="27"/>
                    </a:lnTo>
                    <a:lnTo>
                      <a:pt x="774" y="25"/>
                    </a:lnTo>
                    <a:lnTo>
                      <a:pt x="774" y="25"/>
                    </a:lnTo>
                    <a:lnTo>
                      <a:pt x="777" y="21"/>
                    </a:lnTo>
                    <a:lnTo>
                      <a:pt x="778" y="19"/>
                    </a:lnTo>
                    <a:lnTo>
                      <a:pt x="781" y="17"/>
                    </a:lnTo>
                    <a:lnTo>
                      <a:pt x="782" y="17"/>
                    </a:lnTo>
                    <a:lnTo>
                      <a:pt x="782" y="17"/>
                    </a:lnTo>
                    <a:lnTo>
                      <a:pt x="784" y="17"/>
                    </a:lnTo>
                    <a:lnTo>
                      <a:pt x="784" y="17"/>
                    </a:lnTo>
                    <a:lnTo>
                      <a:pt x="790" y="19"/>
                    </a:lnTo>
                    <a:lnTo>
                      <a:pt x="790" y="19"/>
                    </a:lnTo>
                    <a:lnTo>
                      <a:pt x="792" y="19"/>
                    </a:lnTo>
                    <a:lnTo>
                      <a:pt x="793" y="17"/>
                    </a:lnTo>
                    <a:lnTo>
                      <a:pt x="794" y="17"/>
                    </a:lnTo>
                    <a:lnTo>
                      <a:pt x="795" y="17"/>
                    </a:lnTo>
                    <a:lnTo>
                      <a:pt x="795" y="17"/>
                    </a:lnTo>
                    <a:lnTo>
                      <a:pt x="799" y="16"/>
                    </a:lnTo>
                    <a:lnTo>
                      <a:pt x="803" y="15"/>
                    </a:lnTo>
                    <a:lnTo>
                      <a:pt x="807" y="15"/>
                    </a:lnTo>
                    <a:lnTo>
                      <a:pt x="813" y="19"/>
                    </a:lnTo>
                    <a:lnTo>
                      <a:pt x="813" y="19"/>
                    </a:lnTo>
                    <a:lnTo>
                      <a:pt x="815" y="24"/>
                    </a:lnTo>
                    <a:lnTo>
                      <a:pt x="819" y="28"/>
                    </a:lnTo>
                    <a:lnTo>
                      <a:pt x="822" y="29"/>
                    </a:lnTo>
                    <a:lnTo>
                      <a:pt x="827" y="32"/>
                    </a:lnTo>
                    <a:lnTo>
                      <a:pt x="827" y="32"/>
                    </a:lnTo>
                    <a:lnTo>
                      <a:pt x="832" y="33"/>
                    </a:lnTo>
                    <a:lnTo>
                      <a:pt x="832" y="33"/>
                    </a:lnTo>
                    <a:lnTo>
                      <a:pt x="834" y="35"/>
                    </a:lnTo>
                    <a:lnTo>
                      <a:pt x="838" y="38"/>
                    </a:lnTo>
                    <a:lnTo>
                      <a:pt x="838" y="38"/>
                    </a:lnTo>
                    <a:lnTo>
                      <a:pt x="838" y="42"/>
                    </a:lnTo>
                    <a:lnTo>
                      <a:pt x="836" y="45"/>
                    </a:lnTo>
                    <a:lnTo>
                      <a:pt x="834" y="48"/>
                    </a:lnTo>
                    <a:lnTo>
                      <a:pt x="836" y="50"/>
                    </a:lnTo>
                    <a:lnTo>
                      <a:pt x="836" y="50"/>
                    </a:lnTo>
                    <a:lnTo>
                      <a:pt x="838" y="53"/>
                    </a:lnTo>
                    <a:lnTo>
                      <a:pt x="839" y="54"/>
                    </a:lnTo>
                    <a:lnTo>
                      <a:pt x="842" y="58"/>
                    </a:lnTo>
                    <a:lnTo>
                      <a:pt x="842" y="58"/>
                    </a:lnTo>
                    <a:lnTo>
                      <a:pt x="842" y="58"/>
                    </a:lnTo>
                    <a:lnTo>
                      <a:pt x="844" y="62"/>
                    </a:lnTo>
                    <a:lnTo>
                      <a:pt x="844" y="62"/>
                    </a:lnTo>
                    <a:lnTo>
                      <a:pt x="847" y="65"/>
                    </a:lnTo>
                    <a:lnTo>
                      <a:pt x="850" y="65"/>
                    </a:lnTo>
                    <a:lnTo>
                      <a:pt x="850" y="65"/>
                    </a:lnTo>
                    <a:lnTo>
                      <a:pt x="851" y="65"/>
                    </a:lnTo>
                    <a:lnTo>
                      <a:pt x="851" y="64"/>
                    </a:lnTo>
                    <a:lnTo>
                      <a:pt x="856" y="58"/>
                    </a:lnTo>
                    <a:lnTo>
                      <a:pt x="856" y="58"/>
                    </a:lnTo>
                    <a:lnTo>
                      <a:pt x="854" y="60"/>
                    </a:lnTo>
                    <a:lnTo>
                      <a:pt x="852" y="62"/>
                    </a:lnTo>
                    <a:lnTo>
                      <a:pt x="852" y="61"/>
                    </a:lnTo>
                    <a:lnTo>
                      <a:pt x="852" y="61"/>
                    </a:lnTo>
                    <a:lnTo>
                      <a:pt x="852" y="60"/>
                    </a:lnTo>
                    <a:lnTo>
                      <a:pt x="854" y="56"/>
                    </a:lnTo>
                    <a:lnTo>
                      <a:pt x="854" y="56"/>
                    </a:lnTo>
                    <a:lnTo>
                      <a:pt x="856" y="53"/>
                    </a:lnTo>
                    <a:lnTo>
                      <a:pt x="856" y="53"/>
                    </a:lnTo>
                    <a:lnTo>
                      <a:pt x="860" y="50"/>
                    </a:lnTo>
                    <a:lnTo>
                      <a:pt x="860" y="49"/>
                    </a:lnTo>
                    <a:lnTo>
                      <a:pt x="862" y="44"/>
                    </a:lnTo>
                    <a:lnTo>
                      <a:pt x="862" y="44"/>
                    </a:lnTo>
                    <a:lnTo>
                      <a:pt x="862" y="44"/>
                    </a:lnTo>
                    <a:lnTo>
                      <a:pt x="862" y="44"/>
                    </a:lnTo>
                    <a:lnTo>
                      <a:pt x="862" y="42"/>
                    </a:lnTo>
                    <a:lnTo>
                      <a:pt x="862" y="42"/>
                    </a:lnTo>
                    <a:lnTo>
                      <a:pt x="863" y="40"/>
                    </a:lnTo>
                    <a:lnTo>
                      <a:pt x="864" y="36"/>
                    </a:lnTo>
                    <a:lnTo>
                      <a:pt x="868" y="32"/>
                    </a:lnTo>
                    <a:lnTo>
                      <a:pt x="873" y="31"/>
                    </a:lnTo>
                    <a:lnTo>
                      <a:pt x="873" y="31"/>
                    </a:lnTo>
                    <a:lnTo>
                      <a:pt x="876" y="32"/>
                    </a:lnTo>
                    <a:lnTo>
                      <a:pt x="880" y="35"/>
                    </a:lnTo>
                    <a:lnTo>
                      <a:pt x="880" y="35"/>
                    </a:lnTo>
                    <a:lnTo>
                      <a:pt x="885" y="46"/>
                    </a:lnTo>
                    <a:lnTo>
                      <a:pt x="885" y="46"/>
                    </a:lnTo>
                    <a:lnTo>
                      <a:pt x="888" y="52"/>
                    </a:lnTo>
                    <a:lnTo>
                      <a:pt x="892" y="57"/>
                    </a:lnTo>
                    <a:lnTo>
                      <a:pt x="892" y="57"/>
                    </a:lnTo>
                    <a:lnTo>
                      <a:pt x="895" y="54"/>
                    </a:lnTo>
                    <a:lnTo>
                      <a:pt x="899" y="54"/>
                    </a:lnTo>
                    <a:lnTo>
                      <a:pt x="899" y="54"/>
                    </a:lnTo>
                    <a:lnTo>
                      <a:pt x="901" y="54"/>
                    </a:lnTo>
                    <a:lnTo>
                      <a:pt x="908" y="54"/>
                    </a:lnTo>
                    <a:lnTo>
                      <a:pt x="912" y="56"/>
                    </a:lnTo>
                    <a:lnTo>
                      <a:pt x="912" y="56"/>
                    </a:lnTo>
                    <a:lnTo>
                      <a:pt x="914" y="60"/>
                    </a:lnTo>
                    <a:lnTo>
                      <a:pt x="914" y="62"/>
                    </a:lnTo>
                    <a:lnTo>
                      <a:pt x="913" y="65"/>
                    </a:lnTo>
                    <a:lnTo>
                      <a:pt x="913" y="70"/>
                    </a:lnTo>
                    <a:lnTo>
                      <a:pt x="905" y="75"/>
                    </a:lnTo>
                    <a:lnTo>
                      <a:pt x="905" y="75"/>
                    </a:lnTo>
                    <a:lnTo>
                      <a:pt x="901" y="81"/>
                    </a:lnTo>
                    <a:lnTo>
                      <a:pt x="901" y="81"/>
                    </a:lnTo>
                    <a:lnTo>
                      <a:pt x="903" y="79"/>
                    </a:lnTo>
                    <a:lnTo>
                      <a:pt x="903" y="79"/>
                    </a:lnTo>
                    <a:lnTo>
                      <a:pt x="903" y="81"/>
                    </a:lnTo>
                    <a:lnTo>
                      <a:pt x="903" y="82"/>
                    </a:lnTo>
                    <a:lnTo>
                      <a:pt x="900" y="83"/>
                    </a:lnTo>
                    <a:lnTo>
                      <a:pt x="900" y="83"/>
                    </a:lnTo>
                    <a:lnTo>
                      <a:pt x="899" y="82"/>
                    </a:lnTo>
                    <a:lnTo>
                      <a:pt x="896" y="81"/>
                    </a:lnTo>
                    <a:lnTo>
                      <a:pt x="896" y="82"/>
                    </a:lnTo>
                    <a:lnTo>
                      <a:pt x="896" y="82"/>
                    </a:lnTo>
                    <a:lnTo>
                      <a:pt x="896" y="82"/>
                    </a:lnTo>
                    <a:lnTo>
                      <a:pt x="899" y="85"/>
                    </a:lnTo>
                    <a:lnTo>
                      <a:pt x="896" y="86"/>
                    </a:lnTo>
                    <a:lnTo>
                      <a:pt x="896" y="87"/>
                    </a:lnTo>
                    <a:lnTo>
                      <a:pt x="896" y="87"/>
                    </a:lnTo>
                    <a:lnTo>
                      <a:pt x="897" y="87"/>
                    </a:lnTo>
                    <a:lnTo>
                      <a:pt x="897" y="86"/>
                    </a:lnTo>
                    <a:lnTo>
                      <a:pt x="897" y="86"/>
                    </a:lnTo>
                    <a:lnTo>
                      <a:pt x="900" y="86"/>
                    </a:lnTo>
                    <a:lnTo>
                      <a:pt x="900" y="86"/>
                    </a:lnTo>
                    <a:lnTo>
                      <a:pt x="900" y="85"/>
                    </a:lnTo>
                    <a:lnTo>
                      <a:pt x="901" y="86"/>
                    </a:lnTo>
                    <a:lnTo>
                      <a:pt x="901" y="86"/>
                    </a:lnTo>
                    <a:lnTo>
                      <a:pt x="901" y="86"/>
                    </a:lnTo>
                    <a:lnTo>
                      <a:pt x="901" y="86"/>
                    </a:lnTo>
                    <a:lnTo>
                      <a:pt x="901" y="85"/>
                    </a:lnTo>
                    <a:lnTo>
                      <a:pt x="901" y="85"/>
                    </a:lnTo>
                    <a:lnTo>
                      <a:pt x="903" y="86"/>
                    </a:lnTo>
                    <a:lnTo>
                      <a:pt x="903" y="86"/>
                    </a:lnTo>
                    <a:lnTo>
                      <a:pt x="904" y="86"/>
                    </a:lnTo>
                    <a:lnTo>
                      <a:pt x="904" y="86"/>
                    </a:lnTo>
                    <a:lnTo>
                      <a:pt x="905" y="86"/>
                    </a:lnTo>
                    <a:lnTo>
                      <a:pt x="905" y="86"/>
                    </a:lnTo>
                    <a:lnTo>
                      <a:pt x="903" y="87"/>
                    </a:lnTo>
                    <a:lnTo>
                      <a:pt x="903" y="87"/>
                    </a:lnTo>
                    <a:lnTo>
                      <a:pt x="904" y="87"/>
                    </a:lnTo>
                    <a:lnTo>
                      <a:pt x="908" y="85"/>
                    </a:lnTo>
                    <a:lnTo>
                      <a:pt x="913" y="85"/>
                    </a:lnTo>
                    <a:lnTo>
                      <a:pt x="917" y="86"/>
                    </a:lnTo>
                    <a:lnTo>
                      <a:pt x="917" y="86"/>
                    </a:lnTo>
                    <a:lnTo>
                      <a:pt x="918" y="89"/>
                    </a:lnTo>
                    <a:lnTo>
                      <a:pt x="920" y="91"/>
                    </a:lnTo>
                    <a:lnTo>
                      <a:pt x="920" y="91"/>
                    </a:lnTo>
                    <a:lnTo>
                      <a:pt x="921" y="93"/>
                    </a:lnTo>
                    <a:lnTo>
                      <a:pt x="922" y="95"/>
                    </a:lnTo>
                    <a:lnTo>
                      <a:pt x="922" y="95"/>
                    </a:lnTo>
                    <a:lnTo>
                      <a:pt x="925" y="97"/>
                    </a:lnTo>
                    <a:lnTo>
                      <a:pt x="928" y="102"/>
                    </a:lnTo>
                    <a:lnTo>
                      <a:pt x="928" y="103"/>
                    </a:lnTo>
                    <a:lnTo>
                      <a:pt x="925" y="109"/>
                    </a:lnTo>
                    <a:lnTo>
                      <a:pt x="924" y="109"/>
                    </a:lnTo>
                    <a:lnTo>
                      <a:pt x="924" y="109"/>
                    </a:lnTo>
                    <a:lnTo>
                      <a:pt x="921" y="111"/>
                    </a:lnTo>
                    <a:lnTo>
                      <a:pt x="920" y="115"/>
                    </a:lnTo>
                    <a:lnTo>
                      <a:pt x="912" y="120"/>
                    </a:lnTo>
                    <a:lnTo>
                      <a:pt x="912" y="120"/>
                    </a:lnTo>
                    <a:lnTo>
                      <a:pt x="909" y="119"/>
                    </a:lnTo>
                    <a:lnTo>
                      <a:pt x="909" y="119"/>
                    </a:lnTo>
                    <a:lnTo>
                      <a:pt x="909" y="120"/>
                    </a:lnTo>
                    <a:lnTo>
                      <a:pt x="909" y="122"/>
                    </a:lnTo>
                    <a:lnTo>
                      <a:pt x="909" y="122"/>
                    </a:lnTo>
                    <a:lnTo>
                      <a:pt x="908" y="124"/>
                    </a:lnTo>
                    <a:lnTo>
                      <a:pt x="908" y="124"/>
                    </a:lnTo>
                    <a:lnTo>
                      <a:pt x="907" y="128"/>
                    </a:lnTo>
                    <a:lnTo>
                      <a:pt x="903" y="132"/>
                    </a:lnTo>
                    <a:lnTo>
                      <a:pt x="903" y="132"/>
                    </a:lnTo>
                    <a:lnTo>
                      <a:pt x="901" y="135"/>
                    </a:lnTo>
                    <a:lnTo>
                      <a:pt x="901" y="135"/>
                    </a:lnTo>
                    <a:lnTo>
                      <a:pt x="899" y="139"/>
                    </a:lnTo>
                    <a:lnTo>
                      <a:pt x="899" y="139"/>
                    </a:lnTo>
                    <a:lnTo>
                      <a:pt x="903" y="138"/>
                    </a:lnTo>
                    <a:lnTo>
                      <a:pt x="903" y="138"/>
                    </a:lnTo>
                    <a:lnTo>
                      <a:pt x="904" y="139"/>
                    </a:lnTo>
                    <a:lnTo>
                      <a:pt x="907" y="139"/>
                    </a:lnTo>
                    <a:lnTo>
                      <a:pt x="908" y="142"/>
                    </a:lnTo>
                    <a:lnTo>
                      <a:pt x="909" y="144"/>
                    </a:lnTo>
                    <a:lnTo>
                      <a:pt x="909" y="146"/>
                    </a:lnTo>
                    <a:lnTo>
                      <a:pt x="909" y="148"/>
                    </a:lnTo>
                    <a:lnTo>
                      <a:pt x="903" y="154"/>
                    </a:lnTo>
                    <a:lnTo>
                      <a:pt x="903" y="154"/>
                    </a:lnTo>
                    <a:lnTo>
                      <a:pt x="903" y="154"/>
                    </a:lnTo>
                    <a:lnTo>
                      <a:pt x="903" y="155"/>
                    </a:lnTo>
                    <a:lnTo>
                      <a:pt x="903" y="155"/>
                    </a:lnTo>
                    <a:lnTo>
                      <a:pt x="900" y="159"/>
                    </a:lnTo>
                    <a:lnTo>
                      <a:pt x="895" y="161"/>
                    </a:lnTo>
                    <a:lnTo>
                      <a:pt x="893" y="161"/>
                    </a:lnTo>
                    <a:lnTo>
                      <a:pt x="889" y="159"/>
                    </a:lnTo>
                    <a:lnTo>
                      <a:pt x="889" y="159"/>
                    </a:lnTo>
                    <a:lnTo>
                      <a:pt x="891" y="160"/>
                    </a:lnTo>
                    <a:lnTo>
                      <a:pt x="891" y="160"/>
                    </a:lnTo>
                    <a:lnTo>
                      <a:pt x="888" y="160"/>
                    </a:lnTo>
                    <a:lnTo>
                      <a:pt x="888" y="160"/>
                    </a:lnTo>
                    <a:lnTo>
                      <a:pt x="887" y="160"/>
                    </a:lnTo>
                    <a:lnTo>
                      <a:pt x="887" y="160"/>
                    </a:lnTo>
                    <a:lnTo>
                      <a:pt x="887" y="164"/>
                    </a:lnTo>
                    <a:lnTo>
                      <a:pt x="885" y="168"/>
                    </a:lnTo>
                    <a:lnTo>
                      <a:pt x="885" y="168"/>
                    </a:lnTo>
                    <a:lnTo>
                      <a:pt x="883" y="169"/>
                    </a:lnTo>
                    <a:lnTo>
                      <a:pt x="879" y="171"/>
                    </a:lnTo>
                    <a:lnTo>
                      <a:pt x="879" y="171"/>
                    </a:lnTo>
                    <a:lnTo>
                      <a:pt x="877" y="171"/>
                    </a:lnTo>
                    <a:lnTo>
                      <a:pt x="877" y="171"/>
                    </a:lnTo>
                    <a:lnTo>
                      <a:pt x="876" y="171"/>
                    </a:lnTo>
                    <a:lnTo>
                      <a:pt x="876" y="171"/>
                    </a:lnTo>
                    <a:lnTo>
                      <a:pt x="873" y="171"/>
                    </a:lnTo>
                    <a:lnTo>
                      <a:pt x="873" y="171"/>
                    </a:lnTo>
                    <a:lnTo>
                      <a:pt x="872" y="169"/>
                    </a:lnTo>
                    <a:lnTo>
                      <a:pt x="872" y="169"/>
                    </a:lnTo>
                    <a:lnTo>
                      <a:pt x="873" y="169"/>
                    </a:lnTo>
                    <a:lnTo>
                      <a:pt x="876" y="168"/>
                    </a:lnTo>
                    <a:lnTo>
                      <a:pt x="876" y="168"/>
                    </a:lnTo>
                    <a:lnTo>
                      <a:pt x="876" y="168"/>
                    </a:lnTo>
                    <a:lnTo>
                      <a:pt x="877" y="165"/>
                    </a:lnTo>
                    <a:lnTo>
                      <a:pt x="877" y="165"/>
                    </a:lnTo>
                    <a:lnTo>
                      <a:pt x="877" y="165"/>
                    </a:lnTo>
                    <a:lnTo>
                      <a:pt x="871" y="171"/>
                    </a:lnTo>
                    <a:lnTo>
                      <a:pt x="871" y="171"/>
                    </a:lnTo>
                    <a:lnTo>
                      <a:pt x="871" y="171"/>
                    </a:lnTo>
                    <a:lnTo>
                      <a:pt x="871" y="171"/>
                    </a:lnTo>
                    <a:lnTo>
                      <a:pt x="871" y="172"/>
                    </a:lnTo>
                    <a:lnTo>
                      <a:pt x="871" y="172"/>
                    </a:lnTo>
                    <a:lnTo>
                      <a:pt x="871" y="172"/>
                    </a:lnTo>
                    <a:lnTo>
                      <a:pt x="867" y="173"/>
                    </a:lnTo>
                    <a:lnTo>
                      <a:pt x="863" y="176"/>
                    </a:lnTo>
                    <a:lnTo>
                      <a:pt x="863" y="176"/>
                    </a:lnTo>
                    <a:lnTo>
                      <a:pt x="856" y="183"/>
                    </a:lnTo>
                    <a:lnTo>
                      <a:pt x="852" y="184"/>
                    </a:lnTo>
                    <a:lnTo>
                      <a:pt x="846" y="185"/>
                    </a:lnTo>
                    <a:lnTo>
                      <a:pt x="846" y="185"/>
                    </a:lnTo>
                    <a:lnTo>
                      <a:pt x="844" y="185"/>
                    </a:lnTo>
                    <a:lnTo>
                      <a:pt x="844" y="185"/>
                    </a:lnTo>
                    <a:lnTo>
                      <a:pt x="842" y="185"/>
                    </a:lnTo>
                    <a:lnTo>
                      <a:pt x="839" y="184"/>
                    </a:lnTo>
                    <a:lnTo>
                      <a:pt x="839" y="184"/>
                    </a:lnTo>
                    <a:lnTo>
                      <a:pt x="839" y="184"/>
                    </a:lnTo>
                    <a:lnTo>
                      <a:pt x="842" y="184"/>
                    </a:lnTo>
                    <a:lnTo>
                      <a:pt x="838" y="183"/>
                    </a:lnTo>
                    <a:lnTo>
                      <a:pt x="838" y="183"/>
                    </a:lnTo>
                    <a:lnTo>
                      <a:pt x="832" y="176"/>
                    </a:lnTo>
                    <a:lnTo>
                      <a:pt x="832" y="176"/>
                    </a:lnTo>
                    <a:lnTo>
                      <a:pt x="830" y="172"/>
                    </a:lnTo>
                    <a:lnTo>
                      <a:pt x="826" y="169"/>
                    </a:lnTo>
                    <a:lnTo>
                      <a:pt x="826" y="169"/>
                    </a:lnTo>
                    <a:lnTo>
                      <a:pt x="822" y="167"/>
                    </a:lnTo>
                    <a:lnTo>
                      <a:pt x="822" y="167"/>
                    </a:lnTo>
                    <a:lnTo>
                      <a:pt x="822" y="167"/>
                    </a:lnTo>
                    <a:lnTo>
                      <a:pt x="822" y="167"/>
                    </a:lnTo>
                    <a:lnTo>
                      <a:pt x="819" y="168"/>
                    </a:lnTo>
                    <a:lnTo>
                      <a:pt x="817" y="171"/>
                    </a:lnTo>
                    <a:lnTo>
                      <a:pt x="813" y="173"/>
                    </a:lnTo>
                    <a:lnTo>
                      <a:pt x="813" y="173"/>
                    </a:lnTo>
                    <a:lnTo>
                      <a:pt x="813" y="173"/>
                    </a:lnTo>
                    <a:lnTo>
                      <a:pt x="809" y="176"/>
                    </a:lnTo>
                    <a:lnTo>
                      <a:pt x="806" y="179"/>
                    </a:lnTo>
                    <a:lnTo>
                      <a:pt x="805" y="179"/>
                    </a:lnTo>
                    <a:lnTo>
                      <a:pt x="805" y="179"/>
                    </a:lnTo>
                    <a:lnTo>
                      <a:pt x="806" y="177"/>
                    </a:lnTo>
                    <a:lnTo>
                      <a:pt x="802" y="180"/>
                    </a:lnTo>
                    <a:lnTo>
                      <a:pt x="801" y="181"/>
                    </a:lnTo>
                    <a:lnTo>
                      <a:pt x="801" y="181"/>
                    </a:lnTo>
                    <a:lnTo>
                      <a:pt x="801" y="181"/>
                    </a:lnTo>
                    <a:lnTo>
                      <a:pt x="801" y="181"/>
                    </a:lnTo>
                    <a:lnTo>
                      <a:pt x="801" y="183"/>
                    </a:lnTo>
                    <a:lnTo>
                      <a:pt x="799" y="184"/>
                    </a:lnTo>
                    <a:lnTo>
                      <a:pt x="799" y="184"/>
                    </a:lnTo>
                    <a:lnTo>
                      <a:pt x="799" y="188"/>
                    </a:lnTo>
                    <a:lnTo>
                      <a:pt x="799" y="188"/>
                    </a:lnTo>
                    <a:lnTo>
                      <a:pt x="798" y="192"/>
                    </a:lnTo>
                    <a:lnTo>
                      <a:pt x="795" y="196"/>
                    </a:lnTo>
                    <a:lnTo>
                      <a:pt x="795" y="196"/>
                    </a:lnTo>
                    <a:lnTo>
                      <a:pt x="795" y="196"/>
                    </a:lnTo>
                    <a:lnTo>
                      <a:pt x="798" y="198"/>
                    </a:lnTo>
                    <a:lnTo>
                      <a:pt x="799" y="208"/>
                    </a:lnTo>
                    <a:lnTo>
                      <a:pt x="799" y="208"/>
                    </a:lnTo>
                    <a:lnTo>
                      <a:pt x="797" y="209"/>
                    </a:lnTo>
                    <a:lnTo>
                      <a:pt x="794" y="210"/>
                    </a:lnTo>
                    <a:lnTo>
                      <a:pt x="790" y="210"/>
                    </a:lnTo>
                    <a:lnTo>
                      <a:pt x="790" y="210"/>
                    </a:lnTo>
                    <a:lnTo>
                      <a:pt x="786" y="210"/>
                    </a:lnTo>
                    <a:lnTo>
                      <a:pt x="786" y="210"/>
                    </a:lnTo>
                    <a:lnTo>
                      <a:pt x="784" y="210"/>
                    </a:lnTo>
                    <a:lnTo>
                      <a:pt x="784" y="210"/>
                    </a:lnTo>
                    <a:lnTo>
                      <a:pt x="782" y="210"/>
                    </a:lnTo>
                    <a:lnTo>
                      <a:pt x="781" y="210"/>
                    </a:lnTo>
                    <a:lnTo>
                      <a:pt x="778" y="210"/>
                    </a:lnTo>
                    <a:lnTo>
                      <a:pt x="772" y="204"/>
                    </a:lnTo>
                    <a:lnTo>
                      <a:pt x="772" y="204"/>
                    </a:lnTo>
                    <a:lnTo>
                      <a:pt x="773" y="208"/>
                    </a:lnTo>
                    <a:lnTo>
                      <a:pt x="773" y="208"/>
                    </a:lnTo>
                    <a:lnTo>
                      <a:pt x="776" y="209"/>
                    </a:lnTo>
                    <a:lnTo>
                      <a:pt x="777" y="209"/>
                    </a:lnTo>
                    <a:lnTo>
                      <a:pt x="777" y="209"/>
                    </a:lnTo>
                    <a:lnTo>
                      <a:pt x="776" y="209"/>
                    </a:lnTo>
                    <a:lnTo>
                      <a:pt x="776" y="209"/>
                    </a:lnTo>
                    <a:lnTo>
                      <a:pt x="773" y="209"/>
                    </a:lnTo>
                    <a:lnTo>
                      <a:pt x="773" y="209"/>
                    </a:lnTo>
                    <a:lnTo>
                      <a:pt x="772" y="209"/>
                    </a:lnTo>
                    <a:lnTo>
                      <a:pt x="766" y="209"/>
                    </a:lnTo>
                    <a:lnTo>
                      <a:pt x="761" y="202"/>
                    </a:lnTo>
                    <a:lnTo>
                      <a:pt x="761" y="202"/>
                    </a:lnTo>
                    <a:lnTo>
                      <a:pt x="761" y="205"/>
                    </a:lnTo>
                    <a:lnTo>
                      <a:pt x="760" y="204"/>
                    </a:lnTo>
                    <a:lnTo>
                      <a:pt x="760" y="204"/>
                    </a:lnTo>
                    <a:lnTo>
                      <a:pt x="761" y="206"/>
                    </a:lnTo>
                    <a:lnTo>
                      <a:pt x="762" y="206"/>
                    </a:lnTo>
                    <a:lnTo>
                      <a:pt x="762" y="206"/>
                    </a:lnTo>
                    <a:lnTo>
                      <a:pt x="762" y="206"/>
                    </a:lnTo>
                    <a:lnTo>
                      <a:pt x="762" y="206"/>
                    </a:lnTo>
                    <a:lnTo>
                      <a:pt x="760" y="206"/>
                    </a:lnTo>
                    <a:lnTo>
                      <a:pt x="760" y="206"/>
                    </a:lnTo>
                    <a:lnTo>
                      <a:pt x="757" y="208"/>
                    </a:lnTo>
                    <a:lnTo>
                      <a:pt x="757" y="208"/>
                    </a:lnTo>
                    <a:lnTo>
                      <a:pt x="754" y="206"/>
                    </a:lnTo>
                    <a:lnTo>
                      <a:pt x="753" y="206"/>
                    </a:lnTo>
                    <a:lnTo>
                      <a:pt x="749" y="206"/>
                    </a:lnTo>
                    <a:lnTo>
                      <a:pt x="749" y="206"/>
                    </a:lnTo>
                    <a:lnTo>
                      <a:pt x="749" y="205"/>
                    </a:lnTo>
                    <a:lnTo>
                      <a:pt x="749" y="205"/>
                    </a:lnTo>
                    <a:lnTo>
                      <a:pt x="747" y="206"/>
                    </a:lnTo>
                    <a:lnTo>
                      <a:pt x="745" y="209"/>
                    </a:lnTo>
                    <a:lnTo>
                      <a:pt x="745" y="209"/>
                    </a:lnTo>
                    <a:lnTo>
                      <a:pt x="744" y="213"/>
                    </a:lnTo>
                    <a:lnTo>
                      <a:pt x="743" y="214"/>
                    </a:lnTo>
                    <a:lnTo>
                      <a:pt x="743" y="214"/>
                    </a:lnTo>
                    <a:lnTo>
                      <a:pt x="743" y="214"/>
                    </a:lnTo>
                    <a:lnTo>
                      <a:pt x="743" y="214"/>
                    </a:lnTo>
                    <a:lnTo>
                      <a:pt x="744" y="213"/>
                    </a:lnTo>
                    <a:lnTo>
                      <a:pt x="741" y="217"/>
                    </a:lnTo>
                    <a:lnTo>
                      <a:pt x="741" y="217"/>
                    </a:lnTo>
                    <a:lnTo>
                      <a:pt x="741" y="218"/>
                    </a:lnTo>
                    <a:lnTo>
                      <a:pt x="735" y="222"/>
                    </a:lnTo>
                    <a:lnTo>
                      <a:pt x="732" y="222"/>
                    </a:lnTo>
                    <a:lnTo>
                      <a:pt x="731" y="222"/>
                    </a:lnTo>
                    <a:lnTo>
                      <a:pt x="731" y="222"/>
                    </a:lnTo>
                    <a:lnTo>
                      <a:pt x="724" y="218"/>
                    </a:lnTo>
                    <a:lnTo>
                      <a:pt x="724" y="218"/>
                    </a:lnTo>
                    <a:lnTo>
                      <a:pt x="720" y="216"/>
                    </a:lnTo>
                    <a:lnTo>
                      <a:pt x="719" y="218"/>
                    </a:lnTo>
                    <a:lnTo>
                      <a:pt x="719" y="218"/>
                    </a:lnTo>
                    <a:lnTo>
                      <a:pt x="717" y="221"/>
                    </a:lnTo>
                    <a:lnTo>
                      <a:pt x="717" y="221"/>
                    </a:lnTo>
                    <a:lnTo>
                      <a:pt x="715" y="225"/>
                    </a:lnTo>
                    <a:lnTo>
                      <a:pt x="711" y="228"/>
                    </a:lnTo>
                    <a:lnTo>
                      <a:pt x="708" y="229"/>
                    </a:lnTo>
                    <a:lnTo>
                      <a:pt x="708" y="229"/>
                    </a:lnTo>
                    <a:lnTo>
                      <a:pt x="708" y="229"/>
                    </a:lnTo>
                    <a:lnTo>
                      <a:pt x="706" y="229"/>
                    </a:lnTo>
                    <a:lnTo>
                      <a:pt x="706" y="229"/>
                    </a:lnTo>
                    <a:lnTo>
                      <a:pt x="708" y="228"/>
                    </a:lnTo>
                    <a:lnTo>
                      <a:pt x="710" y="225"/>
                    </a:lnTo>
                    <a:lnTo>
                      <a:pt x="706" y="229"/>
                    </a:lnTo>
                    <a:lnTo>
                      <a:pt x="706" y="229"/>
                    </a:lnTo>
                    <a:lnTo>
                      <a:pt x="706" y="229"/>
                    </a:lnTo>
                    <a:lnTo>
                      <a:pt x="703" y="230"/>
                    </a:lnTo>
                    <a:lnTo>
                      <a:pt x="700" y="232"/>
                    </a:lnTo>
                    <a:lnTo>
                      <a:pt x="700" y="232"/>
                    </a:lnTo>
                    <a:lnTo>
                      <a:pt x="699" y="232"/>
                    </a:lnTo>
                    <a:lnTo>
                      <a:pt x="699" y="232"/>
                    </a:lnTo>
                    <a:lnTo>
                      <a:pt x="698" y="232"/>
                    </a:lnTo>
                    <a:lnTo>
                      <a:pt x="698" y="232"/>
                    </a:lnTo>
                    <a:lnTo>
                      <a:pt x="699" y="232"/>
                    </a:lnTo>
                    <a:lnTo>
                      <a:pt x="699" y="232"/>
                    </a:lnTo>
                    <a:lnTo>
                      <a:pt x="699" y="232"/>
                    </a:lnTo>
                    <a:lnTo>
                      <a:pt x="699" y="230"/>
                    </a:lnTo>
                    <a:lnTo>
                      <a:pt x="696" y="233"/>
                    </a:lnTo>
                    <a:lnTo>
                      <a:pt x="696" y="233"/>
                    </a:lnTo>
                    <a:lnTo>
                      <a:pt x="696" y="234"/>
                    </a:lnTo>
                    <a:lnTo>
                      <a:pt x="696" y="234"/>
                    </a:lnTo>
                    <a:lnTo>
                      <a:pt x="696" y="233"/>
                    </a:lnTo>
                    <a:lnTo>
                      <a:pt x="696" y="233"/>
                    </a:lnTo>
                    <a:lnTo>
                      <a:pt x="696" y="234"/>
                    </a:lnTo>
                    <a:lnTo>
                      <a:pt x="696" y="234"/>
                    </a:lnTo>
                    <a:lnTo>
                      <a:pt x="698" y="235"/>
                    </a:lnTo>
                    <a:lnTo>
                      <a:pt x="698" y="235"/>
                    </a:lnTo>
                    <a:lnTo>
                      <a:pt x="696" y="234"/>
                    </a:lnTo>
                    <a:lnTo>
                      <a:pt x="699" y="237"/>
                    </a:lnTo>
                    <a:lnTo>
                      <a:pt x="699" y="237"/>
                    </a:lnTo>
                    <a:lnTo>
                      <a:pt x="699" y="237"/>
                    </a:lnTo>
                    <a:lnTo>
                      <a:pt x="700" y="239"/>
                    </a:lnTo>
                    <a:lnTo>
                      <a:pt x="702" y="242"/>
                    </a:lnTo>
                    <a:lnTo>
                      <a:pt x="702" y="249"/>
                    </a:lnTo>
                    <a:lnTo>
                      <a:pt x="702" y="250"/>
                    </a:lnTo>
                    <a:lnTo>
                      <a:pt x="702" y="255"/>
                    </a:lnTo>
                    <a:lnTo>
                      <a:pt x="702" y="255"/>
                    </a:lnTo>
                    <a:lnTo>
                      <a:pt x="703" y="258"/>
                    </a:lnTo>
                    <a:lnTo>
                      <a:pt x="706" y="261"/>
                    </a:lnTo>
                    <a:lnTo>
                      <a:pt x="706" y="261"/>
                    </a:lnTo>
                    <a:lnTo>
                      <a:pt x="710" y="263"/>
                    </a:lnTo>
                    <a:lnTo>
                      <a:pt x="712" y="267"/>
                    </a:lnTo>
                    <a:lnTo>
                      <a:pt x="713" y="271"/>
                    </a:lnTo>
                    <a:lnTo>
                      <a:pt x="713" y="272"/>
                    </a:lnTo>
                    <a:lnTo>
                      <a:pt x="713" y="272"/>
                    </a:lnTo>
                    <a:lnTo>
                      <a:pt x="713" y="275"/>
                    </a:lnTo>
                    <a:lnTo>
                      <a:pt x="716" y="279"/>
                    </a:lnTo>
                    <a:lnTo>
                      <a:pt x="716" y="294"/>
                    </a:lnTo>
                    <a:lnTo>
                      <a:pt x="713" y="299"/>
                    </a:lnTo>
                    <a:lnTo>
                      <a:pt x="713" y="299"/>
                    </a:lnTo>
                    <a:lnTo>
                      <a:pt x="711" y="300"/>
                    </a:lnTo>
                    <a:lnTo>
                      <a:pt x="711" y="300"/>
                    </a:lnTo>
                    <a:lnTo>
                      <a:pt x="710" y="300"/>
                    </a:lnTo>
                    <a:lnTo>
                      <a:pt x="712" y="302"/>
                    </a:lnTo>
                    <a:lnTo>
                      <a:pt x="712" y="302"/>
                    </a:lnTo>
                    <a:lnTo>
                      <a:pt x="711" y="302"/>
                    </a:lnTo>
                    <a:lnTo>
                      <a:pt x="711" y="302"/>
                    </a:lnTo>
                    <a:lnTo>
                      <a:pt x="712" y="302"/>
                    </a:lnTo>
                    <a:lnTo>
                      <a:pt x="712" y="302"/>
                    </a:lnTo>
                    <a:lnTo>
                      <a:pt x="715" y="303"/>
                    </a:lnTo>
                    <a:lnTo>
                      <a:pt x="717" y="303"/>
                    </a:lnTo>
                    <a:lnTo>
                      <a:pt x="717" y="303"/>
                    </a:lnTo>
                    <a:lnTo>
                      <a:pt x="721" y="306"/>
                    </a:lnTo>
                    <a:lnTo>
                      <a:pt x="724" y="310"/>
                    </a:lnTo>
                    <a:lnTo>
                      <a:pt x="727" y="317"/>
                    </a:lnTo>
                    <a:lnTo>
                      <a:pt x="727" y="317"/>
                    </a:lnTo>
                    <a:lnTo>
                      <a:pt x="728" y="324"/>
                    </a:lnTo>
                    <a:lnTo>
                      <a:pt x="729" y="324"/>
                    </a:lnTo>
                    <a:lnTo>
                      <a:pt x="736" y="331"/>
                    </a:lnTo>
                    <a:lnTo>
                      <a:pt x="736" y="333"/>
                    </a:lnTo>
                    <a:lnTo>
                      <a:pt x="731" y="339"/>
                    </a:lnTo>
                    <a:lnTo>
                      <a:pt x="731" y="339"/>
                    </a:lnTo>
                    <a:lnTo>
                      <a:pt x="733" y="337"/>
                    </a:lnTo>
                    <a:lnTo>
                      <a:pt x="735" y="335"/>
                    </a:lnTo>
                    <a:lnTo>
                      <a:pt x="735" y="336"/>
                    </a:lnTo>
                    <a:lnTo>
                      <a:pt x="735" y="336"/>
                    </a:lnTo>
                    <a:lnTo>
                      <a:pt x="735" y="337"/>
                    </a:lnTo>
                    <a:lnTo>
                      <a:pt x="729" y="343"/>
                    </a:lnTo>
                    <a:lnTo>
                      <a:pt x="724" y="343"/>
                    </a:lnTo>
                    <a:lnTo>
                      <a:pt x="721" y="341"/>
                    </a:lnTo>
                    <a:lnTo>
                      <a:pt x="721" y="336"/>
                    </a:lnTo>
                    <a:lnTo>
                      <a:pt x="720" y="340"/>
                    </a:lnTo>
                    <a:lnTo>
                      <a:pt x="719" y="340"/>
                    </a:lnTo>
                    <a:lnTo>
                      <a:pt x="720" y="341"/>
                    </a:lnTo>
                    <a:lnTo>
                      <a:pt x="720" y="341"/>
                    </a:lnTo>
                    <a:lnTo>
                      <a:pt x="720" y="341"/>
                    </a:lnTo>
                    <a:lnTo>
                      <a:pt x="720" y="341"/>
                    </a:lnTo>
                    <a:lnTo>
                      <a:pt x="720" y="341"/>
                    </a:lnTo>
                    <a:lnTo>
                      <a:pt x="719" y="341"/>
                    </a:lnTo>
                    <a:lnTo>
                      <a:pt x="719" y="341"/>
                    </a:lnTo>
                    <a:lnTo>
                      <a:pt x="717" y="341"/>
                    </a:lnTo>
                    <a:lnTo>
                      <a:pt x="717" y="341"/>
                    </a:lnTo>
                    <a:lnTo>
                      <a:pt x="715" y="341"/>
                    </a:lnTo>
                    <a:lnTo>
                      <a:pt x="712" y="340"/>
                    </a:lnTo>
                    <a:lnTo>
                      <a:pt x="710" y="339"/>
                    </a:lnTo>
                    <a:lnTo>
                      <a:pt x="710" y="339"/>
                    </a:lnTo>
                    <a:lnTo>
                      <a:pt x="706" y="336"/>
                    </a:lnTo>
                    <a:lnTo>
                      <a:pt x="704" y="336"/>
                    </a:lnTo>
                    <a:lnTo>
                      <a:pt x="702" y="336"/>
                    </a:lnTo>
                    <a:lnTo>
                      <a:pt x="702" y="336"/>
                    </a:lnTo>
                    <a:lnTo>
                      <a:pt x="690" y="331"/>
                    </a:lnTo>
                    <a:lnTo>
                      <a:pt x="680" y="329"/>
                    </a:lnTo>
                    <a:lnTo>
                      <a:pt x="680" y="329"/>
                    </a:lnTo>
                    <a:lnTo>
                      <a:pt x="675" y="331"/>
                    </a:lnTo>
                    <a:lnTo>
                      <a:pt x="673" y="331"/>
                    </a:lnTo>
                    <a:lnTo>
                      <a:pt x="669" y="335"/>
                    </a:lnTo>
                    <a:lnTo>
                      <a:pt x="667" y="336"/>
                    </a:lnTo>
                    <a:lnTo>
                      <a:pt x="667" y="340"/>
                    </a:lnTo>
                    <a:lnTo>
                      <a:pt x="667" y="340"/>
                    </a:lnTo>
                    <a:lnTo>
                      <a:pt x="667" y="340"/>
                    </a:lnTo>
                    <a:lnTo>
                      <a:pt x="667" y="340"/>
                    </a:lnTo>
                    <a:lnTo>
                      <a:pt x="667" y="339"/>
                    </a:lnTo>
                    <a:lnTo>
                      <a:pt x="670" y="344"/>
                    </a:lnTo>
                    <a:lnTo>
                      <a:pt x="670" y="345"/>
                    </a:lnTo>
                    <a:lnTo>
                      <a:pt x="670" y="345"/>
                    </a:lnTo>
                    <a:lnTo>
                      <a:pt x="671" y="349"/>
                    </a:lnTo>
                    <a:lnTo>
                      <a:pt x="671" y="353"/>
                    </a:lnTo>
                    <a:lnTo>
                      <a:pt x="666" y="358"/>
                    </a:lnTo>
                    <a:lnTo>
                      <a:pt x="666" y="358"/>
                    </a:lnTo>
                    <a:lnTo>
                      <a:pt x="662" y="358"/>
                    </a:lnTo>
                    <a:lnTo>
                      <a:pt x="662" y="358"/>
                    </a:lnTo>
                    <a:lnTo>
                      <a:pt x="657" y="358"/>
                    </a:lnTo>
                    <a:lnTo>
                      <a:pt x="657" y="358"/>
                    </a:lnTo>
                    <a:lnTo>
                      <a:pt x="653" y="358"/>
                    </a:lnTo>
                    <a:lnTo>
                      <a:pt x="653" y="358"/>
                    </a:lnTo>
                    <a:lnTo>
                      <a:pt x="649" y="358"/>
                    </a:lnTo>
                    <a:lnTo>
                      <a:pt x="647" y="358"/>
                    </a:lnTo>
                    <a:lnTo>
                      <a:pt x="647" y="358"/>
                    </a:lnTo>
                    <a:lnTo>
                      <a:pt x="647" y="362"/>
                    </a:lnTo>
                    <a:lnTo>
                      <a:pt x="646" y="365"/>
                    </a:lnTo>
                    <a:lnTo>
                      <a:pt x="643" y="368"/>
                    </a:lnTo>
                    <a:lnTo>
                      <a:pt x="643" y="368"/>
                    </a:lnTo>
                    <a:lnTo>
                      <a:pt x="641" y="370"/>
                    </a:lnTo>
                    <a:lnTo>
                      <a:pt x="641" y="370"/>
                    </a:lnTo>
                    <a:lnTo>
                      <a:pt x="635" y="376"/>
                    </a:lnTo>
                    <a:lnTo>
                      <a:pt x="635" y="377"/>
                    </a:lnTo>
                    <a:lnTo>
                      <a:pt x="635" y="378"/>
                    </a:lnTo>
                    <a:lnTo>
                      <a:pt x="635" y="381"/>
                    </a:lnTo>
                    <a:lnTo>
                      <a:pt x="635" y="381"/>
                    </a:lnTo>
                    <a:lnTo>
                      <a:pt x="635" y="381"/>
                    </a:lnTo>
                    <a:lnTo>
                      <a:pt x="637" y="386"/>
                    </a:lnTo>
                    <a:lnTo>
                      <a:pt x="637" y="390"/>
                    </a:lnTo>
                    <a:lnTo>
                      <a:pt x="634" y="393"/>
                    </a:lnTo>
                    <a:lnTo>
                      <a:pt x="633" y="395"/>
                    </a:lnTo>
                    <a:lnTo>
                      <a:pt x="632" y="397"/>
                    </a:lnTo>
                    <a:lnTo>
                      <a:pt x="632" y="397"/>
                    </a:lnTo>
                    <a:lnTo>
                      <a:pt x="630" y="397"/>
                    </a:lnTo>
                    <a:lnTo>
                      <a:pt x="630" y="397"/>
                    </a:lnTo>
                    <a:lnTo>
                      <a:pt x="632" y="395"/>
                    </a:lnTo>
                    <a:lnTo>
                      <a:pt x="630" y="397"/>
                    </a:lnTo>
                    <a:lnTo>
                      <a:pt x="630" y="397"/>
                    </a:lnTo>
                    <a:lnTo>
                      <a:pt x="630" y="397"/>
                    </a:lnTo>
                    <a:lnTo>
                      <a:pt x="630" y="397"/>
                    </a:lnTo>
                    <a:lnTo>
                      <a:pt x="629" y="395"/>
                    </a:lnTo>
                    <a:lnTo>
                      <a:pt x="626" y="394"/>
                    </a:lnTo>
                    <a:lnTo>
                      <a:pt x="626" y="395"/>
                    </a:lnTo>
                    <a:lnTo>
                      <a:pt x="629" y="397"/>
                    </a:lnTo>
                    <a:lnTo>
                      <a:pt x="628" y="399"/>
                    </a:lnTo>
                    <a:lnTo>
                      <a:pt x="628" y="399"/>
                    </a:lnTo>
                    <a:lnTo>
                      <a:pt x="629" y="399"/>
                    </a:lnTo>
                    <a:lnTo>
                      <a:pt x="630" y="398"/>
                    </a:lnTo>
                    <a:lnTo>
                      <a:pt x="632" y="399"/>
                    </a:lnTo>
                    <a:lnTo>
                      <a:pt x="633" y="398"/>
                    </a:lnTo>
                    <a:lnTo>
                      <a:pt x="633" y="398"/>
                    </a:lnTo>
                    <a:lnTo>
                      <a:pt x="634" y="402"/>
                    </a:lnTo>
                    <a:lnTo>
                      <a:pt x="635" y="406"/>
                    </a:lnTo>
                    <a:lnTo>
                      <a:pt x="635" y="410"/>
                    </a:lnTo>
                    <a:lnTo>
                      <a:pt x="634" y="414"/>
                    </a:lnTo>
                    <a:lnTo>
                      <a:pt x="630" y="419"/>
                    </a:lnTo>
                    <a:lnTo>
                      <a:pt x="626" y="425"/>
                    </a:lnTo>
                    <a:lnTo>
                      <a:pt x="626" y="425"/>
                    </a:lnTo>
                    <a:lnTo>
                      <a:pt x="622" y="430"/>
                    </a:lnTo>
                    <a:lnTo>
                      <a:pt x="622" y="430"/>
                    </a:lnTo>
                    <a:lnTo>
                      <a:pt x="621" y="435"/>
                    </a:lnTo>
                    <a:lnTo>
                      <a:pt x="620" y="439"/>
                    </a:lnTo>
                    <a:lnTo>
                      <a:pt x="620" y="439"/>
                    </a:lnTo>
                    <a:lnTo>
                      <a:pt x="616" y="446"/>
                    </a:lnTo>
                    <a:lnTo>
                      <a:pt x="612" y="451"/>
                    </a:lnTo>
                    <a:lnTo>
                      <a:pt x="612" y="451"/>
                    </a:lnTo>
                    <a:lnTo>
                      <a:pt x="608" y="458"/>
                    </a:lnTo>
                    <a:lnTo>
                      <a:pt x="604" y="464"/>
                    </a:lnTo>
                    <a:lnTo>
                      <a:pt x="604" y="464"/>
                    </a:lnTo>
                    <a:lnTo>
                      <a:pt x="604" y="468"/>
                    </a:lnTo>
                    <a:lnTo>
                      <a:pt x="602" y="469"/>
                    </a:lnTo>
                    <a:lnTo>
                      <a:pt x="602" y="469"/>
                    </a:lnTo>
                    <a:lnTo>
                      <a:pt x="602" y="469"/>
                    </a:lnTo>
                    <a:lnTo>
                      <a:pt x="602" y="468"/>
                    </a:lnTo>
                    <a:lnTo>
                      <a:pt x="600" y="473"/>
                    </a:lnTo>
                    <a:lnTo>
                      <a:pt x="600" y="473"/>
                    </a:lnTo>
                    <a:lnTo>
                      <a:pt x="600" y="472"/>
                    </a:lnTo>
                    <a:lnTo>
                      <a:pt x="600" y="472"/>
                    </a:lnTo>
                    <a:lnTo>
                      <a:pt x="600" y="473"/>
                    </a:lnTo>
                    <a:lnTo>
                      <a:pt x="600" y="473"/>
                    </a:lnTo>
                    <a:lnTo>
                      <a:pt x="597" y="477"/>
                    </a:lnTo>
                    <a:lnTo>
                      <a:pt x="596" y="479"/>
                    </a:lnTo>
                    <a:lnTo>
                      <a:pt x="596" y="479"/>
                    </a:lnTo>
                    <a:lnTo>
                      <a:pt x="592" y="481"/>
                    </a:lnTo>
                    <a:lnTo>
                      <a:pt x="588" y="483"/>
                    </a:lnTo>
                    <a:lnTo>
                      <a:pt x="588" y="483"/>
                    </a:lnTo>
                    <a:lnTo>
                      <a:pt x="587" y="484"/>
                    </a:lnTo>
                    <a:lnTo>
                      <a:pt x="587" y="503"/>
                    </a:lnTo>
                    <a:lnTo>
                      <a:pt x="580" y="509"/>
                    </a:lnTo>
                    <a:lnTo>
                      <a:pt x="564" y="509"/>
                    </a:lnTo>
                    <a:lnTo>
                      <a:pt x="557" y="503"/>
                    </a:lnTo>
                    <a:lnTo>
                      <a:pt x="557" y="503"/>
                    </a:lnTo>
                    <a:lnTo>
                      <a:pt x="559" y="507"/>
                    </a:lnTo>
                    <a:lnTo>
                      <a:pt x="559" y="507"/>
                    </a:lnTo>
                    <a:lnTo>
                      <a:pt x="560" y="508"/>
                    </a:lnTo>
                    <a:lnTo>
                      <a:pt x="561" y="508"/>
                    </a:lnTo>
                    <a:lnTo>
                      <a:pt x="561" y="508"/>
                    </a:lnTo>
                    <a:lnTo>
                      <a:pt x="561" y="508"/>
                    </a:lnTo>
                    <a:lnTo>
                      <a:pt x="561" y="508"/>
                    </a:lnTo>
                    <a:lnTo>
                      <a:pt x="559" y="508"/>
                    </a:lnTo>
                    <a:lnTo>
                      <a:pt x="559" y="508"/>
                    </a:lnTo>
                    <a:lnTo>
                      <a:pt x="556" y="508"/>
                    </a:lnTo>
                    <a:lnTo>
                      <a:pt x="555" y="508"/>
                    </a:lnTo>
                    <a:lnTo>
                      <a:pt x="551" y="507"/>
                    </a:lnTo>
                    <a:lnTo>
                      <a:pt x="551" y="507"/>
                    </a:lnTo>
                    <a:lnTo>
                      <a:pt x="552" y="507"/>
                    </a:lnTo>
                    <a:lnTo>
                      <a:pt x="552" y="507"/>
                    </a:lnTo>
                    <a:lnTo>
                      <a:pt x="547" y="507"/>
                    </a:lnTo>
                    <a:lnTo>
                      <a:pt x="547" y="507"/>
                    </a:lnTo>
                    <a:lnTo>
                      <a:pt x="542" y="507"/>
                    </a:lnTo>
                    <a:lnTo>
                      <a:pt x="542" y="507"/>
                    </a:lnTo>
                    <a:lnTo>
                      <a:pt x="542" y="507"/>
                    </a:lnTo>
                    <a:lnTo>
                      <a:pt x="539" y="508"/>
                    </a:lnTo>
                    <a:lnTo>
                      <a:pt x="527" y="508"/>
                    </a:lnTo>
                    <a:lnTo>
                      <a:pt x="522" y="504"/>
                    </a:lnTo>
                    <a:lnTo>
                      <a:pt x="522" y="505"/>
                    </a:lnTo>
                    <a:lnTo>
                      <a:pt x="522" y="505"/>
                    </a:lnTo>
                    <a:lnTo>
                      <a:pt x="524" y="507"/>
                    </a:lnTo>
                    <a:lnTo>
                      <a:pt x="523" y="507"/>
                    </a:lnTo>
                    <a:lnTo>
                      <a:pt x="523" y="507"/>
                    </a:lnTo>
                    <a:lnTo>
                      <a:pt x="522" y="507"/>
                    </a:lnTo>
                    <a:lnTo>
                      <a:pt x="520" y="507"/>
                    </a:lnTo>
                    <a:lnTo>
                      <a:pt x="516" y="504"/>
                    </a:lnTo>
                    <a:lnTo>
                      <a:pt x="516" y="504"/>
                    </a:lnTo>
                    <a:lnTo>
                      <a:pt x="513" y="501"/>
                    </a:lnTo>
                    <a:lnTo>
                      <a:pt x="507" y="499"/>
                    </a:lnTo>
                    <a:lnTo>
                      <a:pt x="507" y="499"/>
                    </a:lnTo>
                    <a:lnTo>
                      <a:pt x="506" y="497"/>
                    </a:lnTo>
                    <a:lnTo>
                      <a:pt x="506" y="497"/>
                    </a:lnTo>
                    <a:lnTo>
                      <a:pt x="502" y="496"/>
                    </a:lnTo>
                    <a:lnTo>
                      <a:pt x="502" y="496"/>
                    </a:lnTo>
                    <a:lnTo>
                      <a:pt x="502" y="496"/>
                    </a:lnTo>
                    <a:lnTo>
                      <a:pt x="502" y="496"/>
                    </a:lnTo>
                    <a:lnTo>
                      <a:pt x="503" y="496"/>
                    </a:lnTo>
                    <a:lnTo>
                      <a:pt x="501" y="496"/>
                    </a:lnTo>
                    <a:lnTo>
                      <a:pt x="501" y="496"/>
                    </a:lnTo>
                    <a:lnTo>
                      <a:pt x="490" y="492"/>
                    </a:lnTo>
                    <a:lnTo>
                      <a:pt x="490" y="492"/>
                    </a:lnTo>
                    <a:lnTo>
                      <a:pt x="479" y="488"/>
                    </a:lnTo>
                    <a:lnTo>
                      <a:pt x="477" y="487"/>
                    </a:lnTo>
                    <a:lnTo>
                      <a:pt x="477" y="487"/>
                    </a:lnTo>
                    <a:lnTo>
                      <a:pt x="477" y="487"/>
                    </a:lnTo>
                    <a:lnTo>
                      <a:pt x="477" y="487"/>
                    </a:lnTo>
                    <a:lnTo>
                      <a:pt x="473" y="487"/>
                    </a:lnTo>
                    <a:lnTo>
                      <a:pt x="473" y="487"/>
                    </a:lnTo>
                    <a:lnTo>
                      <a:pt x="466" y="485"/>
                    </a:lnTo>
                    <a:lnTo>
                      <a:pt x="466" y="485"/>
                    </a:lnTo>
                    <a:lnTo>
                      <a:pt x="461" y="484"/>
                    </a:lnTo>
                    <a:lnTo>
                      <a:pt x="461" y="484"/>
                    </a:lnTo>
                    <a:lnTo>
                      <a:pt x="458" y="485"/>
                    </a:lnTo>
                    <a:lnTo>
                      <a:pt x="456" y="487"/>
                    </a:lnTo>
                    <a:lnTo>
                      <a:pt x="456" y="487"/>
                    </a:lnTo>
                    <a:lnTo>
                      <a:pt x="452" y="488"/>
                    </a:lnTo>
                    <a:lnTo>
                      <a:pt x="446" y="491"/>
                    </a:lnTo>
                    <a:lnTo>
                      <a:pt x="446" y="491"/>
                    </a:lnTo>
                    <a:lnTo>
                      <a:pt x="442" y="491"/>
                    </a:lnTo>
                    <a:lnTo>
                      <a:pt x="442" y="491"/>
                    </a:lnTo>
                    <a:lnTo>
                      <a:pt x="441" y="489"/>
                    </a:lnTo>
                    <a:lnTo>
                      <a:pt x="441" y="489"/>
                    </a:lnTo>
                    <a:lnTo>
                      <a:pt x="442" y="489"/>
                    </a:lnTo>
                    <a:lnTo>
                      <a:pt x="444" y="485"/>
                    </a:lnTo>
                    <a:lnTo>
                      <a:pt x="438" y="491"/>
                    </a:lnTo>
                    <a:lnTo>
                      <a:pt x="438" y="491"/>
                    </a:lnTo>
                    <a:lnTo>
                      <a:pt x="436" y="491"/>
                    </a:lnTo>
                    <a:lnTo>
                      <a:pt x="436" y="492"/>
                    </a:lnTo>
                    <a:lnTo>
                      <a:pt x="436" y="492"/>
                    </a:lnTo>
                    <a:lnTo>
                      <a:pt x="432" y="493"/>
                    </a:lnTo>
                    <a:lnTo>
                      <a:pt x="427" y="493"/>
                    </a:lnTo>
                    <a:lnTo>
                      <a:pt x="427" y="493"/>
                    </a:lnTo>
                    <a:lnTo>
                      <a:pt x="425" y="493"/>
                    </a:lnTo>
                    <a:lnTo>
                      <a:pt x="425" y="493"/>
                    </a:lnTo>
                    <a:lnTo>
                      <a:pt x="424" y="493"/>
                    </a:lnTo>
                    <a:lnTo>
                      <a:pt x="424" y="493"/>
                    </a:lnTo>
                    <a:lnTo>
                      <a:pt x="421" y="493"/>
                    </a:lnTo>
                    <a:lnTo>
                      <a:pt x="421" y="493"/>
                    </a:lnTo>
                    <a:lnTo>
                      <a:pt x="421" y="493"/>
                    </a:lnTo>
                    <a:lnTo>
                      <a:pt x="421" y="493"/>
                    </a:lnTo>
                    <a:lnTo>
                      <a:pt x="421" y="493"/>
                    </a:lnTo>
                    <a:lnTo>
                      <a:pt x="421" y="493"/>
                    </a:lnTo>
                    <a:lnTo>
                      <a:pt x="424" y="492"/>
                    </a:lnTo>
                    <a:lnTo>
                      <a:pt x="424" y="492"/>
                    </a:lnTo>
                    <a:lnTo>
                      <a:pt x="425" y="488"/>
                    </a:lnTo>
                    <a:lnTo>
                      <a:pt x="419" y="495"/>
                    </a:lnTo>
                    <a:lnTo>
                      <a:pt x="419" y="495"/>
                    </a:lnTo>
                    <a:lnTo>
                      <a:pt x="419" y="495"/>
                    </a:lnTo>
                    <a:lnTo>
                      <a:pt x="416" y="496"/>
                    </a:lnTo>
                    <a:lnTo>
                      <a:pt x="412" y="496"/>
                    </a:lnTo>
                    <a:lnTo>
                      <a:pt x="412" y="496"/>
                    </a:lnTo>
                    <a:lnTo>
                      <a:pt x="408" y="497"/>
                    </a:lnTo>
                    <a:lnTo>
                      <a:pt x="404" y="497"/>
                    </a:lnTo>
                    <a:lnTo>
                      <a:pt x="400" y="497"/>
                    </a:lnTo>
                    <a:lnTo>
                      <a:pt x="400" y="497"/>
                    </a:lnTo>
                    <a:lnTo>
                      <a:pt x="395" y="499"/>
                    </a:lnTo>
                    <a:lnTo>
                      <a:pt x="394" y="499"/>
                    </a:lnTo>
                    <a:lnTo>
                      <a:pt x="394" y="499"/>
                    </a:lnTo>
                    <a:lnTo>
                      <a:pt x="395" y="496"/>
                    </a:lnTo>
                    <a:lnTo>
                      <a:pt x="396" y="495"/>
                    </a:lnTo>
                    <a:lnTo>
                      <a:pt x="392" y="499"/>
                    </a:lnTo>
                    <a:lnTo>
                      <a:pt x="391" y="499"/>
                    </a:lnTo>
                    <a:lnTo>
                      <a:pt x="391" y="499"/>
                    </a:lnTo>
                    <a:lnTo>
                      <a:pt x="391" y="499"/>
                    </a:lnTo>
                    <a:lnTo>
                      <a:pt x="391" y="499"/>
                    </a:lnTo>
                    <a:lnTo>
                      <a:pt x="390" y="500"/>
                    </a:lnTo>
                    <a:lnTo>
                      <a:pt x="388" y="500"/>
                    </a:lnTo>
                    <a:lnTo>
                      <a:pt x="388" y="500"/>
                    </a:lnTo>
                    <a:lnTo>
                      <a:pt x="387" y="501"/>
                    </a:lnTo>
                    <a:lnTo>
                      <a:pt x="387" y="501"/>
                    </a:lnTo>
                    <a:lnTo>
                      <a:pt x="384" y="503"/>
                    </a:lnTo>
                    <a:lnTo>
                      <a:pt x="380" y="504"/>
                    </a:lnTo>
                    <a:lnTo>
                      <a:pt x="380" y="504"/>
                    </a:lnTo>
                    <a:lnTo>
                      <a:pt x="376" y="505"/>
                    </a:lnTo>
                    <a:lnTo>
                      <a:pt x="374" y="505"/>
                    </a:lnTo>
                    <a:lnTo>
                      <a:pt x="370" y="505"/>
                    </a:lnTo>
                    <a:lnTo>
                      <a:pt x="370" y="505"/>
                    </a:lnTo>
                    <a:lnTo>
                      <a:pt x="368" y="505"/>
                    </a:lnTo>
                    <a:lnTo>
                      <a:pt x="368" y="505"/>
                    </a:lnTo>
                    <a:lnTo>
                      <a:pt x="368" y="504"/>
                    </a:lnTo>
                    <a:lnTo>
                      <a:pt x="364" y="507"/>
                    </a:lnTo>
                    <a:lnTo>
                      <a:pt x="364" y="507"/>
                    </a:lnTo>
                    <a:lnTo>
                      <a:pt x="363" y="507"/>
                    </a:lnTo>
                    <a:lnTo>
                      <a:pt x="363" y="507"/>
                    </a:lnTo>
                    <a:lnTo>
                      <a:pt x="360" y="507"/>
                    </a:lnTo>
                    <a:lnTo>
                      <a:pt x="360" y="507"/>
                    </a:lnTo>
                    <a:lnTo>
                      <a:pt x="363" y="505"/>
                    </a:lnTo>
                    <a:lnTo>
                      <a:pt x="364" y="503"/>
                    </a:lnTo>
                    <a:lnTo>
                      <a:pt x="358" y="508"/>
                    </a:lnTo>
                    <a:lnTo>
                      <a:pt x="358" y="508"/>
                    </a:lnTo>
                    <a:lnTo>
                      <a:pt x="358" y="508"/>
                    </a:lnTo>
                    <a:lnTo>
                      <a:pt x="355" y="508"/>
                    </a:lnTo>
                    <a:lnTo>
                      <a:pt x="355" y="508"/>
                    </a:lnTo>
                    <a:lnTo>
                      <a:pt x="351" y="508"/>
                    </a:lnTo>
                    <a:lnTo>
                      <a:pt x="351" y="508"/>
                    </a:lnTo>
                    <a:lnTo>
                      <a:pt x="349" y="508"/>
                    </a:lnTo>
                    <a:lnTo>
                      <a:pt x="349" y="508"/>
                    </a:lnTo>
                    <a:lnTo>
                      <a:pt x="347" y="508"/>
                    </a:lnTo>
                    <a:lnTo>
                      <a:pt x="347" y="508"/>
                    </a:lnTo>
                    <a:lnTo>
                      <a:pt x="350" y="507"/>
                    </a:lnTo>
                    <a:lnTo>
                      <a:pt x="345" y="509"/>
                    </a:lnTo>
                    <a:lnTo>
                      <a:pt x="343" y="509"/>
                    </a:lnTo>
                    <a:lnTo>
                      <a:pt x="343" y="509"/>
                    </a:lnTo>
                    <a:lnTo>
                      <a:pt x="341" y="510"/>
                    </a:lnTo>
                    <a:lnTo>
                      <a:pt x="338" y="510"/>
                    </a:lnTo>
                    <a:lnTo>
                      <a:pt x="338" y="510"/>
                    </a:lnTo>
                    <a:lnTo>
                      <a:pt x="335" y="510"/>
                    </a:lnTo>
                    <a:lnTo>
                      <a:pt x="335" y="510"/>
                    </a:lnTo>
                    <a:lnTo>
                      <a:pt x="335" y="510"/>
                    </a:lnTo>
                    <a:lnTo>
                      <a:pt x="335" y="510"/>
                    </a:lnTo>
                    <a:lnTo>
                      <a:pt x="335" y="510"/>
                    </a:lnTo>
                    <a:lnTo>
                      <a:pt x="335" y="510"/>
                    </a:lnTo>
                    <a:lnTo>
                      <a:pt x="329" y="505"/>
                    </a:lnTo>
                    <a:lnTo>
                      <a:pt x="329" y="505"/>
                    </a:lnTo>
                    <a:lnTo>
                      <a:pt x="331" y="508"/>
                    </a:lnTo>
                    <a:lnTo>
                      <a:pt x="333" y="509"/>
                    </a:lnTo>
                    <a:lnTo>
                      <a:pt x="333" y="509"/>
                    </a:lnTo>
                    <a:lnTo>
                      <a:pt x="333" y="509"/>
                    </a:lnTo>
                    <a:lnTo>
                      <a:pt x="333" y="509"/>
                    </a:lnTo>
                    <a:lnTo>
                      <a:pt x="331" y="509"/>
                    </a:lnTo>
                    <a:lnTo>
                      <a:pt x="331" y="509"/>
                    </a:lnTo>
                    <a:lnTo>
                      <a:pt x="327" y="509"/>
                    </a:lnTo>
                    <a:lnTo>
                      <a:pt x="327" y="509"/>
                    </a:lnTo>
                    <a:lnTo>
                      <a:pt x="326" y="509"/>
                    </a:lnTo>
                    <a:lnTo>
                      <a:pt x="326" y="509"/>
                    </a:lnTo>
                    <a:lnTo>
                      <a:pt x="321" y="510"/>
                    </a:lnTo>
                    <a:lnTo>
                      <a:pt x="321" y="510"/>
                    </a:lnTo>
                    <a:lnTo>
                      <a:pt x="317" y="512"/>
                    </a:lnTo>
                    <a:lnTo>
                      <a:pt x="310" y="513"/>
                    </a:lnTo>
                    <a:lnTo>
                      <a:pt x="310" y="513"/>
                    </a:lnTo>
                    <a:lnTo>
                      <a:pt x="308" y="513"/>
                    </a:lnTo>
                    <a:lnTo>
                      <a:pt x="308" y="513"/>
                    </a:lnTo>
                    <a:lnTo>
                      <a:pt x="309" y="512"/>
                    </a:lnTo>
                    <a:lnTo>
                      <a:pt x="310" y="509"/>
                    </a:lnTo>
                    <a:lnTo>
                      <a:pt x="305" y="514"/>
                    </a:lnTo>
                    <a:lnTo>
                      <a:pt x="302" y="514"/>
                    </a:lnTo>
                    <a:lnTo>
                      <a:pt x="296" y="508"/>
                    </a:lnTo>
                    <a:lnTo>
                      <a:pt x="296" y="508"/>
                    </a:lnTo>
                    <a:lnTo>
                      <a:pt x="297" y="512"/>
                    </a:lnTo>
                    <a:lnTo>
                      <a:pt x="297" y="512"/>
                    </a:lnTo>
                    <a:lnTo>
                      <a:pt x="300" y="512"/>
                    </a:lnTo>
                    <a:lnTo>
                      <a:pt x="301" y="513"/>
                    </a:lnTo>
                    <a:lnTo>
                      <a:pt x="301" y="513"/>
                    </a:lnTo>
                    <a:lnTo>
                      <a:pt x="300" y="513"/>
                    </a:lnTo>
                    <a:lnTo>
                      <a:pt x="300" y="513"/>
                    </a:lnTo>
                    <a:lnTo>
                      <a:pt x="297" y="513"/>
                    </a:lnTo>
                    <a:lnTo>
                      <a:pt x="297" y="513"/>
                    </a:lnTo>
                    <a:lnTo>
                      <a:pt x="296" y="513"/>
                    </a:lnTo>
                    <a:lnTo>
                      <a:pt x="296" y="513"/>
                    </a:lnTo>
                    <a:lnTo>
                      <a:pt x="294" y="513"/>
                    </a:lnTo>
                    <a:lnTo>
                      <a:pt x="294" y="513"/>
                    </a:lnTo>
                    <a:lnTo>
                      <a:pt x="289" y="512"/>
                    </a:lnTo>
                    <a:lnTo>
                      <a:pt x="285" y="510"/>
                    </a:lnTo>
                    <a:lnTo>
                      <a:pt x="285" y="510"/>
                    </a:lnTo>
                    <a:lnTo>
                      <a:pt x="284" y="510"/>
                    </a:lnTo>
                    <a:lnTo>
                      <a:pt x="281" y="508"/>
                    </a:lnTo>
                    <a:lnTo>
                      <a:pt x="281" y="508"/>
                    </a:lnTo>
                    <a:lnTo>
                      <a:pt x="282" y="509"/>
                    </a:lnTo>
                    <a:lnTo>
                      <a:pt x="282" y="509"/>
                    </a:lnTo>
                    <a:lnTo>
                      <a:pt x="280" y="509"/>
                    </a:lnTo>
                    <a:lnTo>
                      <a:pt x="280" y="509"/>
                    </a:lnTo>
                    <a:lnTo>
                      <a:pt x="276" y="509"/>
                    </a:lnTo>
                    <a:lnTo>
                      <a:pt x="276" y="509"/>
                    </a:lnTo>
                    <a:lnTo>
                      <a:pt x="279" y="508"/>
                    </a:lnTo>
                    <a:lnTo>
                      <a:pt x="273" y="510"/>
                    </a:lnTo>
                    <a:lnTo>
                      <a:pt x="271" y="510"/>
                    </a:lnTo>
                    <a:lnTo>
                      <a:pt x="271" y="510"/>
                    </a:lnTo>
                    <a:lnTo>
                      <a:pt x="269" y="510"/>
                    </a:lnTo>
                    <a:lnTo>
                      <a:pt x="269" y="510"/>
                    </a:lnTo>
                    <a:lnTo>
                      <a:pt x="267" y="510"/>
                    </a:lnTo>
                    <a:lnTo>
                      <a:pt x="267" y="510"/>
                    </a:lnTo>
                    <a:lnTo>
                      <a:pt x="265" y="510"/>
                    </a:lnTo>
                    <a:lnTo>
                      <a:pt x="265" y="510"/>
                    </a:lnTo>
                    <a:lnTo>
                      <a:pt x="268" y="509"/>
                    </a:lnTo>
                    <a:lnTo>
                      <a:pt x="269" y="507"/>
                    </a:lnTo>
                    <a:lnTo>
                      <a:pt x="263" y="512"/>
                    </a:lnTo>
                    <a:lnTo>
                      <a:pt x="263" y="512"/>
                    </a:lnTo>
                    <a:lnTo>
                      <a:pt x="261" y="512"/>
                    </a:lnTo>
                    <a:lnTo>
                      <a:pt x="261" y="512"/>
                    </a:lnTo>
                    <a:lnTo>
                      <a:pt x="259" y="512"/>
                    </a:lnTo>
                    <a:lnTo>
                      <a:pt x="259" y="512"/>
                    </a:lnTo>
                    <a:lnTo>
                      <a:pt x="261" y="510"/>
                    </a:lnTo>
                    <a:lnTo>
                      <a:pt x="263" y="508"/>
                    </a:lnTo>
                    <a:lnTo>
                      <a:pt x="256" y="513"/>
                    </a:lnTo>
                    <a:lnTo>
                      <a:pt x="256" y="513"/>
                    </a:lnTo>
                    <a:lnTo>
                      <a:pt x="253" y="513"/>
                    </a:lnTo>
                    <a:lnTo>
                      <a:pt x="253" y="513"/>
                    </a:lnTo>
                    <a:lnTo>
                      <a:pt x="253" y="513"/>
                    </a:lnTo>
                    <a:lnTo>
                      <a:pt x="249" y="514"/>
                    </a:lnTo>
                    <a:lnTo>
                      <a:pt x="245" y="516"/>
                    </a:lnTo>
                    <a:lnTo>
                      <a:pt x="245" y="516"/>
                    </a:lnTo>
                    <a:lnTo>
                      <a:pt x="244" y="516"/>
                    </a:lnTo>
                    <a:lnTo>
                      <a:pt x="241" y="516"/>
                    </a:lnTo>
                    <a:lnTo>
                      <a:pt x="241" y="516"/>
                    </a:lnTo>
                    <a:lnTo>
                      <a:pt x="243" y="514"/>
                    </a:lnTo>
                    <a:lnTo>
                      <a:pt x="243" y="513"/>
                    </a:lnTo>
                    <a:lnTo>
                      <a:pt x="239" y="517"/>
                    </a:lnTo>
                    <a:lnTo>
                      <a:pt x="239" y="517"/>
                    </a:lnTo>
                    <a:lnTo>
                      <a:pt x="238" y="517"/>
                    </a:lnTo>
                    <a:lnTo>
                      <a:pt x="238" y="517"/>
                    </a:lnTo>
                    <a:lnTo>
                      <a:pt x="235" y="517"/>
                    </a:lnTo>
                    <a:lnTo>
                      <a:pt x="235" y="517"/>
                    </a:lnTo>
                    <a:lnTo>
                      <a:pt x="238" y="516"/>
                    </a:lnTo>
                    <a:lnTo>
                      <a:pt x="239" y="513"/>
                    </a:lnTo>
                    <a:lnTo>
                      <a:pt x="232" y="518"/>
                    </a:lnTo>
                    <a:lnTo>
                      <a:pt x="227" y="518"/>
                    </a:lnTo>
                    <a:lnTo>
                      <a:pt x="223" y="514"/>
                    </a:lnTo>
                    <a:lnTo>
                      <a:pt x="223" y="514"/>
                    </a:lnTo>
                    <a:lnTo>
                      <a:pt x="223" y="513"/>
                    </a:lnTo>
                    <a:lnTo>
                      <a:pt x="222" y="514"/>
                    </a:lnTo>
                    <a:lnTo>
                      <a:pt x="222" y="513"/>
                    </a:lnTo>
                    <a:lnTo>
                      <a:pt x="222" y="513"/>
                    </a:lnTo>
                    <a:lnTo>
                      <a:pt x="222" y="514"/>
                    </a:lnTo>
                    <a:lnTo>
                      <a:pt x="218" y="518"/>
                    </a:lnTo>
                    <a:lnTo>
                      <a:pt x="216" y="518"/>
                    </a:lnTo>
                    <a:lnTo>
                      <a:pt x="216" y="518"/>
                    </a:lnTo>
                    <a:lnTo>
                      <a:pt x="215" y="518"/>
                    </a:lnTo>
                    <a:lnTo>
                      <a:pt x="215" y="518"/>
                    </a:lnTo>
                    <a:lnTo>
                      <a:pt x="216" y="517"/>
                    </a:lnTo>
                    <a:lnTo>
                      <a:pt x="211" y="521"/>
                    </a:lnTo>
                    <a:lnTo>
                      <a:pt x="211" y="521"/>
                    </a:lnTo>
                    <a:lnTo>
                      <a:pt x="210" y="521"/>
                    </a:lnTo>
                    <a:lnTo>
                      <a:pt x="210" y="521"/>
                    </a:lnTo>
                    <a:lnTo>
                      <a:pt x="207" y="521"/>
                    </a:lnTo>
                    <a:lnTo>
                      <a:pt x="207" y="521"/>
                    </a:lnTo>
                    <a:lnTo>
                      <a:pt x="208" y="520"/>
                    </a:lnTo>
                    <a:lnTo>
                      <a:pt x="211" y="517"/>
                    </a:lnTo>
                    <a:lnTo>
                      <a:pt x="204" y="522"/>
                    </a:lnTo>
                    <a:lnTo>
                      <a:pt x="203" y="522"/>
                    </a:lnTo>
                    <a:lnTo>
                      <a:pt x="203" y="522"/>
                    </a:lnTo>
                    <a:lnTo>
                      <a:pt x="200" y="522"/>
                    </a:lnTo>
                    <a:lnTo>
                      <a:pt x="200" y="522"/>
                    </a:lnTo>
                    <a:lnTo>
                      <a:pt x="197" y="521"/>
                    </a:lnTo>
                    <a:lnTo>
                      <a:pt x="197" y="521"/>
                    </a:lnTo>
                    <a:lnTo>
                      <a:pt x="195" y="521"/>
                    </a:lnTo>
                    <a:lnTo>
                      <a:pt x="195" y="521"/>
                    </a:lnTo>
                    <a:lnTo>
                      <a:pt x="197" y="521"/>
                    </a:lnTo>
                    <a:lnTo>
                      <a:pt x="198" y="518"/>
                    </a:lnTo>
                    <a:lnTo>
                      <a:pt x="193" y="522"/>
                    </a:lnTo>
                    <a:lnTo>
                      <a:pt x="193" y="522"/>
                    </a:lnTo>
                    <a:lnTo>
                      <a:pt x="193" y="522"/>
                    </a:lnTo>
                    <a:lnTo>
                      <a:pt x="193" y="522"/>
                    </a:lnTo>
                    <a:lnTo>
                      <a:pt x="191" y="522"/>
                    </a:lnTo>
                    <a:lnTo>
                      <a:pt x="191" y="522"/>
                    </a:lnTo>
                    <a:lnTo>
                      <a:pt x="191" y="522"/>
                    </a:lnTo>
                    <a:lnTo>
                      <a:pt x="187" y="524"/>
                    </a:lnTo>
                    <a:lnTo>
                      <a:pt x="187" y="524"/>
                    </a:lnTo>
                    <a:lnTo>
                      <a:pt x="182" y="522"/>
                    </a:lnTo>
                    <a:lnTo>
                      <a:pt x="178" y="521"/>
                    </a:lnTo>
                    <a:lnTo>
                      <a:pt x="178" y="521"/>
                    </a:lnTo>
                    <a:lnTo>
                      <a:pt x="177" y="520"/>
                    </a:lnTo>
                    <a:lnTo>
                      <a:pt x="177" y="520"/>
                    </a:lnTo>
                    <a:lnTo>
                      <a:pt x="177" y="520"/>
                    </a:lnTo>
                    <a:lnTo>
                      <a:pt x="177" y="520"/>
                    </a:lnTo>
                    <a:lnTo>
                      <a:pt x="178" y="520"/>
                    </a:lnTo>
                    <a:lnTo>
                      <a:pt x="177" y="520"/>
                    </a:lnTo>
                    <a:lnTo>
                      <a:pt x="177" y="520"/>
                    </a:lnTo>
                    <a:lnTo>
                      <a:pt x="178" y="518"/>
                    </a:lnTo>
                    <a:lnTo>
                      <a:pt x="179" y="516"/>
                    </a:lnTo>
                    <a:lnTo>
                      <a:pt x="174" y="520"/>
                    </a:lnTo>
                    <a:lnTo>
                      <a:pt x="174" y="520"/>
                    </a:lnTo>
                    <a:lnTo>
                      <a:pt x="174" y="520"/>
                    </a:lnTo>
                    <a:lnTo>
                      <a:pt x="171" y="521"/>
                    </a:lnTo>
                    <a:lnTo>
                      <a:pt x="171" y="521"/>
                    </a:lnTo>
                    <a:lnTo>
                      <a:pt x="171" y="521"/>
                    </a:lnTo>
                    <a:lnTo>
                      <a:pt x="171" y="521"/>
                    </a:lnTo>
                    <a:lnTo>
                      <a:pt x="170" y="522"/>
                    </a:lnTo>
                    <a:lnTo>
                      <a:pt x="170" y="522"/>
                    </a:lnTo>
                    <a:lnTo>
                      <a:pt x="167" y="522"/>
                    </a:lnTo>
                    <a:lnTo>
                      <a:pt x="165" y="524"/>
                    </a:lnTo>
                    <a:lnTo>
                      <a:pt x="165" y="524"/>
                    </a:lnTo>
                    <a:lnTo>
                      <a:pt x="163" y="524"/>
                    </a:lnTo>
                    <a:lnTo>
                      <a:pt x="163" y="524"/>
                    </a:lnTo>
                    <a:lnTo>
                      <a:pt x="154" y="528"/>
                    </a:lnTo>
                    <a:lnTo>
                      <a:pt x="146" y="532"/>
                    </a:lnTo>
                    <a:lnTo>
                      <a:pt x="146" y="532"/>
                    </a:lnTo>
                    <a:lnTo>
                      <a:pt x="140" y="536"/>
                    </a:lnTo>
                    <a:lnTo>
                      <a:pt x="140" y="536"/>
                    </a:lnTo>
                    <a:lnTo>
                      <a:pt x="132" y="540"/>
                    </a:lnTo>
                    <a:lnTo>
                      <a:pt x="128" y="541"/>
                    </a:lnTo>
                    <a:lnTo>
                      <a:pt x="128" y="541"/>
                    </a:lnTo>
                    <a:lnTo>
                      <a:pt x="126" y="541"/>
                    </a:lnTo>
                    <a:lnTo>
                      <a:pt x="126" y="541"/>
                    </a:lnTo>
                    <a:lnTo>
                      <a:pt x="125" y="542"/>
                    </a:lnTo>
                    <a:lnTo>
                      <a:pt x="121" y="542"/>
                    </a:lnTo>
                    <a:lnTo>
                      <a:pt x="121" y="542"/>
                    </a:lnTo>
                    <a:lnTo>
                      <a:pt x="120" y="542"/>
                    </a:lnTo>
                    <a:lnTo>
                      <a:pt x="120" y="542"/>
                    </a:lnTo>
                    <a:lnTo>
                      <a:pt x="119" y="542"/>
                    </a:lnTo>
                    <a:lnTo>
                      <a:pt x="119" y="542"/>
                    </a:lnTo>
                    <a:lnTo>
                      <a:pt x="116" y="542"/>
                    </a:lnTo>
                    <a:lnTo>
                      <a:pt x="116" y="542"/>
                    </a:lnTo>
                    <a:lnTo>
                      <a:pt x="115" y="542"/>
                    </a:lnTo>
                    <a:lnTo>
                      <a:pt x="115" y="542"/>
                    </a:lnTo>
                    <a:lnTo>
                      <a:pt x="116" y="542"/>
                    </a:lnTo>
                    <a:lnTo>
                      <a:pt x="117" y="541"/>
                    </a:lnTo>
                    <a:lnTo>
                      <a:pt x="117" y="541"/>
                    </a:lnTo>
                    <a:lnTo>
                      <a:pt x="119" y="538"/>
                    </a:lnTo>
                    <a:lnTo>
                      <a:pt x="119" y="538"/>
                    </a:lnTo>
                    <a:lnTo>
                      <a:pt x="119" y="538"/>
                    </a:lnTo>
                    <a:lnTo>
                      <a:pt x="119" y="537"/>
                    </a:lnTo>
                    <a:lnTo>
                      <a:pt x="113" y="542"/>
                    </a:lnTo>
                    <a:lnTo>
                      <a:pt x="115" y="544"/>
                    </a:lnTo>
                    <a:lnTo>
                      <a:pt x="115" y="544"/>
                    </a:lnTo>
                    <a:lnTo>
                      <a:pt x="113" y="544"/>
                    </a:lnTo>
                    <a:lnTo>
                      <a:pt x="113" y="544"/>
                    </a:lnTo>
                    <a:lnTo>
                      <a:pt x="113" y="544"/>
                    </a:lnTo>
                    <a:lnTo>
                      <a:pt x="113" y="544"/>
                    </a:lnTo>
                    <a:lnTo>
                      <a:pt x="111" y="544"/>
                    </a:lnTo>
                    <a:lnTo>
                      <a:pt x="111" y="544"/>
                    </a:lnTo>
                    <a:lnTo>
                      <a:pt x="108" y="544"/>
                    </a:lnTo>
                    <a:lnTo>
                      <a:pt x="108" y="544"/>
                    </a:lnTo>
                    <a:lnTo>
                      <a:pt x="107" y="544"/>
                    </a:lnTo>
                    <a:lnTo>
                      <a:pt x="107" y="544"/>
                    </a:lnTo>
                    <a:lnTo>
                      <a:pt x="108" y="542"/>
                    </a:lnTo>
                    <a:lnTo>
                      <a:pt x="111" y="542"/>
                    </a:lnTo>
                    <a:lnTo>
                      <a:pt x="111" y="542"/>
                    </a:lnTo>
                    <a:lnTo>
                      <a:pt x="112" y="538"/>
                    </a:lnTo>
                    <a:lnTo>
                      <a:pt x="105" y="545"/>
                    </a:lnTo>
                    <a:lnTo>
                      <a:pt x="105" y="545"/>
                    </a:lnTo>
                    <a:lnTo>
                      <a:pt x="104" y="545"/>
                    </a:lnTo>
                    <a:lnTo>
                      <a:pt x="104" y="545"/>
                    </a:lnTo>
                    <a:lnTo>
                      <a:pt x="101" y="545"/>
                    </a:lnTo>
                    <a:lnTo>
                      <a:pt x="101" y="545"/>
                    </a:lnTo>
                    <a:lnTo>
                      <a:pt x="104" y="544"/>
                    </a:lnTo>
                    <a:lnTo>
                      <a:pt x="105" y="541"/>
                    </a:lnTo>
                    <a:lnTo>
                      <a:pt x="99" y="546"/>
                    </a:lnTo>
                    <a:lnTo>
                      <a:pt x="99" y="546"/>
                    </a:lnTo>
                    <a:lnTo>
                      <a:pt x="97" y="546"/>
                    </a:lnTo>
                    <a:lnTo>
                      <a:pt x="97" y="546"/>
                    </a:lnTo>
                    <a:lnTo>
                      <a:pt x="95" y="546"/>
                    </a:lnTo>
                    <a:lnTo>
                      <a:pt x="95" y="546"/>
                    </a:lnTo>
                    <a:lnTo>
                      <a:pt x="97" y="545"/>
                    </a:lnTo>
                    <a:lnTo>
                      <a:pt x="99" y="542"/>
                    </a:lnTo>
                    <a:lnTo>
                      <a:pt x="93" y="546"/>
                    </a:lnTo>
                    <a:lnTo>
                      <a:pt x="93" y="546"/>
                    </a:lnTo>
                    <a:lnTo>
                      <a:pt x="93" y="546"/>
                    </a:lnTo>
                    <a:lnTo>
                      <a:pt x="93" y="547"/>
                    </a:lnTo>
                    <a:lnTo>
                      <a:pt x="93" y="547"/>
                    </a:lnTo>
                    <a:lnTo>
                      <a:pt x="92" y="547"/>
                    </a:lnTo>
                    <a:lnTo>
                      <a:pt x="92" y="547"/>
                    </a:lnTo>
                    <a:lnTo>
                      <a:pt x="91" y="547"/>
                    </a:lnTo>
                    <a:lnTo>
                      <a:pt x="91" y="547"/>
                    </a:lnTo>
                    <a:lnTo>
                      <a:pt x="88" y="547"/>
                    </a:lnTo>
                    <a:lnTo>
                      <a:pt x="88" y="547"/>
                    </a:lnTo>
                    <a:lnTo>
                      <a:pt x="87" y="547"/>
                    </a:lnTo>
                    <a:lnTo>
                      <a:pt x="87" y="547"/>
                    </a:lnTo>
                    <a:lnTo>
                      <a:pt x="88" y="546"/>
                    </a:lnTo>
                    <a:lnTo>
                      <a:pt x="89" y="545"/>
                    </a:lnTo>
                    <a:lnTo>
                      <a:pt x="89" y="545"/>
                    </a:lnTo>
                    <a:lnTo>
                      <a:pt x="91" y="542"/>
                    </a:lnTo>
                    <a:lnTo>
                      <a:pt x="85" y="549"/>
                    </a:lnTo>
                    <a:lnTo>
                      <a:pt x="84" y="549"/>
                    </a:lnTo>
                    <a:lnTo>
                      <a:pt x="84" y="549"/>
                    </a:lnTo>
                    <a:lnTo>
                      <a:pt x="84" y="549"/>
                    </a:lnTo>
                    <a:lnTo>
                      <a:pt x="79" y="549"/>
                    </a:lnTo>
                    <a:lnTo>
                      <a:pt x="76" y="550"/>
                    </a:lnTo>
                    <a:lnTo>
                      <a:pt x="72" y="551"/>
                    </a:lnTo>
                    <a:lnTo>
                      <a:pt x="71" y="551"/>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3" name="Freeform 53">
                <a:extLst>
                  <a:ext uri="{FF2B5EF4-FFF2-40B4-BE49-F238E27FC236}">
                    <a16:creationId xmlns:a16="http://schemas.microsoft.com/office/drawing/2014/main" xmlns="" id="{7B5D7F73-24E2-47BB-94A2-9CE0C9293206}"/>
                  </a:ext>
                </a:extLst>
              </p:cNvPr>
              <p:cNvSpPr>
                <a:spLocks/>
              </p:cNvSpPr>
              <p:nvPr/>
            </p:nvSpPr>
            <p:spPr bwMode="auto">
              <a:xfrm>
                <a:off x="2155391" y="5373364"/>
                <a:ext cx="743439" cy="927992"/>
              </a:xfrm>
              <a:custGeom>
                <a:avLst/>
                <a:gdLst>
                  <a:gd name="T0" fmla="*/ 340 w 427"/>
                  <a:gd name="T1" fmla="*/ 514 h 533"/>
                  <a:gd name="T2" fmla="*/ 325 w 427"/>
                  <a:gd name="T3" fmla="*/ 521 h 533"/>
                  <a:gd name="T4" fmla="*/ 303 w 427"/>
                  <a:gd name="T5" fmla="*/ 523 h 533"/>
                  <a:gd name="T6" fmla="*/ 273 w 427"/>
                  <a:gd name="T7" fmla="*/ 527 h 533"/>
                  <a:gd name="T8" fmla="*/ 262 w 427"/>
                  <a:gd name="T9" fmla="*/ 525 h 533"/>
                  <a:gd name="T10" fmla="*/ 219 w 427"/>
                  <a:gd name="T11" fmla="*/ 509 h 533"/>
                  <a:gd name="T12" fmla="*/ 198 w 427"/>
                  <a:gd name="T13" fmla="*/ 512 h 533"/>
                  <a:gd name="T14" fmla="*/ 169 w 427"/>
                  <a:gd name="T15" fmla="*/ 510 h 533"/>
                  <a:gd name="T16" fmla="*/ 135 w 427"/>
                  <a:gd name="T17" fmla="*/ 484 h 533"/>
                  <a:gd name="T18" fmla="*/ 104 w 427"/>
                  <a:gd name="T19" fmla="*/ 504 h 533"/>
                  <a:gd name="T20" fmla="*/ 51 w 427"/>
                  <a:gd name="T21" fmla="*/ 517 h 533"/>
                  <a:gd name="T22" fmla="*/ 12 w 427"/>
                  <a:gd name="T23" fmla="*/ 529 h 533"/>
                  <a:gd name="T24" fmla="*/ 5 w 427"/>
                  <a:gd name="T25" fmla="*/ 500 h 533"/>
                  <a:gd name="T26" fmla="*/ 13 w 427"/>
                  <a:gd name="T27" fmla="*/ 464 h 533"/>
                  <a:gd name="T28" fmla="*/ 21 w 427"/>
                  <a:gd name="T29" fmla="*/ 439 h 533"/>
                  <a:gd name="T30" fmla="*/ 21 w 427"/>
                  <a:gd name="T31" fmla="*/ 403 h 533"/>
                  <a:gd name="T32" fmla="*/ 37 w 427"/>
                  <a:gd name="T33" fmla="*/ 393 h 533"/>
                  <a:gd name="T34" fmla="*/ 51 w 427"/>
                  <a:gd name="T35" fmla="*/ 352 h 533"/>
                  <a:gd name="T36" fmla="*/ 46 w 427"/>
                  <a:gd name="T37" fmla="*/ 312 h 533"/>
                  <a:gd name="T38" fmla="*/ 71 w 427"/>
                  <a:gd name="T39" fmla="*/ 271 h 533"/>
                  <a:gd name="T40" fmla="*/ 92 w 427"/>
                  <a:gd name="T41" fmla="*/ 248 h 533"/>
                  <a:gd name="T42" fmla="*/ 90 w 427"/>
                  <a:gd name="T43" fmla="*/ 225 h 533"/>
                  <a:gd name="T44" fmla="*/ 94 w 427"/>
                  <a:gd name="T45" fmla="*/ 206 h 533"/>
                  <a:gd name="T46" fmla="*/ 91 w 427"/>
                  <a:gd name="T47" fmla="*/ 184 h 533"/>
                  <a:gd name="T48" fmla="*/ 84 w 427"/>
                  <a:gd name="T49" fmla="*/ 123 h 533"/>
                  <a:gd name="T50" fmla="*/ 99 w 427"/>
                  <a:gd name="T51" fmla="*/ 120 h 533"/>
                  <a:gd name="T52" fmla="*/ 116 w 427"/>
                  <a:gd name="T53" fmla="*/ 116 h 533"/>
                  <a:gd name="T54" fmla="*/ 148 w 427"/>
                  <a:gd name="T55" fmla="*/ 127 h 533"/>
                  <a:gd name="T56" fmla="*/ 177 w 427"/>
                  <a:gd name="T57" fmla="*/ 139 h 533"/>
                  <a:gd name="T58" fmla="*/ 190 w 427"/>
                  <a:gd name="T59" fmla="*/ 98 h 533"/>
                  <a:gd name="T60" fmla="*/ 214 w 427"/>
                  <a:gd name="T61" fmla="*/ 71 h 533"/>
                  <a:gd name="T62" fmla="*/ 232 w 427"/>
                  <a:gd name="T63" fmla="*/ 62 h 533"/>
                  <a:gd name="T64" fmla="*/ 259 w 427"/>
                  <a:gd name="T65" fmla="*/ 57 h 533"/>
                  <a:gd name="T66" fmla="*/ 291 w 427"/>
                  <a:gd name="T67" fmla="*/ 25 h 533"/>
                  <a:gd name="T68" fmla="*/ 304 w 427"/>
                  <a:gd name="T69" fmla="*/ 12 h 533"/>
                  <a:gd name="T70" fmla="*/ 333 w 427"/>
                  <a:gd name="T71" fmla="*/ 11 h 533"/>
                  <a:gd name="T72" fmla="*/ 338 w 427"/>
                  <a:gd name="T73" fmla="*/ 25 h 533"/>
                  <a:gd name="T74" fmla="*/ 321 w 427"/>
                  <a:gd name="T75" fmla="*/ 59 h 533"/>
                  <a:gd name="T76" fmla="*/ 304 w 427"/>
                  <a:gd name="T77" fmla="*/ 73 h 533"/>
                  <a:gd name="T78" fmla="*/ 306 w 427"/>
                  <a:gd name="T79" fmla="*/ 90 h 533"/>
                  <a:gd name="T80" fmla="*/ 326 w 427"/>
                  <a:gd name="T81" fmla="*/ 133 h 533"/>
                  <a:gd name="T82" fmla="*/ 349 w 427"/>
                  <a:gd name="T83" fmla="*/ 170 h 533"/>
                  <a:gd name="T84" fmla="*/ 377 w 427"/>
                  <a:gd name="T85" fmla="*/ 198 h 533"/>
                  <a:gd name="T86" fmla="*/ 381 w 427"/>
                  <a:gd name="T87" fmla="*/ 225 h 533"/>
                  <a:gd name="T88" fmla="*/ 358 w 427"/>
                  <a:gd name="T89" fmla="*/ 247 h 533"/>
                  <a:gd name="T90" fmla="*/ 343 w 427"/>
                  <a:gd name="T91" fmla="*/ 271 h 533"/>
                  <a:gd name="T92" fmla="*/ 349 w 427"/>
                  <a:gd name="T93" fmla="*/ 288 h 533"/>
                  <a:gd name="T94" fmla="*/ 343 w 427"/>
                  <a:gd name="T95" fmla="*/ 329 h 533"/>
                  <a:gd name="T96" fmla="*/ 363 w 427"/>
                  <a:gd name="T97" fmla="*/ 327 h 533"/>
                  <a:gd name="T98" fmla="*/ 387 w 427"/>
                  <a:gd name="T99" fmla="*/ 349 h 533"/>
                  <a:gd name="T100" fmla="*/ 384 w 427"/>
                  <a:gd name="T101" fmla="*/ 354 h 533"/>
                  <a:gd name="T102" fmla="*/ 406 w 427"/>
                  <a:gd name="T103" fmla="*/ 366 h 533"/>
                  <a:gd name="T104" fmla="*/ 427 w 427"/>
                  <a:gd name="T105" fmla="*/ 373 h 533"/>
                  <a:gd name="T106" fmla="*/ 412 w 427"/>
                  <a:gd name="T107" fmla="*/ 399 h 533"/>
                  <a:gd name="T108" fmla="*/ 406 w 427"/>
                  <a:gd name="T109" fmla="*/ 420 h 533"/>
                  <a:gd name="T110" fmla="*/ 400 w 427"/>
                  <a:gd name="T111" fmla="*/ 436 h 533"/>
                  <a:gd name="T112" fmla="*/ 398 w 427"/>
                  <a:gd name="T113" fmla="*/ 449 h 533"/>
                  <a:gd name="T114" fmla="*/ 399 w 427"/>
                  <a:gd name="T115" fmla="*/ 488 h 533"/>
                  <a:gd name="T116" fmla="*/ 357 w 427"/>
                  <a:gd name="T117" fmla="*/ 480 h 533"/>
                  <a:gd name="T118" fmla="*/ 351 w 427"/>
                  <a:gd name="T119" fmla="*/ 477 h 533"/>
                  <a:gd name="T120" fmla="*/ 367 w 427"/>
                  <a:gd name="T121" fmla="*/ 51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7" h="533">
                    <a:moveTo>
                      <a:pt x="355" y="533"/>
                    </a:moveTo>
                    <a:lnTo>
                      <a:pt x="355" y="533"/>
                    </a:lnTo>
                    <a:lnTo>
                      <a:pt x="353" y="533"/>
                    </a:lnTo>
                    <a:lnTo>
                      <a:pt x="349" y="530"/>
                    </a:lnTo>
                    <a:lnTo>
                      <a:pt x="349" y="530"/>
                    </a:lnTo>
                    <a:lnTo>
                      <a:pt x="349" y="530"/>
                    </a:lnTo>
                    <a:lnTo>
                      <a:pt x="345" y="529"/>
                    </a:lnTo>
                    <a:lnTo>
                      <a:pt x="343" y="526"/>
                    </a:lnTo>
                    <a:lnTo>
                      <a:pt x="343" y="522"/>
                    </a:lnTo>
                    <a:lnTo>
                      <a:pt x="343" y="522"/>
                    </a:lnTo>
                    <a:lnTo>
                      <a:pt x="343" y="521"/>
                    </a:lnTo>
                    <a:lnTo>
                      <a:pt x="343" y="521"/>
                    </a:lnTo>
                    <a:lnTo>
                      <a:pt x="345" y="523"/>
                    </a:lnTo>
                    <a:lnTo>
                      <a:pt x="347" y="525"/>
                    </a:lnTo>
                    <a:lnTo>
                      <a:pt x="342" y="518"/>
                    </a:lnTo>
                    <a:lnTo>
                      <a:pt x="342" y="518"/>
                    </a:lnTo>
                    <a:lnTo>
                      <a:pt x="342" y="518"/>
                    </a:lnTo>
                    <a:lnTo>
                      <a:pt x="341" y="516"/>
                    </a:lnTo>
                    <a:lnTo>
                      <a:pt x="340" y="514"/>
                    </a:lnTo>
                    <a:lnTo>
                      <a:pt x="340" y="514"/>
                    </a:lnTo>
                    <a:lnTo>
                      <a:pt x="338" y="516"/>
                    </a:lnTo>
                    <a:lnTo>
                      <a:pt x="334" y="517"/>
                    </a:lnTo>
                    <a:lnTo>
                      <a:pt x="334" y="517"/>
                    </a:lnTo>
                    <a:lnTo>
                      <a:pt x="333" y="518"/>
                    </a:lnTo>
                    <a:lnTo>
                      <a:pt x="329" y="521"/>
                    </a:lnTo>
                    <a:lnTo>
                      <a:pt x="329" y="522"/>
                    </a:lnTo>
                    <a:lnTo>
                      <a:pt x="329" y="522"/>
                    </a:lnTo>
                    <a:lnTo>
                      <a:pt x="328" y="522"/>
                    </a:lnTo>
                    <a:lnTo>
                      <a:pt x="328" y="522"/>
                    </a:lnTo>
                    <a:lnTo>
                      <a:pt x="326" y="522"/>
                    </a:lnTo>
                    <a:lnTo>
                      <a:pt x="326" y="522"/>
                    </a:lnTo>
                    <a:lnTo>
                      <a:pt x="325" y="522"/>
                    </a:lnTo>
                    <a:lnTo>
                      <a:pt x="325" y="522"/>
                    </a:lnTo>
                    <a:lnTo>
                      <a:pt x="322" y="522"/>
                    </a:lnTo>
                    <a:lnTo>
                      <a:pt x="322" y="522"/>
                    </a:lnTo>
                    <a:lnTo>
                      <a:pt x="321" y="522"/>
                    </a:lnTo>
                    <a:lnTo>
                      <a:pt x="321" y="522"/>
                    </a:lnTo>
                    <a:lnTo>
                      <a:pt x="322" y="521"/>
                    </a:lnTo>
                    <a:lnTo>
                      <a:pt x="325" y="521"/>
                    </a:lnTo>
                    <a:lnTo>
                      <a:pt x="325" y="521"/>
                    </a:lnTo>
                    <a:lnTo>
                      <a:pt x="326" y="517"/>
                    </a:lnTo>
                    <a:lnTo>
                      <a:pt x="320" y="523"/>
                    </a:lnTo>
                    <a:lnTo>
                      <a:pt x="309" y="523"/>
                    </a:lnTo>
                    <a:lnTo>
                      <a:pt x="308" y="521"/>
                    </a:lnTo>
                    <a:lnTo>
                      <a:pt x="308" y="521"/>
                    </a:lnTo>
                    <a:lnTo>
                      <a:pt x="310" y="520"/>
                    </a:lnTo>
                    <a:lnTo>
                      <a:pt x="310" y="520"/>
                    </a:lnTo>
                    <a:lnTo>
                      <a:pt x="310" y="517"/>
                    </a:lnTo>
                    <a:lnTo>
                      <a:pt x="310" y="514"/>
                    </a:lnTo>
                    <a:lnTo>
                      <a:pt x="308" y="520"/>
                    </a:lnTo>
                    <a:lnTo>
                      <a:pt x="304" y="514"/>
                    </a:lnTo>
                    <a:lnTo>
                      <a:pt x="304" y="514"/>
                    </a:lnTo>
                    <a:lnTo>
                      <a:pt x="304" y="517"/>
                    </a:lnTo>
                    <a:lnTo>
                      <a:pt x="305" y="520"/>
                    </a:lnTo>
                    <a:lnTo>
                      <a:pt x="305" y="520"/>
                    </a:lnTo>
                    <a:lnTo>
                      <a:pt x="306" y="521"/>
                    </a:lnTo>
                    <a:lnTo>
                      <a:pt x="305" y="523"/>
                    </a:lnTo>
                    <a:lnTo>
                      <a:pt x="304" y="523"/>
                    </a:lnTo>
                    <a:lnTo>
                      <a:pt x="303" y="523"/>
                    </a:lnTo>
                    <a:lnTo>
                      <a:pt x="303" y="523"/>
                    </a:lnTo>
                    <a:lnTo>
                      <a:pt x="303" y="523"/>
                    </a:lnTo>
                    <a:lnTo>
                      <a:pt x="303" y="523"/>
                    </a:lnTo>
                    <a:lnTo>
                      <a:pt x="300" y="526"/>
                    </a:lnTo>
                    <a:lnTo>
                      <a:pt x="296" y="527"/>
                    </a:lnTo>
                    <a:lnTo>
                      <a:pt x="295" y="529"/>
                    </a:lnTo>
                    <a:lnTo>
                      <a:pt x="289" y="529"/>
                    </a:lnTo>
                    <a:lnTo>
                      <a:pt x="287" y="525"/>
                    </a:lnTo>
                    <a:lnTo>
                      <a:pt x="287" y="525"/>
                    </a:lnTo>
                    <a:lnTo>
                      <a:pt x="288" y="523"/>
                    </a:lnTo>
                    <a:lnTo>
                      <a:pt x="288" y="522"/>
                    </a:lnTo>
                    <a:lnTo>
                      <a:pt x="285" y="525"/>
                    </a:lnTo>
                    <a:lnTo>
                      <a:pt x="284" y="522"/>
                    </a:lnTo>
                    <a:lnTo>
                      <a:pt x="284" y="522"/>
                    </a:lnTo>
                    <a:lnTo>
                      <a:pt x="284" y="523"/>
                    </a:lnTo>
                    <a:lnTo>
                      <a:pt x="285" y="526"/>
                    </a:lnTo>
                    <a:lnTo>
                      <a:pt x="283" y="529"/>
                    </a:lnTo>
                    <a:lnTo>
                      <a:pt x="283" y="529"/>
                    </a:lnTo>
                    <a:lnTo>
                      <a:pt x="280" y="529"/>
                    </a:lnTo>
                    <a:lnTo>
                      <a:pt x="280" y="529"/>
                    </a:lnTo>
                    <a:lnTo>
                      <a:pt x="273" y="527"/>
                    </a:lnTo>
                    <a:lnTo>
                      <a:pt x="273" y="527"/>
                    </a:lnTo>
                    <a:lnTo>
                      <a:pt x="272" y="527"/>
                    </a:lnTo>
                    <a:lnTo>
                      <a:pt x="272" y="527"/>
                    </a:lnTo>
                    <a:lnTo>
                      <a:pt x="265" y="522"/>
                    </a:lnTo>
                    <a:lnTo>
                      <a:pt x="265" y="522"/>
                    </a:lnTo>
                    <a:lnTo>
                      <a:pt x="267" y="525"/>
                    </a:lnTo>
                    <a:lnTo>
                      <a:pt x="269" y="526"/>
                    </a:lnTo>
                    <a:lnTo>
                      <a:pt x="269" y="526"/>
                    </a:lnTo>
                    <a:lnTo>
                      <a:pt x="269" y="526"/>
                    </a:lnTo>
                    <a:lnTo>
                      <a:pt x="267" y="526"/>
                    </a:lnTo>
                    <a:lnTo>
                      <a:pt x="262" y="520"/>
                    </a:lnTo>
                    <a:lnTo>
                      <a:pt x="262" y="520"/>
                    </a:lnTo>
                    <a:lnTo>
                      <a:pt x="263" y="523"/>
                    </a:lnTo>
                    <a:lnTo>
                      <a:pt x="265" y="525"/>
                    </a:lnTo>
                    <a:lnTo>
                      <a:pt x="265" y="525"/>
                    </a:lnTo>
                    <a:lnTo>
                      <a:pt x="265" y="525"/>
                    </a:lnTo>
                    <a:lnTo>
                      <a:pt x="264" y="525"/>
                    </a:lnTo>
                    <a:lnTo>
                      <a:pt x="264" y="525"/>
                    </a:lnTo>
                    <a:lnTo>
                      <a:pt x="262" y="525"/>
                    </a:lnTo>
                    <a:lnTo>
                      <a:pt x="262" y="525"/>
                    </a:lnTo>
                    <a:lnTo>
                      <a:pt x="260" y="525"/>
                    </a:lnTo>
                    <a:lnTo>
                      <a:pt x="259" y="525"/>
                    </a:lnTo>
                    <a:lnTo>
                      <a:pt x="256" y="523"/>
                    </a:lnTo>
                    <a:lnTo>
                      <a:pt x="256" y="523"/>
                    </a:lnTo>
                    <a:lnTo>
                      <a:pt x="254" y="523"/>
                    </a:lnTo>
                    <a:lnTo>
                      <a:pt x="248" y="523"/>
                    </a:lnTo>
                    <a:lnTo>
                      <a:pt x="248" y="523"/>
                    </a:lnTo>
                    <a:lnTo>
                      <a:pt x="243" y="522"/>
                    </a:lnTo>
                    <a:lnTo>
                      <a:pt x="238" y="521"/>
                    </a:lnTo>
                    <a:lnTo>
                      <a:pt x="238" y="521"/>
                    </a:lnTo>
                    <a:lnTo>
                      <a:pt x="232" y="522"/>
                    </a:lnTo>
                    <a:lnTo>
                      <a:pt x="231" y="522"/>
                    </a:lnTo>
                    <a:lnTo>
                      <a:pt x="226" y="518"/>
                    </a:lnTo>
                    <a:lnTo>
                      <a:pt x="225" y="516"/>
                    </a:lnTo>
                    <a:lnTo>
                      <a:pt x="225" y="516"/>
                    </a:lnTo>
                    <a:lnTo>
                      <a:pt x="223" y="512"/>
                    </a:lnTo>
                    <a:lnTo>
                      <a:pt x="222" y="512"/>
                    </a:lnTo>
                    <a:lnTo>
                      <a:pt x="219" y="510"/>
                    </a:lnTo>
                    <a:lnTo>
                      <a:pt x="219" y="505"/>
                    </a:lnTo>
                    <a:lnTo>
                      <a:pt x="219" y="509"/>
                    </a:lnTo>
                    <a:lnTo>
                      <a:pt x="217" y="508"/>
                    </a:lnTo>
                    <a:lnTo>
                      <a:pt x="217" y="508"/>
                    </a:lnTo>
                    <a:lnTo>
                      <a:pt x="218" y="509"/>
                    </a:lnTo>
                    <a:lnTo>
                      <a:pt x="219" y="510"/>
                    </a:lnTo>
                    <a:lnTo>
                      <a:pt x="219" y="510"/>
                    </a:lnTo>
                    <a:lnTo>
                      <a:pt x="218" y="510"/>
                    </a:lnTo>
                    <a:lnTo>
                      <a:pt x="218" y="510"/>
                    </a:lnTo>
                    <a:lnTo>
                      <a:pt x="217" y="510"/>
                    </a:lnTo>
                    <a:lnTo>
                      <a:pt x="217" y="510"/>
                    </a:lnTo>
                    <a:lnTo>
                      <a:pt x="215" y="510"/>
                    </a:lnTo>
                    <a:lnTo>
                      <a:pt x="215" y="510"/>
                    </a:lnTo>
                    <a:lnTo>
                      <a:pt x="213" y="512"/>
                    </a:lnTo>
                    <a:lnTo>
                      <a:pt x="210" y="512"/>
                    </a:lnTo>
                    <a:lnTo>
                      <a:pt x="210" y="512"/>
                    </a:lnTo>
                    <a:lnTo>
                      <a:pt x="207" y="512"/>
                    </a:lnTo>
                    <a:lnTo>
                      <a:pt x="207" y="512"/>
                    </a:lnTo>
                    <a:lnTo>
                      <a:pt x="205" y="513"/>
                    </a:lnTo>
                    <a:lnTo>
                      <a:pt x="203" y="513"/>
                    </a:lnTo>
                    <a:lnTo>
                      <a:pt x="202" y="513"/>
                    </a:lnTo>
                    <a:lnTo>
                      <a:pt x="198" y="512"/>
                    </a:lnTo>
                    <a:lnTo>
                      <a:pt x="198" y="512"/>
                    </a:lnTo>
                    <a:lnTo>
                      <a:pt x="195" y="509"/>
                    </a:lnTo>
                    <a:lnTo>
                      <a:pt x="195" y="509"/>
                    </a:lnTo>
                    <a:lnTo>
                      <a:pt x="189" y="502"/>
                    </a:lnTo>
                    <a:lnTo>
                      <a:pt x="187" y="502"/>
                    </a:lnTo>
                    <a:lnTo>
                      <a:pt x="185" y="502"/>
                    </a:lnTo>
                    <a:lnTo>
                      <a:pt x="185" y="502"/>
                    </a:lnTo>
                    <a:lnTo>
                      <a:pt x="184" y="502"/>
                    </a:lnTo>
                    <a:lnTo>
                      <a:pt x="184" y="502"/>
                    </a:lnTo>
                    <a:lnTo>
                      <a:pt x="185" y="502"/>
                    </a:lnTo>
                    <a:lnTo>
                      <a:pt x="186" y="500"/>
                    </a:lnTo>
                    <a:lnTo>
                      <a:pt x="181" y="505"/>
                    </a:lnTo>
                    <a:lnTo>
                      <a:pt x="181" y="505"/>
                    </a:lnTo>
                    <a:lnTo>
                      <a:pt x="181" y="505"/>
                    </a:lnTo>
                    <a:lnTo>
                      <a:pt x="180" y="506"/>
                    </a:lnTo>
                    <a:lnTo>
                      <a:pt x="180" y="506"/>
                    </a:lnTo>
                    <a:lnTo>
                      <a:pt x="176" y="509"/>
                    </a:lnTo>
                    <a:lnTo>
                      <a:pt x="173" y="510"/>
                    </a:lnTo>
                    <a:lnTo>
                      <a:pt x="169" y="510"/>
                    </a:lnTo>
                    <a:lnTo>
                      <a:pt x="169" y="510"/>
                    </a:lnTo>
                    <a:lnTo>
                      <a:pt x="169" y="510"/>
                    </a:lnTo>
                    <a:lnTo>
                      <a:pt x="168" y="510"/>
                    </a:lnTo>
                    <a:lnTo>
                      <a:pt x="168" y="510"/>
                    </a:lnTo>
                    <a:lnTo>
                      <a:pt x="162" y="510"/>
                    </a:lnTo>
                    <a:lnTo>
                      <a:pt x="158" y="509"/>
                    </a:lnTo>
                    <a:lnTo>
                      <a:pt x="158" y="509"/>
                    </a:lnTo>
                    <a:lnTo>
                      <a:pt x="157" y="508"/>
                    </a:lnTo>
                    <a:lnTo>
                      <a:pt x="157" y="508"/>
                    </a:lnTo>
                    <a:lnTo>
                      <a:pt x="153" y="505"/>
                    </a:lnTo>
                    <a:lnTo>
                      <a:pt x="149" y="502"/>
                    </a:lnTo>
                    <a:lnTo>
                      <a:pt x="149" y="502"/>
                    </a:lnTo>
                    <a:lnTo>
                      <a:pt x="148" y="501"/>
                    </a:lnTo>
                    <a:lnTo>
                      <a:pt x="145" y="500"/>
                    </a:lnTo>
                    <a:lnTo>
                      <a:pt x="145" y="500"/>
                    </a:lnTo>
                    <a:lnTo>
                      <a:pt x="144" y="500"/>
                    </a:lnTo>
                    <a:lnTo>
                      <a:pt x="137" y="496"/>
                    </a:lnTo>
                    <a:lnTo>
                      <a:pt x="137" y="493"/>
                    </a:lnTo>
                    <a:lnTo>
                      <a:pt x="137" y="493"/>
                    </a:lnTo>
                    <a:lnTo>
                      <a:pt x="136" y="486"/>
                    </a:lnTo>
                    <a:lnTo>
                      <a:pt x="135" y="484"/>
                    </a:lnTo>
                    <a:lnTo>
                      <a:pt x="132" y="481"/>
                    </a:lnTo>
                    <a:lnTo>
                      <a:pt x="129" y="480"/>
                    </a:lnTo>
                    <a:lnTo>
                      <a:pt x="129" y="480"/>
                    </a:lnTo>
                    <a:lnTo>
                      <a:pt x="129" y="480"/>
                    </a:lnTo>
                    <a:lnTo>
                      <a:pt x="129" y="480"/>
                    </a:lnTo>
                    <a:lnTo>
                      <a:pt x="127" y="481"/>
                    </a:lnTo>
                    <a:lnTo>
                      <a:pt x="123" y="486"/>
                    </a:lnTo>
                    <a:lnTo>
                      <a:pt x="123" y="486"/>
                    </a:lnTo>
                    <a:lnTo>
                      <a:pt x="123" y="489"/>
                    </a:lnTo>
                    <a:lnTo>
                      <a:pt x="123" y="489"/>
                    </a:lnTo>
                    <a:lnTo>
                      <a:pt x="121" y="492"/>
                    </a:lnTo>
                    <a:lnTo>
                      <a:pt x="119" y="496"/>
                    </a:lnTo>
                    <a:lnTo>
                      <a:pt x="116" y="498"/>
                    </a:lnTo>
                    <a:lnTo>
                      <a:pt x="111" y="500"/>
                    </a:lnTo>
                    <a:lnTo>
                      <a:pt x="111" y="500"/>
                    </a:lnTo>
                    <a:lnTo>
                      <a:pt x="111" y="501"/>
                    </a:lnTo>
                    <a:lnTo>
                      <a:pt x="111" y="501"/>
                    </a:lnTo>
                    <a:lnTo>
                      <a:pt x="108" y="502"/>
                    </a:lnTo>
                    <a:lnTo>
                      <a:pt x="104" y="504"/>
                    </a:lnTo>
                    <a:lnTo>
                      <a:pt x="104" y="504"/>
                    </a:lnTo>
                    <a:lnTo>
                      <a:pt x="100" y="504"/>
                    </a:lnTo>
                    <a:lnTo>
                      <a:pt x="99" y="504"/>
                    </a:lnTo>
                    <a:lnTo>
                      <a:pt x="98" y="504"/>
                    </a:lnTo>
                    <a:lnTo>
                      <a:pt x="98" y="504"/>
                    </a:lnTo>
                    <a:lnTo>
                      <a:pt x="95" y="505"/>
                    </a:lnTo>
                    <a:lnTo>
                      <a:pt x="95" y="505"/>
                    </a:lnTo>
                    <a:lnTo>
                      <a:pt x="82" y="514"/>
                    </a:lnTo>
                    <a:lnTo>
                      <a:pt x="82" y="514"/>
                    </a:lnTo>
                    <a:lnTo>
                      <a:pt x="71" y="523"/>
                    </a:lnTo>
                    <a:lnTo>
                      <a:pt x="67" y="525"/>
                    </a:lnTo>
                    <a:lnTo>
                      <a:pt x="67" y="525"/>
                    </a:lnTo>
                    <a:lnTo>
                      <a:pt x="63" y="523"/>
                    </a:lnTo>
                    <a:lnTo>
                      <a:pt x="61" y="522"/>
                    </a:lnTo>
                    <a:lnTo>
                      <a:pt x="58" y="520"/>
                    </a:lnTo>
                    <a:lnTo>
                      <a:pt x="58" y="520"/>
                    </a:lnTo>
                    <a:lnTo>
                      <a:pt x="55" y="518"/>
                    </a:lnTo>
                    <a:lnTo>
                      <a:pt x="54" y="518"/>
                    </a:lnTo>
                    <a:lnTo>
                      <a:pt x="51" y="517"/>
                    </a:lnTo>
                    <a:lnTo>
                      <a:pt x="51" y="517"/>
                    </a:lnTo>
                    <a:lnTo>
                      <a:pt x="51" y="517"/>
                    </a:lnTo>
                    <a:lnTo>
                      <a:pt x="51" y="517"/>
                    </a:lnTo>
                    <a:lnTo>
                      <a:pt x="49" y="520"/>
                    </a:lnTo>
                    <a:lnTo>
                      <a:pt x="49" y="520"/>
                    </a:lnTo>
                    <a:lnTo>
                      <a:pt x="45" y="523"/>
                    </a:lnTo>
                    <a:lnTo>
                      <a:pt x="42" y="526"/>
                    </a:lnTo>
                    <a:lnTo>
                      <a:pt x="38" y="527"/>
                    </a:lnTo>
                    <a:lnTo>
                      <a:pt x="38" y="527"/>
                    </a:lnTo>
                    <a:lnTo>
                      <a:pt x="34" y="529"/>
                    </a:lnTo>
                    <a:lnTo>
                      <a:pt x="30" y="530"/>
                    </a:lnTo>
                    <a:lnTo>
                      <a:pt x="28" y="530"/>
                    </a:lnTo>
                    <a:lnTo>
                      <a:pt x="28" y="530"/>
                    </a:lnTo>
                    <a:lnTo>
                      <a:pt x="25" y="531"/>
                    </a:lnTo>
                    <a:lnTo>
                      <a:pt x="21" y="533"/>
                    </a:lnTo>
                    <a:lnTo>
                      <a:pt x="21" y="533"/>
                    </a:lnTo>
                    <a:lnTo>
                      <a:pt x="18" y="533"/>
                    </a:lnTo>
                    <a:lnTo>
                      <a:pt x="18" y="533"/>
                    </a:lnTo>
                    <a:lnTo>
                      <a:pt x="12" y="527"/>
                    </a:lnTo>
                    <a:lnTo>
                      <a:pt x="12" y="527"/>
                    </a:lnTo>
                    <a:lnTo>
                      <a:pt x="12" y="529"/>
                    </a:lnTo>
                    <a:lnTo>
                      <a:pt x="12" y="529"/>
                    </a:lnTo>
                    <a:lnTo>
                      <a:pt x="12" y="527"/>
                    </a:lnTo>
                    <a:lnTo>
                      <a:pt x="12" y="527"/>
                    </a:lnTo>
                    <a:lnTo>
                      <a:pt x="9" y="525"/>
                    </a:lnTo>
                    <a:lnTo>
                      <a:pt x="6" y="521"/>
                    </a:lnTo>
                    <a:lnTo>
                      <a:pt x="6" y="520"/>
                    </a:lnTo>
                    <a:lnTo>
                      <a:pt x="6" y="517"/>
                    </a:lnTo>
                    <a:lnTo>
                      <a:pt x="6" y="517"/>
                    </a:lnTo>
                    <a:lnTo>
                      <a:pt x="5" y="513"/>
                    </a:lnTo>
                    <a:lnTo>
                      <a:pt x="5" y="513"/>
                    </a:lnTo>
                    <a:lnTo>
                      <a:pt x="5" y="513"/>
                    </a:lnTo>
                    <a:lnTo>
                      <a:pt x="5" y="513"/>
                    </a:lnTo>
                    <a:lnTo>
                      <a:pt x="5" y="513"/>
                    </a:lnTo>
                    <a:lnTo>
                      <a:pt x="2" y="509"/>
                    </a:lnTo>
                    <a:lnTo>
                      <a:pt x="2" y="506"/>
                    </a:lnTo>
                    <a:lnTo>
                      <a:pt x="2" y="504"/>
                    </a:lnTo>
                    <a:lnTo>
                      <a:pt x="6" y="500"/>
                    </a:lnTo>
                    <a:lnTo>
                      <a:pt x="6" y="500"/>
                    </a:lnTo>
                    <a:lnTo>
                      <a:pt x="6" y="500"/>
                    </a:lnTo>
                    <a:lnTo>
                      <a:pt x="5" y="500"/>
                    </a:lnTo>
                    <a:lnTo>
                      <a:pt x="5" y="500"/>
                    </a:lnTo>
                    <a:lnTo>
                      <a:pt x="5" y="500"/>
                    </a:lnTo>
                    <a:lnTo>
                      <a:pt x="5" y="500"/>
                    </a:lnTo>
                    <a:lnTo>
                      <a:pt x="4" y="502"/>
                    </a:lnTo>
                    <a:lnTo>
                      <a:pt x="4" y="502"/>
                    </a:lnTo>
                    <a:lnTo>
                      <a:pt x="4" y="501"/>
                    </a:lnTo>
                    <a:lnTo>
                      <a:pt x="4" y="501"/>
                    </a:lnTo>
                    <a:lnTo>
                      <a:pt x="4" y="500"/>
                    </a:lnTo>
                    <a:lnTo>
                      <a:pt x="4" y="498"/>
                    </a:lnTo>
                    <a:lnTo>
                      <a:pt x="4" y="498"/>
                    </a:lnTo>
                    <a:lnTo>
                      <a:pt x="0" y="496"/>
                    </a:lnTo>
                    <a:lnTo>
                      <a:pt x="0" y="493"/>
                    </a:lnTo>
                    <a:lnTo>
                      <a:pt x="0" y="490"/>
                    </a:lnTo>
                    <a:lnTo>
                      <a:pt x="5" y="485"/>
                    </a:lnTo>
                    <a:lnTo>
                      <a:pt x="5" y="485"/>
                    </a:lnTo>
                    <a:lnTo>
                      <a:pt x="6" y="484"/>
                    </a:lnTo>
                    <a:lnTo>
                      <a:pt x="6" y="484"/>
                    </a:lnTo>
                    <a:lnTo>
                      <a:pt x="5" y="479"/>
                    </a:lnTo>
                    <a:lnTo>
                      <a:pt x="6" y="473"/>
                    </a:lnTo>
                    <a:lnTo>
                      <a:pt x="9" y="469"/>
                    </a:lnTo>
                    <a:lnTo>
                      <a:pt x="13" y="464"/>
                    </a:lnTo>
                    <a:lnTo>
                      <a:pt x="13" y="464"/>
                    </a:lnTo>
                    <a:lnTo>
                      <a:pt x="17" y="459"/>
                    </a:lnTo>
                    <a:lnTo>
                      <a:pt x="17" y="459"/>
                    </a:lnTo>
                    <a:lnTo>
                      <a:pt x="18" y="456"/>
                    </a:lnTo>
                    <a:lnTo>
                      <a:pt x="17" y="453"/>
                    </a:lnTo>
                    <a:lnTo>
                      <a:pt x="17" y="452"/>
                    </a:lnTo>
                    <a:lnTo>
                      <a:pt x="18" y="449"/>
                    </a:lnTo>
                    <a:lnTo>
                      <a:pt x="18" y="449"/>
                    </a:lnTo>
                    <a:lnTo>
                      <a:pt x="18" y="448"/>
                    </a:lnTo>
                    <a:lnTo>
                      <a:pt x="18" y="448"/>
                    </a:lnTo>
                    <a:lnTo>
                      <a:pt x="20" y="445"/>
                    </a:lnTo>
                    <a:lnTo>
                      <a:pt x="21" y="443"/>
                    </a:lnTo>
                    <a:lnTo>
                      <a:pt x="21" y="443"/>
                    </a:lnTo>
                    <a:lnTo>
                      <a:pt x="21" y="443"/>
                    </a:lnTo>
                    <a:lnTo>
                      <a:pt x="21" y="442"/>
                    </a:lnTo>
                    <a:lnTo>
                      <a:pt x="21" y="442"/>
                    </a:lnTo>
                    <a:lnTo>
                      <a:pt x="21" y="440"/>
                    </a:lnTo>
                    <a:lnTo>
                      <a:pt x="21" y="440"/>
                    </a:lnTo>
                    <a:lnTo>
                      <a:pt x="21" y="439"/>
                    </a:lnTo>
                    <a:lnTo>
                      <a:pt x="21" y="439"/>
                    </a:lnTo>
                    <a:lnTo>
                      <a:pt x="21" y="438"/>
                    </a:lnTo>
                    <a:lnTo>
                      <a:pt x="17" y="436"/>
                    </a:lnTo>
                    <a:lnTo>
                      <a:pt x="17" y="436"/>
                    </a:lnTo>
                    <a:lnTo>
                      <a:pt x="16" y="434"/>
                    </a:lnTo>
                    <a:lnTo>
                      <a:pt x="14" y="431"/>
                    </a:lnTo>
                    <a:lnTo>
                      <a:pt x="14" y="427"/>
                    </a:lnTo>
                    <a:lnTo>
                      <a:pt x="16" y="424"/>
                    </a:lnTo>
                    <a:lnTo>
                      <a:pt x="16" y="424"/>
                    </a:lnTo>
                    <a:lnTo>
                      <a:pt x="17" y="420"/>
                    </a:lnTo>
                    <a:lnTo>
                      <a:pt x="18" y="419"/>
                    </a:lnTo>
                    <a:lnTo>
                      <a:pt x="18" y="419"/>
                    </a:lnTo>
                    <a:lnTo>
                      <a:pt x="18" y="418"/>
                    </a:lnTo>
                    <a:lnTo>
                      <a:pt x="18" y="418"/>
                    </a:lnTo>
                    <a:lnTo>
                      <a:pt x="14" y="414"/>
                    </a:lnTo>
                    <a:lnTo>
                      <a:pt x="14" y="414"/>
                    </a:lnTo>
                    <a:lnTo>
                      <a:pt x="16" y="410"/>
                    </a:lnTo>
                    <a:lnTo>
                      <a:pt x="17" y="407"/>
                    </a:lnTo>
                    <a:lnTo>
                      <a:pt x="21" y="405"/>
                    </a:lnTo>
                    <a:lnTo>
                      <a:pt x="21" y="405"/>
                    </a:lnTo>
                    <a:lnTo>
                      <a:pt x="21" y="403"/>
                    </a:lnTo>
                    <a:lnTo>
                      <a:pt x="21" y="403"/>
                    </a:lnTo>
                    <a:lnTo>
                      <a:pt x="21" y="405"/>
                    </a:lnTo>
                    <a:lnTo>
                      <a:pt x="22" y="403"/>
                    </a:lnTo>
                    <a:lnTo>
                      <a:pt x="22" y="403"/>
                    </a:lnTo>
                    <a:lnTo>
                      <a:pt x="24" y="401"/>
                    </a:lnTo>
                    <a:lnTo>
                      <a:pt x="26" y="398"/>
                    </a:lnTo>
                    <a:lnTo>
                      <a:pt x="30" y="397"/>
                    </a:lnTo>
                    <a:lnTo>
                      <a:pt x="30" y="397"/>
                    </a:lnTo>
                    <a:lnTo>
                      <a:pt x="31" y="395"/>
                    </a:lnTo>
                    <a:lnTo>
                      <a:pt x="31" y="395"/>
                    </a:lnTo>
                    <a:lnTo>
                      <a:pt x="31" y="395"/>
                    </a:lnTo>
                    <a:lnTo>
                      <a:pt x="30" y="397"/>
                    </a:lnTo>
                    <a:lnTo>
                      <a:pt x="30" y="399"/>
                    </a:lnTo>
                    <a:lnTo>
                      <a:pt x="34" y="395"/>
                    </a:lnTo>
                    <a:lnTo>
                      <a:pt x="34" y="395"/>
                    </a:lnTo>
                    <a:lnTo>
                      <a:pt x="34" y="394"/>
                    </a:lnTo>
                    <a:lnTo>
                      <a:pt x="34" y="394"/>
                    </a:lnTo>
                    <a:lnTo>
                      <a:pt x="34" y="394"/>
                    </a:lnTo>
                    <a:lnTo>
                      <a:pt x="35" y="393"/>
                    </a:lnTo>
                    <a:lnTo>
                      <a:pt x="37" y="393"/>
                    </a:lnTo>
                    <a:lnTo>
                      <a:pt x="37" y="393"/>
                    </a:lnTo>
                    <a:lnTo>
                      <a:pt x="39" y="390"/>
                    </a:lnTo>
                    <a:lnTo>
                      <a:pt x="43" y="387"/>
                    </a:lnTo>
                    <a:lnTo>
                      <a:pt x="45" y="387"/>
                    </a:lnTo>
                    <a:lnTo>
                      <a:pt x="45" y="381"/>
                    </a:lnTo>
                    <a:lnTo>
                      <a:pt x="45" y="381"/>
                    </a:lnTo>
                    <a:lnTo>
                      <a:pt x="45" y="371"/>
                    </a:lnTo>
                    <a:lnTo>
                      <a:pt x="46" y="366"/>
                    </a:lnTo>
                    <a:lnTo>
                      <a:pt x="46" y="366"/>
                    </a:lnTo>
                    <a:lnTo>
                      <a:pt x="47" y="364"/>
                    </a:lnTo>
                    <a:lnTo>
                      <a:pt x="47" y="362"/>
                    </a:lnTo>
                    <a:lnTo>
                      <a:pt x="51" y="357"/>
                    </a:lnTo>
                    <a:lnTo>
                      <a:pt x="51" y="357"/>
                    </a:lnTo>
                    <a:lnTo>
                      <a:pt x="50" y="358"/>
                    </a:lnTo>
                    <a:lnTo>
                      <a:pt x="50" y="358"/>
                    </a:lnTo>
                    <a:lnTo>
                      <a:pt x="50" y="357"/>
                    </a:lnTo>
                    <a:lnTo>
                      <a:pt x="50" y="356"/>
                    </a:lnTo>
                    <a:lnTo>
                      <a:pt x="51" y="353"/>
                    </a:lnTo>
                    <a:lnTo>
                      <a:pt x="51" y="352"/>
                    </a:lnTo>
                    <a:lnTo>
                      <a:pt x="51" y="352"/>
                    </a:lnTo>
                    <a:lnTo>
                      <a:pt x="55" y="346"/>
                    </a:lnTo>
                    <a:lnTo>
                      <a:pt x="55" y="344"/>
                    </a:lnTo>
                    <a:lnTo>
                      <a:pt x="55" y="342"/>
                    </a:lnTo>
                    <a:lnTo>
                      <a:pt x="55" y="342"/>
                    </a:lnTo>
                    <a:lnTo>
                      <a:pt x="55" y="338"/>
                    </a:lnTo>
                    <a:lnTo>
                      <a:pt x="54" y="336"/>
                    </a:lnTo>
                    <a:lnTo>
                      <a:pt x="54" y="336"/>
                    </a:lnTo>
                    <a:lnTo>
                      <a:pt x="54" y="329"/>
                    </a:lnTo>
                    <a:lnTo>
                      <a:pt x="55" y="323"/>
                    </a:lnTo>
                    <a:lnTo>
                      <a:pt x="55" y="323"/>
                    </a:lnTo>
                    <a:lnTo>
                      <a:pt x="55" y="323"/>
                    </a:lnTo>
                    <a:lnTo>
                      <a:pt x="55" y="323"/>
                    </a:lnTo>
                    <a:lnTo>
                      <a:pt x="54" y="323"/>
                    </a:lnTo>
                    <a:lnTo>
                      <a:pt x="54" y="323"/>
                    </a:lnTo>
                    <a:lnTo>
                      <a:pt x="51" y="319"/>
                    </a:lnTo>
                    <a:lnTo>
                      <a:pt x="50" y="316"/>
                    </a:lnTo>
                    <a:lnTo>
                      <a:pt x="50" y="316"/>
                    </a:lnTo>
                    <a:lnTo>
                      <a:pt x="50" y="316"/>
                    </a:lnTo>
                    <a:lnTo>
                      <a:pt x="50" y="316"/>
                    </a:lnTo>
                    <a:lnTo>
                      <a:pt x="46" y="312"/>
                    </a:lnTo>
                    <a:lnTo>
                      <a:pt x="45" y="308"/>
                    </a:lnTo>
                    <a:lnTo>
                      <a:pt x="45" y="304"/>
                    </a:lnTo>
                    <a:lnTo>
                      <a:pt x="45" y="300"/>
                    </a:lnTo>
                    <a:lnTo>
                      <a:pt x="45" y="300"/>
                    </a:lnTo>
                    <a:lnTo>
                      <a:pt x="43" y="296"/>
                    </a:lnTo>
                    <a:lnTo>
                      <a:pt x="43" y="291"/>
                    </a:lnTo>
                    <a:lnTo>
                      <a:pt x="46" y="286"/>
                    </a:lnTo>
                    <a:lnTo>
                      <a:pt x="50" y="279"/>
                    </a:lnTo>
                    <a:lnTo>
                      <a:pt x="51" y="278"/>
                    </a:lnTo>
                    <a:lnTo>
                      <a:pt x="51" y="278"/>
                    </a:lnTo>
                    <a:lnTo>
                      <a:pt x="54" y="276"/>
                    </a:lnTo>
                    <a:lnTo>
                      <a:pt x="59" y="275"/>
                    </a:lnTo>
                    <a:lnTo>
                      <a:pt x="62" y="275"/>
                    </a:lnTo>
                    <a:lnTo>
                      <a:pt x="62" y="275"/>
                    </a:lnTo>
                    <a:lnTo>
                      <a:pt x="59" y="276"/>
                    </a:lnTo>
                    <a:lnTo>
                      <a:pt x="59" y="278"/>
                    </a:lnTo>
                    <a:lnTo>
                      <a:pt x="65" y="274"/>
                    </a:lnTo>
                    <a:lnTo>
                      <a:pt x="67" y="274"/>
                    </a:lnTo>
                    <a:lnTo>
                      <a:pt x="67" y="274"/>
                    </a:lnTo>
                    <a:lnTo>
                      <a:pt x="71" y="271"/>
                    </a:lnTo>
                    <a:lnTo>
                      <a:pt x="71" y="271"/>
                    </a:lnTo>
                    <a:lnTo>
                      <a:pt x="74" y="268"/>
                    </a:lnTo>
                    <a:lnTo>
                      <a:pt x="78" y="266"/>
                    </a:lnTo>
                    <a:lnTo>
                      <a:pt x="80" y="264"/>
                    </a:lnTo>
                    <a:lnTo>
                      <a:pt x="80" y="264"/>
                    </a:lnTo>
                    <a:lnTo>
                      <a:pt x="83" y="264"/>
                    </a:lnTo>
                    <a:lnTo>
                      <a:pt x="83" y="264"/>
                    </a:lnTo>
                    <a:lnTo>
                      <a:pt x="83" y="264"/>
                    </a:lnTo>
                    <a:lnTo>
                      <a:pt x="86" y="263"/>
                    </a:lnTo>
                    <a:lnTo>
                      <a:pt x="90" y="263"/>
                    </a:lnTo>
                    <a:lnTo>
                      <a:pt x="91" y="263"/>
                    </a:lnTo>
                    <a:lnTo>
                      <a:pt x="91" y="263"/>
                    </a:lnTo>
                    <a:lnTo>
                      <a:pt x="92" y="262"/>
                    </a:lnTo>
                    <a:lnTo>
                      <a:pt x="92" y="262"/>
                    </a:lnTo>
                    <a:lnTo>
                      <a:pt x="94" y="260"/>
                    </a:lnTo>
                    <a:lnTo>
                      <a:pt x="94" y="259"/>
                    </a:lnTo>
                    <a:lnTo>
                      <a:pt x="94" y="259"/>
                    </a:lnTo>
                    <a:lnTo>
                      <a:pt x="95" y="254"/>
                    </a:lnTo>
                    <a:lnTo>
                      <a:pt x="94" y="250"/>
                    </a:lnTo>
                    <a:lnTo>
                      <a:pt x="92" y="248"/>
                    </a:lnTo>
                    <a:lnTo>
                      <a:pt x="92" y="248"/>
                    </a:lnTo>
                    <a:lnTo>
                      <a:pt x="90" y="243"/>
                    </a:lnTo>
                    <a:lnTo>
                      <a:pt x="90" y="238"/>
                    </a:lnTo>
                    <a:lnTo>
                      <a:pt x="90" y="238"/>
                    </a:lnTo>
                    <a:lnTo>
                      <a:pt x="90" y="237"/>
                    </a:lnTo>
                    <a:lnTo>
                      <a:pt x="90" y="237"/>
                    </a:lnTo>
                    <a:lnTo>
                      <a:pt x="90" y="235"/>
                    </a:lnTo>
                    <a:lnTo>
                      <a:pt x="90" y="235"/>
                    </a:lnTo>
                    <a:lnTo>
                      <a:pt x="91" y="238"/>
                    </a:lnTo>
                    <a:lnTo>
                      <a:pt x="92" y="238"/>
                    </a:lnTo>
                    <a:lnTo>
                      <a:pt x="88" y="233"/>
                    </a:lnTo>
                    <a:lnTo>
                      <a:pt x="88" y="230"/>
                    </a:lnTo>
                    <a:lnTo>
                      <a:pt x="92" y="225"/>
                    </a:lnTo>
                    <a:lnTo>
                      <a:pt x="91" y="225"/>
                    </a:lnTo>
                    <a:lnTo>
                      <a:pt x="91" y="225"/>
                    </a:lnTo>
                    <a:lnTo>
                      <a:pt x="90" y="227"/>
                    </a:lnTo>
                    <a:lnTo>
                      <a:pt x="90" y="227"/>
                    </a:lnTo>
                    <a:lnTo>
                      <a:pt x="90" y="227"/>
                    </a:lnTo>
                    <a:lnTo>
                      <a:pt x="90" y="227"/>
                    </a:lnTo>
                    <a:lnTo>
                      <a:pt x="90" y="225"/>
                    </a:lnTo>
                    <a:lnTo>
                      <a:pt x="90" y="219"/>
                    </a:lnTo>
                    <a:lnTo>
                      <a:pt x="95" y="213"/>
                    </a:lnTo>
                    <a:lnTo>
                      <a:pt x="95" y="213"/>
                    </a:lnTo>
                    <a:lnTo>
                      <a:pt x="92" y="214"/>
                    </a:lnTo>
                    <a:lnTo>
                      <a:pt x="91" y="217"/>
                    </a:lnTo>
                    <a:lnTo>
                      <a:pt x="91" y="217"/>
                    </a:lnTo>
                    <a:lnTo>
                      <a:pt x="91" y="214"/>
                    </a:lnTo>
                    <a:lnTo>
                      <a:pt x="92" y="214"/>
                    </a:lnTo>
                    <a:lnTo>
                      <a:pt x="92" y="214"/>
                    </a:lnTo>
                    <a:lnTo>
                      <a:pt x="92" y="213"/>
                    </a:lnTo>
                    <a:lnTo>
                      <a:pt x="92" y="213"/>
                    </a:lnTo>
                    <a:lnTo>
                      <a:pt x="92" y="211"/>
                    </a:lnTo>
                    <a:lnTo>
                      <a:pt x="92" y="210"/>
                    </a:lnTo>
                    <a:lnTo>
                      <a:pt x="96" y="205"/>
                    </a:lnTo>
                    <a:lnTo>
                      <a:pt x="95" y="205"/>
                    </a:lnTo>
                    <a:lnTo>
                      <a:pt x="95" y="205"/>
                    </a:lnTo>
                    <a:lnTo>
                      <a:pt x="94" y="208"/>
                    </a:lnTo>
                    <a:lnTo>
                      <a:pt x="94" y="208"/>
                    </a:lnTo>
                    <a:lnTo>
                      <a:pt x="94" y="206"/>
                    </a:lnTo>
                    <a:lnTo>
                      <a:pt x="94" y="206"/>
                    </a:lnTo>
                    <a:lnTo>
                      <a:pt x="94" y="205"/>
                    </a:lnTo>
                    <a:lnTo>
                      <a:pt x="94" y="204"/>
                    </a:lnTo>
                    <a:lnTo>
                      <a:pt x="96" y="198"/>
                    </a:lnTo>
                    <a:lnTo>
                      <a:pt x="96" y="198"/>
                    </a:lnTo>
                    <a:lnTo>
                      <a:pt x="95" y="201"/>
                    </a:lnTo>
                    <a:lnTo>
                      <a:pt x="95" y="201"/>
                    </a:lnTo>
                    <a:lnTo>
                      <a:pt x="95" y="196"/>
                    </a:lnTo>
                    <a:lnTo>
                      <a:pt x="95" y="196"/>
                    </a:lnTo>
                    <a:lnTo>
                      <a:pt x="96" y="198"/>
                    </a:lnTo>
                    <a:lnTo>
                      <a:pt x="94" y="192"/>
                    </a:lnTo>
                    <a:lnTo>
                      <a:pt x="94" y="192"/>
                    </a:lnTo>
                    <a:lnTo>
                      <a:pt x="94" y="190"/>
                    </a:lnTo>
                    <a:lnTo>
                      <a:pt x="94" y="190"/>
                    </a:lnTo>
                    <a:lnTo>
                      <a:pt x="94" y="193"/>
                    </a:lnTo>
                    <a:lnTo>
                      <a:pt x="96" y="194"/>
                    </a:lnTo>
                    <a:lnTo>
                      <a:pt x="92" y="189"/>
                    </a:lnTo>
                    <a:lnTo>
                      <a:pt x="92" y="185"/>
                    </a:lnTo>
                    <a:lnTo>
                      <a:pt x="92" y="185"/>
                    </a:lnTo>
                    <a:lnTo>
                      <a:pt x="91" y="184"/>
                    </a:lnTo>
                    <a:lnTo>
                      <a:pt x="91" y="184"/>
                    </a:lnTo>
                    <a:lnTo>
                      <a:pt x="92" y="185"/>
                    </a:lnTo>
                    <a:lnTo>
                      <a:pt x="90" y="180"/>
                    </a:lnTo>
                    <a:lnTo>
                      <a:pt x="90" y="167"/>
                    </a:lnTo>
                    <a:lnTo>
                      <a:pt x="96" y="161"/>
                    </a:lnTo>
                    <a:lnTo>
                      <a:pt x="96" y="161"/>
                    </a:lnTo>
                    <a:lnTo>
                      <a:pt x="96" y="161"/>
                    </a:lnTo>
                    <a:lnTo>
                      <a:pt x="96" y="160"/>
                    </a:lnTo>
                    <a:lnTo>
                      <a:pt x="96" y="160"/>
                    </a:lnTo>
                    <a:lnTo>
                      <a:pt x="95" y="156"/>
                    </a:lnTo>
                    <a:lnTo>
                      <a:pt x="95" y="156"/>
                    </a:lnTo>
                    <a:lnTo>
                      <a:pt x="94" y="152"/>
                    </a:lnTo>
                    <a:lnTo>
                      <a:pt x="94" y="152"/>
                    </a:lnTo>
                    <a:lnTo>
                      <a:pt x="91" y="148"/>
                    </a:lnTo>
                    <a:lnTo>
                      <a:pt x="87" y="143"/>
                    </a:lnTo>
                    <a:lnTo>
                      <a:pt x="86" y="141"/>
                    </a:lnTo>
                    <a:lnTo>
                      <a:pt x="86" y="141"/>
                    </a:lnTo>
                    <a:lnTo>
                      <a:pt x="83" y="135"/>
                    </a:lnTo>
                    <a:lnTo>
                      <a:pt x="83" y="128"/>
                    </a:lnTo>
                    <a:lnTo>
                      <a:pt x="83" y="128"/>
                    </a:lnTo>
                    <a:lnTo>
                      <a:pt x="84" y="123"/>
                    </a:lnTo>
                    <a:lnTo>
                      <a:pt x="87" y="118"/>
                    </a:lnTo>
                    <a:lnTo>
                      <a:pt x="91" y="116"/>
                    </a:lnTo>
                    <a:lnTo>
                      <a:pt x="94" y="116"/>
                    </a:lnTo>
                    <a:lnTo>
                      <a:pt x="95" y="119"/>
                    </a:lnTo>
                    <a:lnTo>
                      <a:pt x="95" y="119"/>
                    </a:lnTo>
                    <a:lnTo>
                      <a:pt x="95" y="119"/>
                    </a:lnTo>
                    <a:lnTo>
                      <a:pt x="95" y="119"/>
                    </a:lnTo>
                    <a:lnTo>
                      <a:pt x="94" y="120"/>
                    </a:lnTo>
                    <a:lnTo>
                      <a:pt x="94" y="120"/>
                    </a:lnTo>
                    <a:lnTo>
                      <a:pt x="94" y="123"/>
                    </a:lnTo>
                    <a:lnTo>
                      <a:pt x="94" y="126"/>
                    </a:lnTo>
                    <a:lnTo>
                      <a:pt x="96" y="120"/>
                    </a:lnTo>
                    <a:lnTo>
                      <a:pt x="99" y="126"/>
                    </a:lnTo>
                    <a:lnTo>
                      <a:pt x="99" y="126"/>
                    </a:lnTo>
                    <a:lnTo>
                      <a:pt x="100" y="123"/>
                    </a:lnTo>
                    <a:lnTo>
                      <a:pt x="99" y="120"/>
                    </a:lnTo>
                    <a:lnTo>
                      <a:pt x="99" y="123"/>
                    </a:lnTo>
                    <a:lnTo>
                      <a:pt x="99" y="120"/>
                    </a:lnTo>
                    <a:lnTo>
                      <a:pt x="99" y="120"/>
                    </a:lnTo>
                    <a:lnTo>
                      <a:pt x="99" y="120"/>
                    </a:lnTo>
                    <a:lnTo>
                      <a:pt x="99" y="120"/>
                    </a:lnTo>
                    <a:lnTo>
                      <a:pt x="99" y="119"/>
                    </a:lnTo>
                    <a:lnTo>
                      <a:pt x="99" y="118"/>
                    </a:lnTo>
                    <a:lnTo>
                      <a:pt x="99" y="118"/>
                    </a:lnTo>
                    <a:lnTo>
                      <a:pt x="100" y="118"/>
                    </a:lnTo>
                    <a:lnTo>
                      <a:pt x="100" y="116"/>
                    </a:lnTo>
                    <a:lnTo>
                      <a:pt x="100" y="116"/>
                    </a:lnTo>
                    <a:lnTo>
                      <a:pt x="103" y="115"/>
                    </a:lnTo>
                    <a:lnTo>
                      <a:pt x="103" y="115"/>
                    </a:lnTo>
                    <a:lnTo>
                      <a:pt x="106" y="116"/>
                    </a:lnTo>
                    <a:lnTo>
                      <a:pt x="106" y="116"/>
                    </a:lnTo>
                    <a:lnTo>
                      <a:pt x="113" y="119"/>
                    </a:lnTo>
                    <a:lnTo>
                      <a:pt x="113" y="119"/>
                    </a:lnTo>
                    <a:lnTo>
                      <a:pt x="113" y="119"/>
                    </a:lnTo>
                    <a:lnTo>
                      <a:pt x="113" y="119"/>
                    </a:lnTo>
                    <a:lnTo>
                      <a:pt x="113" y="119"/>
                    </a:lnTo>
                    <a:lnTo>
                      <a:pt x="113" y="119"/>
                    </a:lnTo>
                    <a:lnTo>
                      <a:pt x="113" y="119"/>
                    </a:lnTo>
                    <a:lnTo>
                      <a:pt x="113" y="119"/>
                    </a:lnTo>
                    <a:lnTo>
                      <a:pt x="116" y="116"/>
                    </a:lnTo>
                    <a:lnTo>
                      <a:pt x="116" y="116"/>
                    </a:lnTo>
                    <a:lnTo>
                      <a:pt x="115" y="118"/>
                    </a:lnTo>
                    <a:lnTo>
                      <a:pt x="115" y="118"/>
                    </a:lnTo>
                    <a:lnTo>
                      <a:pt x="117" y="116"/>
                    </a:lnTo>
                    <a:lnTo>
                      <a:pt x="120" y="115"/>
                    </a:lnTo>
                    <a:lnTo>
                      <a:pt x="127" y="115"/>
                    </a:lnTo>
                    <a:lnTo>
                      <a:pt x="133" y="122"/>
                    </a:lnTo>
                    <a:lnTo>
                      <a:pt x="133" y="122"/>
                    </a:lnTo>
                    <a:lnTo>
                      <a:pt x="133" y="120"/>
                    </a:lnTo>
                    <a:lnTo>
                      <a:pt x="133" y="120"/>
                    </a:lnTo>
                    <a:lnTo>
                      <a:pt x="135" y="124"/>
                    </a:lnTo>
                    <a:lnTo>
                      <a:pt x="135" y="124"/>
                    </a:lnTo>
                    <a:lnTo>
                      <a:pt x="139" y="124"/>
                    </a:lnTo>
                    <a:lnTo>
                      <a:pt x="139" y="124"/>
                    </a:lnTo>
                    <a:lnTo>
                      <a:pt x="140" y="124"/>
                    </a:lnTo>
                    <a:lnTo>
                      <a:pt x="140" y="124"/>
                    </a:lnTo>
                    <a:lnTo>
                      <a:pt x="144" y="124"/>
                    </a:lnTo>
                    <a:lnTo>
                      <a:pt x="146" y="127"/>
                    </a:lnTo>
                    <a:lnTo>
                      <a:pt x="146" y="127"/>
                    </a:lnTo>
                    <a:lnTo>
                      <a:pt x="148" y="127"/>
                    </a:lnTo>
                    <a:lnTo>
                      <a:pt x="148" y="127"/>
                    </a:lnTo>
                    <a:lnTo>
                      <a:pt x="153" y="130"/>
                    </a:lnTo>
                    <a:lnTo>
                      <a:pt x="153" y="130"/>
                    </a:lnTo>
                    <a:lnTo>
                      <a:pt x="153" y="130"/>
                    </a:lnTo>
                    <a:lnTo>
                      <a:pt x="154" y="126"/>
                    </a:lnTo>
                    <a:lnTo>
                      <a:pt x="154" y="126"/>
                    </a:lnTo>
                    <a:lnTo>
                      <a:pt x="156" y="124"/>
                    </a:lnTo>
                    <a:lnTo>
                      <a:pt x="165" y="122"/>
                    </a:lnTo>
                    <a:lnTo>
                      <a:pt x="165" y="122"/>
                    </a:lnTo>
                    <a:lnTo>
                      <a:pt x="168" y="126"/>
                    </a:lnTo>
                    <a:lnTo>
                      <a:pt x="170" y="130"/>
                    </a:lnTo>
                    <a:lnTo>
                      <a:pt x="170" y="130"/>
                    </a:lnTo>
                    <a:lnTo>
                      <a:pt x="172" y="132"/>
                    </a:lnTo>
                    <a:lnTo>
                      <a:pt x="173" y="133"/>
                    </a:lnTo>
                    <a:lnTo>
                      <a:pt x="173" y="133"/>
                    </a:lnTo>
                    <a:lnTo>
                      <a:pt x="174" y="135"/>
                    </a:lnTo>
                    <a:lnTo>
                      <a:pt x="174" y="139"/>
                    </a:lnTo>
                    <a:lnTo>
                      <a:pt x="174" y="139"/>
                    </a:lnTo>
                    <a:lnTo>
                      <a:pt x="177" y="139"/>
                    </a:lnTo>
                    <a:lnTo>
                      <a:pt x="177" y="139"/>
                    </a:lnTo>
                    <a:lnTo>
                      <a:pt x="180" y="137"/>
                    </a:lnTo>
                    <a:lnTo>
                      <a:pt x="180" y="137"/>
                    </a:lnTo>
                    <a:lnTo>
                      <a:pt x="181" y="136"/>
                    </a:lnTo>
                    <a:lnTo>
                      <a:pt x="181" y="136"/>
                    </a:lnTo>
                    <a:lnTo>
                      <a:pt x="181" y="137"/>
                    </a:lnTo>
                    <a:lnTo>
                      <a:pt x="185" y="133"/>
                    </a:lnTo>
                    <a:lnTo>
                      <a:pt x="185" y="133"/>
                    </a:lnTo>
                    <a:lnTo>
                      <a:pt x="185" y="133"/>
                    </a:lnTo>
                    <a:lnTo>
                      <a:pt x="189" y="130"/>
                    </a:lnTo>
                    <a:lnTo>
                      <a:pt x="189" y="127"/>
                    </a:lnTo>
                    <a:lnTo>
                      <a:pt x="189" y="127"/>
                    </a:lnTo>
                    <a:lnTo>
                      <a:pt x="190" y="119"/>
                    </a:lnTo>
                    <a:lnTo>
                      <a:pt x="189" y="111"/>
                    </a:lnTo>
                    <a:lnTo>
                      <a:pt x="189" y="108"/>
                    </a:lnTo>
                    <a:lnTo>
                      <a:pt x="189" y="104"/>
                    </a:lnTo>
                    <a:lnTo>
                      <a:pt x="190" y="100"/>
                    </a:lnTo>
                    <a:lnTo>
                      <a:pt x="190" y="100"/>
                    </a:lnTo>
                    <a:lnTo>
                      <a:pt x="190" y="100"/>
                    </a:lnTo>
                    <a:lnTo>
                      <a:pt x="190" y="100"/>
                    </a:lnTo>
                    <a:lnTo>
                      <a:pt x="190" y="98"/>
                    </a:lnTo>
                    <a:lnTo>
                      <a:pt x="191" y="95"/>
                    </a:lnTo>
                    <a:lnTo>
                      <a:pt x="193" y="95"/>
                    </a:lnTo>
                    <a:lnTo>
                      <a:pt x="193" y="95"/>
                    </a:lnTo>
                    <a:lnTo>
                      <a:pt x="191" y="91"/>
                    </a:lnTo>
                    <a:lnTo>
                      <a:pt x="191" y="91"/>
                    </a:lnTo>
                    <a:lnTo>
                      <a:pt x="193" y="86"/>
                    </a:lnTo>
                    <a:lnTo>
                      <a:pt x="193" y="82"/>
                    </a:lnTo>
                    <a:lnTo>
                      <a:pt x="195" y="79"/>
                    </a:lnTo>
                    <a:lnTo>
                      <a:pt x="202" y="79"/>
                    </a:lnTo>
                    <a:lnTo>
                      <a:pt x="202" y="79"/>
                    </a:lnTo>
                    <a:lnTo>
                      <a:pt x="207" y="81"/>
                    </a:lnTo>
                    <a:lnTo>
                      <a:pt x="207" y="81"/>
                    </a:lnTo>
                    <a:lnTo>
                      <a:pt x="207" y="81"/>
                    </a:lnTo>
                    <a:lnTo>
                      <a:pt x="213" y="78"/>
                    </a:lnTo>
                    <a:lnTo>
                      <a:pt x="213" y="78"/>
                    </a:lnTo>
                    <a:lnTo>
                      <a:pt x="213" y="77"/>
                    </a:lnTo>
                    <a:lnTo>
                      <a:pt x="213" y="77"/>
                    </a:lnTo>
                    <a:lnTo>
                      <a:pt x="214" y="75"/>
                    </a:lnTo>
                    <a:lnTo>
                      <a:pt x="214" y="75"/>
                    </a:lnTo>
                    <a:lnTo>
                      <a:pt x="214" y="71"/>
                    </a:lnTo>
                    <a:lnTo>
                      <a:pt x="215" y="69"/>
                    </a:lnTo>
                    <a:lnTo>
                      <a:pt x="217" y="66"/>
                    </a:lnTo>
                    <a:lnTo>
                      <a:pt x="221" y="65"/>
                    </a:lnTo>
                    <a:lnTo>
                      <a:pt x="221" y="65"/>
                    </a:lnTo>
                    <a:lnTo>
                      <a:pt x="221" y="65"/>
                    </a:lnTo>
                    <a:lnTo>
                      <a:pt x="226" y="66"/>
                    </a:lnTo>
                    <a:lnTo>
                      <a:pt x="226" y="66"/>
                    </a:lnTo>
                    <a:lnTo>
                      <a:pt x="226" y="66"/>
                    </a:lnTo>
                    <a:lnTo>
                      <a:pt x="226" y="66"/>
                    </a:lnTo>
                    <a:lnTo>
                      <a:pt x="230" y="63"/>
                    </a:lnTo>
                    <a:lnTo>
                      <a:pt x="230" y="63"/>
                    </a:lnTo>
                    <a:lnTo>
                      <a:pt x="230" y="63"/>
                    </a:lnTo>
                    <a:lnTo>
                      <a:pt x="230" y="63"/>
                    </a:lnTo>
                    <a:lnTo>
                      <a:pt x="230" y="65"/>
                    </a:lnTo>
                    <a:lnTo>
                      <a:pt x="230" y="65"/>
                    </a:lnTo>
                    <a:lnTo>
                      <a:pt x="230" y="65"/>
                    </a:lnTo>
                    <a:lnTo>
                      <a:pt x="234" y="62"/>
                    </a:lnTo>
                    <a:lnTo>
                      <a:pt x="234" y="61"/>
                    </a:lnTo>
                    <a:lnTo>
                      <a:pt x="234" y="61"/>
                    </a:lnTo>
                    <a:lnTo>
                      <a:pt x="232" y="62"/>
                    </a:lnTo>
                    <a:lnTo>
                      <a:pt x="232" y="62"/>
                    </a:lnTo>
                    <a:lnTo>
                      <a:pt x="232" y="61"/>
                    </a:lnTo>
                    <a:lnTo>
                      <a:pt x="232" y="61"/>
                    </a:lnTo>
                    <a:lnTo>
                      <a:pt x="235" y="57"/>
                    </a:lnTo>
                    <a:lnTo>
                      <a:pt x="236" y="55"/>
                    </a:lnTo>
                    <a:lnTo>
                      <a:pt x="239" y="54"/>
                    </a:lnTo>
                    <a:lnTo>
                      <a:pt x="240" y="53"/>
                    </a:lnTo>
                    <a:lnTo>
                      <a:pt x="240" y="53"/>
                    </a:lnTo>
                    <a:lnTo>
                      <a:pt x="243" y="53"/>
                    </a:lnTo>
                    <a:lnTo>
                      <a:pt x="243" y="53"/>
                    </a:lnTo>
                    <a:lnTo>
                      <a:pt x="246" y="53"/>
                    </a:lnTo>
                    <a:lnTo>
                      <a:pt x="248" y="54"/>
                    </a:lnTo>
                    <a:lnTo>
                      <a:pt x="251" y="57"/>
                    </a:lnTo>
                    <a:lnTo>
                      <a:pt x="254" y="57"/>
                    </a:lnTo>
                    <a:lnTo>
                      <a:pt x="254" y="57"/>
                    </a:lnTo>
                    <a:lnTo>
                      <a:pt x="255" y="57"/>
                    </a:lnTo>
                    <a:lnTo>
                      <a:pt x="255" y="57"/>
                    </a:lnTo>
                    <a:lnTo>
                      <a:pt x="258" y="57"/>
                    </a:lnTo>
                    <a:lnTo>
                      <a:pt x="258" y="57"/>
                    </a:lnTo>
                    <a:lnTo>
                      <a:pt x="259" y="57"/>
                    </a:lnTo>
                    <a:lnTo>
                      <a:pt x="259" y="57"/>
                    </a:lnTo>
                    <a:lnTo>
                      <a:pt x="258" y="57"/>
                    </a:lnTo>
                    <a:lnTo>
                      <a:pt x="255" y="58"/>
                    </a:lnTo>
                    <a:lnTo>
                      <a:pt x="255" y="58"/>
                    </a:lnTo>
                    <a:lnTo>
                      <a:pt x="254" y="62"/>
                    </a:lnTo>
                    <a:lnTo>
                      <a:pt x="260" y="55"/>
                    </a:lnTo>
                    <a:lnTo>
                      <a:pt x="262" y="55"/>
                    </a:lnTo>
                    <a:lnTo>
                      <a:pt x="262" y="55"/>
                    </a:lnTo>
                    <a:lnTo>
                      <a:pt x="271" y="50"/>
                    </a:lnTo>
                    <a:lnTo>
                      <a:pt x="277" y="45"/>
                    </a:lnTo>
                    <a:lnTo>
                      <a:pt x="283" y="38"/>
                    </a:lnTo>
                    <a:lnTo>
                      <a:pt x="287" y="30"/>
                    </a:lnTo>
                    <a:lnTo>
                      <a:pt x="287" y="30"/>
                    </a:lnTo>
                    <a:lnTo>
                      <a:pt x="288" y="30"/>
                    </a:lnTo>
                    <a:lnTo>
                      <a:pt x="288" y="30"/>
                    </a:lnTo>
                    <a:lnTo>
                      <a:pt x="288" y="29"/>
                    </a:lnTo>
                    <a:lnTo>
                      <a:pt x="288" y="29"/>
                    </a:lnTo>
                    <a:lnTo>
                      <a:pt x="293" y="24"/>
                    </a:lnTo>
                    <a:lnTo>
                      <a:pt x="293" y="24"/>
                    </a:lnTo>
                    <a:lnTo>
                      <a:pt x="291" y="25"/>
                    </a:lnTo>
                    <a:lnTo>
                      <a:pt x="289" y="28"/>
                    </a:lnTo>
                    <a:lnTo>
                      <a:pt x="289" y="26"/>
                    </a:lnTo>
                    <a:lnTo>
                      <a:pt x="289" y="26"/>
                    </a:lnTo>
                    <a:lnTo>
                      <a:pt x="289" y="22"/>
                    </a:lnTo>
                    <a:lnTo>
                      <a:pt x="291" y="21"/>
                    </a:lnTo>
                    <a:lnTo>
                      <a:pt x="293" y="20"/>
                    </a:lnTo>
                    <a:lnTo>
                      <a:pt x="296" y="18"/>
                    </a:lnTo>
                    <a:lnTo>
                      <a:pt x="297" y="18"/>
                    </a:lnTo>
                    <a:lnTo>
                      <a:pt x="299" y="18"/>
                    </a:lnTo>
                    <a:lnTo>
                      <a:pt x="299" y="18"/>
                    </a:lnTo>
                    <a:lnTo>
                      <a:pt x="300" y="18"/>
                    </a:lnTo>
                    <a:lnTo>
                      <a:pt x="300" y="18"/>
                    </a:lnTo>
                    <a:lnTo>
                      <a:pt x="300" y="18"/>
                    </a:lnTo>
                    <a:lnTo>
                      <a:pt x="300" y="18"/>
                    </a:lnTo>
                    <a:lnTo>
                      <a:pt x="301" y="17"/>
                    </a:lnTo>
                    <a:lnTo>
                      <a:pt x="301" y="17"/>
                    </a:lnTo>
                    <a:lnTo>
                      <a:pt x="303" y="14"/>
                    </a:lnTo>
                    <a:lnTo>
                      <a:pt x="303" y="14"/>
                    </a:lnTo>
                    <a:lnTo>
                      <a:pt x="304" y="12"/>
                    </a:lnTo>
                    <a:lnTo>
                      <a:pt x="304" y="12"/>
                    </a:lnTo>
                    <a:lnTo>
                      <a:pt x="306" y="7"/>
                    </a:lnTo>
                    <a:lnTo>
                      <a:pt x="309" y="3"/>
                    </a:lnTo>
                    <a:lnTo>
                      <a:pt x="310" y="3"/>
                    </a:lnTo>
                    <a:lnTo>
                      <a:pt x="310" y="3"/>
                    </a:lnTo>
                    <a:lnTo>
                      <a:pt x="310" y="3"/>
                    </a:lnTo>
                    <a:lnTo>
                      <a:pt x="310" y="3"/>
                    </a:lnTo>
                    <a:lnTo>
                      <a:pt x="309" y="5"/>
                    </a:lnTo>
                    <a:lnTo>
                      <a:pt x="309" y="7"/>
                    </a:lnTo>
                    <a:lnTo>
                      <a:pt x="314" y="0"/>
                    </a:lnTo>
                    <a:lnTo>
                      <a:pt x="317" y="0"/>
                    </a:lnTo>
                    <a:lnTo>
                      <a:pt x="324" y="5"/>
                    </a:lnTo>
                    <a:lnTo>
                      <a:pt x="324" y="5"/>
                    </a:lnTo>
                    <a:lnTo>
                      <a:pt x="322" y="9"/>
                    </a:lnTo>
                    <a:lnTo>
                      <a:pt x="321" y="12"/>
                    </a:lnTo>
                    <a:lnTo>
                      <a:pt x="321" y="12"/>
                    </a:lnTo>
                    <a:lnTo>
                      <a:pt x="321" y="12"/>
                    </a:lnTo>
                    <a:lnTo>
                      <a:pt x="322" y="9"/>
                    </a:lnTo>
                    <a:lnTo>
                      <a:pt x="321" y="12"/>
                    </a:lnTo>
                    <a:lnTo>
                      <a:pt x="322" y="11"/>
                    </a:lnTo>
                    <a:lnTo>
                      <a:pt x="333" y="11"/>
                    </a:lnTo>
                    <a:lnTo>
                      <a:pt x="338" y="17"/>
                    </a:lnTo>
                    <a:lnTo>
                      <a:pt x="338" y="17"/>
                    </a:lnTo>
                    <a:lnTo>
                      <a:pt x="338" y="18"/>
                    </a:lnTo>
                    <a:lnTo>
                      <a:pt x="338" y="18"/>
                    </a:lnTo>
                    <a:lnTo>
                      <a:pt x="338" y="20"/>
                    </a:lnTo>
                    <a:lnTo>
                      <a:pt x="338" y="20"/>
                    </a:lnTo>
                    <a:lnTo>
                      <a:pt x="337" y="17"/>
                    </a:lnTo>
                    <a:lnTo>
                      <a:pt x="334" y="16"/>
                    </a:lnTo>
                    <a:lnTo>
                      <a:pt x="340" y="21"/>
                    </a:lnTo>
                    <a:lnTo>
                      <a:pt x="340" y="21"/>
                    </a:lnTo>
                    <a:lnTo>
                      <a:pt x="340" y="21"/>
                    </a:lnTo>
                    <a:lnTo>
                      <a:pt x="340" y="22"/>
                    </a:lnTo>
                    <a:lnTo>
                      <a:pt x="340" y="22"/>
                    </a:lnTo>
                    <a:lnTo>
                      <a:pt x="340" y="22"/>
                    </a:lnTo>
                    <a:lnTo>
                      <a:pt x="340" y="22"/>
                    </a:lnTo>
                    <a:lnTo>
                      <a:pt x="340" y="26"/>
                    </a:lnTo>
                    <a:lnTo>
                      <a:pt x="340" y="26"/>
                    </a:lnTo>
                    <a:lnTo>
                      <a:pt x="340" y="28"/>
                    </a:lnTo>
                    <a:lnTo>
                      <a:pt x="340" y="28"/>
                    </a:lnTo>
                    <a:lnTo>
                      <a:pt x="338" y="25"/>
                    </a:lnTo>
                    <a:lnTo>
                      <a:pt x="338" y="25"/>
                    </a:lnTo>
                    <a:lnTo>
                      <a:pt x="336" y="24"/>
                    </a:lnTo>
                    <a:lnTo>
                      <a:pt x="341" y="30"/>
                    </a:lnTo>
                    <a:lnTo>
                      <a:pt x="341" y="32"/>
                    </a:lnTo>
                    <a:lnTo>
                      <a:pt x="334" y="37"/>
                    </a:lnTo>
                    <a:lnTo>
                      <a:pt x="334" y="37"/>
                    </a:lnTo>
                    <a:lnTo>
                      <a:pt x="333" y="37"/>
                    </a:lnTo>
                    <a:lnTo>
                      <a:pt x="333" y="37"/>
                    </a:lnTo>
                    <a:lnTo>
                      <a:pt x="330" y="38"/>
                    </a:lnTo>
                    <a:lnTo>
                      <a:pt x="328" y="41"/>
                    </a:lnTo>
                    <a:lnTo>
                      <a:pt x="328" y="41"/>
                    </a:lnTo>
                    <a:lnTo>
                      <a:pt x="324" y="46"/>
                    </a:lnTo>
                    <a:lnTo>
                      <a:pt x="324" y="46"/>
                    </a:lnTo>
                    <a:lnTo>
                      <a:pt x="322" y="48"/>
                    </a:lnTo>
                    <a:lnTo>
                      <a:pt x="322" y="48"/>
                    </a:lnTo>
                    <a:lnTo>
                      <a:pt x="321" y="49"/>
                    </a:lnTo>
                    <a:lnTo>
                      <a:pt x="322" y="52"/>
                    </a:lnTo>
                    <a:lnTo>
                      <a:pt x="322" y="53"/>
                    </a:lnTo>
                    <a:lnTo>
                      <a:pt x="322" y="53"/>
                    </a:lnTo>
                    <a:lnTo>
                      <a:pt x="321" y="59"/>
                    </a:lnTo>
                    <a:lnTo>
                      <a:pt x="317" y="65"/>
                    </a:lnTo>
                    <a:lnTo>
                      <a:pt x="313" y="67"/>
                    </a:lnTo>
                    <a:lnTo>
                      <a:pt x="309" y="69"/>
                    </a:lnTo>
                    <a:lnTo>
                      <a:pt x="303" y="65"/>
                    </a:lnTo>
                    <a:lnTo>
                      <a:pt x="303" y="65"/>
                    </a:lnTo>
                    <a:lnTo>
                      <a:pt x="304" y="66"/>
                    </a:lnTo>
                    <a:lnTo>
                      <a:pt x="304" y="66"/>
                    </a:lnTo>
                    <a:lnTo>
                      <a:pt x="303" y="66"/>
                    </a:lnTo>
                    <a:lnTo>
                      <a:pt x="303" y="66"/>
                    </a:lnTo>
                    <a:lnTo>
                      <a:pt x="303" y="65"/>
                    </a:lnTo>
                    <a:lnTo>
                      <a:pt x="303" y="66"/>
                    </a:lnTo>
                    <a:lnTo>
                      <a:pt x="303" y="66"/>
                    </a:lnTo>
                    <a:lnTo>
                      <a:pt x="303" y="66"/>
                    </a:lnTo>
                    <a:lnTo>
                      <a:pt x="303" y="66"/>
                    </a:lnTo>
                    <a:lnTo>
                      <a:pt x="303" y="66"/>
                    </a:lnTo>
                    <a:lnTo>
                      <a:pt x="303" y="66"/>
                    </a:lnTo>
                    <a:lnTo>
                      <a:pt x="303" y="66"/>
                    </a:lnTo>
                    <a:lnTo>
                      <a:pt x="304" y="67"/>
                    </a:lnTo>
                    <a:lnTo>
                      <a:pt x="304" y="73"/>
                    </a:lnTo>
                    <a:lnTo>
                      <a:pt x="304" y="73"/>
                    </a:lnTo>
                    <a:lnTo>
                      <a:pt x="304" y="75"/>
                    </a:lnTo>
                    <a:lnTo>
                      <a:pt x="304" y="75"/>
                    </a:lnTo>
                    <a:lnTo>
                      <a:pt x="304" y="75"/>
                    </a:lnTo>
                    <a:lnTo>
                      <a:pt x="304" y="75"/>
                    </a:lnTo>
                    <a:lnTo>
                      <a:pt x="304" y="74"/>
                    </a:lnTo>
                    <a:lnTo>
                      <a:pt x="300" y="73"/>
                    </a:lnTo>
                    <a:lnTo>
                      <a:pt x="305" y="78"/>
                    </a:lnTo>
                    <a:lnTo>
                      <a:pt x="305" y="79"/>
                    </a:lnTo>
                    <a:lnTo>
                      <a:pt x="305" y="79"/>
                    </a:lnTo>
                    <a:lnTo>
                      <a:pt x="305" y="81"/>
                    </a:lnTo>
                    <a:lnTo>
                      <a:pt x="305" y="81"/>
                    </a:lnTo>
                    <a:lnTo>
                      <a:pt x="305" y="82"/>
                    </a:lnTo>
                    <a:lnTo>
                      <a:pt x="305" y="82"/>
                    </a:lnTo>
                    <a:lnTo>
                      <a:pt x="304" y="81"/>
                    </a:lnTo>
                    <a:lnTo>
                      <a:pt x="301" y="78"/>
                    </a:lnTo>
                    <a:lnTo>
                      <a:pt x="306" y="85"/>
                    </a:lnTo>
                    <a:lnTo>
                      <a:pt x="306" y="89"/>
                    </a:lnTo>
                    <a:lnTo>
                      <a:pt x="306" y="89"/>
                    </a:lnTo>
                    <a:lnTo>
                      <a:pt x="306" y="90"/>
                    </a:lnTo>
                    <a:lnTo>
                      <a:pt x="306" y="90"/>
                    </a:lnTo>
                    <a:lnTo>
                      <a:pt x="306" y="90"/>
                    </a:lnTo>
                    <a:lnTo>
                      <a:pt x="309" y="92"/>
                    </a:lnTo>
                    <a:lnTo>
                      <a:pt x="309" y="96"/>
                    </a:lnTo>
                    <a:lnTo>
                      <a:pt x="309" y="96"/>
                    </a:lnTo>
                    <a:lnTo>
                      <a:pt x="312" y="100"/>
                    </a:lnTo>
                    <a:lnTo>
                      <a:pt x="313" y="104"/>
                    </a:lnTo>
                    <a:lnTo>
                      <a:pt x="313" y="106"/>
                    </a:lnTo>
                    <a:lnTo>
                      <a:pt x="312" y="107"/>
                    </a:lnTo>
                    <a:lnTo>
                      <a:pt x="312" y="107"/>
                    </a:lnTo>
                    <a:lnTo>
                      <a:pt x="313" y="112"/>
                    </a:lnTo>
                    <a:lnTo>
                      <a:pt x="314" y="116"/>
                    </a:lnTo>
                    <a:lnTo>
                      <a:pt x="314" y="116"/>
                    </a:lnTo>
                    <a:lnTo>
                      <a:pt x="318" y="122"/>
                    </a:lnTo>
                    <a:lnTo>
                      <a:pt x="318" y="124"/>
                    </a:lnTo>
                    <a:lnTo>
                      <a:pt x="318" y="127"/>
                    </a:lnTo>
                    <a:lnTo>
                      <a:pt x="318" y="127"/>
                    </a:lnTo>
                    <a:lnTo>
                      <a:pt x="318" y="128"/>
                    </a:lnTo>
                    <a:lnTo>
                      <a:pt x="322" y="131"/>
                    </a:lnTo>
                    <a:lnTo>
                      <a:pt x="322" y="131"/>
                    </a:lnTo>
                    <a:lnTo>
                      <a:pt x="326" y="133"/>
                    </a:lnTo>
                    <a:lnTo>
                      <a:pt x="330" y="136"/>
                    </a:lnTo>
                    <a:lnTo>
                      <a:pt x="332" y="140"/>
                    </a:lnTo>
                    <a:lnTo>
                      <a:pt x="332" y="157"/>
                    </a:lnTo>
                    <a:lnTo>
                      <a:pt x="332" y="157"/>
                    </a:lnTo>
                    <a:lnTo>
                      <a:pt x="334" y="163"/>
                    </a:lnTo>
                    <a:lnTo>
                      <a:pt x="340" y="167"/>
                    </a:lnTo>
                    <a:lnTo>
                      <a:pt x="340" y="167"/>
                    </a:lnTo>
                    <a:lnTo>
                      <a:pt x="343" y="169"/>
                    </a:lnTo>
                    <a:lnTo>
                      <a:pt x="343" y="169"/>
                    </a:lnTo>
                    <a:lnTo>
                      <a:pt x="343" y="168"/>
                    </a:lnTo>
                    <a:lnTo>
                      <a:pt x="343" y="168"/>
                    </a:lnTo>
                    <a:lnTo>
                      <a:pt x="345" y="169"/>
                    </a:lnTo>
                    <a:lnTo>
                      <a:pt x="346" y="169"/>
                    </a:lnTo>
                    <a:lnTo>
                      <a:pt x="353" y="174"/>
                    </a:lnTo>
                    <a:lnTo>
                      <a:pt x="353" y="174"/>
                    </a:lnTo>
                    <a:lnTo>
                      <a:pt x="351" y="172"/>
                    </a:lnTo>
                    <a:lnTo>
                      <a:pt x="351" y="172"/>
                    </a:lnTo>
                    <a:lnTo>
                      <a:pt x="350" y="170"/>
                    </a:lnTo>
                    <a:lnTo>
                      <a:pt x="349" y="170"/>
                    </a:lnTo>
                    <a:lnTo>
                      <a:pt x="349" y="170"/>
                    </a:lnTo>
                    <a:lnTo>
                      <a:pt x="349" y="170"/>
                    </a:lnTo>
                    <a:lnTo>
                      <a:pt x="349" y="170"/>
                    </a:lnTo>
                    <a:lnTo>
                      <a:pt x="351" y="169"/>
                    </a:lnTo>
                    <a:lnTo>
                      <a:pt x="351" y="169"/>
                    </a:lnTo>
                    <a:lnTo>
                      <a:pt x="355" y="170"/>
                    </a:lnTo>
                    <a:lnTo>
                      <a:pt x="358" y="173"/>
                    </a:lnTo>
                    <a:lnTo>
                      <a:pt x="358" y="173"/>
                    </a:lnTo>
                    <a:lnTo>
                      <a:pt x="365" y="181"/>
                    </a:lnTo>
                    <a:lnTo>
                      <a:pt x="371" y="189"/>
                    </a:lnTo>
                    <a:lnTo>
                      <a:pt x="373" y="193"/>
                    </a:lnTo>
                    <a:lnTo>
                      <a:pt x="373" y="194"/>
                    </a:lnTo>
                    <a:lnTo>
                      <a:pt x="373" y="196"/>
                    </a:lnTo>
                    <a:lnTo>
                      <a:pt x="373" y="196"/>
                    </a:lnTo>
                    <a:lnTo>
                      <a:pt x="373" y="198"/>
                    </a:lnTo>
                    <a:lnTo>
                      <a:pt x="373" y="198"/>
                    </a:lnTo>
                    <a:lnTo>
                      <a:pt x="374" y="198"/>
                    </a:lnTo>
                    <a:lnTo>
                      <a:pt x="374" y="198"/>
                    </a:lnTo>
                    <a:lnTo>
                      <a:pt x="375" y="198"/>
                    </a:lnTo>
                    <a:lnTo>
                      <a:pt x="375" y="198"/>
                    </a:lnTo>
                    <a:lnTo>
                      <a:pt x="377" y="198"/>
                    </a:lnTo>
                    <a:lnTo>
                      <a:pt x="379" y="201"/>
                    </a:lnTo>
                    <a:lnTo>
                      <a:pt x="381" y="200"/>
                    </a:lnTo>
                    <a:lnTo>
                      <a:pt x="381" y="200"/>
                    </a:lnTo>
                    <a:lnTo>
                      <a:pt x="384" y="202"/>
                    </a:lnTo>
                    <a:lnTo>
                      <a:pt x="384" y="202"/>
                    </a:lnTo>
                    <a:lnTo>
                      <a:pt x="387" y="205"/>
                    </a:lnTo>
                    <a:lnTo>
                      <a:pt x="391" y="210"/>
                    </a:lnTo>
                    <a:lnTo>
                      <a:pt x="391" y="215"/>
                    </a:lnTo>
                    <a:lnTo>
                      <a:pt x="388" y="219"/>
                    </a:lnTo>
                    <a:lnTo>
                      <a:pt x="388" y="219"/>
                    </a:lnTo>
                    <a:lnTo>
                      <a:pt x="384" y="222"/>
                    </a:lnTo>
                    <a:lnTo>
                      <a:pt x="384" y="222"/>
                    </a:lnTo>
                    <a:lnTo>
                      <a:pt x="383" y="223"/>
                    </a:lnTo>
                    <a:lnTo>
                      <a:pt x="383" y="223"/>
                    </a:lnTo>
                    <a:lnTo>
                      <a:pt x="384" y="222"/>
                    </a:lnTo>
                    <a:lnTo>
                      <a:pt x="379" y="225"/>
                    </a:lnTo>
                    <a:lnTo>
                      <a:pt x="381" y="226"/>
                    </a:lnTo>
                    <a:lnTo>
                      <a:pt x="381" y="226"/>
                    </a:lnTo>
                    <a:lnTo>
                      <a:pt x="381" y="225"/>
                    </a:lnTo>
                    <a:lnTo>
                      <a:pt x="381" y="225"/>
                    </a:lnTo>
                    <a:lnTo>
                      <a:pt x="381" y="226"/>
                    </a:lnTo>
                    <a:lnTo>
                      <a:pt x="381" y="229"/>
                    </a:lnTo>
                    <a:lnTo>
                      <a:pt x="375" y="235"/>
                    </a:lnTo>
                    <a:lnTo>
                      <a:pt x="375" y="235"/>
                    </a:lnTo>
                    <a:lnTo>
                      <a:pt x="378" y="234"/>
                    </a:lnTo>
                    <a:lnTo>
                      <a:pt x="379" y="231"/>
                    </a:lnTo>
                    <a:lnTo>
                      <a:pt x="379" y="231"/>
                    </a:lnTo>
                    <a:lnTo>
                      <a:pt x="379" y="234"/>
                    </a:lnTo>
                    <a:lnTo>
                      <a:pt x="375" y="238"/>
                    </a:lnTo>
                    <a:lnTo>
                      <a:pt x="375" y="238"/>
                    </a:lnTo>
                    <a:lnTo>
                      <a:pt x="371" y="238"/>
                    </a:lnTo>
                    <a:lnTo>
                      <a:pt x="371" y="238"/>
                    </a:lnTo>
                    <a:lnTo>
                      <a:pt x="369" y="238"/>
                    </a:lnTo>
                    <a:lnTo>
                      <a:pt x="369" y="238"/>
                    </a:lnTo>
                    <a:lnTo>
                      <a:pt x="367" y="238"/>
                    </a:lnTo>
                    <a:lnTo>
                      <a:pt x="367" y="238"/>
                    </a:lnTo>
                    <a:lnTo>
                      <a:pt x="362" y="242"/>
                    </a:lnTo>
                    <a:lnTo>
                      <a:pt x="357" y="246"/>
                    </a:lnTo>
                    <a:lnTo>
                      <a:pt x="357" y="246"/>
                    </a:lnTo>
                    <a:lnTo>
                      <a:pt x="358" y="247"/>
                    </a:lnTo>
                    <a:lnTo>
                      <a:pt x="361" y="252"/>
                    </a:lnTo>
                    <a:lnTo>
                      <a:pt x="361" y="252"/>
                    </a:lnTo>
                    <a:lnTo>
                      <a:pt x="361" y="252"/>
                    </a:lnTo>
                    <a:lnTo>
                      <a:pt x="361" y="252"/>
                    </a:lnTo>
                    <a:lnTo>
                      <a:pt x="361" y="252"/>
                    </a:lnTo>
                    <a:lnTo>
                      <a:pt x="363" y="256"/>
                    </a:lnTo>
                    <a:lnTo>
                      <a:pt x="363" y="259"/>
                    </a:lnTo>
                    <a:lnTo>
                      <a:pt x="363" y="263"/>
                    </a:lnTo>
                    <a:lnTo>
                      <a:pt x="363" y="263"/>
                    </a:lnTo>
                    <a:lnTo>
                      <a:pt x="362" y="267"/>
                    </a:lnTo>
                    <a:lnTo>
                      <a:pt x="362" y="267"/>
                    </a:lnTo>
                    <a:lnTo>
                      <a:pt x="359" y="270"/>
                    </a:lnTo>
                    <a:lnTo>
                      <a:pt x="358" y="270"/>
                    </a:lnTo>
                    <a:lnTo>
                      <a:pt x="353" y="271"/>
                    </a:lnTo>
                    <a:lnTo>
                      <a:pt x="353" y="271"/>
                    </a:lnTo>
                    <a:lnTo>
                      <a:pt x="350" y="271"/>
                    </a:lnTo>
                    <a:lnTo>
                      <a:pt x="346" y="271"/>
                    </a:lnTo>
                    <a:lnTo>
                      <a:pt x="346" y="271"/>
                    </a:lnTo>
                    <a:lnTo>
                      <a:pt x="343" y="271"/>
                    </a:lnTo>
                    <a:lnTo>
                      <a:pt x="343" y="271"/>
                    </a:lnTo>
                    <a:lnTo>
                      <a:pt x="345" y="271"/>
                    </a:lnTo>
                    <a:lnTo>
                      <a:pt x="342" y="272"/>
                    </a:lnTo>
                    <a:lnTo>
                      <a:pt x="342" y="272"/>
                    </a:lnTo>
                    <a:lnTo>
                      <a:pt x="346" y="275"/>
                    </a:lnTo>
                    <a:lnTo>
                      <a:pt x="346" y="275"/>
                    </a:lnTo>
                    <a:lnTo>
                      <a:pt x="346" y="275"/>
                    </a:lnTo>
                    <a:lnTo>
                      <a:pt x="349" y="279"/>
                    </a:lnTo>
                    <a:lnTo>
                      <a:pt x="350" y="283"/>
                    </a:lnTo>
                    <a:lnTo>
                      <a:pt x="350" y="284"/>
                    </a:lnTo>
                    <a:lnTo>
                      <a:pt x="343" y="289"/>
                    </a:lnTo>
                    <a:lnTo>
                      <a:pt x="347" y="287"/>
                    </a:lnTo>
                    <a:lnTo>
                      <a:pt x="347" y="287"/>
                    </a:lnTo>
                    <a:lnTo>
                      <a:pt x="347" y="287"/>
                    </a:lnTo>
                    <a:lnTo>
                      <a:pt x="347" y="287"/>
                    </a:lnTo>
                    <a:lnTo>
                      <a:pt x="349" y="286"/>
                    </a:lnTo>
                    <a:lnTo>
                      <a:pt x="349" y="286"/>
                    </a:lnTo>
                    <a:lnTo>
                      <a:pt x="349" y="287"/>
                    </a:lnTo>
                    <a:lnTo>
                      <a:pt x="349" y="287"/>
                    </a:lnTo>
                    <a:lnTo>
                      <a:pt x="349" y="288"/>
                    </a:lnTo>
                    <a:lnTo>
                      <a:pt x="349" y="288"/>
                    </a:lnTo>
                    <a:lnTo>
                      <a:pt x="350" y="291"/>
                    </a:lnTo>
                    <a:lnTo>
                      <a:pt x="350" y="293"/>
                    </a:lnTo>
                    <a:lnTo>
                      <a:pt x="347" y="299"/>
                    </a:lnTo>
                    <a:lnTo>
                      <a:pt x="347" y="299"/>
                    </a:lnTo>
                    <a:lnTo>
                      <a:pt x="347" y="299"/>
                    </a:lnTo>
                    <a:lnTo>
                      <a:pt x="347" y="299"/>
                    </a:lnTo>
                    <a:lnTo>
                      <a:pt x="347" y="300"/>
                    </a:lnTo>
                    <a:lnTo>
                      <a:pt x="347" y="300"/>
                    </a:lnTo>
                    <a:lnTo>
                      <a:pt x="349" y="304"/>
                    </a:lnTo>
                    <a:lnTo>
                      <a:pt x="345" y="309"/>
                    </a:lnTo>
                    <a:lnTo>
                      <a:pt x="345" y="309"/>
                    </a:lnTo>
                    <a:lnTo>
                      <a:pt x="343" y="311"/>
                    </a:lnTo>
                    <a:lnTo>
                      <a:pt x="343" y="311"/>
                    </a:lnTo>
                    <a:lnTo>
                      <a:pt x="345" y="312"/>
                    </a:lnTo>
                    <a:lnTo>
                      <a:pt x="345" y="312"/>
                    </a:lnTo>
                    <a:lnTo>
                      <a:pt x="346" y="316"/>
                    </a:lnTo>
                    <a:lnTo>
                      <a:pt x="346" y="319"/>
                    </a:lnTo>
                    <a:lnTo>
                      <a:pt x="346" y="319"/>
                    </a:lnTo>
                    <a:lnTo>
                      <a:pt x="345" y="324"/>
                    </a:lnTo>
                    <a:lnTo>
                      <a:pt x="343" y="329"/>
                    </a:lnTo>
                    <a:lnTo>
                      <a:pt x="343" y="329"/>
                    </a:lnTo>
                    <a:lnTo>
                      <a:pt x="347" y="328"/>
                    </a:lnTo>
                    <a:lnTo>
                      <a:pt x="347" y="328"/>
                    </a:lnTo>
                    <a:lnTo>
                      <a:pt x="346" y="328"/>
                    </a:lnTo>
                    <a:lnTo>
                      <a:pt x="350" y="328"/>
                    </a:lnTo>
                    <a:lnTo>
                      <a:pt x="350" y="328"/>
                    </a:lnTo>
                    <a:lnTo>
                      <a:pt x="353" y="328"/>
                    </a:lnTo>
                    <a:lnTo>
                      <a:pt x="353" y="328"/>
                    </a:lnTo>
                    <a:lnTo>
                      <a:pt x="354" y="328"/>
                    </a:lnTo>
                    <a:lnTo>
                      <a:pt x="354" y="328"/>
                    </a:lnTo>
                    <a:lnTo>
                      <a:pt x="353" y="328"/>
                    </a:lnTo>
                    <a:lnTo>
                      <a:pt x="350" y="332"/>
                    </a:lnTo>
                    <a:lnTo>
                      <a:pt x="357" y="327"/>
                    </a:lnTo>
                    <a:lnTo>
                      <a:pt x="358" y="327"/>
                    </a:lnTo>
                    <a:lnTo>
                      <a:pt x="358" y="327"/>
                    </a:lnTo>
                    <a:lnTo>
                      <a:pt x="361" y="325"/>
                    </a:lnTo>
                    <a:lnTo>
                      <a:pt x="361" y="325"/>
                    </a:lnTo>
                    <a:lnTo>
                      <a:pt x="363" y="327"/>
                    </a:lnTo>
                    <a:lnTo>
                      <a:pt x="363" y="327"/>
                    </a:lnTo>
                    <a:lnTo>
                      <a:pt x="363" y="327"/>
                    </a:lnTo>
                    <a:lnTo>
                      <a:pt x="363" y="327"/>
                    </a:lnTo>
                    <a:lnTo>
                      <a:pt x="362" y="327"/>
                    </a:lnTo>
                    <a:lnTo>
                      <a:pt x="361" y="328"/>
                    </a:lnTo>
                    <a:lnTo>
                      <a:pt x="361" y="328"/>
                    </a:lnTo>
                    <a:lnTo>
                      <a:pt x="359" y="330"/>
                    </a:lnTo>
                    <a:lnTo>
                      <a:pt x="366" y="325"/>
                    </a:lnTo>
                    <a:lnTo>
                      <a:pt x="369" y="325"/>
                    </a:lnTo>
                    <a:lnTo>
                      <a:pt x="370" y="325"/>
                    </a:lnTo>
                    <a:lnTo>
                      <a:pt x="370" y="325"/>
                    </a:lnTo>
                    <a:lnTo>
                      <a:pt x="373" y="327"/>
                    </a:lnTo>
                    <a:lnTo>
                      <a:pt x="374" y="329"/>
                    </a:lnTo>
                    <a:lnTo>
                      <a:pt x="374" y="329"/>
                    </a:lnTo>
                    <a:lnTo>
                      <a:pt x="375" y="332"/>
                    </a:lnTo>
                    <a:lnTo>
                      <a:pt x="374" y="334"/>
                    </a:lnTo>
                    <a:lnTo>
                      <a:pt x="374" y="337"/>
                    </a:lnTo>
                    <a:lnTo>
                      <a:pt x="371" y="340"/>
                    </a:lnTo>
                    <a:lnTo>
                      <a:pt x="382" y="340"/>
                    </a:lnTo>
                    <a:lnTo>
                      <a:pt x="388" y="346"/>
                    </a:lnTo>
                    <a:lnTo>
                      <a:pt x="388" y="346"/>
                    </a:lnTo>
                    <a:lnTo>
                      <a:pt x="387" y="349"/>
                    </a:lnTo>
                    <a:lnTo>
                      <a:pt x="386" y="350"/>
                    </a:lnTo>
                    <a:lnTo>
                      <a:pt x="382" y="354"/>
                    </a:lnTo>
                    <a:lnTo>
                      <a:pt x="381" y="354"/>
                    </a:lnTo>
                    <a:lnTo>
                      <a:pt x="381" y="354"/>
                    </a:lnTo>
                    <a:lnTo>
                      <a:pt x="382" y="353"/>
                    </a:lnTo>
                    <a:lnTo>
                      <a:pt x="383" y="352"/>
                    </a:lnTo>
                    <a:lnTo>
                      <a:pt x="381" y="356"/>
                    </a:lnTo>
                    <a:lnTo>
                      <a:pt x="381" y="356"/>
                    </a:lnTo>
                    <a:lnTo>
                      <a:pt x="378" y="358"/>
                    </a:lnTo>
                    <a:lnTo>
                      <a:pt x="375" y="360"/>
                    </a:lnTo>
                    <a:lnTo>
                      <a:pt x="375" y="360"/>
                    </a:lnTo>
                    <a:lnTo>
                      <a:pt x="375" y="360"/>
                    </a:lnTo>
                    <a:lnTo>
                      <a:pt x="375" y="360"/>
                    </a:lnTo>
                    <a:lnTo>
                      <a:pt x="375" y="360"/>
                    </a:lnTo>
                    <a:lnTo>
                      <a:pt x="375" y="360"/>
                    </a:lnTo>
                    <a:lnTo>
                      <a:pt x="375" y="361"/>
                    </a:lnTo>
                    <a:lnTo>
                      <a:pt x="378" y="358"/>
                    </a:lnTo>
                    <a:lnTo>
                      <a:pt x="384" y="354"/>
                    </a:lnTo>
                    <a:lnTo>
                      <a:pt x="384" y="354"/>
                    </a:lnTo>
                    <a:lnTo>
                      <a:pt x="384" y="354"/>
                    </a:lnTo>
                    <a:lnTo>
                      <a:pt x="384" y="354"/>
                    </a:lnTo>
                    <a:lnTo>
                      <a:pt x="386" y="354"/>
                    </a:lnTo>
                    <a:lnTo>
                      <a:pt x="386" y="354"/>
                    </a:lnTo>
                    <a:lnTo>
                      <a:pt x="388" y="353"/>
                    </a:lnTo>
                    <a:lnTo>
                      <a:pt x="392" y="353"/>
                    </a:lnTo>
                    <a:lnTo>
                      <a:pt x="392" y="353"/>
                    </a:lnTo>
                    <a:lnTo>
                      <a:pt x="394" y="353"/>
                    </a:lnTo>
                    <a:lnTo>
                      <a:pt x="396" y="353"/>
                    </a:lnTo>
                    <a:lnTo>
                      <a:pt x="396" y="353"/>
                    </a:lnTo>
                    <a:lnTo>
                      <a:pt x="395" y="353"/>
                    </a:lnTo>
                    <a:lnTo>
                      <a:pt x="394" y="356"/>
                    </a:lnTo>
                    <a:lnTo>
                      <a:pt x="399" y="352"/>
                    </a:lnTo>
                    <a:lnTo>
                      <a:pt x="403" y="352"/>
                    </a:lnTo>
                    <a:lnTo>
                      <a:pt x="410" y="356"/>
                    </a:lnTo>
                    <a:lnTo>
                      <a:pt x="410" y="356"/>
                    </a:lnTo>
                    <a:lnTo>
                      <a:pt x="410" y="358"/>
                    </a:lnTo>
                    <a:lnTo>
                      <a:pt x="410" y="361"/>
                    </a:lnTo>
                    <a:lnTo>
                      <a:pt x="408" y="364"/>
                    </a:lnTo>
                    <a:lnTo>
                      <a:pt x="406" y="366"/>
                    </a:lnTo>
                    <a:lnTo>
                      <a:pt x="406" y="366"/>
                    </a:lnTo>
                    <a:lnTo>
                      <a:pt x="406" y="366"/>
                    </a:lnTo>
                    <a:lnTo>
                      <a:pt x="408" y="366"/>
                    </a:lnTo>
                    <a:lnTo>
                      <a:pt x="408" y="366"/>
                    </a:lnTo>
                    <a:lnTo>
                      <a:pt x="410" y="366"/>
                    </a:lnTo>
                    <a:lnTo>
                      <a:pt x="410" y="366"/>
                    </a:lnTo>
                    <a:lnTo>
                      <a:pt x="408" y="367"/>
                    </a:lnTo>
                    <a:lnTo>
                      <a:pt x="407" y="370"/>
                    </a:lnTo>
                    <a:lnTo>
                      <a:pt x="407" y="370"/>
                    </a:lnTo>
                    <a:lnTo>
                      <a:pt x="407" y="370"/>
                    </a:lnTo>
                    <a:lnTo>
                      <a:pt x="414" y="365"/>
                    </a:lnTo>
                    <a:lnTo>
                      <a:pt x="414" y="365"/>
                    </a:lnTo>
                    <a:lnTo>
                      <a:pt x="414" y="365"/>
                    </a:lnTo>
                    <a:lnTo>
                      <a:pt x="415" y="364"/>
                    </a:lnTo>
                    <a:lnTo>
                      <a:pt x="416" y="364"/>
                    </a:lnTo>
                    <a:lnTo>
                      <a:pt x="422" y="367"/>
                    </a:lnTo>
                    <a:lnTo>
                      <a:pt x="422" y="367"/>
                    </a:lnTo>
                    <a:lnTo>
                      <a:pt x="420" y="366"/>
                    </a:lnTo>
                    <a:lnTo>
                      <a:pt x="420" y="366"/>
                    </a:lnTo>
                    <a:lnTo>
                      <a:pt x="422" y="366"/>
                    </a:lnTo>
                    <a:lnTo>
                      <a:pt x="427" y="373"/>
                    </a:lnTo>
                    <a:lnTo>
                      <a:pt x="427" y="374"/>
                    </a:lnTo>
                    <a:lnTo>
                      <a:pt x="422" y="379"/>
                    </a:lnTo>
                    <a:lnTo>
                      <a:pt x="422" y="379"/>
                    </a:lnTo>
                    <a:lnTo>
                      <a:pt x="422" y="379"/>
                    </a:lnTo>
                    <a:lnTo>
                      <a:pt x="424" y="379"/>
                    </a:lnTo>
                    <a:lnTo>
                      <a:pt x="423" y="381"/>
                    </a:lnTo>
                    <a:lnTo>
                      <a:pt x="423" y="381"/>
                    </a:lnTo>
                    <a:lnTo>
                      <a:pt x="422" y="383"/>
                    </a:lnTo>
                    <a:lnTo>
                      <a:pt x="422" y="383"/>
                    </a:lnTo>
                    <a:lnTo>
                      <a:pt x="419" y="389"/>
                    </a:lnTo>
                    <a:lnTo>
                      <a:pt x="419" y="389"/>
                    </a:lnTo>
                    <a:lnTo>
                      <a:pt x="416" y="393"/>
                    </a:lnTo>
                    <a:lnTo>
                      <a:pt x="416" y="393"/>
                    </a:lnTo>
                    <a:lnTo>
                      <a:pt x="416" y="391"/>
                    </a:lnTo>
                    <a:lnTo>
                      <a:pt x="416" y="391"/>
                    </a:lnTo>
                    <a:lnTo>
                      <a:pt x="416" y="393"/>
                    </a:lnTo>
                    <a:lnTo>
                      <a:pt x="416" y="393"/>
                    </a:lnTo>
                    <a:lnTo>
                      <a:pt x="414" y="398"/>
                    </a:lnTo>
                    <a:lnTo>
                      <a:pt x="414" y="398"/>
                    </a:lnTo>
                    <a:lnTo>
                      <a:pt x="412" y="399"/>
                    </a:lnTo>
                    <a:lnTo>
                      <a:pt x="412" y="399"/>
                    </a:lnTo>
                    <a:lnTo>
                      <a:pt x="414" y="399"/>
                    </a:lnTo>
                    <a:lnTo>
                      <a:pt x="414" y="399"/>
                    </a:lnTo>
                    <a:lnTo>
                      <a:pt x="416" y="403"/>
                    </a:lnTo>
                    <a:lnTo>
                      <a:pt x="416" y="407"/>
                    </a:lnTo>
                    <a:lnTo>
                      <a:pt x="416" y="410"/>
                    </a:lnTo>
                    <a:lnTo>
                      <a:pt x="415" y="412"/>
                    </a:lnTo>
                    <a:lnTo>
                      <a:pt x="408" y="414"/>
                    </a:lnTo>
                    <a:lnTo>
                      <a:pt x="408" y="414"/>
                    </a:lnTo>
                    <a:lnTo>
                      <a:pt x="407" y="414"/>
                    </a:lnTo>
                    <a:lnTo>
                      <a:pt x="407" y="414"/>
                    </a:lnTo>
                    <a:lnTo>
                      <a:pt x="404" y="415"/>
                    </a:lnTo>
                    <a:lnTo>
                      <a:pt x="404" y="415"/>
                    </a:lnTo>
                    <a:lnTo>
                      <a:pt x="404" y="416"/>
                    </a:lnTo>
                    <a:lnTo>
                      <a:pt x="404" y="416"/>
                    </a:lnTo>
                    <a:lnTo>
                      <a:pt x="404" y="418"/>
                    </a:lnTo>
                    <a:lnTo>
                      <a:pt x="404" y="418"/>
                    </a:lnTo>
                    <a:lnTo>
                      <a:pt x="403" y="416"/>
                    </a:lnTo>
                    <a:lnTo>
                      <a:pt x="403" y="416"/>
                    </a:lnTo>
                    <a:lnTo>
                      <a:pt x="406" y="420"/>
                    </a:lnTo>
                    <a:lnTo>
                      <a:pt x="406" y="424"/>
                    </a:lnTo>
                    <a:lnTo>
                      <a:pt x="403" y="430"/>
                    </a:lnTo>
                    <a:lnTo>
                      <a:pt x="403" y="430"/>
                    </a:lnTo>
                    <a:lnTo>
                      <a:pt x="404" y="428"/>
                    </a:lnTo>
                    <a:lnTo>
                      <a:pt x="404" y="428"/>
                    </a:lnTo>
                    <a:lnTo>
                      <a:pt x="404" y="430"/>
                    </a:lnTo>
                    <a:lnTo>
                      <a:pt x="404" y="430"/>
                    </a:lnTo>
                    <a:lnTo>
                      <a:pt x="403" y="432"/>
                    </a:lnTo>
                    <a:lnTo>
                      <a:pt x="403" y="432"/>
                    </a:lnTo>
                    <a:lnTo>
                      <a:pt x="403" y="432"/>
                    </a:lnTo>
                    <a:lnTo>
                      <a:pt x="403" y="432"/>
                    </a:lnTo>
                    <a:lnTo>
                      <a:pt x="403" y="432"/>
                    </a:lnTo>
                    <a:lnTo>
                      <a:pt x="403" y="432"/>
                    </a:lnTo>
                    <a:lnTo>
                      <a:pt x="400" y="436"/>
                    </a:lnTo>
                    <a:lnTo>
                      <a:pt x="400" y="436"/>
                    </a:lnTo>
                    <a:lnTo>
                      <a:pt x="400" y="435"/>
                    </a:lnTo>
                    <a:lnTo>
                      <a:pt x="400" y="435"/>
                    </a:lnTo>
                    <a:lnTo>
                      <a:pt x="398" y="432"/>
                    </a:lnTo>
                    <a:lnTo>
                      <a:pt x="400" y="436"/>
                    </a:lnTo>
                    <a:lnTo>
                      <a:pt x="400" y="436"/>
                    </a:lnTo>
                    <a:lnTo>
                      <a:pt x="400" y="436"/>
                    </a:lnTo>
                    <a:lnTo>
                      <a:pt x="399" y="436"/>
                    </a:lnTo>
                    <a:lnTo>
                      <a:pt x="400" y="436"/>
                    </a:lnTo>
                    <a:lnTo>
                      <a:pt x="399" y="438"/>
                    </a:lnTo>
                    <a:lnTo>
                      <a:pt x="399" y="438"/>
                    </a:lnTo>
                    <a:lnTo>
                      <a:pt x="400" y="438"/>
                    </a:lnTo>
                    <a:lnTo>
                      <a:pt x="402" y="438"/>
                    </a:lnTo>
                    <a:lnTo>
                      <a:pt x="402" y="438"/>
                    </a:lnTo>
                    <a:lnTo>
                      <a:pt x="402" y="439"/>
                    </a:lnTo>
                    <a:lnTo>
                      <a:pt x="402" y="439"/>
                    </a:lnTo>
                    <a:lnTo>
                      <a:pt x="406" y="443"/>
                    </a:lnTo>
                    <a:lnTo>
                      <a:pt x="406" y="443"/>
                    </a:lnTo>
                    <a:lnTo>
                      <a:pt x="404" y="447"/>
                    </a:lnTo>
                    <a:lnTo>
                      <a:pt x="402" y="448"/>
                    </a:lnTo>
                    <a:lnTo>
                      <a:pt x="399" y="449"/>
                    </a:lnTo>
                    <a:lnTo>
                      <a:pt x="399" y="449"/>
                    </a:lnTo>
                    <a:lnTo>
                      <a:pt x="400" y="448"/>
                    </a:lnTo>
                    <a:lnTo>
                      <a:pt x="402" y="445"/>
                    </a:lnTo>
                    <a:lnTo>
                      <a:pt x="398" y="449"/>
                    </a:lnTo>
                    <a:lnTo>
                      <a:pt x="398" y="449"/>
                    </a:lnTo>
                    <a:lnTo>
                      <a:pt x="399" y="455"/>
                    </a:lnTo>
                    <a:lnTo>
                      <a:pt x="399" y="455"/>
                    </a:lnTo>
                    <a:lnTo>
                      <a:pt x="400" y="460"/>
                    </a:lnTo>
                    <a:lnTo>
                      <a:pt x="400" y="460"/>
                    </a:lnTo>
                    <a:lnTo>
                      <a:pt x="400" y="460"/>
                    </a:lnTo>
                    <a:lnTo>
                      <a:pt x="402" y="461"/>
                    </a:lnTo>
                    <a:lnTo>
                      <a:pt x="402" y="461"/>
                    </a:lnTo>
                    <a:lnTo>
                      <a:pt x="403" y="463"/>
                    </a:lnTo>
                    <a:lnTo>
                      <a:pt x="404" y="467"/>
                    </a:lnTo>
                    <a:lnTo>
                      <a:pt x="406" y="471"/>
                    </a:lnTo>
                    <a:lnTo>
                      <a:pt x="404" y="476"/>
                    </a:lnTo>
                    <a:lnTo>
                      <a:pt x="404" y="477"/>
                    </a:lnTo>
                    <a:lnTo>
                      <a:pt x="403" y="480"/>
                    </a:lnTo>
                    <a:lnTo>
                      <a:pt x="403" y="480"/>
                    </a:lnTo>
                    <a:lnTo>
                      <a:pt x="403" y="481"/>
                    </a:lnTo>
                    <a:lnTo>
                      <a:pt x="403" y="481"/>
                    </a:lnTo>
                    <a:lnTo>
                      <a:pt x="402" y="484"/>
                    </a:lnTo>
                    <a:lnTo>
                      <a:pt x="400" y="486"/>
                    </a:lnTo>
                    <a:lnTo>
                      <a:pt x="399" y="488"/>
                    </a:lnTo>
                    <a:lnTo>
                      <a:pt x="399" y="488"/>
                    </a:lnTo>
                    <a:lnTo>
                      <a:pt x="394" y="490"/>
                    </a:lnTo>
                    <a:lnTo>
                      <a:pt x="388" y="490"/>
                    </a:lnTo>
                    <a:lnTo>
                      <a:pt x="388" y="490"/>
                    </a:lnTo>
                    <a:lnTo>
                      <a:pt x="384" y="490"/>
                    </a:lnTo>
                    <a:lnTo>
                      <a:pt x="384" y="490"/>
                    </a:lnTo>
                    <a:lnTo>
                      <a:pt x="381" y="490"/>
                    </a:lnTo>
                    <a:lnTo>
                      <a:pt x="381" y="490"/>
                    </a:lnTo>
                    <a:lnTo>
                      <a:pt x="379" y="490"/>
                    </a:lnTo>
                    <a:lnTo>
                      <a:pt x="378" y="490"/>
                    </a:lnTo>
                    <a:lnTo>
                      <a:pt x="371" y="490"/>
                    </a:lnTo>
                    <a:lnTo>
                      <a:pt x="365" y="486"/>
                    </a:lnTo>
                    <a:lnTo>
                      <a:pt x="365" y="486"/>
                    </a:lnTo>
                    <a:lnTo>
                      <a:pt x="365" y="486"/>
                    </a:lnTo>
                    <a:lnTo>
                      <a:pt x="365" y="486"/>
                    </a:lnTo>
                    <a:lnTo>
                      <a:pt x="367" y="488"/>
                    </a:lnTo>
                    <a:lnTo>
                      <a:pt x="363" y="485"/>
                    </a:lnTo>
                    <a:lnTo>
                      <a:pt x="363" y="485"/>
                    </a:lnTo>
                    <a:lnTo>
                      <a:pt x="359" y="483"/>
                    </a:lnTo>
                    <a:lnTo>
                      <a:pt x="359" y="483"/>
                    </a:lnTo>
                    <a:lnTo>
                      <a:pt x="357" y="480"/>
                    </a:lnTo>
                    <a:lnTo>
                      <a:pt x="357" y="480"/>
                    </a:lnTo>
                    <a:lnTo>
                      <a:pt x="353" y="477"/>
                    </a:lnTo>
                    <a:lnTo>
                      <a:pt x="353" y="477"/>
                    </a:lnTo>
                    <a:lnTo>
                      <a:pt x="354" y="476"/>
                    </a:lnTo>
                    <a:lnTo>
                      <a:pt x="355" y="473"/>
                    </a:lnTo>
                    <a:lnTo>
                      <a:pt x="353" y="476"/>
                    </a:lnTo>
                    <a:lnTo>
                      <a:pt x="353" y="477"/>
                    </a:lnTo>
                    <a:lnTo>
                      <a:pt x="351" y="476"/>
                    </a:lnTo>
                    <a:lnTo>
                      <a:pt x="351" y="476"/>
                    </a:lnTo>
                    <a:lnTo>
                      <a:pt x="351" y="476"/>
                    </a:lnTo>
                    <a:lnTo>
                      <a:pt x="353" y="477"/>
                    </a:lnTo>
                    <a:lnTo>
                      <a:pt x="353" y="477"/>
                    </a:lnTo>
                    <a:lnTo>
                      <a:pt x="353" y="477"/>
                    </a:lnTo>
                    <a:lnTo>
                      <a:pt x="353" y="477"/>
                    </a:lnTo>
                    <a:lnTo>
                      <a:pt x="353" y="477"/>
                    </a:lnTo>
                    <a:lnTo>
                      <a:pt x="354" y="479"/>
                    </a:lnTo>
                    <a:lnTo>
                      <a:pt x="354" y="479"/>
                    </a:lnTo>
                    <a:lnTo>
                      <a:pt x="353" y="479"/>
                    </a:lnTo>
                    <a:lnTo>
                      <a:pt x="353" y="479"/>
                    </a:lnTo>
                    <a:lnTo>
                      <a:pt x="351" y="477"/>
                    </a:lnTo>
                    <a:lnTo>
                      <a:pt x="351" y="477"/>
                    </a:lnTo>
                    <a:lnTo>
                      <a:pt x="358" y="484"/>
                    </a:lnTo>
                    <a:lnTo>
                      <a:pt x="366" y="489"/>
                    </a:lnTo>
                    <a:lnTo>
                      <a:pt x="366" y="489"/>
                    </a:lnTo>
                    <a:lnTo>
                      <a:pt x="370" y="494"/>
                    </a:lnTo>
                    <a:lnTo>
                      <a:pt x="370" y="494"/>
                    </a:lnTo>
                    <a:lnTo>
                      <a:pt x="369" y="490"/>
                    </a:lnTo>
                    <a:lnTo>
                      <a:pt x="366" y="489"/>
                    </a:lnTo>
                    <a:lnTo>
                      <a:pt x="366" y="489"/>
                    </a:lnTo>
                    <a:lnTo>
                      <a:pt x="369" y="490"/>
                    </a:lnTo>
                    <a:lnTo>
                      <a:pt x="373" y="494"/>
                    </a:lnTo>
                    <a:lnTo>
                      <a:pt x="373" y="494"/>
                    </a:lnTo>
                    <a:lnTo>
                      <a:pt x="373" y="497"/>
                    </a:lnTo>
                    <a:lnTo>
                      <a:pt x="373" y="500"/>
                    </a:lnTo>
                    <a:lnTo>
                      <a:pt x="370" y="504"/>
                    </a:lnTo>
                    <a:lnTo>
                      <a:pt x="370" y="509"/>
                    </a:lnTo>
                    <a:lnTo>
                      <a:pt x="367" y="513"/>
                    </a:lnTo>
                    <a:lnTo>
                      <a:pt x="367" y="513"/>
                    </a:lnTo>
                    <a:lnTo>
                      <a:pt x="367" y="514"/>
                    </a:lnTo>
                    <a:lnTo>
                      <a:pt x="367" y="514"/>
                    </a:lnTo>
                    <a:lnTo>
                      <a:pt x="367" y="518"/>
                    </a:lnTo>
                    <a:lnTo>
                      <a:pt x="367" y="520"/>
                    </a:lnTo>
                    <a:lnTo>
                      <a:pt x="362" y="526"/>
                    </a:lnTo>
                    <a:lnTo>
                      <a:pt x="362" y="526"/>
                    </a:lnTo>
                    <a:lnTo>
                      <a:pt x="365" y="525"/>
                    </a:lnTo>
                    <a:lnTo>
                      <a:pt x="366" y="522"/>
                    </a:lnTo>
                    <a:lnTo>
                      <a:pt x="366" y="522"/>
                    </a:lnTo>
                    <a:lnTo>
                      <a:pt x="366" y="523"/>
                    </a:lnTo>
                    <a:lnTo>
                      <a:pt x="366" y="526"/>
                    </a:lnTo>
                    <a:lnTo>
                      <a:pt x="366" y="526"/>
                    </a:lnTo>
                    <a:lnTo>
                      <a:pt x="362" y="530"/>
                    </a:lnTo>
                    <a:lnTo>
                      <a:pt x="359" y="531"/>
                    </a:lnTo>
                    <a:lnTo>
                      <a:pt x="355" y="533"/>
                    </a:lnTo>
                    <a:lnTo>
                      <a:pt x="355" y="533"/>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4" name="Freeform 55">
                <a:extLst>
                  <a:ext uri="{FF2B5EF4-FFF2-40B4-BE49-F238E27FC236}">
                    <a16:creationId xmlns:a16="http://schemas.microsoft.com/office/drawing/2014/main" xmlns="" id="{606B6310-8533-4763-8BB7-0C29D9B36622}"/>
                  </a:ext>
                </a:extLst>
              </p:cNvPr>
              <p:cNvSpPr>
                <a:spLocks/>
              </p:cNvSpPr>
              <p:nvPr/>
            </p:nvSpPr>
            <p:spPr bwMode="auto">
              <a:xfrm>
                <a:off x="2876195" y="5893942"/>
                <a:ext cx="1272725" cy="553661"/>
              </a:xfrm>
              <a:custGeom>
                <a:avLst/>
                <a:gdLst>
                  <a:gd name="T0" fmla="*/ 153 w 731"/>
                  <a:gd name="T1" fmla="*/ 306 h 318"/>
                  <a:gd name="T2" fmla="*/ 124 w 731"/>
                  <a:gd name="T3" fmla="*/ 301 h 318"/>
                  <a:gd name="T4" fmla="*/ 88 w 731"/>
                  <a:gd name="T5" fmla="*/ 306 h 318"/>
                  <a:gd name="T6" fmla="*/ 59 w 731"/>
                  <a:gd name="T7" fmla="*/ 310 h 318"/>
                  <a:gd name="T8" fmla="*/ 26 w 731"/>
                  <a:gd name="T9" fmla="*/ 287 h 318"/>
                  <a:gd name="T10" fmla="*/ 45 w 731"/>
                  <a:gd name="T11" fmla="*/ 254 h 318"/>
                  <a:gd name="T12" fmla="*/ 37 w 731"/>
                  <a:gd name="T13" fmla="*/ 222 h 318"/>
                  <a:gd name="T14" fmla="*/ 47 w 731"/>
                  <a:gd name="T15" fmla="*/ 198 h 318"/>
                  <a:gd name="T16" fmla="*/ 60 w 731"/>
                  <a:gd name="T17" fmla="*/ 184 h 318"/>
                  <a:gd name="T18" fmla="*/ 95 w 731"/>
                  <a:gd name="T19" fmla="*/ 182 h 318"/>
                  <a:gd name="T20" fmla="*/ 108 w 731"/>
                  <a:gd name="T21" fmla="*/ 135 h 318"/>
                  <a:gd name="T22" fmla="*/ 95 w 731"/>
                  <a:gd name="T23" fmla="*/ 119 h 318"/>
                  <a:gd name="T24" fmla="*/ 78 w 731"/>
                  <a:gd name="T25" fmla="*/ 123 h 318"/>
                  <a:gd name="T26" fmla="*/ 39 w 731"/>
                  <a:gd name="T27" fmla="*/ 100 h 318"/>
                  <a:gd name="T28" fmla="*/ 17 w 731"/>
                  <a:gd name="T29" fmla="*/ 107 h 318"/>
                  <a:gd name="T30" fmla="*/ 15 w 731"/>
                  <a:gd name="T31" fmla="*/ 63 h 318"/>
                  <a:gd name="T32" fmla="*/ 37 w 731"/>
                  <a:gd name="T33" fmla="*/ 61 h 318"/>
                  <a:gd name="T34" fmla="*/ 78 w 731"/>
                  <a:gd name="T35" fmla="*/ 45 h 318"/>
                  <a:gd name="T36" fmla="*/ 113 w 731"/>
                  <a:gd name="T37" fmla="*/ 39 h 318"/>
                  <a:gd name="T38" fmla="*/ 133 w 731"/>
                  <a:gd name="T39" fmla="*/ 37 h 318"/>
                  <a:gd name="T40" fmla="*/ 162 w 731"/>
                  <a:gd name="T41" fmla="*/ 35 h 318"/>
                  <a:gd name="T42" fmla="*/ 186 w 731"/>
                  <a:gd name="T43" fmla="*/ 29 h 318"/>
                  <a:gd name="T44" fmla="*/ 218 w 731"/>
                  <a:gd name="T45" fmla="*/ 28 h 318"/>
                  <a:gd name="T46" fmla="*/ 232 w 731"/>
                  <a:gd name="T47" fmla="*/ 29 h 318"/>
                  <a:gd name="T48" fmla="*/ 286 w 731"/>
                  <a:gd name="T49" fmla="*/ 25 h 318"/>
                  <a:gd name="T50" fmla="*/ 333 w 731"/>
                  <a:gd name="T51" fmla="*/ 13 h 318"/>
                  <a:gd name="T52" fmla="*/ 347 w 731"/>
                  <a:gd name="T53" fmla="*/ 10 h 318"/>
                  <a:gd name="T54" fmla="*/ 366 w 731"/>
                  <a:gd name="T55" fmla="*/ 8 h 318"/>
                  <a:gd name="T56" fmla="*/ 440 w 731"/>
                  <a:gd name="T57" fmla="*/ 18 h 318"/>
                  <a:gd name="T58" fmla="*/ 489 w 731"/>
                  <a:gd name="T59" fmla="*/ 30 h 318"/>
                  <a:gd name="T60" fmla="*/ 514 w 731"/>
                  <a:gd name="T61" fmla="*/ 25 h 318"/>
                  <a:gd name="T62" fmla="*/ 555 w 731"/>
                  <a:gd name="T63" fmla="*/ 33 h 318"/>
                  <a:gd name="T64" fmla="*/ 597 w 731"/>
                  <a:gd name="T65" fmla="*/ 20 h 318"/>
                  <a:gd name="T66" fmla="*/ 662 w 731"/>
                  <a:gd name="T67" fmla="*/ 31 h 318"/>
                  <a:gd name="T68" fmla="*/ 699 w 731"/>
                  <a:gd name="T69" fmla="*/ 39 h 318"/>
                  <a:gd name="T70" fmla="*/ 711 w 731"/>
                  <a:gd name="T71" fmla="*/ 61 h 318"/>
                  <a:gd name="T72" fmla="*/ 721 w 731"/>
                  <a:gd name="T73" fmla="*/ 98 h 318"/>
                  <a:gd name="T74" fmla="*/ 675 w 731"/>
                  <a:gd name="T75" fmla="*/ 111 h 318"/>
                  <a:gd name="T76" fmla="*/ 674 w 731"/>
                  <a:gd name="T77" fmla="*/ 136 h 318"/>
                  <a:gd name="T78" fmla="*/ 682 w 731"/>
                  <a:gd name="T79" fmla="*/ 131 h 318"/>
                  <a:gd name="T80" fmla="*/ 703 w 731"/>
                  <a:gd name="T81" fmla="*/ 133 h 318"/>
                  <a:gd name="T82" fmla="*/ 716 w 731"/>
                  <a:gd name="T83" fmla="*/ 141 h 318"/>
                  <a:gd name="T84" fmla="*/ 728 w 731"/>
                  <a:gd name="T85" fmla="*/ 156 h 318"/>
                  <a:gd name="T86" fmla="*/ 702 w 731"/>
                  <a:gd name="T87" fmla="*/ 184 h 318"/>
                  <a:gd name="T88" fmla="*/ 661 w 731"/>
                  <a:gd name="T89" fmla="*/ 210 h 318"/>
                  <a:gd name="T90" fmla="*/ 636 w 731"/>
                  <a:gd name="T91" fmla="*/ 217 h 318"/>
                  <a:gd name="T92" fmla="*/ 616 w 731"/>
                  <a:gd name="T93" fmla="*/ 213 h 318"/>
                  <a:gd name="T94" fmla="*/ 592 w 731"/>
                  <a:gd name="T95" fmla="*/ 214 h 318"/>
                  <a:gd name="T96" fmla="*/ 565 w 731"/>
                  <a:gd name="T97" fmla="*/ 213 h 318"/>
                  <a:gd name="T98" fmla="*/ 528 w 731"/>
                  <a:gd name="T99" fmla="*/ 201 h 318"/>
                  <a:gd name="T100" fmla="*/ 501 w 731"/>
                  <a:gd name="T101" fmla="*/ 194 h 318"/>
                  <a:gd name="T102" fmla="*/ 483 w 731"/>
                  <a:gd name="T103" fmla="*/ 191 h 318"/>
                  <a:gd name="T104" fmla="*/ 437 w 731"/>
                  <a:gd name="T105" fmla="*/ 207 h 318"/>
                  <a:gd name="T106" fmla="*/ 403 w 731"/>
                  <a:gd name="T107" fmla="*/ 207 h 318"/>
                  <a:gd name="T108" fmla="*/ 375 w 731"/>
                  <a:gd name="T109" fmla="*/ 226 h 318"/>
                  <a:gd name="T110" fmla="*/ 372 w 731"/>
                  <a:gd name="T111" fmla="*/ 234 h 318"/>
                  <a:gd name="T112" fmla="*/ 351 w 731"/>
                  <a:gd name="T113" fmla="*/ 252 h 318"/>
                  <a:gd name="T114" fmla="*/ 304 w 731"/>
                  <a:gd name="T115" fmla="*/ 300 h 318"/>
                  <a:gd name="T116" fmla="*/ 277 w 731"/>
                  <a:gd name="T117" fmla="*/ 305 h 318"/>
                  <a:gd name="T118" fmla="*/ 260 w 731"/>
                  <a:gd name="T119" fmla="*/ 300 h 318"/>
                  <a:gd name="T120" fmla="*/ 244 w 731"/>
                  <a:gd name="T121" fmla="*/ 296 h 318"/>
                  <a:gd name="T122" fmla="*/ 219 w 731"/>
                  <a:gd name="T123" fmla="*/ 299 h 318"/>
                  <a:gd name="T124" fmla="*/ 197 w 731"/>
                  <a:gd name="T125" fmla="*/ 31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1" h="318">
                    <a:moveTo>
                      <a:pt x="186" y="318"/>
                    </a:moveTo>
                    <a:lnTo>
                      <a:pt x="186" y="318"/>
                    </a:lnTo>
                    <a:lnTo>
                      <a:pt x="181" y="317"/>
                    </a:lnTo>
                    <a:lnTo>
                      <a:pt x="179" y="317"/>
                    </a:lnTo>
                    <a:lnTo>
                      <a:pt x="177" y="317"/>
                    </a:lnTo>
                    <a:lnTo>
                      <a:pt x="177" y="317"/>
                    </a:lnTo>
                    <a:lnTo>
                      <a:pt x="174" y="316"/>
                    </a:lnTo>
                    <a:lnTo>
                      <a:pt x="174" y="316"/>
                    </a:lnTo>
                    <a:lnTo>
                      <a:pt x="170" y="314"/>
                    </a:lnTo>
                    <a:lnTo>
                      <a:pt x="170" y="314"/>
                    </a:lnTo>
                    <a:lnTo>
                      <a:pt x="169" y="314"/>
                    </a:lnTo>
                    <a:lnTo>
                      <a:pt x="164" y="312"/>
                    </a:lnTo>
                    <a:lnTo>
                      <a:pt x="164" y="312"/>
                    </a:lnTo>
                    <a:lnTo>
                      <a:pt x="162" y="310"/>
                    </a:lnTo>
                    <a:lnTo>
                      <a:pt x="162" y="310"/>
                    </a:lnTo>
                    <a:lnTo>
                      <a:pt x="160" y="309"/>
                    </a:lnTo>
                    <a:lnTo>
                      <a:pt x="160" y="308"/>
                    </a:lnTo>
                    <a:lnTo>
                      <a:pt x="160" y="308"/>
                    </a:lnTo>
                    <a:lnTo>
                      <a:pt x="157" y="308"/>
                    </a:lnTo>
                    <a:lnTo>
                      <a:pt x="153" y="306"/>
                    </a:lnTo>
                    <a:lnTo>
                      <a:pt x="153" y="306"/>
                    </a:lnTo>
                    <a:lnTo>
                      <a:pt x="146" y="305"/>
                    </a:lnTo>
                    <a:lnTo>
                      <a:pt x="141" y="304"/>
                    </a:lnTo>
                    <a:lnTo>
                      <a:pt x="140" y="303"/>
                    </a:lnTo>
                    <a:lnTo>
                      <a:pt x="140" y="303"/>
                    </a:lnTo>
                    <a:lnTo>
                      <a:pt x="140" y="303"/>
                    </a:lnTo>
                    <a:lnTo>
                      <a:pt x="138" y="303"/>
                    </a:lnTo>
                    <a:lnTo>
                      <a:pt x="136" y="303"/>
                    </a:lnTo>
                    <a:lnTo>
                      <a:pt x="130" y="300"/>
                    </a:lnTo>
                    <a:lnTo>
                      <a:pt x="130" y="300"/>
                    </a:lnTo>
                    <a:lnTo>
                      <a:pt x="132" y="301"/>
                    </a:lnTo>
                    <a:lnTo>
                      <a:pt x="133" y="301"/>
                    </a:lnTo>
                    <a:lnTo>
                      <a:pt x="133" y="301"/>
                    </a:lnTo>
                    <a:lnTo>
                      <a:pt x="132" y="301"/>
                    </a:lnTo>
                    <a:lnTo>
                      <a:pt x="132" y="301"/>
                    </a:lnTo>
                    <a:lnTo>
                      <a:pt x="129" y="301"/>
                    </a:lnTo>
                    <a:lnTo>
                      <a:pt x="129" y="301"/>
                    </a:lnTo>
                    <a:lnTo>
                      <a:pt x="126" y="301"/>
                    </a:lnTo>
                    <a:lnTo>
                      <a:pt x="126" y="301"/>
                    </a:lnTo>
                    <a:lnTo>
                      <a:pt x="124" y="301"/>
                    </a:lnTo>
                    <a:lnTo>
                      <a:pt x="121" y="301"/>
                    </a:lnTo>
                    <a:lnTo>
                      <a:pt x="119" y="301"/>
                    </a:lnTo>
                    <a:lnTo>
                      <a:pt x="119" y="301"/>
                    </a:lnTo>
                    <a:lnTo>
                      <a:pt x="112" y="300"/>
                    </a:lnTo>
                    <a:lnTo>
                      <a:pt x="112" y="300"/>
                    </a:lnTo>
                    <a:lnTo>
                      <a:pt x="104" y="301"/>
                    </a:lnTo>
                    <a:lnTo>
                      <a:pt x="101" y="301"/>
                    </a:lnTo>
                    <a:lnTo>
                      <a:pt x="101" y="301"/>
                    </a:lnTo>
                    <a:lnTo>
                      <a:pt x="104" y="300"/>
                    </a:lnTo>
                    <a:lnTo>
                      <a:pt x="104" y="299"/>
                    </a:lnTo>
                    <a:lnTo>
                      <a:pt x="97" y="303"/>
                    </a:lnTo>
                    <a:lnTo>
                      <a:pt x="97" y="303"/>
                    </a:lnTo>
                    <a:lnTo>
                      <a:pt x="99" y="303"/>
                    </a:lnTo>
                    <a:lnTo>
                      <a:pt x="99" y="303"/>
                    </a:lnTo>
                    <a:lnTo>
                      <a:pt x="95" y="304"/>
                    </a:lnTo>
                    <a:lnTo>
                      <a:pt x="95" y="304"/>
                    </a:lnTo>
                    <a:lnTo>
                      <a:pt x="95" y="304"/>
                    </a:lnTo>
                    <a:lnTo>
                      <a:pt x="91" y="305"/>
                    </a:lnTo>
                    <a:lnTo>
                      <a:pt x="91" y="305"/>
                    </a:lnTo>
                    <a:lnTo>
                      <a:pt x="88" y="306"/>
                    </a:lnTo>
                    <a:lnTo>
                      <a:pt x="88" y="306"/>
                    </a:lnTo>
                    <a:lnTo>
                      <a:pt x="87" y="308"/>
                    </a:lnTo>
                    <a:lnTo>
                      <a:pt x="84" y="309"/>
                    </a:lnTo>
                    <a:lnTo>
                      <a:pt x="84" y="309"/>
                    </a:lnTo>
                    <a:lnTo>
                      <a:pt x="84" y="309"/>
                    </a:lnTo>
                    <a:lnTo>
                      <a:pt x="78" y="313"/>
                    </a:lnTo>
                    <a:lnTo>
                      <a:pt x="78" y="313"/>
                    </a:lnTo>
                    <a:lnTo>
                      <a:pt x="75" y="312"/>
                    </a:lnTo>
                    <a:lnTo>
                      <a:pt x="75" y="312"/>
                    </a:lnTo>
                    <a:lnTo>
                      <a:pt x="74" y="312"/>
                    </a:lnTo>
                    <a:lnTo>
                      <a:pt x="74" y="312"/>
                    </a:lnTo>
                    <a:lnTo>
                      <a:pt x="74" y="312"/>
                    </a:lnTo>
                    <a:lnTo>
                      <a:pt x="71" y="313"/>
                    </a:lnTo>
                    <a:lnTo>
                      <a:pt x="71" y="313"/>
                    </a:lnTo>
                    <a:lnTo>
                      <a:pt x="70" y="313"/>
                    </a:lnTo>
                    <a:lnTo>
                      <a:pt x="70" y="313"/>
                    </a:lnTo>
                    <a:lnTo>
                      <a:pt x="66" y="313"/>
                    </a:lnTo>
                    <a:lnTo>
                      <a:pt x="64" y="312"/>
                    </a:lnTo>
                    <a:lnTo>
                      <a:pt x="64" y="312"/>
                    </a:lnTo>
                    <a:lnTo>
                      <a:pt x="59" y="310"/>
                    </a:lnTo>
                    <a:lnTo>
                      <a:pt x="56" y="308"/>
                    </a:lnTo>
                    <a:lnTo>
                      <a:pt x="50" y="304"/>
                    </a:lnTo>
                    <a:lnTo>
                      <a:pt x="50" y="304"/>
                    </a:lnTo>
                    <a:lnTo>
                      <a:pt x="45" y="300"/>
                    </a:lnTo>
                    <a:lnTo>
                      <a:pt x="41" y="299"/>
                    </a:lnTo>
                    <a:lnTo>
                      <a:pt x="41" y="299"/>
                    </a:lnTo>
                    <a:lnTo>
                      <a:pt x="38" y="299"/>
                    </a:lnTo>
                    <a:lnTo>
                      <a:pt x="37" y="299"/>
                    </a:lnTo>
                    <a:lnTo>
                      <a:pt x="35" y="299"/>
                    </a:lnTo>
                    <a:lnTo>
                      <a:pt x="35" y="299"/>
                    </a:lnTo>
                    <a:lnTo>
                      <a:pt x="31" y="299"/>
                    </a:lnTo>
                    <a:lnTo>
                      <a:pt x="27" y="296"/>
                    </a:lnTo>
                    <a:lnTo>
                      <a:pt x="27" y="296"/>
                    </a:lnTo>
                    <a:lnTo>
                      <a:pt x="26" y="293"/>
                    </a:lnTo>
                    <a:lnTo>
                      <a:pt x="26" y="292"/>
                    </a:lnTo>
                    <a:lnTo>
                      <a:pt x="26" y="288"/>
                    </a:lnTo>
                    <a:lnTo>
                      <a:pt x="26" y="288"/>
                    </a:lnTo>
                    <a:lnTo>
                      <a:pt x="26" y="288"/>
                    </a:lnTo>
                    <a:lnTo>
                      <a:pt x="26" y="287"/>
                    </a:lnTo>
                    <a:lnTo>
                      <a:pt x="26" y="287"/>
                    </a:lnTo>
                    <a:lnTo>
                      <a:pt x="25" y="287"/>
                    </a:lnTo>
                    <a:lnTo>
                      <a:pt x="25" y="287"/>
                    </a:lnTo>
                    <a:lnTo>
                      <a:pt x="25" y="287"/>
                    </a:lnTo>
                    <a:lnTo>
                      <a:pt x="19" y="277"/>
                    </a:lnTo>
                    <a:lnTo>
                      <a:pt x="19" y="277"/>
                    </a:lnTo>
                    <a:lnTo>
                      <a:pt x="22" y="273"/>
                    </a:lnTo>
                    <a:lnTo>
                      <a:pt x="26" y="269"/>
                    </a:lnTo>
                    <a:lnTo>
                      <a:pt x="26" y="269"/>
                    </a:lnTo>
                    <a:lnTo>
                      <a:pt x="30" y="264"/>
                    </a:lnTo>
                    <a:lnTo>
                      <a:pt x="30" y="264"/>
                    </a:lnTo>
                    <a:lnTo>
                      <a:pt x="33" y="262"/>
                    </a:lnTo>
                    <a:lnTo>
                      <a:pt x="33" y="262"/>
                    </a:lnTo>
                    <a:lnTo>
                      <a:pt x="35" y="259"/>
                    </a:lnTo>
                    <a:lnTo>
                      <a:pt x="37" y="258"/>
                    </a:lnTo>
                    <a:lnTo>
                      <a:pt x="37" y="258"/>
                    </a:lnTo>
                    <a:lnTo>
                      <a:pt x="41" y="255"/>
                    </a:lnTo>
                    <a:lnTo>
                      <a:pt x="46" y="254"/>
                    </a:lnTo>
                    <a:lnTo>
                      <a:pt x="45" y="254"/>
                    </a:lnTo>
                    <a:lnTo>
                      <a:pt x="45" y="254"/>
                    </a:lnTo>
                    <a:lnTo>
                      <a:pt x="45" y="254"/>
                    </a:lnTo>
                    <a:lnTo>
                      <a:pt x="45" y="254"/>
                    </a:lnTo>
                    <a:lnTo>
                      <a:pt x="39" y="254"/>
                    </a:lnTo>
                    <a:lnTo>
                      <a:pt x="33" y="247"/>
                    </a:lnTo>
                    <a:lnTo>
                      <a:pt x="33" y="247"/>
                    </a:lnTo>
                    <a:lnTo>
                      <a:pt x="33" y="247"/>
                    </a:lnTo>
                    <a:lnTo>
                      <a:pt x="33" y="247"/>
                    </a:lnTo>
                    <a:lnTo>
                      <a:pt x="33" y="244"/>
                    </a:lnTo>
                    <a:lnTo>
                      <a:pt x="31" y="242"/>
                    </a:lnTo>
                    <a:lnTo>
                      <a:pt x="31" y="242"/>
                    </a:lnTo>
                    <a:lnTo>
                      <a:pt x="30" y="236"/>
                    </a:lnTo>
                    <a:lnTo>
                      <a:pt x="30" y="231"/>
                    </a:lnTo>
                    <a:lnTo>
                      <a:pt x="30" y="231"/>
                    </a:lnTo>
                    <a:lnTo>
                      <a:pt x="30" y="231"/>
                    </a:lnTo>
                    <a:lnTo>
                      <a:pt x="31" y="227"/>
                    </a:lnTo>
                    <a:lnTo>
                      <a:pt x="33" y="224"/>
                    </a:lnTo>
                    <a:lnTo>
                      <a:pt x="33" y="224"/>
                    </a:lnTo>
                    <a:lnTo>
                      <a:pt x="33" y="224"/>
                    </a:lnTo>
                    <a:lnTo>
                      <a:pt x="31" y="227"/>
                    </a:lnTo>
                    <a:lnTo>
                      <a:pt x="37" y="222"/>
                    </a:lnTo>
                    <a:lnTo>
                      <a:pt x="37" y="222"/>
                    </a:lnTo>
                    <a:lnTo>
                      <a:pt x="39" y="221"/>
                    </a:lnTo>
                    <a:lnTo>
                      <a:pt x="39" y="221"/>
                    </a:lnTo>
                    <a:lnTo>
                      <a:pt x="42" y="222"/>
                    </a:lnTo>
                    <a:lnTo>
                      <a:pt x="45" y="222"/>
                    </a:lnTo>
                    <a:lnTo>
                      <a:pt x="46" y="223"/>
                    </a:lnTo>
                    <a:lnTo>
                      <a:pt x="46" y="223"/>
                    </a:lnTo>
                    <a:lnTo>
                      <a:pt x="51" y="222"/>
                    </a:lnTo>
                    <a:lnTo>
                      <a:pt x="51" y="222"/>
                    </a:lnTo>
                    <a:lnTo>
                      <a:pt x="54" y="222"/>
                    </a:lnTo>
                    <a:lnTo>
                      <a:pt x="52" y="219"/>
                    </a:lnTo>
                    <a:lnTo>
                      <a:pt x="52" y="218"/>
                    </a:lnTo>
                    <a:lnTo>
                      <a:pt x="52" y="218"/>
                    </a:lnTo>
                    <a:lnTo>
                      <a:pt x="51" y="215"/>
                    </a:lnTo>
                    <a:lnTo>
                      <a:pt x="51" y="215"/>
                    </a:lnTo>
                    <a:lnTo>
                      <a:pt x="48" y="211"/>
                    </a:lnTo>
                    <a:lnTo>
                      <a:pt x="47" y="207"/>
                    </a:lnTo>
                    <a:lnTo>
                      <a:pt x="47" y="203"/>
                    </a:lnTo>
                    <a:lnTo>
                      <a:pt x="47" y="203"/>
                    </a:lnTo>
                    <a:lnTo>
                      <a:pt x="48" y="198"/>
                    </a:lnTo>
                    <a:lnTo>
                      <a:pt x="47" y="198"/>
                    </a:lnTo>
                    <a:lnTo>
                      <a:pt x="47" y="198"/>
                    </a:lnTo>
                    <a:lnTo>
                      <a:pt x="47" y="198"/>
                    </a:lnTo>
                    <a:lnTo>
                      <a:pt x="47" y="198"/>
                    </a:lnTo>
                    <a:lnTo>
                      <a:pt x="46" y="197"/>
                    </a:lnTo>
                    <a:lnTo>
                      <a:pt x="42" y="190"/>
                    </a:lnTo>
                    <a:lnTo>
                      <a:pt x="42" y="190"/>
                    </a:lnTo>
                    <a:lnTo>
                      <a:pt x="43" y="187"/>
                    </a:lnTo>
                    <a:lnTo>
                      <a:pt x="46" y="186"/>
                    </a:lnTo>
                    <a:lnTo>
                      <a:pt x="48" y="185"/>
                    </a:lnTo>
                    <a:lnTo>
                      <a:pt x="48" y="185"/>
                    </a:lnTo>
                    <a:lnTo>
                      <a:pt x="47" y="186"/>
                    </a:lnTo>
                    <a:lnTo>
                      <a:pt x="46" y="189"/>
                    </a:lnTo>
                    <a:lnTo>
                      <a:pt x="52" y="184"/>
                    </a:lnTo>
                    <a:lnTo>
                      <a:pt x="54" y="184"/>
                    </a:lnTo>
                    <a:lnTo>
                      <a:pt x="54" y="184"/>
                    </a:lnTo>
                    <a:lnTo>
                      <a:pt x="55" y="184"/>
                    </a:lnTo>
                    <a:lnTo>
                      <a:pt x="55" y="184"/>
                    </a:lnTo>
                    <a:lnTo>
                      <a:pt x="58" y="184"/>
                    </a:lnTo>
                    <a:lnTo>
                      <a:pt x="58" y="184"/>
                    </a:lnTo>
                    <a:lnTo>
                      <a:pt x="60" y="184"/>
                    </a:lnTo>
                    <a:lnTo>
                      <a:pt x="60" y="184"/>
                    </a:lnTo>
                    <a:lnTo>
                      <a:pt x="58" y="185"/>
                    </a:lnTo>
                    <a:lnTo>
                      <a:pt x="56" y="187"/>
                    </a:lnTo>
                    <a:lnTo>
                      <a:pt x="62" y="182"/>
                    </a:lnTo>
                    <a:lnTo>
                      <a:pt x="70" y="182"/>
                    </a:lnTo>
                    <a:lnTo>
                      <a:pt x="75" y="187"/>
                    </a:lnTo>
                    <a:lnTo>
                      <a:pt x="75" y="187"/>
                    </a:lnTo>
                    <a:lnTo>
                      <a:pt x="75" y="187"/>
                    </a:lnTo>
                    <a:lnTo>
                      <a:pt x="76" y="187"/>
                    </a:lnTo>
                    <a:lnTo>
                      <a:pt x="79" y="186"/>
                    </a:lnTo>
                    <a:lnTo>
                      <a:pt x="79" y="186"/>
                    </a:lnTo>
                    <a:lnTo>
                      <a:pt x="83" y="186"/>
                    </a:lnTo>
                    <a:lnTo>
                      <a:pt x="83" y="186"/>
                    </a:lnTo>
                    <a:lnTo>
                      <a:pt x="88" y="185"/>
                    </a:lnTo>
                    <a:lnTo>
                      <a:pt x="91" y="184"/>
                    </a:lnTo>
                    <a:lnTo>
                      <a:pt x="91" y="184"/>
                    </a:lnTo>
                    <a:lnTo>
                      <a:pt x="89" y="184"/>
                    </a:lnTo>
                    <a:lnTo>
                      <a:pt x="89" y="184"/>
                    </a:lnTo>
                    <a:lnTo>
                      <a:pt x="91" y="182"/>
                    </a:lnTo>
                    <a:lnTo>
                      <a:pt x="95" y="182"/>
                    </a:lnTo>
                    <a:lnTo>
                      <a:pt x="95" y="182"/>
                    </a:lnTo>
                    <a:lnTo>
                      <a:pt x="95" y="182"/>
                    </a:lnTo>
                    <a:lnTo>
                      <a:pt x="95" y="177"/>
                    </a:lnTo>
                    <a:lnTo>
                      <a:pt x="97" y="172"/>
                    </a:lnTo>
                    <a:lnTo>
                      <a:pt x="97" y="172"/>
                    </a:lnTo>
                    <a:lnTo>
                      <a:pt x="97" y="170"/>
                    </a:lnTo>
                    <a:lnTo>
                      <a:pt x="97" y="170"/>
                    </a:lnTo>
                    <a:lnTo>
                      <a:pt x="96" y="168"/>
                    </a:lnTo>
                    <a:lnTo>
                      <a:pt x="95" y="165"/>
                    </a:lnTo>
                    <a:lnTo>
                      <a:pt x="95" y="162"/>
                    </a:lnTo>
                    <a:lnTo>
                      <a:pt x="95" y="162"/>
                    </a:lnTo>
                    <a:lnTo>
                      <a:pt x="96" y="154"/>
                    </a:lnTo>
                    <a:lnTo>
                      <a:pt x="97" y="150"/>
                    </a:lnTo>
                    <a:lnTo>
                      <a:pt x="99" y="149"/>
                    </a:lnTo>
                    <a:lnTo>
                      <a:pt x="99" y="149"/>
                    </a:lnTo>
                    <a:lnTo>
                      <a:pt x="101" y="143"/>
                    </a:lnTo>
                    <a:lnTo>
                      <a:pt x="105" y="137"/>
                    </a:lnTo>
                    <a:lnTo>
                      <a:pt x="105" y="137"/>
                    </a:lnTo>
                    <a:lnTo>
                      <a:pt x="108" y="133"/>
                    </a:lnTo>
                    <a:lnTo>
                      <a:pt x="108" y="135"/>
                    </a:lnTo>
                    <a:lnTo>
                      <a:pt x="111" y="131"/>
                    </a:lnTo>
                    <a:lnTo>
                      <a:pt x="111" y="131"/>
                    </a:lnTo>
                    <a:lnTo>
                      <a:pt x="108" y="129"/>
                    </a:lnTo>
                    <a:lnTo>
                      <a:pt x="108" y="129"/>
                    </a:lnTo>
                    <a:lnTo>
                      <a:pt x="105" y="127"/>
                    </a:lnTo>
                    <a:lnTo>
                      <a:pt x="105" y="121"/>
                    </a:lnTo>
                    <a:lnTo>
                      <a:pt x="104" y="127"/>
                    </a:lnTo>
                    <a:lnTo>
                      <a:pt x="103" y="125"/>
                    </a:lnTo>
                    <a:lnTo>
                      <a:pt x="103" y="127"/>
                    </a:lnTo>
                    <a:lnTo>
                      <a:pt x="103" y="127"/>
                    </a:lnTo>
                    <a:lnTo>
                      <a:pt x="104" y="128"/>
                    </a:lnTo>
                    <a:lnTo>
                      <a:pt x="104" y="128"/>
                    </a:lnTo>
                    <a:lnTo>
                      <a:pt x="104" y="128"/>
                    </a:lnTo>
                    <a:lnTo>
                      <a:pt x="104" y="128"/>
                    </a:lnTo>
                    <a:lnTo>
                      <a:pt x="103" y="128"/>
                    </a:lnTo>
                    <a:lnTo>
                      <a:pt x="101" y="128"/>
                    </a:lnTo>
                    <a:lnTo>
                      <a:pt x="96" y="125"/>
                    </a:lnTo>
                    <a:lnTo>
                      <a:pt x="96" y="125"/>
                    </a:lnTo>
                    <a:lnTo>
                      <a:pt x="95" y="121"/>
                    </a:lnTo>
                    <a:lnTo>
                      <a:pt x="95" y="119"/>
                    </a:lnTo>
                    <a:lnTo>
                      <a:pt x="95" y="119"/>
                    </a:lnTo>
                    <a:lnTo>
                      <a:pt x="93" y="116"/>
                    </a:lnTo>
                    <a:lnTo>
                      <a:pt x="89" y="112"/>
                    </a:lnTo>
                    <a:lnTo>
                      <a:pt x="89" y="112"/>
                    </a:lnTo>
                    <a:lnTo>
                      <a:pt x="91" y="115"/>
                    </a:lnTo>
                    <a:lnTo>
                      <a:pt x="93" y="116"/>
                    </a:lnTo>
                    <a:lnTo>
                      <a:pt x="93" y="116"/>
                    </a:lnTo>
                    <a:lnTo>
                      <a:pt x="93" y="116"/>
                    </a:lnTo>
                    <a:lnTo>
                      <a:pt x="91" y="116"/>
                    </a:lnTo>
                    <a:lnTo>
                      <a:pt x="91" y="116"/>
                    </a:lnTo>
                    <a:lnTo>
                      <a:pt x="88" y="116"/>
                    </a:lnTo>
                    <a:lnTo>
                      <a:pt x="88" y="116"/>
                    </a:lnTo>
                    <a:lnTo>
                      <a:pt x="87" y="116"/>
                    </a:lnTo>
                    <a:lnTo>
                      <a:pt x="86" y="116"/>
                    </a:lnTo>
                    <a:lnTo>
                      <a:pt x="86" y="116"/>
                    </a:lnTo>
                    <a:lnTo>
                      <a:pt x="84" y="119"/>
                    </a:lnTo>
                    <a:lnTo>
                      <a:pt x="83" y="121"/>
                    </a:lnTo>
                    <a:lnTo>
                      <a:pt x="79" y="123"/>
                    </a:lnTo>
                    <a:lnTo>
                      <a:pt x="78" y="123"/>
                    </a:lnTo>
                    <a:lnTo>
                      <a:pt x="78" y="123"/>
                    </a:lnTo>
                    <a:lnTo>
                      <a:pt x="75" y="123"/>
                    </a:lnTo>
                    <a:lnTo>
                      <a:pt x="75" y="123"/>
                    </a:lnTo>
                    <a:lnTo>
                      <a:pt x="71" y="123"/>
                    </a:lnTo>
                    <a:lnTo>
                      <a:pt x="68" y="121"/>
                    </a:lnTo>
                    <a:lnTo>
                      <a:pt x="66" y="120"/>
                    </a:lnTo>
                    <a:lnTo>
                      <a:pt x="64" y="117"/>
                    </a:lnTo>
                    <a:lnTo>
                      <a:pt x="64" y="115"/>
                    </a:lnTo>
                    <a:lnTo>
                      <a:pt x="62" y="116"/>
                    </a:lnTo>
                    <a:lnTo>
                      <a:pt x="60" y="116"/>
                    </a:lnTo>
                    <a:lnTo>
                      <a:pt x="58" y="115"/>
                    </a:lnTo>
                    <a:lnTo>
                      <a:pt x="58" y="115"/>
                    </a:lnTo>
                    <a:lnTo>
                      <a:pt x="51" y="109"/>
                    </a:lnTo>
                    <a:lnTo>
                      <a:pt x="51" y="109"/>
                    </a:lnTo>
                    <a:lnTo>
                      <a:pt x="46" y="106"/>
                    </a:lnTo>
                    <a:lnTo>
                      <a:pt x="45" y="103"/>
                    </a:lnTo>
                    <a:lnTo>
                      <a:pt x="45" y="103"/>
                    </a:lnTo>
                    <a:lnTo>
                      <a:pt x="45" y="103"/>
                    </a:lnTo>
                    <a:lnTo>
                      <a:pt x="45" y="103"/>
                    </a:lnTo>
                    <a:lnTo>
                      <a:pt x="41" y="102"/>
                    </a:lnTo>
                    <a:lnTo>
                      <a:pt x="39" y="100"/>
                    </a:lnTo>
                    <a:lnTo>
                      <a:pt x="39" y="100"/>
                    </a:lnTo>
                    <a:lnTo>
                      <a:pt x="39" y="100"/>
                    </a:lnTo>
                    <a:lnTo>
                      <a:pt x="35" y="100"/>
                    </a:lnTo>
                    <a:lnTo>
                      <a:pt x="34" y="99"/>
                    </a:lnTo>
                    <a:lnTo>
                      <a:pt x="34" y="99"/>
                    </a:lnTo>
                    <a:lnTo>
                      <a:pt x="31" y="100"/>
                    </a:lnTo>
                    <a:lnTo>
                      <a:pt x="31" y="100"/>
                    </a:lnTo>
                    <a:lnTo>
                      <a:pt x="30" y="102"/>
                    </a:lnTo>
                    <a:lnTo>
                      <a:pt x="23" y="106"/>
                    </a:lnTo>
                    <a:lnTo>
                      <a:pt x="23" y="106"/>
                    </a:lnTo>
                    <a:lnTo>
                      <a:pt x="26" y="104"/>
                    </a:lnTo>
                    <a:lnTo>
                      <a:pt x="27" y="103"/>
                    </a:lnTo>
                    <a:lnTo>
                      <a:pt x="27" y="103"/>
                    </a:lnTo>
                    <a:lnTo>
                      <a:pt x="25" y="106"/>
                    </a:lnTo>
                    <a:lnTo>
                      <a:pt x="23" y="107"/>
                    </a:lnTo>
                    <a:lnTo>
                      <a:pt x="19" y="108"/>
                    </a:lnTo>
                    <a:lnTo>
                      <a:pt x="19" y="108"/>
                    </a:lnTo>
                    <a:lnTo>
                      <a:pt x="18" y="107"/>
                    </a:lnTo>
                    <a:lnTo>
                      <a:pt x="18" y="107"/>
                    </a:lnTo>
                    <a:lnTo>
                      <a:pt x="17" y="107"/>
                    </a:lnTo>
                    <a:lnTo>
                      <a:pt x="17" y="107"/>
                    </a:lnTo>
                    <a:lnTo>
                      <a:pt x="17" y="107"/>
                    </a:lnTo>
                    <a:lnTo>
                      <a:pt x="17" y="107"/>
                    </a:lnTo>
                    <a:lnTo>
                      <a:pt x="11" y="102"/>
                    </a:lnTo>
                    <a:lnTo>
                      <a:pt x="11" y="102"/>
                    </a:lnTo>
                    <a:lnTo>
                      <a:pt x="11" y="100"/>
                    </a:lnTo>
                    <a:lnTo>
                      <a:pt x="5" y="100"/>
                    </a:lnTo>
                    <a:lnTo>
                      <a:pt x="0" y="94"/>
                    </a:lnTo>
                    <a:lnTo>
                      <a:pt x="0" y="94"/>
                    </a:lnTo>
                    <a:lnTo>
                      <a:pt x="0" y="88"/>
                    </a:lnTo>
                    <a:lnTo>
                      <a:pt x="2" y="86"/>
                    </a:lnTo>
                    <a:lnTo>
                      <a:pt x="2" y="86"/>
                    </a:lnTo>
                    <a:lnTo>
                      <a:pt x="2" y="84"/>
                    </a:lnTo>
                    <a:lnTo>
                      <a:pt x="2" y="83"/>
                    </a:lnTo>
                    <a:lnTo>
                      <a:pt x="5" y="79"/>
                    </a:lnTo>
                    <a:lnTo>
                      <a:pt x="5" y="79"/>
                    </a:lnTo>
                    <a:lnTo>
                      <a:pt x="8" y="75"/>
                    </a:lnTo>
                    <a:lnTo>
                      <a:pt x="9" y="70"/>
                    </a:lnTo>
                    <a:lnTo>
                      <a:pt x="15" y="63"/>
                    </a:lnTo>
                    <a:lnTo>
                      <a:pt x="15" y="63"/>
                    </a:lnTo>
                    <a:lnTo>
                      <a:pt x="17" y="63"/>
                    </a:lnTo>
                    <a:lnTo>
                      <a:pt x="17" y="63"/>
                    </a:lnTo>
                    <a:lnTo>
                      <a:pt x="14" y="65"/>
                    </a:lnTo>
                    <a:lnTo>
                      <a:pt x="13" y="67"/>
                    </a:lnTo>
                    <a:lnTo>
                      <a:pt x="19" y="62"/>
                    </a:lnTo>
                    <a:lnTo>
                      <a:pt x="19" y="62"/>
                    </a:lnTo>
                    <a:lnTo>
                      <a:pt x="19" y="62"/>
                    </a:lnTo>
                    <a:lnTo>
                      <a:pt x="21" y="61"/>
                    </a:lnTo>
                    <a:lnTo>
                      <a:pt x="21" y="61"/>
                    </a:lnTo>
                    <a:lnTo>
                      <a:pt x="27" y="61"/>
                    </a:lnTo>
                    <a:lnTo>
                      <a:pt x="27" y="61"/>
                    </a:lnTo>
                    <a:lnTo>
                      <a:pt x="29" y="62"/>
                    </a:lnTo>
                    <a:lnTo>
                      <a:pt x="29" y="62"/>
                    </a:lnTo>
                    <a:lnTo>
                      <a:pt x="27" y="62"/>
                    </a:lnTo>
                    <a:lnTo>
                      <a:pt x="26" y="65"/>
                    </a:lnTo>
                    <a:lnTo>
                      <a:pt x="31" y="61"/>
                    </a:lnTo>
                    <a:lnTo>
                      <a:pt x="31" y="61"/>
                    </a:lnTo>
                    <a:lnTo>
                      <a:pt x="35" y="61"/>
                    </a:lnTo>
                    <a:lnTo>
                      <a:pt x="35" y="61"/>
                    </a:lnTo>
                    <a:lnTo>
                      <a:pt x="37" y="61"/>
                    </a:lnTo>
                    <a:lnTo>
                      <a:pt x="37" y="61"/>
                    </a:lnTo>
                    <a:lnTo>
                      <a:pt x="35" y="61"/>
                    </a:lnTo>
                    <a:lnTo>
                      <a:pt x="33" y="65"/>
                    </a:lnTo>
                    <a:lnTo>
                      <a:pt x="39" y="59"/>
                    </a:lnTo>
                    <a:lnTo>
                      <a:pt x="39" y="59"/>
                    </a:lnTo>
                    <a:lnTo>
                      <a:pt x="43" y="59"/>
                    </a:lnTo>
                    <a:lnTo>
                      <a:pt x="43" y="58"/>
                    </a:lnTo>
                    <a:lnTo>
                      <a:pt x="43" y="58"/>
                    </a:lnTo>
                    <a:lnTo>
                      <a:pt x="47" y="57"/>
                    </a:lnTo>
                    <a:lnTo>
                      <a:pt x="51" y="57"/>
                    </a:lnTo>
                    <a:lnTo>
                      <a:pt x="51" y="57"/>
                    </a:lnTo>
                    <a:lnTo>
                      <a:pt x="52" y="57"/>
                    </a:lnTo>
                    <a:lnTo>
                      <a:pt x="52" y="57"/>
                    </a:lnTo>
                    <a:lnTo>
                      <a:pt x="62" y="53"/>
                    </a:lnTo>
                    <a:lnTo>
                      <a:pt x="70" y="49"/>
                    </a:lnTo>
                    <a:lnTo>
                      <a:pt x="71" y="47"/>
                    </a:lnTo>
                    <a:lnTo>
                      <a:pt x="72" y="46"/>
                    </a:lnTo>
                    <a:lnTo>
                      <a:pt x="72" y="46"/>
                    </a:lnTo>
                    <a:lnTo>
                      <a:pt x="78" y="45"/>
                    </a:lnTo>
                    <a:lnTo>
                      <a:pt x="78" y="45"/>
                    </a:lnTo>
                    <a:lnTo>
                      <a:pt x="82" y="42"/>
                    </a:lnTo>
                    <a:lnTo>
                      <a:pt x="87" y="39"/>
                    </a:lnTo>
                    <a:lnTo>
                      <a:pt x="87" y="39"/>
                    </a:lnTo>
                    <a:lnTo>
                      <a:pt x="89" y="39"/>
                    </a:lnTo>
                    <a:lnTo>
                      <a:pt x="89" y="39"/>
                    </a:lnTo>
                    <a:lnTo>
                      <a:pt x="91" y="39"/>
                    </a:lnTo>
                    <a:lnTo>
                      <a:pt x="92" y="38"/>
                    </a:lnTo>
                    <a:lnTo>
                      <a:pt x="92" y="38"/>
                    </a:lnTo>
                    <a:lnTo>
                      <a:pt x="95" y="37"/>
                    </a:lnTo>
                    <a:lnTo>
                      <a:pt x="99" y="35"/>
                    </a:lnTo>
                    <a:lnTo>
                      <a:pt x="99" y="35"/>
                    </a:lnTo>
                    <a:lnTo>
                      <a:pt x="100" y="35"/>
                    </a:lnTo>
                    <a:lnTo>
                      <a:pt x="100" y="35"/>
                    </a:lnTo>
                    <a:lnTo>
                      <a:pt x="105" y="37"/>
                    </a:lnTo>
                    <a:lnTo>
                      <a:pt x="108" y="38"/>
                    </a:lnTo>
                    <a:lnTo>
                      <a:pt x="108" y="38"/>
                    </a:lnTo>
                    <a:lnTo>
                      <a:pt x="109" y="38"/>
                    </a:lnTo>
                    <a:lnTo>
                      <a:pt x="112" y="39"/>
                    </a:lnTo>
                    <a:lnTo>
                      <a:pt x="112" y="39"/>
                    </a:lnTo>
                    <a:lnTo>
                      <a:pt x="113" y="39"/>
                    </a:lnTo>
                    <a:lnTo>
                      <a:pt x="113" y="39"/>
                    </a:lnTo>
                    <a:lnTo>
                      <a:pt x="113" y="39"/>
                    </a:lnTo>
                    <a:lnTo>
                      <a:pt x="116" y="39"/>
                    </a:lnTo>
                    <a:lnTo>
                      <a:pt x="116" y="39"/>
                    </a:lnTo>
                    <a:lnTo>
                      <a:pt x="113" y="41"/>
                    </a:lnTo>
                    <a:lnTo>
                      <a:pt x="112" y="43"/>
                    </a:lnTo>
                    <a:lnTo>
                      <a:pt x="117" y="38"/>
                    </a:lnTo>
                    <a:lnTo>
                      <a:pt x="120" y="38"/>
                    </a:lnTo>
                    <a:lnTo>
                      <a:pt x="120" y="38"/>
                    </a:lnTo>
                    <a:lnTo>
                      <a:pt x="121" y="38"/>
                    </a:lnTo>
                    <a:lnTo>
                      <a:pt x="121" y="38"/>
                    </a:lnTo>
                    <a:lnTo>
                      <a:pt x="125" y="38"/>
                    </a:lnTo>
                    <a:lnTo>
                      <a:pt x="125" y="38"/>
                    </a:lnTo>
                    <a:lnTo>
                      <a:pt x="126" y="38"/>
                    </a:lnTo>
                    <a:lnTo>
                      <a:pt x="126" y="38"/>
                    </a:lnTo>
                    <a:lnTo>
                      <a:pt x="125" y="39"/>
                    </a:lnTo>
                    <a:lnTo>
                      <a:pt x="124" y="42"/>
                    </a:lnTo>
                    <a:lnTo>
                      <a:pt x="129" y="37"/>
                    </a:lnTo>
                    <a:lnTo>
                      <a:pt x="133" y="37"/>
                    </a:lnTo>
                    <a:lnTo>
                      <a:pt x="133" y="37"/>
                    </a:lnTo>
                    <a:lnTo>
                      <a:pt x="134" y="37"/>
                    </a:lnTo>
                    <a:lnTo>
                      <a:pt x="134" y="37"/>
                    </a:lnTo>
                    <a:lnTo>
                      <a:pt x="136" y="37"/>
                    </a:lnTo>
                    <a:lnTo>
                      <a:pt x="136" y="37"/>
                    </a:lnTo>
                    <a:lnTo>
                      <a:pt x="136" y="38"/>
                    </a:lnTo>
                    <a:lnTo>
                      <a:pt x="141" y="34"/>
                    </a:lnTo>
                    <a:lnTo>
                      <a:pt x="141" y="34"/>
                    </a:lnTo>
                    <a:lnTo>
                      <a:pt x="142" y="34"/>
                    </a:lnTo>
                    <a:lnTo>
                      <a:pt x="142" y="34"/>
                    </a:lnTo>
                    <a:lnTo>
                      <a:pt x="150" y="33"/>
                    </a:lnTo>
                    <a:lnTo>
                      <a:pt x="150" y="33"/>
                    </a:lnTo>
                    <a:lnTo>
                      <a:pt x="153" y="33"/>
                    </a:lnTo>
                    <a:lnTo>
                      <a:pt x="153" y="33"/>
                    </a:lnTo>
                    <a:lnTo>
                      <a:pt x="161" y="33"/>
                    </a:lnTo>
                    <a:lnTo>
                      <a:pt x="161" y="33"/>
                    </a:lnTo>
                    <a:lnTo>
                      <a:pt x="162" y="33"/>
                    </a:lnTo>
                    <a:lnTo>
                      <a:pt x="162" y="33"/>
                    </a:lnTo>
                    <a:lnTo>
                      <a:pt x="161" y="34"/>
                    </a:lnTo>
                    <a:lnTo>
                      <a:pt x="158" y="37"/>
                    </a:lnTo>
                    <a:lnTo>
                      <a:pt x="162" y="35"/>
                    </a:lnTo>
                    <a:lnTo>
                      <a:pt x="169" y="31"/>
                    </a:lnTo>
                    <a:lnTo>
                      <a:pt x="169" y="31"/>
                    </a:lnTo>
                    <a:lnTo>
                      <a:pt x="169" y="31"/>
                    </a:lnTo>
                    <a:lnTo>
                      <a:pt x="169" y="31"/>
                    </a:lnTo>
                    <a:lnTo>
                      <a:pt x="170" y="30"/>
                    </a:lnTo>
                    <a:lnTo>
                      <a:pt x="170" y="30"/>
                    </a:lnTo>
                    <a:lnTo>
                      <a:pt x="173" y="30"/>
                    </a:lnTo>
                    <a:lnTo>
                      <a:pt x="175" y="29"/>
                    </a:lnTo>
                    <a:lnTo>
                      <a:pt x="175" y="29"/>
                    </a:lnTo>
                    <a:lnTo>
                      <a:pt x="178" y="29"/>
                    </a:lnTo>
                    <a:lnTo>
                      <a:pt x="181" y="30"/>
                    </a:lnTo>
                    <a:lnTo>
                      <a:pt x="181" y="30"/>
                    </a:lnTo>
                    <a:lnTo>
                      <a:pt x="178" y="30"/>
                    </a:lnTo>
                    <a:lnTo>
                      <a:pt x="178" y="31"/>
                    </a:lnTo>
                    <a:lnTo>
                      <a:pt x="182" y="29"/>
                    </a:lnTo>
                    <a:lnTo>
                      <a:pt x="182" y="29"/>
                    </a:lnTo>
                    <a:lnTo>
                      <a:pt x="185" y="29"/>
                    </a:lnTo>
                    <a:lnTo>
                      <a:pt x="185" y="29"/>
                    </a:lnTo>
                    <a:lnTo>
                      <a:pt x="186" y="29"/>
                    </a:lnTo>
                    <a:lnTo>
                      <a:pt x="186" y="29"/>
                    </a:lnTo>
                    <a:lnTo>
                      <a:pt x="185" y="29"/>
                    </a:lnTo>
                    <a:lnTo>
                      <a:pt x="183" y="33"/>
                    </a:lnTo>
                    <a:lnTo>
                      <a:pt x="189" y="28"/>
                    </a:lnTo>
                    <a:lnTo>
                      <a:pt x="191" y="28"/>
                    </a:lnTo>
                    <a:lnTo>
                      <a:pt x="191" y="28"/>
                    </a:lnTo>
                    <a:lnTo>
                      <a:pt x="193" y="26"/>
                    </a:lnTo>
                    <a:lnTo>
                      <a:pt x="193" y="26"/>
                    </a:lnTo>
                    <a:lnTo>
                      <a:pt x="195" y="28"/>
                    </a:lnTo>
                    <a:lnTo>
                      <a:pt x="195" y="28"/>
                    </a:lnTo>
                    <a:lnTo>
                      <a:pt x="197" y="28"/>
                    </a:lnTo>
                    <a:lnTo>
                      <a:pt x="197" y="28"/>
                    </a:lnTo>
                    <a:lnTo>
                      <a:pt x="194" y="29"/>
                    </a:lnTo>
                    <a:lnTo>
                      <a:pt x="193" y="31"/>
                    </a:lnTo>
                    <a:lnTo>
                      <a:pt x="199" y="26"/>
                    </a:lnTo>
                    <a:lnTo>
                      <a:pt x="210" y="26"/>
                    </a:lnTo>
                    <a:lnTo>
                      <a:pt x="210" y="26"/>
                    </a:lnTo>
                    <a:lnTo>
                      <a:pt x="211" y="26"/>
                    </a:lnTo>
                    <a:lnTo>
                      <a:pt x="211" y="26"/>
                    </a:lnTo>
                    <a:lnTo>
                      <a:pt x="215" y="26"/>
                    </a:lnTo>
                    <a:lnTo>
                      <a:pt x="218" y="28"/>
                    </a:lnTo>
                    <a:lnTo>
                      <a:pt x="218" y="28"/>
                    </a:lnTo>
                    <a:lnTo>
                      <a:pt x="218" y="28"/>
                    </a:lnTo>
                    <a:lnTo>
                      <a:pt x="226" y="34"/>
                    </a:lnTo>
                    <a:lnTo>
                      <a:pt x="226" y="34"/>
                    </a:lnTo>
                    <a:lnTo>
                      <a:pt x="226" y="33"/>
                    </a:lnTo>
                    <a:lnTo>
                      <a:pt x="227" y="34"/>
                    </a:lnTo>
                    <a:lnTo>
                      <a:pt x="227" y="34"/>
                    </a:lnTo>
                    <a:lnTo>
                      <a:pt x="226" y="31"/>
                    </a:lnTo>
                    <a:lnTo>
                      <a:pt x="226" y="31"/>
                    </a:lnTo>
                    <a:lnTo>
                      <a:pt x="224" y="30"/>
                    </a:lnTo>
                    <a:lnTo>
                      <a:pt x="224" y="30"/>
                    </a:lnTo>
                    <a:lnTo>
                      <a:pt x="224" y="30"/>
                    </a:lnTo>
                    <a:lnTo>
                      <a:pt x="224" y="30"/>
                    </a:lnTo>
                    <a:lnTo>
                      <a:pt x="223" y="29"/>
                    </a:lnTo>
                    <a:lnTo>
                      <a:pt x="223" y="29"/>
                    </a:lnTo>
                    <a:lnTo>
                      <a:pt x="226" y="29"/>
                    </a:lnTo>
                    <a:lnTo>
                      <a:pt x="226" y="29"/>
                    </a:lnTo>
                    <a:lnTo>
                      <a:pt x="228" y="29"/>
                    </a:lnTo>
                    <a:lnTo>
                      <a:pt x="228" y="29"/>
                    </a:lnTo>
                    <a:lnTo>
                      <a:pt x="232" y="29"/>
                    </a:lnTo>
                    <a:lnTo>
                      <a:pt x="232" y="29"/>
                    </a:lnTo>
                    <a:lnTo>
                      <a:pt x="234" y="29"/>
                    </a:lnTo>
                    <a:lnTo>
                      <a:pt x="235" y="29"/>
                    </a:lnTo>
                    <a:lnTo>
                      <a:pt x="235" y="29"/>
                    </a:lnTo>
                    <a:lnTo>
                      <a:pt x="240" y="26"/>
                    </a:lnTo>
                    <a:lnTo>
                      <a:pt x="247" y="26"/>
                    </a:lnTo>
                    <a:lnTo>
                      <a:pt x="261" y="26"/>
                    </a:lnTo>
                    <a:lnTo>
                      <a:pt x="264" y="26"/>
                    </a:lnTo>
                    <a:lnTo>
                      <a:pt x="264" y="26"/>
                    </a:lnTo>
                    <a:lnTo>
                      <a:pt x="265" y="26"/>
                    </a:lnTo>
                    <a:lnTo>
                      <a:pt x="265" y="26"/>
                    </a:lnTo>
                    <a:lnTo>
                      <a:pt x="275" y="25"/>
                    </a:lnTo>
                    <a:lnTo>
                      <a:pt x="275" y="25"/>
                    </a:lnTo>
                    <a:lnTo>
                      <a:pt x="284" y="24"/>
                    </a:lnTo>
                    <a:lnTo>
                      <a:pt x="284" y="24"/>
                    </a:lnTo>
                    <a:lnTo>
                      <a:pt x="286" y="24"/>
                    </a:lnTo>
                    <a:lnTo>
                      <a:pt x="286" y="24"/>
                    </a:lnTo>
                    <a:lnTo>
                      <a:pt x="288" y="24"/>
                    </a:lnTo>
                    <a:lnTo>
                      <a:pt x="288" y="24"/>
                    </a:lnTo>
                    <a:lnTo>
                      <a:pt x="286" y="25"/>
                    </a:lnTo>
                    <a:lnTo>
                      <a:pt x="285" y="28"/>
                    </a:lnTo>
                    <a:lnTo>
                      <a:pt x="290" y="22"/>
                    </a:lnTo>
                    <a:lnTo>
                      <a:pt x="298" y="22"/>
                    </a:lnTo>
                    <a:lnTo>
                      <a:pt x="298" y="22"/>
                    </a:lnTo>
                    <a:lnTo>
                      <a:pt x="308" y="20"/>
                    </a:lnTo>
                    <a:lnTo>
                      <a:pt x="314" y="16"/>
                    </a:lnTo>
                    <a:lnTo>
                      <a:pt x="316" y="14"/>
                    </a:lnTo>
                    <a:lnTo>
                      <a:pt x="316" y="14"/>
                    </a:lnTo>
                    <a:lnTo>
                      <a:pt x="320" y="14"/>
                    </a:lnTo>
                    <a:lnTo>
                      <a:pt x="320" y="14"/>
                    </a:lnTo>
                    <a:lnTo>
                      <a:pt x="323" y="14"/>
                    </a:lnTo>
                    <a:lnTo>
                      <a:pt x="323" y="14"/>
                    </a:lnTo>
                    <a:lnTo>
                      <a:pt x="326" y="14"/>
                    </a:lnTo>
                    <a:lnTo>
                      <a:pt x="326" y="14"/>
                    </a:lnTo>
                    <a:lnTo>
                      <a:pt x="327" y="14"/>
                    </a:lnTo>
                    <a:lnTo>
                      <a:pt x="327" y="14"/>
                    </a:lnTo>
                    <a:lnTo>
                      <a:pt x="326" y="16"/>
                    </a:lnTo>
                    <a:lnTo>
                      <a:pt x="333" y="13"/>
                    </a:lnTo>
                    <a:lnTo>
                      <a:pt x="333" y="13"/>
                    </a:lnTo>
                    <a:lnTo>
                      <a:pt x="333" y="13"/>
                    </a:lnTo>
                    <a:lnTo>
                      <a:pt x="333" y="13"/>
                    </a:lnTo>
                    <a:lnTo>
                      <a:pt x="333" y="13"/>
                    </a:lnTo>
                    <a:lnTo>
                      <a:pt x="333" y="13"/>
                    </a:lnTo>
                    <a:lnTo>
                      <a:pt x="335" y="12"/>
                    </a:lnTo>
                    <a:lnTo>
                      <a:pt x="339" y="12"/>
                    </a:lnTo>
                    <a:lnTo>
                      <a:pt x="339" y="12"/>
                    </a:lnTo>
                    <a:lnTo>
                      <a:pt x="341" y="12"/>
                    </a:lnTo>
                    <a:lnTo>
                      <a:pt x="342" y="12"/>
                    </a:lnTo>
                    <a:lnTo>
                      <a:pt x="342" y="12"/>
                    </a:lnTo>
                    <a:lnTo>
                      <a:pt x="341" y="13"/>
                    </a:lnTo>
                    <a:lnTo>
                      <a:pt x="341" y="14"/>
                    </a:lnTo>
                    <a:lnTo>
                      <a:pt x="345" y="12"/>
                    </a:lnTo>
                    <a:lnTo>
                      <a:pt x="345" y="10"/>
                    </a:lnTo>
                    <a:lnTo>
                      <a:pt x="345" y="10"/>
                    </a:lnTo>
                    <a:lnTo>
                      <a:pt x="345" y="10"/>
                    </a:lnTo>
                    <a:lnTo>
                      <a:pt x="345" y="10"/>
                    </a:lnTo>
                    <a:lnTo>
                      <a:pt x="346" y="10"/>
                    </a:lnTo>
                    <a:lnTo>
                      <a:pt x="346" y="10"/>
                    </a:lnTo>
                    <a:lnTo>
                      <a:pt x="347" y="10"/>
                    </a:lnTo>
                    <a:lnTo>
                      <a:pt x="347" y="10"/>
                    </a:lnTo>
                    <a:lnTo>
                      <a:pt x="350" y="10"/>
                    </a:lnTo>
                    <a:lnTo>
                      <a:pt x="350" y="10"/>
                    </a:lnTo>
                    <a:lnTo>
                      <a:pt x="351" y="10"/>
                    </a:lnTo>
                    <a:lnTo>
                      <a:pt x="351" y="10"/>
                    </a:lnTo>
                    <a:lnTo>
                      <a:pt x="350" y="10"/>
                    </a:lnTo>
                    <a:lnTo>
                      <a:pt x="349" y="12"/>
                    </a:lnTo>
                    <a:lnTo>
                      <a:pt x="349" y="12"/>
                    </a:lnTo>
                    <a:lnTo>
                      <a:pt x="347" y="16"/>
                    </a:lnTo>
                    <a:lnTo>
                      <a:pt x="353" y="9"/>
                    </a:lnTo>
                    <a:lnTo>
                      <a:pt x="353" y="9"/>
                    </a:lnTo>
                    <a:lnTo>
                      <a:pt x="355" y="9"/>
                    </a:lnTo>
                    <a:lnTo>
                      <a:pt x="355" y="9"/>
                    </a:lnTo>
                    <a:lnTo>
                      <a:pt x="355" y="9"/>
                    </a:lnTo>
                    <a:lnTo>
                      <a:pt x="359" y="8"/>
                    </a:lnTo>
                    <a:lnTo>
                      <a:pt x="363" y="6"/>
                    </a:lnTo>
                    <a:lnTo>
                      <a:pt x="363" y="6"/>
                    </a:lnTo>
                    <a:lnTo>
                      <a:pt x="366" y="6"/>
                    </a:lnTo>
                    <a:lnTo>
                      <a:pt x="368" y="6"/>
                    </a:lnTo>
                    <a:lnTo>
                      <a:pt x="368" y="6"/>
                    </a:lnTo>
                    <a:lnTo>
                      <a:pt x="366" y="8"/>
                    </a:lnTo>
                    <a:lnTo>
                      <a:pt x="366" y="9"/>
                    </a:lnTo>
                    <a:lnTo>
                      <a:pt x="370" y="5"/>
                    </a:lnTo>
                    <a:lnTo>
                      <a:pt x="371" y="5"/>
                    </a:lnTo>
                    <a:lnTo>
                      <a:pt x="371" y="5"/>
                    </a:lnTo>
                    <a:lnTo>
                      <a:pt x="375" y="4"/>
                    </a:lnTo>
                    <a:lnTo>
                      <a:pt x="379" y="1"/>
                    </a:lnTo>
                    <a:lnTo>
                      <a:pt x="383" y="0"/>
                    </a:lnTo>
                    <a:lnTo>
                      <a:pt x="392" y="0"/>
                    </a:lnTo>
                    <a:lnTo>
                      <a:pt x="392" y="0"/>
                    </a:lnTo>
                    <a:lnTo>
                      <a:pt x="392" y="0"/>
                    </a:lnTo>
                    <a:lnTo>
                      <a:pt x="408" y="4"/>
                    </a:lnTo>
                    <a:lnTo>
                      <a:pt x="421" y="8"/>
                    </a:lnTo>
                    <a:lnTo>
                      <a:pt x="421" y="8"/>
                    </a:lnTo>
                    <a:lnTo>
                      <a:pt x="428" y="10"/>
                    </a:lnTo>
                    <a:lnTo>
                      <a:pt x="431" y="12"/>
                    </a:lnTo>
                    <a:lnTo>
                      <a:pt x="431" y="12"/>
                    </a:lnTo>
                    <a:lnTo>
                      <a:pt x="439" y="17"/>
                    </a:lnTo>
                    <a:lnTo>
                      <a:pt x="440" y="17"/>
                    </a:lnTo>
                    <a:lnTo>
                      <a:pt x="439" y="18"/>
                    </a:lnTo>
                    <a:lnTo>
                      <a:pt x="440" y="18"/>
                    </a:lnTo>
                    <a:lnTo>
                      <a:pt x="440" y="18"/>
                    </a:lnTo>
                    <a:lnTo>
                      <a:pt x="440" y="18"/>
                    </a:lnTo>
                    <a:lnTo>
                      <a:pt x="442" y="20"/>
                    </a:lnTo>
                    <a:lnTo>
                      <a:pt x="445" y="22"/>
                    </a:lnTo>
                    <a:lnTo>
                      <a:pt x="445" y="22"/>
                    </a:lnTo>
                    <a:lnTo>
                      <a:pt x="449" y="24"/>
                    </a:lnTo>
                    <a:lnTo>
                      <a:pt x="449" y="24"/>
                    </a:lnTo>
                    <a:lnTo>
                      <a:pt x="449" y="24"/>
                    </a:lnTo>
                    <a:lnTo>
                      <a:pt x="450" y="24"/>
                    </a:lnTo>
                    <a:lnTo>
                      <a:pt x="453" y="24"/>
                    </a:lnTo>
                    <a:lnTo>
                      <a:pt x="457" y="26"/>
                    </a:lnTo>
                    <a:lnTo>
                      <a:pt x="457" y="26"/>
                    </a:lnTo>
                    <a:lnTo>
                      <a:pt x="457" y="28"/>
                    </a:lnTo>
                    <a:lnTo>
                      <a:pt x="458" y="28"/>
                    </a:lnTo>
                    <a:lnTo>
                      <a:pt x="458" y="28"/>
                    </a:lnTo>
                    <a:lnTo>
                      <a:pt x="458" y="28"/>
                    </a:lnTo>
                    <a:lnTo>
                      <a:pt x="458" y="26"/>
                    </a:lnTo>
                    <a:lnTo>
                      <a:pt x="464" y="24"/>
                    </a:lnTo>
                    <a:lnTo>
                      <a:pt x="482" y="24"/>
                    </a:lnTo>
                    <a:lnTo>
                      <a:pt x="489" y="30"/>
                    </a:lnTo>
                    <a:lnTo>
                      <a:pt x="489" y="30"/>
                    </a:lnTo>
                    <a:lnTo>
                      <a:pt x="487" y="26"/>
                    </a:lnTo>
                    <a:lnTo>
                      <a:pt x="487" y="26"/>
                    </a:lnTo>
                    <a:lnTo>
                      <a:pt x="485" y="25"/>
                    </a:lnTo>
                    <a:lnTo>
                      <a:pt x="483" y="25"/>
                    </a:lnTo>
                    <a:lnTo>
                      <a:pt x="483" y="25"/>
                    </a:lnTo>
                    <a:lnTo>
                      <a:pt x="485" y="25"/>
                    </a:lnTo>
                    <a:lnTo>
                      <a:pt x="485" y="25"/>
                    </a:lnTo>
                    <a:lnTo>
                      <a:pt x="487" y="25"/>
                    </a:lnTo>
                    <a:lnTo>
                      <a:pt x="487" y="25"/>
                    </a:lnTo>
                    <a:lnTo>
                      <a:pt x="489" y="25"/>
                    </a:lnTo>
                    <a:lnTo>
                      <a:pt x="491" y="25"/>
                    </a:lnTo>
                    <a:lnTo>
                      <a:pt x="494" y="25"/>
                    </a:lnTo>
                    <a:lnTo>
                      <a:pt x="494" y="25"/>
                    </a:lnTo>
                    <a:lnTo>
                      <a:pt x="501" y="26"/>
                    </a:lnTo>
                    <a:lnTo>
                      <a:pt x="501" y="26"/>
                    </a:lnTo>
                    <a:lnTo>
                      <a:pt x="507" y="26"/>
                    </a:lnTo>
                    <a:lnTo>
                      <a:pt x="507" y="26"/>
                    </a:lnTo>
                    <a:lnTo>
                      <a:pt x="514" y="25"/>
                    </a:lnTo>
                    <a:lnTo>
                      <a:pt x="514" y="25"/>
                    </a:lnTo>
                    <a:lnTo>
                      <a:pt x="518" y="26"/>
                    </a:lnTo>
                    <a:lnTo>
                      <a:pt x="536" y="26"/>
                    </a:lnTo>
                    <a:lnTo>
                      <a:pt x="543" y="30"/>
                    </a:lnTo>
                    <a:lnTo>
                      <a:pt x="543" y="30"/>
                    </a:lnTo>
                    <a:lnTo>
                      <a:pt x="542" y="28"/>
                    </a:lnTo>
                    <a:lnTo>
                      <a:pt x="539" y="28"/>
                    </a:lnTo>
                    <a:lnTo>
                      <a:pt x="539" y="28"/>
                    </a:lnTo>
                    <a:lnTo>
                      <a:pt x="540" y="28"/>
                    </a:lnTo>
                    <a:lnTo>
                      <a:pt x="540" y="28"/>
                    </a:lnTo>
                    <a:lnTo>
                      <a:pt x="542" y="28"/>
                    </a:lnTo>
                    <a:lnTo>
                      <a:pt x="542" y="28"/>
                    </a:lnTo>
                    <a:lnTo>
                      <a:pt x="546" y="26"/>
                    </a:lnTo>
                    <a:lnTo>
                      <a:pt x="546" y="26"/>
                    </a:lnTo>
                    <a:lnTo>
                      <a:pt x="547" y="28"/>
                    </a:lnTo>
                    <a:lnTo>
                      <a:pt x="550" y="28"/>
                    </a:lnTo>
                    <a:lnTo>
                      <a:pt x="554" y="30"/>
                    </a:lnTo>
                    <a:lnTo>
                      <a:pt x="554" y="30"/>
                    </a:lnTo>
                    <a:lnTo>
                      <a:pt x="552" y="33"/>
                    </a:lnTo>
                    <a:lnTo>
                      <a:pt x="554" y="31"/>
                    </a:lnTo>
                    <a:lnTo>
                      <a:pt x="555" y="33"/>
                    </a:lnTo>
                    <a:lnTo>
                      <a:pt x="555" y="33"/>
                    </a:lnTo>
                    <a:lnTo>
                      <a:pt x="555" y="30"/>
                    </a:lnTo>
                    <a:lnTo>
                      <a:pt x="556" y="28"/>
                    </a:lnTo>
                    <a:lnTo>
                      <a:pt x="556" y="28"/>
                    </a:lnTo>
                    <a:lnTo>
                      <a:pt x="563" y="25"/>
                    </a:lnTo>
                    <a:lnTo>
                      <a:pt x="563" y="25"/>
                    </a:lnTo>
                    <a:lnTo>
                      <a:pt x="572" y="22"/>
                    </a:lnTo>
                    <a:lnTo>
                      <a:pt x="583" y="21"/>
                    </a:lnTo>
                    <a:lnTo>
                      <a:pt x="583" y="21"/>
                    </a:lnTo>
                    <a:lnTo>
                      <a:pt x="585" y="21"/>
                    </a:lnTo>
                    <a:lnTo>
                      <a:pt x="585" y="21"/>
                    </a:lnTo>
                    <a:lnTo>
                      <a:pt x="589" y="21"/>
                    </a:lnTo>
                    <a:lnTo>
                      <a:pt x="589" y="21"/>
                    </a:lnTo>
                    <a:lnTo>
                      <a:pt x="592" y="21"/>
                    </a:lnTo>
                    <a:lnTo>
                      <a:pt x="592" y="21"/>
                    </a:lnTo>
                    <a:lnTo>
                      <a:pt x="593" y="21"/>
                    </a:lnTo>
                    <a:lnTo>
                      <a:pt x="593" y="21"/>
                    </a:lnTo>
                    <a:lnTo>
                      <a:pt x="592" y="22"/>
                    </a:lnTo>
                    <a:lnTo>
                      <a:pt x="596" y="20"/>
                    </a:lnTo>
                    <a:lnTo>
                      <a:pt x="597" y="20"/>
                    </a:lnTo>
                    <a:lnTo>
                      <a:pt x="597" y="20"/>
                    </a:lnTo>
                    <a:lnTo>
                      <a:pt x="600" y="17"/>
                    </a:lnTo>
                    <a:lnTo>
                      <a:pt x="600" y="17"/>
                    </a:lnTo>
                    <a:lnTo>
                      <a:pt x="602" y="17"/>
                    </a:lnTo>
                    <a:lnTo>
                      <a:pt x="605" y="16"/>
                    </a:lnTo>
                    <a:lnTo>
                      <a:pt x="638" y="16"/>
                    </a:lnTo>
                    <a:lnTo>
                      <a:pt x="643" y="18"/>
                    </a:lnTo>
                    <a:lnTo>
                      <a:pt x="643" y="18"/>
                    </a:lnTo>
                    <a:lnTo>
                      <a:pt x="646" y="21"/>
                    </a:lnTo>
                    <a:lnTo>
                      <a:pt x="647" y="24"/>
                    </a:lnTo>
                    <a:lnTo>
                      <a:pt x="647" y="24"/>
                    </a:lnTo>
                    <a:lnTo>
                      <a:pt x="647" y="24"/>
                    </a:lnTo>
                    <a:lnTo>
                      <a:pt x="650" y="28"/>
                    </a:lnTo>
                    <a:lnTo>
                      <a:pt x="650" y="28"/>
                    </a:lnTo>
                    <a:lnTo>
                      <a:pt x="651" y="30"/>
                    </a:lnTo>
                    <a:lnTo>
                      <a:pt x="654" y="34"/>
                    </a:lnTo>
                    <a:lnTo>
                      <a:pt x="654" y="34"/>
                    </a:lnTo>
                    <a:lnTo>
                      <a:pt x="658" y="33"/>
                    </a:lnTo>
                    <a:lnTo>
                      <a:pt x="658" y="33"/>
                    </a:lnTo>
                    <a:lnTo>
                      <a:pt x="662" y="31"/>
                    </a:lnTo>
                    <a:lnTo>
                      <a:pt x="663" y="30"/>
                    </a:lnTo>
                    <a:lnTo>
                      <a:pt x="674" y="30"/>
                    </a:lnTo>
                    <a:lnTo>
                      <a:pt x="678" y="34"/>
                    </a:lnTo>
                    <a:lnTo>
                      <a:pt x="678" y="34"/>
                    </a:lnTo>
                    <a:lnTo>
                      <a:pt x="677" y="37"/>
                    </a:lnTo>
                    <a:lnTo>
                      <a:pt x="678" y="35"/>
                    </a:lnTo>
                    <a:lnTo>
                      <a:pt x="679" y="37"/>
                    </a:lnTo>
                    <a:lnTo>
                      <a:pt x="679" y="37"/>
                    </a:lnTo>
                    <a:lnTo>
                      <a:pt x="679" y="34"/>
                    </a:lnTo>
                    <a:lnTo>
                      <a:pt x="683" y="30"/>
                    </a:lnTo>
                    <a:lnTo>
                      <a:pt x="684" y="30"/>
                    </a:lnTo>
                    <a:lnTo>
                      <a:pt x="688" y="34"/>
                    </a:lnTo>
                    <a:lnTo>
                      <a:pt x="688" y="34"/>
                    </a:lnTo>
                    <a:lnTo>
                      <a:pt x="691" y="37"/>
                    </a:lnTo>
                    <a:lnTo>
                      <a:pt x="694" y="37"/>
                    </a:lnTo>
                    <a:lnTo>
                      <a:pt x="694" y="37"/>
                    </a:lnTo>
                    <a:lnTo>
                      <a:pt x="699" y="39"/>
                    </a:lnTo>
                    <a:lnTo>
                      <a:pt x="699" y="39"/>
                    </a:lnTo>
                    <a:lnTo>
                      <a:pt x="699" y="39"/>
                    </a:lnTo>
                    <a:lnTo>
                      <a:pt x="699" y="39"/>
                    </a:lnTo>
                    <a:lnTo>
                      <a:pt x="699" y="39"/>
                    </a:lnTo>
                    <a:lnTo>
                      <a:pt x="699" y="39"/>
                    </a:lnTo>
                    <a:lnTo>
                      <a:pt x="699" y="39"/>
                    </a:lnTo>
                    <a:lnTo>
                      <a:pt x="699" y="39"/>
                    </a:lnTo>
                    <a:lnTo>
                      <a:pt x="699" y="39"/>
                    </a:lnTo>
                    <a:lnTo>
                      <a:pt x="704" y="41"/>
                    </a:lnTo>
                    <a:lnTo>
                      <a:pt x="707" y="42"/>
                    </a:lnTo>
                    <a:lnTo>
                      <a:pt x="707" y="42"/>
                    </a:lnTo>
                    <a:lnTo>
                      <a:pt x="707" y="42"/>
                    </a:lnTo>
                    <a:lnTo>
                      <a:pt x="708" y="43"/>
                    </a:lnTo>
                    <a:lnTo>
                      <a:pt x="708" y="43"/>
                    </a:lnTo>
                    <a:lnTo>
                      <a:pt x="707" y="43"/>
                    </a:lnTo>
                    <a:lnTo>
                      <a:pt x="708" y="45"/>
                    </a:lnTo>
                    <a:lnTo>
                      <a:pt x="711" y="50"/>
                    </a:lnTo>
                    <a:lnTo>
                      <a:pt x="711" y="50"/>
                    </a:lnTo>
                    <a:lnTo>
                      <a:pt x="711" y="47"/>
                    </a:lnTo>
                    <a:lnTo>
                      <a:pt x="712" y="50"/>
                    </a:lnTo>
                    <a:lnTo>
                      <a:pt x="712" y="57"/>
                    </a:lnTo>
                    <a:lnTo>
                      <a:pt x="711" y="61"/>
                    </a:lnTo>
                    <a:lnTo>
                      <a:pt x="711" y="61"/>
                    </a:lnTo>
                    <a:lnTo>
                      <a:pt x="712" y="61"/>
                    </a:lnTo>
                    <a:lnTo>
                      <a:pt x="712" y="61"/>
                    </a:lnTo>
                    <a:lnTo>
                      <a:pt x="711" y="63"/>
                    </a:lnTo>
                    <a:lnTo>
                      <a:pt x="711" y="67"/>
                    </a:lnTo>
                    <a:lnTo>
                      <a:pt x="711" y="67"/>
                    </a:lnTo>
                    <a:lnTo>
                      <a:pt x="710" y="66"/>
                    </a:lnTo>
                    <a:lnTo>
                      <a:pt x="715" y="70"/>
                    </a:lnTo>
                    <a:lnTo>
                      <a:pt x="715" y="70"/>
                    </a:lnTo>
                    <a:lnTo>
                      <a:pt x="715" y="70"/>
                    </a:lnTo>
                    <a:lnTo>
                      <a:pt x="716" y="72"/>
                    </a:lnTo>
                    <a:lnTo>
                      <a:pt x="719" y="74"/>
                    </a:lnTo>
                    <a:lnTo>
                      <a:pt x="719" y="74"/>
                    </a:lnTo>
                    <a:lnTo>
                      <a:pt x="723" y="76"/>
                    </a:lnTo>
                    <a:lnTo>
                      <a:pt x="727" y="80"/>
                    </a:lnTo>
                    <a:lnTo>
                      <a:pt x="729" y="84"/>
                    </a:lnTo>
                    <a:lnTo>
                      <a:pt x="729" y="92"/>
                    </a:lnTo>
                    <a:lnTo>
                      <a:pt x="724" y="98"/>
                    </a:lnTo>
                    <a:lnTo>
                      <a:pt x="724" y="98"/>
                    </a:lnTo>
                    <a:lnTo>
                      <a:pt x="721" y="98"/>
                    </a:lnTo>
                    <a:lnTo>
                      <a:pt x="721" y="98"/>
                    </a:lnTo>
                    <a:lnTo>
                      <a:pt x="718" y="98"/>
                    </a:lnTo>
                    <a:lnTo>
                      <a:pt x="718" y="98"/>
                    </a:lnTo>
                    <a:lnTo>
                      <a:pt x="714" y="98"/>
                    </a:lnTo>
                    <a:lnTo>
                      <a:pt x="714" y="98"/>
                    </a:lnTo>
                    <a:lnTo>
                      <a:pt x="712" y="98"/>
                    </a:lnTo>
                    <a:lnTo>
                      <a:pt x="712" y="98"/>
                    </a:lnTo>
                    <a:lnTo>
                      <a:pt x="714" y="96"/>
                    </a:lnTo>
                    <a:lnTo>
                      <a:pt x="710" y="99"/>
                    </a:lnTo>
                    <a:lnTo>
                      <a:pt x="708" y="99"/>
                    </a:lnTo>
                    <a:lnTo>
                      <a:pt x="706" y="96"/>
                    </a:lnTo>
                    <a:lnTo>
                      <a:pt x="706" y="96"/>
                    </a:lnTo>
                    <a:lnTo>
                      <a:pt x="706" y="96"/>
                    </a:lnTo>
                    <a:lnTo>
                      <a:pt x="703" y="95"/>
                    </a:lnTo>
                    <a:lnTo>
                      <a:pt x="703" y="95"/>
                    </a:lnTo>
                    <a:lnTo>
                      <a:pt x="699" y="100"/>
                    </a:lnTo>
                    <a:lnTo>
                      <a:pt x="695" y="106"/>
                    </a:lnTo>
                    <a:lnTo>
                      <a:pt x="690" y="108"/>
                    </a:lnTo>
                    <a:lnTo>
                      <a:pt x="683" y="111"/>
                    </a:lnTo>
                    <a:lnTo>
                      <a:pt x="682" y="111"/>
                    </a:lnTo>
                    <a:lnTo>
                      <a:pt x="675" y="111"/>
                    </a:lnTo>
                    <a:lnTo>
                      <a:pt x="673" y="115"/>
                    </a:lnTo>
                    <a:lnTo>
                      <a:pt x="673" y="115"/>
                    </a:lnTo>
                    <a:lnTo>
                      <a:pt x="673" y="115"/>
                    </a:lnTo>
                    <a:lnTo>
                      <a:pt x="675" y="112"/>
                    </a:lnTo>
                    <a:lnTo>
                      <a:pt x="675" y="112"/>
                    </a:lnTo>
                    <a:lnTo>
                      <a:pt x="675" y="113"/>
                    </a:lnTo>
                    <a:lnTo>
                      <a:pt x="675" y="113"/>
                    </a:lnTo>
                    <a:lnTo>
                      <a:pt x="675" y="116"/>
                    </a:lnTo>
                    <a:lnTo>
                      <a:pt x="675" y="117"/>
                    </a:lnTo>
                    <a:lnTo>
                      <a:pt x="674" y="121"/>
                    </a:lnTo>
                    <a:lnTo>
                      <a:pt x="674" y="121"/>
                    </a:lnTo>
                    <a:lnTo>
                      <a:pt x="670" y="127"/>
                    </a:lnTo>
                    <a:lnTo>
                      <a:pt x="670" y="127"/>
                    </a:lnTo>
                    <a:lnTo>
                      <a:pt x="669" y="127"/>
                    </a:lnTo>
                    <a:lnTo>
                      <a:pt x="669" y="127"/>
                    </a:lnTo>
                    <a:lnTo>
                      <a:pt x="673" y="128"/>
                    </a:lnTo>
                    <a:lnTo>
                      <a:pt x="674" y="129"/>
                    </a:lnTo>
                    <a:lnTo>
                      <a:pt x="674" y="129"/>
                    </a:lnTo>
                    <a:lnTo>
                      <a:pt x="674" y="129"/>
                    </a:lnTo>
                    <a:lnTo>
                      <a:pt x="674" y="136"/>
                    </a:lnTo>
                    <a:lnTo>
                      <a:pt x="675" y="131"/>
                    </a:lnTo>
                    <a:lnTo>
                      <a:pt x="677" y="132"/>
                    </a:lnTo>
                    <a:lnTo>
                      <a:pt x="677" y="132"/>
                    </a:lnTo>
                    <a:lnTo>
                      <a:pt x="677" y="132"/>
                    </a:lnTo>
                    <a:lnTo>
                      <a:pt x="675" y="129"/>
                    </a:lnTo>
                    <a:lnTo>
                      <a:pt x="675" y="129"/>
                    </a:lnTo>
                    <a:lnTo>
                      <a:pt x="675" y="129"/>
                    </a:lnTo>
                    <a:lnTo>
                      <a:pt x="675" y="129"/>
                    </a:lnTo>
                    <a:lnTo>
                      <a:pt x="677" y="129"/>
                    </a:lnTo>
                    <a:lnTo>
                      <a:pt x="678" y="129"/>
                    </a:lnTo>
                    <a:lnTo>
                      <a:pt x="682" y="133"/>
                    </a:lnTo>
                    <a:lnTo>
                      <a:pt x="682" y="133"/>
                    </a:lnTo>
                    <a:lnTo>
                      <a:pt x="682" y="132"/>
                    </a:lnTo>
                    <a:lnTo>
                      <a:pt x="682" y="132"/>
                    </a:lnTo>
                    <a:lnTo>
                      <a:pt x="680" y="131"/>
                    </a:lnTo>
                    <a:lnTo>
                      <a:pt x="680" y="131"/>
                    </a:lnTo>
                    <a:lnTo>
                      <a:pt x="680" y="131"/>
                    </a:lnTo>
                    <a:lnTo>
                      <a:pt x="680" y="131"/>
                    </a:lnTo>
                    <a:lnTo>
                      <a:pt x="682" y="131"/>
                    </a:lnTo>
                    <a:lnTo>
                      <a:pt x="682" y="131"/>
                    </a:lnTo>
                    <a:lnTo>
                      <a:pt x="683" y="131"/>
                    </a:lnTo>
                    <a:lnTo>
                      <a:pt x="683" y="131"/>
                    </a:lnTo>
                    <a:lnTo>
                      <a:pt x="687" y="127"/>
                    </a:lnTo>
                    <a:lnTo>
                      <a:pt x="691" y="124"/>
                    </a:lnTo>
                    <a:lnTo>
                      <a:pt x="694" y="124"/>
                    </a:lnTo>
                    <a:lnTo>
                      <a:pt x="699" y="131"/>
                    </a:lnTo>
                    <a:lnTo>
                      <a:pt x="699" y="131"/>
                    </a:lnTo>
                    <a:lnTo>
                      <a:pt x="699" y="129"/>
                    </a:lnTo>
                    <a:lnTo>
                      <a:pt x="703" y="133"/>
                    </a:lnTo>
                    <a:lnTo>
                      <a:pt x="703" y="133"/>
                    </a:lnTo>
                    <a:lnTo>
                      <a:pt x="702" y="132"/>
                    </a:lnTo>
                    <a:lnTo>
                      <a:pt x="700" y="131"/>
                    </a:lnTo>
                    <a:lnTo>
                      <a:pt x="700" y="131"/>
                    </a:lnTo>
                    <a:lnTo>
                      <a:pt x="699" y="127"/>
                    </a:lnTo>
                    <a:lnTo>
                      <a:pt x="696" y="125"/>
                    </a:lnTo>
                    <a:lnTo>
                      <a:pt x="696" y="125"/>
                    </a:lnTo>
                    <a:lnTo>
                      <a:pt x="698" y="127"/>
                    </a:lnTo>
                    <a:lnTo>
                      <a:pt x="703" y="132"/>
                    </a:lnTo>
                    <a:lnTo>
                      <a:pt x="703" y="132"/>
                    </a:lnTo>
                    <a:lnTo>
                      <a:pt x="703" y="133"/>
                    </a:lnTo>
                    <a:lnTo>
                      <a:pt x="704" y="135"/>
                    </a:lnTo>
                    <a:lnTo>
                      <a:pt x="704" y="135"/>
                    </a:lnTo>
                    <a:lnTo>
                      <a:pt x="703" y="133"/>
                    </a:lnTo>
                    <a:lnTo>
                      <a:pt x="703" y="133"/>
                    </a:lnTo>
                    <a:lnTo>
                      <a:pt x="704" y="135"/>
                    </a:lnTo>
                    <a:lnTo>
                      <a:pt x="706" y="137"/>
                    </a:lnTo>
                    <a:lnTo>
                      <a:pt x="706" y="137"/>
                    </a:lnTo>
                    <a:lnTo>
                      <a:pt x="706" y="137"/>
                    </a:lnTo>
                    <a:lnTo>
                      <a:pt x="706" y="137"/>
                    </a:lnTo>
                    <a:lnTo>
                      <a:pt x="708" y="137"/>
                    </a:lnTo>
                    <a:lnTo>
                      <a:pt x="708" y="137"/>
                    </a:lnTo>
                    <a:lnTo>
                      <a:pt x="710" y="137"/>
                    </a:lnTo>
                    <a:lnTo>
                      <a:pt x="711" y="137"/>
                    </a:lnTo>
                    <a:lnTo>
                      <a:pt x="711" y="137"/>
                    </a:lnTo>
                    <a:lnTo>
                      <a:pt x="711" y="137"/>
                    </a:lnTo>
                    <a:lnTo>
                      <a:pt x="711" y="137"/>
                    </a:lnTo>
                    <a:lnTo>
                      <a:pt x="711" y="137"/>
                    </a:lnTo>
                    <a:lnTo>
                      <a:pt x="716" y="141"/>
                    </a:lnTo>
                    <a:lnTo>
                      <a:pt x="716" y="141"/>
                    </a:lnTo>
                    <a:lnTo>
                      <a:pt x="716" y="141"/>
                    </a:lnTo>
                    <a:lnTo>
                      <a:pt x="716" y="141"/>
                    </a:lnTo>
                    <a:lnTo>
                      <a:pt x="716" y="141"/>
                    </a:lnTo>
                    <a:lnTo>
                      <a:pt x="716" y="141"/>
                    </a:lnTo>
                    <a:lnTo>
                      <a:pt x="716" y="141"/>
                    </a:lnTo>
                    <a:lnTo>
                      <a:pt x="718" y="141"/>
                    </a:lnTo>
                    <a:lnTo>
                      <a:pt x="718" y="141"/>
                    </a:lnTo>
                    <a:lnTo>
                      <a:pt x="719" y="141"/>
                    </a:lnTo>
                    <a:lnTo>
                      <a:pt x="719" y="141"/>
                    </a:lnTo>
                    <a:lnTo>
                      <a:pt x="723" y="141"/>
                    </a:lnTo>
                    <a:lnTo>
                      <a:pt x="727" y="144"/>
                    </a:lnTo>
                    <a:lnTo>
                      <a:pt x="728" y="144"/>
                    </a:lnTo>
                    <a:lnTo>
                      <a:pt x="728" y="144"/>
                    </a:lnTo>
                    <a:lnTo>
                      <a:pt x="728" y="145"/>
                    </a:lnTo>
                    <a:lnTo>
                      <a:pt x="728" y="145"/>
                    </a:lnTo>
                    <a:lnTo>
                      <a:pt x="731" y="146"/>
                    </a:lnTo>
                    <a:lnTo>
                      <a:pt x="731" y="150"/>
                    </a:lnTo>
                    <a:lnTo>
                      <a:pt x="731" y="150"/>
                    </a:lnTo>
                    <a:lnTo>
                      <a:pt x="731" y="153"/>
                    </a:lnTo>
                    <a:lnTo>
                      <a:pt x="728" y="156"/>
                    </a:lnTo>
                    <a:lnTo>
                      <a:pt x="728" y="156"/>
                    </a:lnTo>
                    <a:lnTo>
                      <a:pt x="728" y="156"/>
                    </a:lnTo>
                    <a:lnTo>
                      <a:pt x="724" y="158"/>
                    </a:lnTo>
                    <a:lnTo>
                      <a:pt x="724" y="158"/>
                    </a:lnTo>
                    <a:lnTo>
                      <a:pt x="724" y="160"/>
                    </a:lnTo>
                    <a:lnTo>
                      <a:pt x="724" y="160"/>
                    </a:lnTo>
                    <a:lnTo>
                      <a:pt x="723" y="161"/>
                    </a:lnTo>
                    <a:lnTo>
                      <a:pt x="723" y="168"/>
                    </a:lnTo>
                    <a:lnTo>
                      <a:pt x="723" y="168"/>
                    </a:lnTo>
                    <a:lnTo>
                      <a:pt x="723" y="170"/>
                    </a:lnTo>
                    <a:lnTo>
                      <a:pt x="721" y="173"/>
                    </a:lnTo>
                    <a:lnTo>
                      <a:pt x="721" y="173"/>
                    </a:lnTo>
                    <a:lnTo>
                      <a:pt x="723" y="174"/>
                    </a:lnTo>
                    <a:lnTo>
                      <a:pt x="723" y="178"/>
                    </a:lnTo>
                    <a:lnTo>
                      <a:pt x="718" y="184"/>
                    </a:lnTo>
                    <a:lnTo>
                      <a:pt x="711" y="184"/>
                    </a:lnTo>
                    <a:lnTo>
                      <a:pt x="710" y="184"/>
                    </a:lnTo>
                    <a:lnTo>
                      <a:pt x="710" y="184"/>
                    </a:lnTo>
                    <a:lnTo>
                      <a:pt x="707" y="184"/>
                    </a:lnTo>
                    <a:lnTo>
                      <a:pt x="707" y="184"/>
                    </a:lnTo>
                    <a:lnTo>
                      <a:pt x="702" y="184"/>
                    </a:lnTo>
                    <a:lnTo>
                      <a:pt x="696" y="186"/>
                    </a:lnTo>
                    <a:lnTo>
                      <a:pt x="696" y="186"/>
                    </a:lnTo>
                    <a:lnTo>
                      <a:pt x="688" y="190"/>
                    </a:lnTo>
                    <a:lnTo>
                      <a:pt x="687" y="190"/>
                    </a:lnTo>
                    <a:lnTo>
                      <a:pt x="680" y="190"/>
                    </a:lnTo>
                    <a:lnTo>
                      <a:pt x="680" y="190"/>
                    </a:lnTo>
                    <a:lnTo>
                      <a:pt x="675" y="191"/>
                    </a:lnTo>
                    <a:lnTo>
                      <a:pt x="670" y="193"/>
                    </a:lnTo>
                    <a:lnTo>
                      <a:pt x="666" y="197"/>
                    </a:lnTo>
                    <a:lnTo>
                      <a:pt x="663" y="201"/>
                    </a:lnTo>
                    <a:lnTo>
                      <a:pt x="663" y="206"/>
                    </a:lnTo>
                    <a:lnTo>
                      <a:pt x="657" y="211"/>
                    </a:lnTo>
                    <a:lnTo>
                      <a:pt x="657" y="211"/>
                    </a:lnTo>
                    <a:lnTo>
                      <a:pt x="657" y="211"/>
                    </a:lnTo>
                    <a:lnTo>
                      <a:pt x="658" y="211"/>
                    </a:lnTo>
                    <a:lnTo>
                      <a:pt x="658" y="213"/>
                    </a:lnTo>
                    <a:lnTo>
                      <a:pt x="658" y="213"/>
                    </a:lnTo>
                    <a:lnTo>
                      <a:pt x="659" y="211"/>
                    </a:lnTo>
                    <a:lnTo>
                      <a:pt x="661" y="210"/>
                    </a:lnTo>
                    <a:lnTo>
                      <a:pt x="661" y="210"/>
                    </a:lnTo>
                    <a:lnTo>
                      <a:pt x="661" y="210"/>
                    </a:lnTo>
                    <a:lnTo>
                      <a:pt x="661" y="210"/>
                    </a:lnTo>
                    <a:lnTo>
                      <a:pt x="661" y="210"/>
                    </a:lnTo>
                    <a:lnTo>
                      <a:pt x="661" y="210"/>
                    </a:lnTo>
                    <a:lnTo>
                      <a:pt x="661" y="213"/>
                    </a:lnTo>
                    <a:lnTo>
                      <a:pt x="655" y="218"/>
                    </a:lnTo>
                    <a:lnTo>
                      <a:pt x="654" y="218"/>
                    </a:lnTo>
                    <a:lnTo>
                      <a:pt x="649" y="217"/>
                    </a:lnTo>
                    <a:lnTo>
                      <a:pt x="649" y="217"/>
                    </a:lnTo>
                    <a:lnTo>
                      <a:pt x="650" y="217"/>
                    </a:lnTo>
                    <a:lnTo>
                      <a:pt x="650" y="217"/>
                    </a:lnTo>
                    <a:lnTo>
                      <a:pt x="647" y="217"/>
                    </a:lnTo>
                    <a:lnTo>
                      <a:pt x="647" y="217"/>
                    </a:lnTo>
                    <a:lnTo>
                      <a:pt x="645" y="217"/>
                    </a:lnTo>
                    <a:lnTo>
                      <a:pt x="645" y="217"/>
                    </a:lnTo>
                    <a:lnTo>
                      <a:pt x="639" y="217"/>
                    </a:lnTo>
                    <a:lnTo>
                      <a:pt x="639" y="217"/>
                    </a:lnTo>
                    <a:lnTo>
                      <a:pt x="637" y="217"/>
                    </a:lnTo>
                    <a:lnTo>
                      <a:pt x="637" y="217"/>
                    </a:lnTo>
                    <a:lnTo>
                      <a:pt x="636" y="217"/>
                    </a:lnTo>
                    <a:lnTo>
                      <a:pt x="636" y="217"/>
                    </a:lnTo>
                    <a:lnTo>
                      <a:pt x="632" y="217"/>
                    </a:lnTo>
                    <a:lnTo>
                      <a:pt x="630" y="215"/>
                    </a:lnTo>
                    <a:lnTo>
                      <a:pt x="630" y="215"/>
                    </a:lnTo>
                    <a:lnTo>
                      <a:pt x="629" y="215"/>
                    </a:lnTo>
                    <a:lnTo>
                      <a:pt x="629" y="215"/>
                    </a:lnTo>
                    <a:lnTo>
                      <a:pt x="628" y="215"/>
                    </a:lnTo>
                    <a:lnTo>
                      <a:pt x="621" y="211"/>
                    </a:lnTo>
                    <a:lnTo>
                      <a:pt x="621" y="211"/>
                    </a:lnTo>
                    <a:lnTo>
                      <a:pt x="622" y="213"/>
                    </a:lnTo>
                    <a:lnTo>
                      <a:pt x="625" y="214"/>
                    </a:lnTo>
                    <a:lnTo>
                      <a:pt x="622" y="214"/>
                    </a:lnTo>
                    <a:lnTo>
                      <a:pt x="622" y="214"/>
                    </a:lnTo>
                    <a:lnTo>
                      <a:pt x="621" y="214"/>
                    </a:lnTo>
                    <a:lnTo>
                      <a:pt x="617" y="213"/>
                    </a:lnTo>
                    <a:lnTo>
                      <a:pt x="617" y="213"/>
                    </a:lnTo>
                    <a:lnTo>
                      <a:pt x="618" y="213"/>
                    </a:lnTo>
                    <a:lnTo>
                      <a:pt x="618" y="213"/>
                    </a:lnTo>
                    <a:lnTo>
                      <a:pt x="616" y="213"/>
                    </a:lnTo>
                    <a:lnTo>
                      <a:pt x="616" y="213"/>
                    </a:lnTo>
                    <a:lnTo>
                      <a:pt x="613" y="213"/>
                    </a:lnTo>
                    <a:lnTo>
                      <a:pt x="613" y="213"/>
                    </a:lnTo>
                    <a:lnTo>
                      <a:pt x="608" y="213"/>
                    </a:lnTo>
                    <a:lnTo>
                      <a:pt x="608" y="213"/>
                    </a:lnTo>
                    <a:lnTo>
                      <a:pt x="605" y="213"/>
                    </a:lnTo>
                    <a:lnTo>
                      <a:pt x="604" y="213"/>
                    </a:lnTo>
                    <a:lnTo>
                      <a:pt x="600" y="210"/>
                    </a:lnTo>
                    <a:lnTo>
                      <a:pt x="600" y="210"/>
                    </a:lnTo>
                    <a:lnTo>
                      <a:pt x="601" y="207"/>
                    </a:lnTo>
                    <a:lnTo>
                      <a:pt x="600" y="209"/>
                    </a:lnTo>
                    <a:lnTo>
                      <a:pt x="599" y="207"/>
                    </a:lnTo>
                    <a:lnTo>
                      <a:pt x="599" y="207"/>
                    </a:lnTo>
                    <a:lnTo>
                      <a:pt x="599" y="209"/>
                    </a:lnTo>
                    <a:lnTo>
                      <a:pt x="595" y="213"/>
                    </a:lnTo>
                    <a:lnTo>
                      <a:pt x="595" y="213"/>
                    </a:lnTo>
                    <a:lnTo>
                      <a:pt x="595" y="213"/>
                    </a:lnTo>
                    <a:lnTo>
                      <a:pt x="597" y="213"/>
                    </a:lnTo>
                    <a:lnTo>
                      <a:pt x="596" y="214"/>
                    </a:lnTo>
                    <a:lnTo>
                      <a:pt x="596" y="214"/>
                    </a:lnTo>
                    <a:lnTo>
                      <a:pt x="592" y="214"/>
                    </a:lnTo>
                    <a:lnTo>
                      <a:pt x="592" y="214"/>
                    </a:lnTo>
                    <a:lnTo>
                      <a:pt x="589" y="214"/>
                    </a:lnTo>
                    <a:lnTo>
                      <a:pt x="588" y="213"/>
                    </a:lnTo>
                    <a:lnTo>
                      <a:pt x="588" y="213"/>
                    </a:lnTo>
                    <a:lnTo>
                      <a:pt x="587" y="213"/>
                    </a:lnTo>
                    <a:lnTo>
                      <a:pt x="587" y="213"/>
                    </a:lnTo>
                    <a:lnTo>
                      <a:pt x="583" y="213"/>
                    </a:lnTo>
                    <a:lnTo>
                      <a:pt x="581" y="211"/>
                    </a:lnTo>
                    <a:lnTo>
                      <a:pt x="581" y="211"/>
                    </a:lnTo>
                    <a:lnTo>
                      <a:pt x="580" y="211"/>
                    </a:lnTo>
                    <a:lnTo>
                      <a:pt x="580" y="211"/>
                    </a:lnTo>
                    <a:lnTo>
                      <a:pt x="576" y="211"/>
                    </a:lnTo>
                    <a:lnTo>
                      <a:pt x="575" y="210"/>
                    </a:lnTo>
                    <a:lnTo>
                      <a:pt x="575" y="210"/>
                    </a:lnTo>
                    <a:lnTo>
                      <a:pt x="573" y="210"/>
                    </a:lnTo>
                    <a:lnTo>
                      <a:pt x="572" y="210"/>
                    </a:lnTo>
                    <a:lnTo>
                      <a:pt x="572" y="210"/>
                    </a:lnTo>
                    <a:lnTo>
                      <a:pt x="569" y="211"/>
                    </a:lnTo>
                    <a:lnTo>
                      <a:pt x="565" y="213"/>
                    </a:lnTo>
                    <a:lnTo>
                      <a:pt x="565" y="213"/>
                    </a:lnTo>
                    <a:lnTo>
                      <a:pt x="564" y="213"/>
                    </a:lnTo>
                    <a:lnTo>
                      <a:pt x="564" y="213"/>
                    </a:lnTo>
                    <a:lnTo>
                      <a:pt x="560" y="211"/>
                    </a:lnTo>
                    <a:lnTo>
                      <a:pt x="558" y="210"/>
                    </a:lnTo>
                    <a:lnTo>
                      <a:pt x="558" y="210"/>
                    </a:lnTo>
                    <a:lnTo>
                      <a:pt x="558" y="210"/>
                    </a:lnTo>
                    <a:lnTo>
                      <a:pt x="555" y="210"/>
                    </a:lnTo>
                    <a:lnTo>
                      <a:pt x="555" y="210"/>
                    </a:lnTo>
                    <a:lnTo>
                      <a:pt x="547" y="207"/>
                    </a:lnTo>
                    <a:lnTo>
                      <a:pt x="547" y="207"/>
                    </a:lnTo>
                    <a:lnTo>
                      <a:pt x="539" y="205"/>
                    </a:lnTo>
                    <a:lnTo>
                      <a:pt x="536" y="202"/>
                    </a:lnTo>
                    <a:lnTo>
                      <a:pt x="536" y="202"/>
                    </a:lnTo>
                    <a:lnTo>
                      <a:pt x="538" y="203"/>
                    </a:lnTo>
                    <a:lnTo>
                      <a:pt x="538" y="203"/>
                    </a:lnTo>
                    <a:lnTo>
                      <a:pt x="536" y="203"/>
                    </a:lnTo>
                    <a:lnTo>
                      <a:pt x="536" y="203"/>
                    </a:lnTo>
                    <a:lnTo>
                      <a:pt x="532" y="202"/>
                    </a:lnTo>
                    <a:lnTo>
                      <a:pt x="532" y="202"/>
                    </a:lnTo>
                    <a:lnTo>
                      <a:pt x="528" y="201"/>
                    </a:lnTo>
                    <a:lnTo>
                      <a:pt x="528" y="201"/>
                    </a:lnTo>
                    <a:lnTo>
                      <a:pt x="527" y="199"/>
                    </a:lnTo>
                    <a:lnTo>
                      <a:pt x="524" y="199"/>
                    </a:lnTo>
                    <a:lnTo>
                      <a:pt x="519" y="199"/>
                    </a:lnTo>
                    <a:lnTo>
                      <a:pt x="519" y="199"/>
                    </a:lnTo>
                    <a:lnTo>
                      <a:pt x="517" y="199"/>
                    </a:lnTo>
                    <a:lnTo>
                      <a:pt x="517" y="199"/>
                    </a:lnTo>
                    <a:lnTo>
                      <a:pt x="514" y="198"/>
                    </a:lnTo>
                    <a:lnTo>
                      <a:pt x="511" y="198"/>
                    </a:lnTo>
                    <a:lnTo>
                      <a:pt x="511" y="198"/>
                    </a:lnTo>
                    <a:lnTo>
                      <a:pt x="511" y="198"/>
                    </a:lnTo>
                    <a:lnTo>
                      <a:pt x="511" y="198"/>
                    </a:lnTo>
                    <a:lnTo>
                      <a:pt x="510" y="198"/>
                    </a:lnTo>
                    <a:lnTo>
                      <a:pt x="510" y="198"/>
                    </a:lnTo>
                    <a:lnTo>
                      <a:pt x="505" y="197"/>
                    </a:lnTo>
                    <a:lnTo>
                      <a:pt x="502" y="195"/>
                    </a:lnTo>
                    <a:lnTo>
                      <a:pt x="501" y="194"/>
                    </a:lnTo>
                    <a:lnTo>
                      <a:pt x="501" y="194"/>
                    </a:lnTo>
                    <a:lnTo>
                      <a:pt x="501" y="194"/>
                    </a:lnTo>
                    <a:lnTo>
                      <a:pt x="501" y="194"/>
                    </a:lnTo>
                    <a:lnTo>
                      <a:pt x="497" y="194"/>
                    </a:lnTo>
                    <a:lnTo>
                      <a:pt x="497" y="194"/>
                    </a:lnTo>
                    <a:lnTo>
                      <a:pt x="490" y="187"/>
                    </a:lnTo>
                    <a:lnTo>
                      <a:pt x="490" y="187"/>
                    </a:lnTo>
                    <a:lnTo>
                      <a:pt x="491" y="191"/>
                    </a:lnTo>
                    <a:lnTo>
                      <a:pt x="491" y="191"/>
                    </a:lnTo>
                    <a:lnTo>
                      <a:pt x="493" y="191"/>
                    </a:lnTo>
                    <a:lnTo>
                      <a:pt x="494" y="193"/>
                    </a:lnTo>
                    <a:lnTo>
                      <a:pt x="494" y="193"/>
                    </a:lnTo>
                    <a:lnTo>
                      <a:pt x="493" y="193"/>
                    </a:lnTo>
                    <a:lnTo>
                      <a:pt x="493" y="193"/>
                    </a:lnTo>
                    <a:lnTo>
                      <a:pt x="491" y="193"/>
                    </a:lnTo>
                    <a:lnTo>
                      <a:pt x="491" y="193"/>
                    </a:lnTo>
                    <a:lnTo>
                      <a:pt x="489" y="193"/>
                    </a:lnTo>
                    <a:lnTo>
                      <a:pt x="487" y="193"/>
                    </a:lnTo>
                    <a:lnTo>
                      <a:pt x="482" y="189"/>
                    </a:lnTo>
                    <a:lnTo>
                      <a:pt x="482" y="190"/>
                    </a:lnTo>
                    <a:lnTo>
                      <a:pt x="482" y="190"/>
                    </a:lnTo>
                    <a:lnTo>
                      <a:pt x="485" y="191"/>
                    </a:lnTo>
                    <a:lnTo>
                      <a:pt x="483" y="191"/>
                    </a:lnTo>
                    <a:lnTo>
                      <a:pt x="483" y="191"/>
                    </a:lnTo>
                    <a:lnTo>
                      <a:pt x="482" y="191"/>
                    </a:lnTo>
                    <a:lnTo>
                      <a:pt x="481" y="191"/>
                    </a:lnTo>
                    <a:lnTo>
                      <a:pt x="477" y="187"/>
                    </a:lnTo>
                    <a:lnTo>
                      <a:pt x="477" y="187"/>
                    </a:lnTo>
                    <a:lnTo>
                      <a:pt x="478" y="186"/>
                    </a:lnTo>
                    <a:lnTo>
                      <a:pt x="477" y="187"/>
                    </a:lnTo>
                    <a:lnTo>
                      <a:pt x="476" y="186"/>
                    </a:lnTo>
                    <a:lnTo>
                      <a:pt x="476" y="186"/>
                    </a:lnTo>
                    <a:lnTo>
                      <a:pt x="476" y="187"/>
                    </a:lnTo>
                    <a:lnTo>
                      <a:pt x="474" y="189"/>
                    </a:lnTo>
                    <a:lnTo>
                      <a:pt x="474" y="190"/>
                    </a:lnTo>
                    <a:lnTo>
                      <a:pt x="474" y="190"/>
                    </a:lnTo>
                    <a:lnTo>
                      <a:pt x="469" y="194"/>
                    </a:lnTo>
                    <a:lnTo>
                      <a:pt x="469" y="194"/>
                    </a:lnTo>
                    <a:lnTo>
                      <a:pt x="464" y="199"/>
                    </a:lnTo>
                    <a:lnTo>
                      <a:pt x="457" y="203"/>
                    </a:lnTo>
                    <a:lnTo>
                      <a:pt x="448" y="206"/>
                    </a:lnTo>
                    <a:lnTo>
                      <a:pt x="437" y="207"/>
                    </a:lnTo>
                    <a:lnTo>
                      <a:pt x="437" y="207"/>
                    </a:lnTo>
                    <a:lnTo>
                      <a:pt x="437" y="207"/>
                    </a:lnTo>
                    <a:lnTo>
                      <a:pt x="435" y="209"/>
                    </a:lnTo>
                    <a:lnTo>
                      <a:pt x="432" y="209"/>
                    </a:lnTo>
                    <a:lnTo>
                      <a:pt x="432" y="209"/>
                    </a:lnTo>
                    <a:lnTo>
                      <a:pt x="425" y="209"/>
                    </a:lnTo>
                    <a:lnTo>
                      <a:pt x="419" y="202"/>
                    </a:lnTo>
                    <a:lnTo>
                      <a:pt x="419" y="202"/>
                    </a:lnTo>
                    <a:lnTo>
                      <a:pt x="419" y="203"/>
                    </a:lnTo>
                    <a:lnTo>
                      <a:pt x="420" y="206"/>
                    </a:lnTo>
                    <a:lnTo>
                      <a:pt x="420" y="206"/>
                    </a:lnTo>
                    <a:lnTo>
                      <a:pt x="421" y="207"/>
                    </a:lnTo>
                    <a:lnTo>
                      <a:pt x="420" y="206"/>
                    </a:lnTo>
                    <a:lnTo>
                      <a:pt x="420" y="206"/>
                    </a:lnTo>
                    <a:lnTo>
                      <a:pt x="415" y="206"/>
                    </a:lnTo>
                    <a:lnTo>
                      <a:pt x="415" y="206"/>
                    </a:lnTo>
                    <a:lnTo>
                      <a:pt x="409" y="207"/>
                    </a:lnTo>
                    <a:lnTo>
                      <a:pt x="405" y="207"/>
                    </a:lnTo>
                    <a:lnTo>
                      <a:pt x="405" y="207"/>
                    </a:lnTo>
                    <a:lnTo>
                      <a:pt x="403" y="207"/>
                    </a:lnTo>
                    <a:lnTo>
                      <a:pt x="403" y="207"/>
                    </a:lnTo>
                    <a:lnTo>
                      <a:pt x="400" y="207"/>
                    </a:lnTo>
                    <a:lnTo>
                      <a:pt x="400" y="207"/>
                    </a:lnTo>
                    <a:lnTo>
                      <a:pt x="403" y="206"/>
                    </a:lnTo>
                    <a:lnTo>
                      <a:pt x="404" y="203"/>
                    </a:lnTo>
                    <a:lnTo>
                      <a:pt x="399" y="209"/>
                    </a:lnTo>
                    <a:lnTo>
                      <a:pt x="396" y="209"/>
                    </a:lnTo>
                    <a:lnTo>
                      <a:pt x="396" y="209"/>
                    </a:lnTo>
                    <a:lnTo>
                      <a:pt x="395" y="209"/>
                    </a:lnTo>
                    <a:lnTo>
                      <a:pt x="395" y="209"/>
                    </a:lnTo>
                    <a:lnTo>
                      <a:pt x="396" y="209"/>
                    </a:lnTo>
                    <a:lnTo>
                      <a:pt x="391" y="211"/>
                    </a:lnTo>
                    <a:lnTo>
                      <a:pt x="390" y="211"/>
                    </a:lnTo>
                    <a:lnTo>
                      <a:pt x="390" y="211"/>
                    </a:lnTo>
                    <a:lnTo>
                      <a:pt x="386" y="213"/>
                    </a:lnTo>
                    <a:lnTo>
                      <a:pt x="383" y="215"/>
                    </a:lnTo>
                    <a:lnTo>
                      <a:pt x="376" y="222"/>
                    </a:lnTo>
                    <a:lnTo>
                      <a:pt x="376" y="222"/>
                    </a:lnTo>
                    <a:lnTo>
                      <a:pt x="375" y="226"/>
                    </a:lnTo>
                    <a:lnTo>
                      <a:pt x="375" y="226"/>
                    </a:lnTo>
                    <a:lnTo>
                      <a:pt x="375" y="226"/>
                    </a:lnTo>
                    <a:lnTo>
                      <a:pt x="375" y="226"/>
                    </a:lnTo>
                    <a:lnTo>
                      <a:pt x="375" y="223"/>
                    </a:lnTo>
                    <a:lnTo>
                      <a:pt x="372" y="228"/>
                    </a:lnTo>
                    <a:lnTo>
                      <a:pt x="372" y="228"/>
                    </a:lnTo>
                    <a:lnTo>
                      <a:pt x="372" y="227"/>
                    </a:lnTo>
                    <a:lnTo>
                      <a:pt x="372" y="227"/>
                    </a:lnTo>
                    <a:lnTo>
                      <a:pt x="372" y="228"/>
                    </a:lnTo>
                    <a:lnTo>
                      <a:pt x="372" y="230"/>
                    </a:lnTo>
                    <a:lnTo>
                      <a:pt x="370" y="231"/>
                    </a:lnTo>
                    <a:lnTo>
                      <a:pt x="370" y="231"/>
                    </a:lnTo>
                    <a:lnTo>
                      <a:pt x="368" y="231"/>
                    </a:lnTo>
                    <a:lnTo>
                      <a:pt x="367" y="230"/>
                    </a:lnTo>
                    <a:lnTo>
                      <a:pt x="367" y="231"/>
                    </a:lnTo>
                    <a:lnTo>
                      <a:pt x="370" y="232"/>
                    </a:lnTo>
                    <a:lnTo>
                      <a:pt x="366" y="234"/>
                    </a:lnTo>
                    <a:lnTo>
                      <a:pt x="366" y="235"/>
                    </a:lnTo>
                    <a:lnTo>
                      <a:pt x="366" y="235"/>
                    </a:lnTo>
                    <a:lnTo>
                      <a:pt x="370" y="235"/>
                    </a:lnTo>
                    <a:lnTo>
                      <a:pt x="371" y="234"/>
                    </a:lnTo>
                    <a:lnTo>
                      <a:pt x="372" y="234"/>
                    </a:lnTo>
                    <a:lnTo>
                      <a:pt x="372" y="234"/>
                    </a:lnTo>
                    <a:lnTo>
                      <a:pt x="372" y="234"/>
                    </a:lnTo>
                    <a:lnTo>
                      <a:pt x="375" y="236"/>
                    </a:lnTo>
                    <a:lnTo>
                      <a:pt x="375" y="236"/>
                    </a:lnTo>
                    <a:lnTo>
                      <a:pt x="376" y="239"/>
                    </a:lnTo>
                    <a:lnTo>
                      <a:pt x="378" y="242"/>
                    </a:lnTo>
                    <a:lnTo>
                      <a:pt x="376" y="244"/>
                    </a:lnTo>
                    <a:lnTo>
                      <a:pt x="370" y="250"/>
                    </a:lnTo>
                    <a:lnTo>
                      <a:pt x="370" y="250"/>
                    </a:lnTo>
                    <a:lnTo>
                      <a:pt x="368" y="250"/>
                    </a:lnTo>
                    <a:lnTo>
                      <a:pt x="368" y="250"/>
                    </a:lnTo>
                    <a:lnTo>
                      <a:pt x="367" y="250"/>
                    </a:lnTo>
                    <a:lnTo>
                      <a:pt x="367" y="250"/>
                    </a:lnTo>
                    <a:lnTo>
                      <a:pt x="366" y="250"/>
                    </a:lnTo>
                    <a:lnTo>
                      <a:pt x="363" y="251"/>
                    </a:lnTo>
                    <a:lnTo>
                      <a:pt x="363" y="251"/>
                    </a:lnTo>
                    <a:lnTo>
                      <a:pt x="354" y="251"/>
                    </a:lnTo>
                    <a:lnTo>
                      <a:pt x="354" y="251"/>
                    </a:lnTo>
                    <a:lnTo>
                      <a:pt x="351" y="251"/>
                    </a:lnTo>
                    <a:lnTo>
                      <a:pt x="351" y="252"/>
                    </a:lnTo>
                    <a:lnTo>
                      <a:pt x="351" y="252"/>
                    </a:lnTo>
                    <a:lnTo>
                      <a:pt x="346" y="254"/>
                    </a:lnTo>
                    <a:lnTo>
                      <a:pt x="339" y="255"/>
                    </a:lnTo>
                    <a:lnTo>
                      <a:pt x="339" y="255"/>
                    </a:lnTo>
                    <a:lnTo>
                      <a:pt x="334" y="258"/>
                    </a:lnTo>
                    <a:lnTo>
                      <a:pt x="329" y="263"/>
                    </a:lnTo>
                    <a:lnTo>
                      <a:pt x="327" y="269"/>
                    </a:lnTo>
                    <a:lnTo>
                      <a:pt x="327" y="277"/>
                    </a:lnTo>
                    <a:lnTo>
                      <a:pt x="327" y="277"/>
                    </a:lnTo>
                    <a:lnTo>
                      <a:pt x="327" y="279"/>
                    </a:lnTo>
                    <a:lnTo>
                      <a:pt x="326" y="283"/>
                    </a:lnTo>
                    <a:lnTo>
                      <a:pt x="326" y="283"/>
                    </a:lnTo>
                    <a:lnTo>
                      <a:pt x="325" y="284"/>
                    </a:lnTo>
                    <a:lnTo>
                      <a:pt x="325" y="284"/>
                    </a:lnTo>
                    <a:lnTo>
                      <a:pt x="323" y="287"/>
                    </a:lnTo>
                    <a:lnTo>
                      <a:pt x="320" y="291"/>
                    </a:lnTo>
                    <a:lnTo>
                      <a:pt x="318" y="292"/>
                    </a:lnTo>
                    <a:lnTo>
                      <a:pt x="318" y="292"/>
                    </a:lnTo>
                    <a:lnTo>
                      <a:pt x="306" y="299"/>
                    </a:lnTo>
                    <a:lnTo>
                      <a:pt x="304" y="300"/>
                    </a:lnTo>
                    <a:lnTo>
                      <a:pt x="301" y="300"/>
                    </a:lnTo>
                    <a:lnTo>
                      <a:pt x="300" y="300"/>
                    </a:lnTo>
                    <a:lnTo>
                      <a:pt x="300" y="300"/>
                    </a:lnTo>
                    <a:lnTo>
                      <a:pt x="298" y="301"/>
                    </a:lnTo>
                    <a:lnTo>
                      <a:pt x="298" y="301"/>
                    </a:lnTo>
                    <a:lnTo>
                      <a:pt x="296" y="300"/>
                    </a:lnTo>
                    <a:lnTo>
                      <a:pt x="296" y="300"/>
                    </a:lnTo>
                    <a:lnTo>
                      <a:pt x="294" y="300"/>
                    </a:lnTo>
                    <a:lnTo>
                      <a:pt x="294" y="300"/>
                    </a:lnTo>
                    <a:lnTo>
                      <a:pt x="296" y="299"/>
                    </a:lnTo>
                    <a:lnTo>
                      <a:pt x="298" y="296"/>
                    </a:lnTo>
                    <a:lnTo>
                      <a:pt x="292" y="301"/>
                    </a:lnTo>
                    <a:lnTo>
                      <a:pt x="289" y="301"/>
                    </a:lnTo>
                    <a:lnTo>
                      <a:pt x="288" y="301"/>
                    </a:lnTo>
                    <a:lnTo>
                      <a:pt x="288" y="301"/>
                    </a:lnTo>
                    <a:lnTo>
                      <a:pt x="285" y="303"/>
                    </a:lnTo>
                    <a:lnTo>
                      <a:pt x="283" y="304"/>
                    </a:lnTo>
                    <a:lnTo>
                      <a:pt x="283" y="304"/>
                    </a:lnTo>
                    <a:lnTo>
                      <a:pt x="280" y="305"/>
                    </a:lnTo>
                    <a:lnTo>
                      <a:pt x="277" y="305"/>
                    </a:lnTo>
                    <a:lnTo>
                      <a:pt x="277" y="305"/>
                    </a:lnTo>
                    <a:lnTo>
                      <a:pt x="273" y="305"/>
                    </a:lnTo>
                    <a:lnTo>
                      <a:pt x="273" y="305"/>
                    </a:lnTo>
                    <a:lnTo>
                      <a:pt x="272" y="304"/>
                    </a:lnTo>
                    <a:lnTo>
                      <a:pt x="265" y="300"/>
                    </a:lnTo>
                    <a:lnTo>
                      <a:pt x="265" y="300"/>
                    </a:lnTo>
                    <a:lnTo>
                      <a:pt x="267" y="303"/>
                    </a:lnTo>
                    <a:lnTo>
                      <a:pt x="269" y="303"/>
                    </a:lnTo>
                    <a:lnTo>
                      <a:pt x="268" y="303"/>
                    </a:lnTo>
                    <a:lnTo>
                      <a:pt x="268" y="303"/>
                    </a:lnTo>
                    <a:lnTo>
                      <a:pt x="265" y="303"/>
                    </a:lnTo>
                    <a:lnTo>
                      <a:pt x="265" y="303"/>
                    </a:lnTo>
                    <a:lnTo>
                      <a:pt x="265" y="303"/>
                    </a:lnTo>
                    <a:lnTo>
                      <a:pt x="261" y="301"/>
                    </a:lnTo>
                    <a:lnTo>
                      <a:pt x="261" y="301"/>
                    </a:lnTo>
                    <a:lnTo>
                      <a:pt x="264" y="301"/>
                    </a:lnTo>
                    <a:lnTo>
                      <a:pt x="259" y="299"/>
                    </a:lnTo>
                    <a:lnTo>
                      <a:pt x="259" y="299"/>
                    </a:lnTo>
                    <a:lnTo>
                      <a:pt x="260" y="300"/>
                    </a:lnTo>
                    <a:lnTo>
                      <a:pt x="260" y="300"/>
                    </a:lnTo>
                    <a:lnTo>
                      <a:pt x="259" y="300"/>
                    </a:lnTo>
                    <a:lnTo>
                      <a:pt x="259" y="300"/>
                    </a:lnTo>
                    <a:lnTo>
                      <a:pt x="256" y="299"/>
                    </a:lnTo>
                    <a:lnTo>
                      <a:pt x="255" y="299"/>
                    </a:lnTo>
                    <a:lnTo>
                      <a:pt x="251" y="299"/>
                    </a:lnTo>
                    <a:lnTo>
                      <a:pt x="251" y="299"/>
                    </a:lnTo>
                    <a:lnTo>
                      <a:pt x="251" y="297"/>
                    </a:lnTo>
                    <a:lnTo>
                      <a:pt x="251" y="297"/>
                    </a:lnTo>
                    <a:lnTo>
                      <a:pt x="249" y="297"/>
                    </a:lnTo>
                    <a:lnTo>
                      <a:pt x="243" y="291"/>
                    </a:lnTo>
                    <a:lnTo>
                      <a:pt x="243" y="291"/>
                    </a:lnTo>
                    <a:lnTo>
                      <a:pt x="243" y="292"/>
                    </a:lnTo>
                    <a:lnTo>
                      <a:pt x="242" y="291"/>
                    </a:lnTo>
                    <a:lnTo>
                      <a:pt x="242" y="291"/>
                    </a:lnTo>
                    <a:lnTo>
                      <a:pt x="242" y="293"/>
                    </a:lnTo>
                    <a:lnTo>
                      <a:pt x="244" y="295"/>
                    </a:lnTo>
                    <a:lnTo>
                      <a:pt x="244" y="295"/>
                    </a:lnTo>
                    <a:lnTo>
                      <a:pt x="244" y="295"/>
                    </a:lnTo>
                    <a:lnTo>
                      <a:pt x="244" y="295"/>
                    </a:lnTo>
                    <a:lnTo>
                      <a:pt x="244" y="296"/>
                    </a:lnTo>
                    <a:lnTo>
                      <a:pt x="244" y="296"/>
                    </a:lnTo>
                    <a:lnTo>
                      <a:pt x="242" y="296"/>
                    </a:lnTo>
                    <a:lnTo>
                      <a:pt x="242" y="296"/>
                    </a:lnTo>
                    <a:lnTo>
                      <a:pt x="239" y="296"/>
                    </a:lnTo>
                    <a:lnTo>
                      <a:pt x="239" y="296"/>
                    </a:lnTo>
                    <a:lnTo>
                      <a:pt x="235" y="296"/>
                    </a:lnTo>
                    <a:lnTo>
                      <a:pt x="235" y="296"/>
                    </a:lnTo>
                    <a:lnTo>
                      <a:pt x="232" y="297"/>
                    </a:lnTo>
                    <a:lnTo>
                      <a:pt x="228" y="297"/>
                    </a:lnTo>
                    <a:lnTo>
                      <a:pt x="228" y="297"/>
                    </a:lnTo>
                    <a:lnTo>
                      <a:pt x="226" y="299"/>
                    </a:lnTo>
                    <a:lnTo>
                      <a:pt x="226" y="299"/>
                    </a:lnTo>
                    <a:lnTo>
                      <a:pt x="223" y="297"/>
                    </a:lnTo>
                    <a:lnTo>
                      <a:pt x="223" y="297"/>
                    </a:lnTo>
                    <a:lnTo>
                      <a:pt x="220" y="297"/>
                    </a:lnTo>
                    <a:lnTo>
                      <a:pt x="220" y="297"/>
                    </a:lnTo>
                    <a:lnTo>
                      <a:pt x="223" y="297"/>
                    </a:lnTo>
                    <a:lnTo>
                      <a:pt x="224" y="295"/>
                    </a:lnTo>
                    <a:lnTo>
                      <a:pt x="219" y="299"/>
                    </a:lnTo>
                    <a:lnTo>
                      <a:pt x="219" y="299"/>
                    </a:lnTo>
                    <a:lnTo>
                      <a:pt x="222" y="299"/>
                    </a:lnTo>
                    <a:lnTo>
                      <a:pt x="222" y="299"/>
                    </a:lnTo>
                    <a:lnTo>
                      <a:pt x="219" y="300"/>
                    </a:lnTo>
                    <a:lnTo>
                      <a:pt x="216" y="300"/>
                    </a:lnTo>
                    <a:lnTo>
                      <a:pt x="216" y="300"/>
                    </a:lnTo>
                    <a:lnTo>
                      <a:pt x="215" y="301"/>
                    </a:lnTo>
                    <a:lnTo>
                      <a:pt x="215" y="301"/>
                    </a:lnTo>
                    <a:lnTo>
                      <a:pt x="215" y="301"/>
                    </a:lnTo>
                    <a:lnTo>
                      <a:pt x="212" y="305"/>
                    </a:lnTo>
                    <a:lnTo>
                      <a:pt x="211" y="306"/>
                    </a:lnTo>
                    <a:lnTo>
                      <a:pt x="211" y="306"/>
                    </a:lnTo>
                    <a:lnTo>
                      <a:pt x="211" y="306"/>
                    </a:lnTo>
                    <a:lnTo>
                      <a:pt x="211" y="305"/>
                    </a:lnTo>
                    <a:lnTo>
                      <a:pt x="207" y="309"/>
                    </a:lnTo>
                    <a:lnTo>
                      <a:pt x="207" y="310"/>
                    </a:lnTo>
                    <a:lnTo>
                      <a:pt x="207" y="310"/>
                    </a:lnTo>
                    <a:lnTo>
                      <a:pt x="202" y="312"/>
                    </a:lnTo>
                    <a:lnTo>
                      <a:pt x="202" y="312"/>
                    </a:lnTo>
                    <a:lnTo>
                      <a:pt x="198" y="313"/>
                    </a:lnTo>
                    <a:lnTo>
                      <a:pt x="197" y="314"/>
                    </a:lnTo>
                    <a:lnTo>
                      <a:pt x="193" y="317"/>
                    </a:lnTo>
                    <a:lnTo>
                      <a:pt x="193" y="317"/>
                    </a:lnTo>
                    <a:lnTo>
                      <a:pt x="193" y="317"/>
                    </a:lnTo>
                    <a:lnTo>
                      <a:pt x="193" y="317"/>
                    </a:lnTo>
                    <a:lnTo>
                      <a:pt x="191" y="317"/>
                    </a:lnTo>
                    <a:lnTo>
                      <a:pt x="191" y="317"/>
                    </a:lnTo>
                    <a:lnTo>
                      <a:pt x="191" y="317"/>
                    </a:lnTo>
                    <a:lnTo>
                      <a:pt x="186" y="318"/>
                    </a:lnTo>
                    <a:lnTo>
                      <a:pt x="186" y="318"/>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5" name="Freeform 57">
                <a:extLst>
                  <a:ext uri="{FF2B5EF4-FFF2-40B4-BE49-F238E27FC236}">
                    <a16:creationId xmlns:a16="http://schemas.microsoft.com/office/drawing/2014/main" xmlns="" id="{0C2A04C5-231A-4836-8031-95B671FBD151}"/>
                  </a:ext>
                </a:extLst>
              </p:cNvPr>
              <p:cNvSpPr>
                <a:spLocks/>
              </p:cNvSpPr>
              <p:nvPr/>
            </p:nvSpPr>
            <p:spPr bwMode="auto">
              <a:xfrm>
                <a:off x="1996954" y="6022780"/>
                <a:ext cx="282054" cy="417857"/>
              </a:xfrm>
              <a:custGeom>
                <a:avLst/>
                <a:gdLst>
                  <a:gd name="T0" fmla="*/ 23 w 162"/>
                  <a:gd name="T1" fmla="*/ 231 h 240"/>
                  <a:gd name="T2" fmla="*/ 18 w 162"/>
                  <a:gd name="T3" fmla="*/ 219 h 240"/>
                  <a:gd name="T4" fmla="*/ 17 w 162"/>
                  <a:gd name="T5" fmla="*/ 214 h 240"/>
                  <a:gd name="T6" fmla="*/ 15 w 162"/>
                  <a:gd name="T7" fmla="*/ 203 h 240"/>
                  <a:gd name="T8" fmla="*/ 5 w 162"/>
                  <a:gd name="T9" fmla="*/ 185 h 240"/>
                  <a:gd name="T10" fmla="*/ 10 w 162"/>
                  <a:gd name="T11" fmla="*/ 170 h 240"/>
                  <a:gd name="T12" fmla="*/ 5 w 162"/>
                  <a:gd name="T13" fmla="*/ 149 h 240"/>
                  <a:gd name="T14" fmla="*/ 13 w 162"/>
                  <a:gd name="T15" fmla="*/ 131 h 240"/>
                  <a:gd name="T16" fmla="*/ 22 w 162"/>
                  <a:gd name="T17" fmla="*/ 117 h 240"/>
                  <a:gd name="T18" fmla="*/ 34 w 162"/>
                  <a:gd name="T19" fmla="*/ 120 h 240"/>
                  <a:gd name="T20" fmla="*/ 37 w 162"/>
                  <a:gd name="T21" fmla="*/ 104 h 240"/>
                  <a:gd name="T22" fmla="*/ 34 w 162"/>
                  <a:gd name="T23" fmla="*/ 100 h 240"/>
                  <a:gd name="T24" fmla="*/ 25 w 162"/>
                  <a:gd name="T25" fmla="*/ 79 h 240"/>
                  <a:gd name="T26" fmla="*/ 23 w 162"/>
                  <a:gd name="T27" fmla="*/ 62 h 240"/>
                  <a:gd name="T28" fmla="*/ 2 w 162"/>
                  <a:gd name="T29" fmla="*/ 32 h 240"/>
                  <a:gd name="T30" fmla="*/ 2 w 162"/>
                  <a:gd name="T31" fmla="*/ 20 h 240"/>
                  <a:gd name="T32" fmla="*/ 18 w 162"/>
                  <a:gd name="T33" fmla="*/ 10 h 240"/>
                  <a:gd name="T34" fmla="*/ 39 w 162"/>
                  <a:gd name="T35" fmla="*/ 4 h 240"/>
                  <a:gd name="T36" fmla="*/ 48 w 162"/>
                  <a:gd name="T37" fmla="*/ 13 h 240"/>
                  <a:gd name="T38" fmla="*/ 58 w 162"/>
                  <a:gd name="T39" fmla="*/ 22 h 240"/>
                  <a:gd name="T40" fmla="*/ 56 w 162"/>
                  <a:gd name="T41" fmla="*/ 26 h 240"/>
                  <a:gd name="T42" fmla="*/ 70 w 162"/>
                  <a:gd name="T43" fmla="*/ 37 h 240"/>
                  <a:gd name="T44" fmla="*/ 83 w 162"/>
                  <a:gd name="T45" fmla="*/ 49 h 240"/>
                  <a:gd name="T46" fmla="*/ 93 w 162"/>
                  <a:gd name="T47" fmla="*/ 54 h 240"/>
                  <a:gd name="T48" fmla="*/ 109 w 162"/>
                  <a:gd name="T49" fmla="*/ 54 h 240"/>
                  <a:gd name="T50" fmla="*/ 113 w 162"/>
                  <a:gd name="T51" fmla="*/ 72 h 240"/>
                  <a:gd name="T52" fmla="*/ 111 w 162"/>
                  <a:gd name="T53" fmla="*/ 79 h 240"/>
                  <a:gd name="T54" fmla="*/ 105 w 162"/>
                  <a:gd name="T55" fmla="*/ 98 h 240"/>
                  <a:gd name="T56" fmla="*/ 96 w 162"/>
                  <a:gd name="T57" fmla="*/ 108 h 240"/>
                  <a:gd name="T58" fmla="*/ 101 w 162"/>
                  <a:gd name="T59" fmla="*/ 108 h 240"/>
                  <a:gd name="T60" fmla="*/ 95 w 162"/>
                  <a:gd name="T61" fmla="*/ 120 h 240"/>
                  <a:gd name="T62" fmla="*/ 99 w 162"/>
                  <a:gd name="T63" fmla="*/ 133 h 240"/>
                  <a:gd name="T64" fmla="*/ 103 w 162"/>
                  <a:gd name="T65" fmla="*/ 147 h 240"/>
                  <a:gd name="T66" fmla="*/ 107 w 162"/>
                  <a:gd name="T67" fmla="*/ 152 h 240"/>
                  <a:gd name="T68" fmla="*/ 116 w 162"/>
                  <a:gd name="T69" fmla="*/ 156 h 240"/>
                  <a:gd name="T70" fmla="*/ 129 w 162"/>
                  <a:gd name="T71" fmla="*/ 149 h 240"/>
                  <a:gd name="T72" fmla="*/ 136 w 162"/>
                  <a:gd name="T73" fmla="*/ 147 h 240"/>
                  <a:gd name="T74" fmla="*/ 145 w 162"/>
                  <a:gd name="T75" fmla="*/ 140 h 240"/>
                  <a:gd name="T76" fmla="*/ 161 w 162"/>
                  <a:gd name="T77" fmla="*/ 161 h 240"/>
                  <a:gd name="T78" fmla="*/ 154 w 162"/>
                  <a:gd name="T79" fmla="*/ 173 h 240"/>
                  <a:gd name="T80" fmla="*/ 152 w 162"/>
                  <a:gd name="T81" fmla="*/ 178 h 240"/>
                  <a:gd name="T82" fmla="*/ 154 w 162"/>
                  <a:gd name="T83" fmla="*/ 184 h 240"/>
                  <a:gd name="T84" fmla="*/ 140 w 162"/>
                  <a:gd name="T85" fmla="*/ 203 h 240"/>
                  <a:gd name="T86" fmla="*/ 137 w 162"/>
                  <a:gd name="T87" fmla="*/ 206 h 240"/>
                  <a:gd name="T88" fmla="*/ 124 w 162"/>
                  <a:gd name="T89" fmla="*/ 207 h 240"/>
                  <a:gd name="T90" fmla="*/ 119 w 162"/>
                  <a:gd name="T91" fmla="*/ 195 h 240"/>
                  <a:gd name="T92" fmla="*/ 126 w 162"/>
                  <a:gd name="T93" fmla="*/ 185 h 240"/>
                  <a:gd name="T94" fmla="*/ 111 w 162"/>
                  <a:gd name="T95" fmla="*/ 170 h 240"/>
                  <a:gd name="T96" fmla="*/ 105 w 162"/>
                  <a:gd name="T97" fmla="*/ 168 h 240"/>
                  <a:gd name="T98" fmla="*/ 100 w 162"/>
                  <a:gd name="T99" fmla="*/ 166 h 240"/>
                  <a:gd name="T100" fmla="*/ 91 w 162"/>
                  <a:gd name="T101" fmla="*/ 160 h 240"/>
                  <a:gd name="T102" fmla="*/ 85 w 162"/>
                  <a:gd name="T103" fmla="*/ 166 h 240"/>
                  <a:gd name="T104" fmla="*/ 76 w 162"/>
                  <a:gd name="T105" fmla="*/ 166 h 240"/>
                  <a:gd name="T106" fmla="*/ 72 w 162"/>
                  <a:gd name="T107" fmla="*/ 168 h 240"/>
                  <a:gd name="T108" fmla="*/ 58 w 162"/>
                  <a:gd name="T109" fmla="*/ 172 h 240"/>
                  <a:gd name="T110" fmla="*/ 40 w 162"/>
                  <a:gd name="T111" fmla="*/ 178 h 240"/>
                  <a:gd name="T112" fmla="*/ 33 w 162"/>
                  <a:gd name="T113" fmla="*/ 193 h 240"/>
                  <a:gd name="T114" fmla="*/ 40 w 162"/>
                  <a:gd name="T115" fmla="*/ 203 h 240"/>
                  <a:gd name="T116" fmla="*/ 43 w 162"/>
                  <a:gd name="T117" fmla="*/ 218 h 240"/>
                  <a:gd name="T118" fmla="*/ 40 w 162"/>
                  <a:gd name="T119" fmla="*/ 230 h 240"/>
                  <a:gd name="T120" fmla="*/ 42 w 162"/>
                  <a:gd name="T121" fmla="*/ 231 h 240"/>
                  <a:gd name="T122" fmla="*/ 40 w 162"/>
                  <a:gd name="T123" fmla="*/ 2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240">
                    <a:moveTo>
                      <a:pt x="35" y="240"/>
                    </a:moveTo>
                    <a:lnTo>
                      <a:pt x="35" y="240"/>
                    </a:lnTo>
                    <a:lnTo>
                      <a:pt x="30" y="239"/>
                    </a:lnTo>
                    <a:lnTo>
                      <a:pt x="27" y="236"/>
                    </a:lnTo>
                    <a:lnTo>
                      <a:pt x="25" y="234"/>
                    </a:lnTo>
                    <a:lnTo>
                      <a:pt x="23" y="231"/>
                    </a:lnTo>
                    <a:lnTo>
                      <a:pt x="23" y="231"/>
                    </a:lnTo>
                    <a:lnTo>
                      <a:pt x="22" y="229"/>
                    </a:lnTo>
                    <a:lnTo>
                      <a:pt x="21" y="226"/>
                    </a:lnTo>
                    <a:lnTo>
                      <a:pt x="21" y="226"/>
                    </a:lnTo>
                    <a:lnTo>
                      <a:pt x="19" y="225"/>
                    </a:lnTo>
                    <a:lnTo>
                      <a:pt x="18" y="222"/>
                    </a:lnTo>
                    <a:lnTo>
                      <a:pt x="18" y="219"/>
                    </a:lnTo>
                    <a:lnTo>
                      <a:pt x="18" y="219"/>
                    </a:lnTo>
                    <a:lnTo>
                      <a:pt x="18" y="218"/>
                    </a:lnTo>
                    <a:lnTo>
                      <a:pt x="18" y="218"/>
                    </a:lnTo>
                    <a:lnTo>
                      <a:pt x="19" y="219"/>
                    </a:lnTo>
                    <a:lnTo>
                      <a:pt x="22" y="222"/>
                    </a:lnTo>
                    <a:lnTo>
                      <a:pt x="17" y="215"/>
                    </a:lnTo>
                    <a:lnTo>
                      <a:pt x="17" y="215"/>
                    </a:lnTo>
                    <a:lnTo>
                      <a:pt x="17" y="214"/>
                    </a:lnTo>
                    <a:lnTo>
                      <a:pt x="17" y="214"/>
                    </a:lnTo>
                    <a:lnTo>
                      <a:pt x="18" y="217"/>
                    </a:lnTo>
                    <a:lnTo>
                      <a:pt x="21" y="218"/>
                    </a:lnTo>
                    <a:lnTo>
                      <a:pt x="15" y="211"/>
                    </a:lnTo>
                    <a:lnTo>
                      <a:pt x="15" y="206"/>
                    </a:lnTo>
                    <a:lnTo>
                      <a:pt x="15" y="206"/>
                    </a:lnTo>
                    <a:lnTo>
                      <a:pt x="15" y="203"/>
                    </a:lnTo>
                    <a:lnTo>
                      <a:pt x="14" y="201"/>
                    </a:lnTo>
                    <a:lnTo>
                      <a:pt x="11" y="198"/>
                    </a:lnTo>
                    <a:lnTo>
                      <a:pt x="7" y="197"/>
                    </a:lnTo>
                    <a:lnTo>
                      <a:pt x="3" y="193"/>
                    </a:lnTo>
                    <a:lnTo>
                      <a:pt x="3" y="193"/>
                    </a:lnTo>
                    <a:lnTo>
                      <a:pt x="3" y="188"/>
                    </a:lnTo>
                    <a:lnTo>
                      <a:pt x="5" y="185"/>
                    </a:lnTo>
                    <a:lnTo>
                      <a:pt x="9" y="181"/>
                    </a:lnTo>
                    <a:lnTo>
                      <a:pt x="9" y="181"/>
                    </a:lnTo>
                    <a:lnTo>
                      <a:pt x="9" y="180"/>
                    </a:lnTo>
                    <a:lnTo>
                      <a:pt x="9" y="180"/>
                    </a:lnTo>
                    <a:lnTo>
                      <a:pt x="10" y="177"/>
                    </a:lnTo>
                    <a:lnTo>
                      <a:pt x="10" y="177"/>
                    </a:lnTo>
                    <a:lnTo>
                      <a:pt x="10" y="170"/>
                    </a:lnTo>
                    <a:lnTo>
                      <a:pt x="11" y="164"/>
                    </a:lnTo>
                    <a:lnTo>
                      <a:pt x="11" y="164"/>
                    </a:lnTo>
                    <a:lnTo>
                      <a:pt x="10" y="164"/>
                    </a:lnTo>
                    <a:lnTo>
                      <a:pt x="2" y="160"/>
                    </a:lnTo>
                    <a:lnTo>
                      <a:pt x="2" y="160"/>
                    </a:lnTo>
                    <a:lnTo>
                      <a:pt x="2" y="154"/>
                    </a:lnTo>
                    <a:lnTo>
                      <a:pt x="5" y="149"/>
                    </a:lnTo>
                    <a:lnTo>
                      <a:pt x="10" y="141"/>
                    </a:lnTo>
                    <a:lnTo>
                      <a:pt x="10" y="141"/>
                    </a:lnTo>
                    <a:lnTo>
                      <a:pt x="10" y="137"/>
                    </a:lnTo>
                    <a:lnTo>
                      <a:pt x="13" y="133"/>
                    </a:lnTo>
                    <a:lnTo>
                      <a:pt x="13" y="133"/>
                    </a:lnTo>
                    <a:lnTo>
                      <a:pt x="13" y="133"/>
                    </a:lnTo>
                    <a:lnTo>
                      <a:pt x="13" y="131"/>
                    </a:lnTo>
                    <a:lnTo>
                      <a:pt x="13" y="131"/>
                    </a:lnTo>
                    <a:lnTo>
                      <a:pt x="13" y="125"/>
                    </a:lnTo>
                    <a:lnTo>
                      <a:pt x="14" y="123"/>
                    </a:lnTo>
                    <a:lnTo>
                      <a:pt x="17" y="120"/>
                    </a:lnTo>
                    <a:lnTo>
                      <a:pt x="18" y="119"/>
                    </a:lnTo>
                    <a:lnTo>
                      <a:pt x="18" y="119"/>
                    </a:lnTo>
                    <a:lnTo>
                      <a:pt x="22" y="117"/>
                    </a:lnTo>
                    <a:lnTo>
                      <a:pt x="22" y="117"/>
                    </a:lnTo>
                    <a:lnTo>
                      <a:pt x="26" y="119"/>
                    </a:lnTo>
                    <a:lnTo>
                      <a:pt x="29" y="120"/>
                    </a:lnTo>
                    <a:lnTo>
                      <a:pt x="29" y="120"/>
                    </a:lnTo>
                    <a:lnTo>
                      <a:pt x="33" y="120"/>
                    </a:lnTo>
                    <a:lnTo>
                      <a:pt x="33" y="120"/>
                    </a:lnTo>
                    <a:lnTo>
                      <a:pt x="34" y="120"/>
                    </a:lnTo>
                    <a:lnTo>
                      <a:pt x="35" y="119"/>
                    </a:lnTo>
                    <a:lnTo>
                      <a:pt x="37" y="116"/>
                    </a:lnTo>
                    <a:lnTo>
                      <a:pt x="37" y="111"/>
                    </a:lnTo>
                    <a:lnTo>
                      <a:pt x="37" y="108"/>
                    </a:lnTo>
                    <a:lnTo>
                      <a:pt x="37" y="108"/>
                    </a:lnTo>
                    <a:lnTo>
                      <a:pt x="37" y="104"/>
                    </a:lnTo>
                    <a:lnTo>
                      <a:pt x="37" y="104"/>
                    </a:lnTo>
                    <a:lnTo>
                      <a:pt x="38" y="106"/>
                    </a:lnTo>
                    <a:lnTo>
                      <a:pt x="34" y="102"/>
                    </a:lnTo>
                    <a:lnTo>
                      <a:pt x="34" y="102"/>
                    </a:lnTo>
                    <a:lnTo>
                      <a:pt x="34" y="102"/>
                    </a:lnTo>
                    <a:lnTo>
                      <a:pt x="34" y="102"/>
                    </a:lnTo>
                    <a:lnTo>
                      <a:pt x="34" y="100"/>
                    </a:lnTo>
                    <a:lnTo>
                      <a:pt x="34" y="100"/>
                    </a:lnTo>
                    <a:lnTo>
                      <a:pt x="33" y="99"/>
                    </a:lnTo>
                    <a:lnTo>
                      <a:pt x="31" y="96"/>
                    </a:lnTo>
                    <a:lnTo>
                      <a:pt x="31" y="96"/>
                    </a:lnTo>
                    <a:lnTo>
                      <a:pt x="27" y="88"/>
                    </a:lnTo>
                    <a:lnTo>
                      <a:pt x="27" y="88"/>
                    </a:lnTo>
                    <a:lnTo>
                      <a:pt x="25" y="83"/>
                    </a:lnTo>
                    <a:lnTo>
                      <a:pt x="25" y="79"/>
                    </a:lnTo>
                    <a:lnTo>
                      <a:pt x="25" y="71"/>
                    </a:lnTo>
                    <a:lnTo>
                      <a:pt x="25" y="70"/>
                    </a:lnTo>
                    <a:lnTo>
                      <a:pt x="25" y="70"/>
                    </a:lnTo>
                    <a:lnTo>
                      <a:pt x="23" y="67"/>
                    </a:lnTo>
                    <a:lnTo>
                      <a:pt x="23" y="66"/>
                    </a:lnTo>
                    <a:lnTo>
                      <a:pt x="23" y="62"/>
                    </a:lnTo>
                    <a:lnTo>
                      <a:pt x="23" y="62"/>
                    </a:lnTo>
                    <a:lnTo>
                      <a:pt x="21" y="57"/>
                    </a:lnTo>
                    <a:lnTo>
                      <a:pt x="17" y="51"/>
                    </a:lnTo>
                    <a:lnTo>
                      <a:pt x="7" y="41"/>
                    </a:lnTo>
                    <a:lnTo>
                      <a:pt x="7" y="41"/>
                    </a:lnTo>
                    <a:lnTo>
                      <a:pt x="3" y="37"/>
                    </a:lnTo>
                    <a:lnTo>
                      <a:pt x="2" y="33"/>
                    </a:lnTo>
                    <a:lnTo>
                      <a:pt x="2" y="32"/>
                    </a:lnTo>
                    <a:lnTo>
                      <a:pt x="2" y="32"/>
                    </a:lnTo>
                    <a:lnTo>
                      <a:pt x="0" y="28"/>
                    </a:lnTo>
                    <a:lnTo>
                      <a:pt x="0" y="28"/>
                    </a:lnTo>
                    <a:lnTo>
                      <a:pt x="1" y="25"/>
                    </a:lnTo>
                    <a:lnTo>
                      <a:pt x="1" y="25"/>
                    </a:lnTo>
                    <a:lnTo>
                      <a:pt x="2" y="22"/>
                    </a:lnTo>
                    <a:lnTo>
                      <a:pt x="2" y="20"/>
                    </a:lnTo>
                    <a:lnTo>
                      <a:pt x="5" y="16"/>
                    </a:lnTo>
                    <a:lnTo>
                      <a:pt x="5" y="16"/>
                    </a:lnTo>
                    <a:lnTo>
                      <a:pt x="6" y="14"/>
                    </a:lnTo>
                    <a:lnTo>
                      <a:pt x="6" y="14"/>
                    </a:lnTo>
                    <a:lnTo>
                      <a:pt x="7" y="13"/>
                    </a:lnTo>
                    <a:lnTo>
                      <a:pt x="13" y="10"/>
                    </a:lnTo>
                    <a:lnTo>
                      <a:pt x="18" y="10"/>
                    </a:lnTo>
                    <a:lnTo>
                      <a:pt x="18" y="10"/>
                    </a:lnTo>
                    <a:lnTo>
                      <a:pt x="21" y="6"/>
                    </a:lnTo>
                    <a:lnTo>
                      <a:pt x="21" y="6"/>
                    </a:lnTo>
                    <a:lnTo>
                      <a:pt x="25" y="1"/>
                    </a:lnTo>
                    <a:lnTo>
                      <a:pt x="29" y="0"/>
                    </a:lnTo>
                    <a:lnTo>
                      <a:pt x="34" y="0"/>
                    </a:lnTo>
                    <a:lnTo>
                      <a:pt x="39" y="4"/>
                    </a:lnTo>
                    <a:lnTo>
                      <a:pt x="39" y="4"/>
                    </a:lnTo>
                    <a:lnTo>
                      <a:pt x="42" y="5"/>
                    </a:lnTo>
                    <a:lnTo>
                      <a:pt x="44" y="10"/>
                    </a:lnTo>
                    <a:lnTo>
                      <a:pt x="44" y="10"/>
                    </a:lnTo>
                    <a:lnTo>
                      <a:pt x="44" y="13"/>
                    </a:lnTo>
                    <a:lnTo>
                      <a:pt x="48" y="13"/>
                    </a:lnTo>
                    <a:lnTo>
                      <a:pt x="48" y="13"/>
                    </a:lnTo>
                    <a:lnTo>
                      <a:pt x="50" y="13"/>
                    </a:lnTo>
                    <a:lnTo>
                      <a:pt x="50" y="13"/>
                    </a:lnTo>
                    <a:lnTo>
                      <a:pt x="54" y="13"/>
                    </a:lnTo>
                    <a:lnTo>
                      <a:pt x="56" y="16"/>
                    </a:lnTo>
                    <a:lnTo>
                      <a:pt x="58" y="20"/>
                    </a:lnTo>
                    <a:lnTo>
                      <a:pt x="58" y="20"/>
                    </a:lnTo>
                    <a:lnTo>
                      <a:pt x="58" y="22"/>
                    </a:lnTo>
                    <a:lnTo>
                      <a:pt x="56" y="25"/>
                    </a:lnTo>
                    <a:lnTo>
                      <a:pt x="56" y="25"/>
                    </a:lnTo>
                    <a:lnTo>
                      <a:pt x="56" y="25"/>
                    </a:lnTo>
                    <a:lnTo>
                      <a:pt x="58" y="26"/>
                    </a:lnTo>
                    <a:lnTo>
                      <a:pt x="58" y="26"/>
                    </a:lnTo>
                    <a:lnTo>
                      <a:pt x="58" y="26"/>
                    </a:lnTo>
                    <a:lnTo>
                      <a:pt x="56" y="26"/>
                    </a:lnTo>
                    <a:lnTo>
                      <a:pt x="56" y="26"/>
                    </a:lnTo>
                    <a:lnTo>
                      <a:pt x="59" y="26"/>
                    </a:lnTo>
                    <a:lnTo>
                      <a:pt x="59" y="26"/>
                    </a:lnTo>
                    <a:lnTo>
                      <a:pt x="64" y="29"/>
                    </a:lnTo>
                    <a:lnTo>
                      <a:pt x="64" y="29"/>
                    </a:lnTo>
                    <a:lnTo>
                      <a:pt x="67" y="32"/>
                    </a:lnTo>
                    <a:lnTo>
                      <a:pt x="70" y="37"/>
                    </a:lnTo>
                    <a:lnTo>
                      <a:pt x="70" y="37"/>
                    </a:lnTo>
                    <a:lnTo>
                      <a:pt x="70" y="38"/>
                    </a:lnTo>
                    <a:lnTo>
                      <a:pt x="74" y="41"/>
                    </a:lnTo>
                    <a:lnTo>
                      <a:pt x="74" y="41"/>
                    </a:lnTo>
                    <a:lnTo>
                      <a:pt x="79" y="45"/>
                    </a:lnTo>
                    <a:lnTo>
                      <a:pt x="83" y="49"/>
                    </a:lnTo>
                    <a:lnTo>
                      <a:pt x="83" y="49"/>
                    </a:lnTo>
                    <a:lnTo>
                      <a:pt x="85" y="53"/>
                    </a:lnTo>
                    <a:lnTo>
                      <a:pt x="85" y="53"/>
                    </a:lnTo>
                    <a:lnTo>
                      <a:pt x="88" y="51"/>
                    </a:lnTo>
                    <a:lnTo>
                      <a:pt x="88" y="51"/>
                    </a:lnTo>
                    <a:lnTo>
                      <a:pt x="91" y="53"/>
                    </a:lnTo>
                    <a:lnTo>
                      <a:pt x="93" y="54"/>
                    </a:lnTo>
                    <a:lnTo>
                      <a:pt x="93" y="54"/>
                    </a:lnTo>
                    <a:lnTo>
                      <a:pt x="95" y="51"/>
                    </a:lnTo>
                    <a:lnTo>
                      <a:pt x="95" y="51"/>
                    </a:lnTo>
                    <a:lnTo>
                      <a:pt x="99" y="46"/>
                    </a:lnTo>
                    <a:lnTo>
                      <a:pt x="101" y="45"/>
                    </a:lnTo>
                    <a:lnTo>
                      <a:pt x="105" y="43"/>
                    </a:lnTo>
                    <a:lnTo>
                      <a:pt x="109" y="54"/>
                    </a:lnTo>
                    <a:lnTo>
                      <a:pt x="109" y="54"/>
                    </a:lnTo>
                    <a:lnTo>
                      <a:pt x="111" y="54"/>
                    </a:lnTo>
                    <a:lnTo>
                      <a:pt x="111" y="54"/>
                    </a:lnTo>
                    <a:lnTo>
                      <a:pt x="109" y="59"/>
                    </a:lnTo>
                    <a:lnTo>
                      <a:pt x="109" y="59"/>
                    </a:lnTo>
                    <a:lnTo>
                      <a:pt x="113" y="62"/>
                    </a:lnTo>
                    <a:lnTo>
                      <a:pt x="116" y="66"/>
                    </a:lnTo>
                    <a:lnTo>
                      <a:pt x="113" y="72"/>
                    </a:lnTo>
                    <a:lnTo>
                      <a:pt x="113" y="72"/>
                    </a:lnTo>
                    <a:lnTo>
                      <a:pt x="113" y="72"/>
                    </a:lnTo>
                    <a:lnTo>
                      <a:pt x="113" y="72"/>
                    </a:lnTo>
                    <a:lnTo>
                      <a:pt x="113" y="75"/>
                    </a:lnTo>
                    <a:lnTo>
                      <a:pt x="113" y="75"/>
                    </a:lnTo>
                    <a:lnTo>
                      <a:pt x="111" y="79"/>
                    </a:lnTo>
                    <a:lnTo>
                      <a:pt x="111" y="79"/>
                    </a:lnTo>
                    <a:lnTo>
                      <a:pt x="112" y="84"/>
                    </a:lnTo>
                    <a:lnTo>
                      <a:pt x="111" y="90"/>
                    </a:lnTo>
                    <a:lnTo>
                      <a:pt x="111" y="90"/>
                    </a:lnTo>
                    <a:lnTo>
                      <a:pt x="109" y="94"/>
                    </a:lnTo>
                    <a:lnTo>
                      <a:pt x="108" y="95"/>
                    </a:lnTo>
                    <a:lnTo>
                      <a:pt x="105" y="98"/>
                    </a:lnTo>
                    <a:lnTo>
                      <a:pt x="105" y="98"/>
                    </a:lnTo>
                    <a:lnTo>
                      <a:pt x="107" y="95"/>
                    </a:lnTo>
                    <a:lnTo>
                      <a:pt x="103" y="99"/>
                    </a:lnTo>
                    <a:lnTo>
                      <a:pt x="103" y="99"/>
                    </a:lnTo>
                    <a:lnTo>
                      <a:pt x="103" y="100"/>
                    </a:lnTo>
                    <a:lnTo>
                      <a:pt x="103" y="102"/>
                    </a:lnTo>
                    <a:lnTo>
                      <a:pt x="103" y="103"/>
                    </a:lnTo>
                    <a:lnTo>
                      <a:pt x="96" y="108"/>
                    </a:lnTo>
                    <a:lnTo>
                      <a:pt x="96" y="108"/>
                    </a:lnTo>
                    <a:lnTo>
                      <a:pt x="100" y="107"/>
                    </a:lnTo>
                    <a:lnTo>
                      <a:pt x="101" y="104"/>
                    </a:lnTo>
                    <a:lnTo>
                      <a:pt x="101" y="104"/>
                    </a:lnTo>
                    <a:lnTo>
                      <a:pt x="101" y="106"/>
                    </a:lnTo>
                    <a:lnTo>
                      <a:pt x="101" y="106"/>
                    </a:lnTo>
                    <a:lnTo>
                      <a:pt x="101" y="108"/>
                    </a:lnTo>
                    <a:lnTo>
                      <a:pt x="100" y="112"/>
                    </a:lnTo>
                    <a:lnTo>
                      <a:pt x="99" y="115"/>
                    </a:lnTo>
                    <a:lnTo>
                      <a:pt x="99" y="115"/>
                    </a:lnTo>
                    <a:lnTo>
                      <a:pt x="95" y="116"/>
                    </a:lnTo>
                    <a:lnTo>
                      <a:pt x="93" y="120"/>
                    </a:lnTo>
                    <a:lnTo>
                      <a:pt x="93" y="120"/>
                    </a:lnTo>
                    <a:lnTo>
                      <a:pt x="95" y="120"/>
                    </a:lnTo>
                    <a:lnTo>
                      <a:pt x="95" y="120"/>
                    </a:lnTo>
                    <a:lnTo>
                      <a:pt x="97" y="124"/>
                    </a:lnTo>
                    <a:lnTo>
                      <a:pt x="100" y="129"/>
                    </a:lnTo>
                    <a:lnTo>
                      <a:pt x="100" y="131"/>
                    </a:lnTo>
                    <a:lnTo>
                      <a:pt x="100" y="132"/>
                    </a:lnTo>
                    <a:lnTo>
                      <a:pt x="99" y="133"/>
                    </a:lnTo>
                    <a:lnTo>
                      <a:pt x="99" y="133"/>
                    </a:lnTo>
                    <a:lnTo>
                      <a:pt x="99" y="136"/>
                    </a:lnTo>
                    <a:lnTo>
                      <a:pt x="100" y="137"/>
                    </a:lnTo>
                    <a:lnTo>
                      <a:pt x="103" y="141"/>
                    </a:lnTo>
                    <a:lnTo>
                      <a:pt x="103" y="143"/>
                    </a:lnTo>
                    <a:lnTo>
                      <a:pt x="103" y="143"/>
                    </a:lnTo>
                    <a:lnTo>
                      <a:pt x="103" y="147"/>
                    </a:lnTo>
                    <a:lnTo>
                      <a:pt x="103" y="147"/>
                    </a:lnTo>
                    <a:lnTo>
                      <a:pt x="101" y="148"/>
                    </a:lnTo>
                    <a:lnTo>
                      <a:pt x="101" y="148"/>
                    </a:lnTo>
                    <a:lnTo>
                      <a:pt x="101" y="147"/>
                    </a:lnTo>
                    <a:lnTo>
                      <a:pt x="97" y="145"/>
                    </a:lnTo>
                    <a:lnTo>
                      <a:pt x="101" y="148"/>
                    </a:lnTo>
                    <a:lnTo>
                      <a:pt x="101" y="148"/>
                    </a:lnTo>
                    <a:lnTo>
                      <a:pt x="107" y="152"/>
                    </a:lnTo>
                    <a:lnTo>
                      <a:pt x="107" y="152"/>
                    </a:lnTo>
                    <a:lnTo>
                      <a:pt x="109" y="154"/>
                    </a:lnTo>
                    <a:lnTo>
                      <a:pt x="112" y="154"/>
                    </a:lnTo>
                    <a:lnTo>
                      <a:pt x="112" y="154"/>
                    </a:lnTo>
                    <a:lnTo>
                      <a:pt x="112" y="154"/>
                    </a:lnTo>
                    <a:lnTo>
                      <a:pt x="112" y="154"/>
                    </a:lnTo>
                    <a:lnTo>
                      <a:pt x="116" y="156"/>
                    </a:lnTo>
                    <a:lnTo>
                      <a:pt x="119" y="152"/>
                    </a:lnTo>
                    <a:lnTo>
                      <a:pt x="124" y="152"/>
                    </a:lnTo>
                    <a:lnTo>
                      <a:pt x="124" y="152"/>
                    </a:lnTo>
                    <a:lnTo>
                      <a:pt x="125" y="152"/>
                    </a:lnTo>
                    <a:lnTo>
                      <a:pt x="125" y="152"/>
                    </a:lnTo>
                    <a:lnTo>
                      <a:pt x="126" y="149"/>
                    </a:lnTo>
                    <a:lnTo>
                      <a:pt x="129" y="149"/>
                    </a:lnTo>
                    <a:lnTo>
                      <a:pt x="129" y="149"/>
                    </a:lnTo>
                    <a:lnTo>
                      <a:pt x="128" y="149"/>
                    </a:lnTo>
                    <a:lnTo>
                      <a:pt x="128" y="149"/>
                    </a:lnTo>
                    <a:lnTo>
                      <a:pt x="130" y="148"/>
                    </a:lnTo>
                    <a:lnTo>
                      <a:pt x="130" y="148"/>
                    </a:lnTo>
                    <a:lnTo>
                      <a:pt x="136" y="147"/>
                    </a:lnTo>
                    <a:lnTo>
                      <a:pt x="136" y="147"/>
                    </a:lnTo>
                    <a:lnTo>
                      <a:pt x="136" y="145"/>
                    </a:lnTo>
                    <a:lnTo>
                      <a:pt x="136" y="145"/>
                    </a:lnTo>
                    <a:lnTo>
                      <a:pt x="137" y="145"/>
                    </a:lnTo>
                    <a:lnTo>
                      <a:pt x="137" y="145"/>
                    </a:lnTo>
                    <a:lnTo>
                      <a:pt x="137" y="145"/>
                    </a:lnTo>
                    <a:lnTo>
                      <a:pt x="144" y="140"/>
                    </a:lnTo>
                    <a:lnTo>
                      <a:pt x="145" y="140"/>
                    </a:lnTo>
                    <a:lnTo>
                      <a:pt x="148" y="140"/>
                    </a:lnTo>
                    <a:lnTo>
                      <a:pt x="148" y="140"/>
                    </a:lnTo>
                    <a:lnTo>
                      <a:pt x="154" y="147"/>
                    </a:lnTo>
                    <a:lnTo>
                      <a:pt x="161" y="154"/>
                    </a:lnTo>
                    <a:lnTo>
                      <a:pt x="162" y="158"/>
                    </a:lnTo>
                    <a:lnTo>
                      <a:pt x="162" y="160"/>
                    </a:lnTo>
                    <a:lnTo>
                      <a:pt x="161" y="161"/>
                    </a:lnTo>
                    <a:lnTo>
                      <a:pt x="161" y="161"/>
                    </a:lnTo>
                    <a:lnTo>
                      <a:pt x="159" y="165"/>
                    </a:lnTo>
                    <a:lnTo>
                      <a:pt x="157" y="168"/>
                    </a:lnTo>
                    <a:lnTo>
                      <a:pt x="157" y="168"/>
                    </a:lnTo>
                    <a:lnTo>
                      <a:pt x="156" y="169"/>
                    </a:lnTo>
                    <a:lnTo>
                      <a:pt x="156" y="169"/>
                    </a:lnTo>
                    <a:lnTo>
                      <a:pt x="154" y="173"/>
                    </a:lnTo>
                    <a:lnTo>
                      <a:pt x="154" y="173"/>
                    </a:lnTo>
                    <a:lnTo>
                      <a:pt x="154" y="172"/>
                    </a:lnTo>
                    <a:lnTo>
                      <a:pt x="154" y="174"/>
                    </a:lnTo>
                    <a:lnTo>
                      <a:pt x="154" y="174"/>
                    </a:lnTo>
                    <a:lnTo>
                      <a:pt x="153" y="177"/>
                    </a:lnTo>
                    <a:lnTo>
                      <a:pt x="152" y="178"/>
                    </a:lnTo>
                    <a:lnTo>
                      <a:pt x="152" y="178"/>
                    </a:lnTo>
                    <a:lnTo>
                      <a:pt x="152" y="178"/>
                    </a:lnTo>
                    <a:lnTo>
                      <a:pt x="152" y="178"/>
                    </a:lnTo>
                    <a:lnTo>
                      <a:pt x="152" y="177"/>
                    </a:lnTo>
                    <a:lnTo>
                      <a:pt x="150" y="178"/>
                    </a:lnTo>
                    <a:lnTo>
                      <a:pt x="154" y="180"/>
                    </a:lnTo>
                    <a:lnTo>
                      <a:pt x="154" y="180"/>
                    </a:lnTo>
                    <a:lnTo>
                      <a:pt x="154" y="184"/>
                    </a:lnTo>
                    <a:lnTo>
                      <a:pt x="154" y="188"/>
                    </a:lnTo>
                    <a:lnTo>
                      <a:pt x="153" y="193"/>
                    </a:lnTo>
                    <a:lnTo>
                      <a:pt x="149" y="197"/>
                    </a:lnTo>
                    <a:lnTo>
                      <a:pt x="145" y="199"/>
                    </a:lnTo>
                    <a:lnTo>
                      <a:pt x="145" y="199"/>
                    </a:lnTo>
                    <a:lnTo>
                      <a:pt x="141" y="203"/>
                    </a:lnTo>
                    <a:lnTo>
                      <a:pt x="140" y="203"/>
                    </a:lnTo>
                    <a:lnTo>
                      <a:pt x="134" y="207"/>
                    </a:lnTo>
                    <a:lnTo>
                      <a:pt x="134" y="207"/>
                    </a:lnTo>
                    <a:lnTo>
                      <a:pt x="134" y="207"/>
                    </a:lnTo>
                    <a:lnTo>
                      <a:pt x="134" y="207"/>
                    </a:lnTo>
                    <a:lnTo>
                      <a:pt x="136" y="207"/>
                    </a:lnTo>
                    <a:lnTo>
                      <a:pt x="137" y="206"/>
                    </a:lnTo>
                    <a:lnTo>
                      <a:pt x="137" y="206"/>
                    </a:lnTo>
                    <a:lnTo>
                      <a:pt x="134" y="209"/>
                    </a:lnTo>
                    <a:lnTo>
                      <a:pt x="133" y="210"/>
                    </a:lnTo>
                    <a:lnTo>
                      <a:pt x="130" y="210"/>
                    </a:lnTo>
                    <a:lnTo>
                      <a:pt x="130" y="210"/>
                    </a:lnTo>
                    <a:lnTo>
                      <a:pt x="128" y="210"/>
                    </a:lnTo>
                    <a:lnTo>
                      <a:pt x="124" y="207"/>
                    </a:lnTo>
                    <a:lnTo>
                      <a:pt x="124" y="207"/>
                    </a:lnTo>
                    <a:lnTo>
                      <a:pt x="122" y="205"/>
                    </a:lnTo>
                    <a:lnTo>
                      <a:pt x="122" y="205"/>
                    </a:lnTo>
                    <a:lnTo>
                      <a:pt x="121" y="203"/>
                    </a:lnTo>
                    <a:lnTo>
                      <a:pt x="120" y="201"/>
                    </a:lnTo>
                    <a:lnTo>
                      <a:pt x="120" y="201"/>
                    </a:lnTo>
                    <a:lnTo>
                      <a:pt x="119" y="198"/>
                    </a:lnTo>
                    <a:lnTo>
                      <a:pt x="119" y="195"/>
                    </a:lnTo>
                    <a:lnTo>
                      <a:pt x="119" y="191"/>
                    </a:lnTo>
                    <a:lnTo>
                      <a:pt x="121" y="189"/>
                    </a:lnTo>
                    <a:lnTo>
                      <a:pt x="122" y="188"/>
                    </a:lnTo>
                    <a:lnTo>
                      <a:pt x="122" y="188"/>
                    </a:lnTo>
                    <a:lnTo>
                      <a:pt x="124" y="186"/>
                    </a:lnTo>
                    <a:lnTo>
                      <a:pt x="124" y="186"/>
                    </a:lnTo>
                    <a:lnTo>
                      <a:pt x="126" y="185"/>
                    </a:lnTo>
                    <a:lnTo>
                      <a:pt x="126" y="185"/>
                    </a:lnTo>
                    <a:lnTo>
                      <a:pt x="121" y="178"/>
                    </a:lnTo>
                    <a:lnTo>
                      <a:pt x="115" y="172"/>
                    </a:lnTo>
                    <a:lnTo>
                      <a:pt x="115" y="172"/>
                    </a:lnTo>
                    <a:lnTo>
                      <a:pt x="111" y="170"/>
                    </a:lnTo>
                    <a:lnTo>
                      <a:pt x="111" y="170"/>
                    </a:lnTo>
                    <a:lnTo>
                      <a:pt x="111" y="170"/>
                    </a:lnTo>
                    <a:lnTo>
                      <a:pt x="112" y="170"/>
                    </a:lnTo>
                    <a:lnTo>
                      <a:pt x="108" y="168"/>
                    </a:lnTo>
                    <a:lnTo>
                      <a:pt x="108" y="168"/>
                    </a:lnTo>
                    <a:lnTo>
                      <a:pt x="108" y="168"/>
                    </a:lnTo>
                    <a:lnTo>
                      <a:pt x="108" y="168"/>
                    </a:lnTo>
                    <a:lnTo>
                      <a:pt x="107" y="168"/>
                    </a:lnTo>
                    <a:lnTo>
                      <a:pt x="105" y="168"/>
                    </a:lnTo>
                    <a:lnTo>
                      <a:pt x="100" y="164"/>
                    </a:lnTo>
                    <a:lnTo>
                      <a:pt x="100" y="165"/>
                    </a:lnTo>
                    <a:lnTo>
                      <a:pt x="100" y="165"/>
                    </a:lnTo>
                    <a:lnTo>
                      <a:pt x="103" y="166"/>
                    </a:lnTo>
                    <a:lnTo>
                      <a:pt x="101" y="166"/>
                    </a:lnTo>
                    <a:lnTo>
                      <a:pt x="101" y="166"/>
                    </a:lnTo>
                    <a:lnTo>
                      <a:pt x="100" y="166"/>
                    </a:lnTo>
                    <a:lnTo>
                      <a:pt x="96" y="166"/>
                    </a:lnTo>
                    <a:lnTo>
                      <a:pt x="93" y="164"/>
                    </a:lnTo>
                    <a:lnTo>
                      <a:pt x="93" y="164"/>
                    </a:lnTo>
                    <a:lnTo>
                      <a:pt x="95" y="162"/>
                    </a:lnTo>
                    <a:lnTo>
                      <a:pt x="95" y="160"/>
                    </a:lnTo>
                    <a:lnTo>
                      <a:pt x="92" y="162"/>
                    </a:lnTo>
                    <a:lnTo>
                      <a:pt x="91" y="160"/>
                    </a:lnTo>
                    <a:lnTo>
                      <a:pt x="91" y="160"/>
                    </a:lnTo>
                    <a:lnTo>
                      <a:pt x="91" y="162"/>
                    </a:lnTo>
                    <a:lnTo>
                      <a:pt x="91" y="164"/>
                    </a:lnTo>
                    <a:lnTo>
                      <a:pt x="88" y="166"/>
                    </a:lnTo>
                    <a:lnTo>
                      <a:pt x="88" y="166"/>
                    </a:lnTo>
                    <a:lnTo>
                      <a:pt x="88" y="166"/>
                    </a:lnTo>
                    <a:lnTo>
                      <a:pt x="85" y="166"/>
                    </a:lnTo>
                    <a:lnTo>
                      <a:pt x="85" y="166"/>
                    </a:lnTo>
                    <a:lnTo>
                      <a:pt x="81" y="166"/>
                    </a:lnTo>
                    <a:lnTo>
                      <a:pt x="81" y="166"/>
                    </a:lnTo>
                    <a:lnTo>
                      <a:pt x="78" y="166"/>
                    </a:lnTo>
                    <a:lnTo>
                      <a:pt x="78" y="166"/>
                    </a:lnTo>
                    <a:lnTo>
                      <a:pt x="76" y="166"/>
                    </a:lnTo>
                    <a:lnTo>
                      <a:pt x="76" y="166"/>
                    </a:lnTo>
                    <a:lnTo>
                      <a:pt x="78" y="165"/>
                    </a:lnTo>
                    <a:lnTo>
                      <a:pt x="75" y="166"/>
                    </a:lnTo>
                    <a:lnTo>
                      <a:pt x="75" y="166"/>
                    </a:lnTo>
                    <a:lnTo>
                      <a:pt x="76" y="165"/>
                    </a:lnTo>
                    <a:lnTo>
                      <a:pt x="72" y="168"/>
                    </a:lnTo>
                    <a:lnTo>
                      <a:pt x="72" y="168"/>
                    </a:lnTo>
                    <a:lnTo>
                      <a:pt x="72" y="168"/>
                    </a:lnTo>
                    <a:lnTo>
                      <a:pt x="72" y="168"/>
                    </a:lnTo>
                    <a:lnTo>
                      <a:pt x="71" y="169"/>
                    </a:lnTo>
                    <a:lnTo>
                      <a:pt x="66" y="169"/>
                    </a:lnTo>
                    <a:lnTo>
                      <a:pt x="66" y="169"/>
                    </a:lnTo>
                    <a:lnTo>
                      <a:pt x="62" y="170"/>
                    </a:lnTo>
                    <a:lnTo>
                      <a:pt x="58" y="172"/>
                    </a:lnTo>
                    <a:lnTo>
                      <a:pt x="58" y="172"/>
                    </a:lnTo>
                    <a:lnTo>
                      <a:pt x="52" y="174"/>
                    </a:lnTo>
                    <a:lnTo>
                      <a:pt x="52" y="174"/>
                    </a:lnTo>
                    <a:lnTo>
                      <a:pt x="51" y="174"/>
                    </a:lnTo>
                    <a:lnTo>
                      <a:pt x="48" y="176"/>
                    </a:lnTo>
                    <a:lnTo>
                      <a:pt x="44" y="176"/>
                    </a:lnTo>
                    <a:lnTo>
                      <a:pt x="44" y="176"/>
                    </a:lnTo>
                    <a:lnTo>
                      <a:pt x="40" y="178"/>
                    </a:lnTo>
                    <a:lnTo>
                      <a:pt x="37" y="181"/>
                    </a:lnTo>
                    <a:lnTo>
                      <a:pt x="34" y="184"/>
                    </a:lnTo>
                    <a:lnTo>
                      <a:pt x="34" y="186"/>
                    </a:lnTo>
                    <a:lnTo>
                      <a:pt x="34" y="188"/>
                    </a:lnTo>
                    <a:lnTo>
                      <a:pt x="34" y="188"/>
                    </a:lnTo>
                    <a:lnTo>
                      <a:pt x="34" y="190"/>
                    </a:lnTo>
                    <a:lnTo>
                      <a:pt x="33" y="193"/>
                    </a:lnTo>
                    <a:lnTo>
                      <a:pt x="33" y="194"/>
                    </a:lnTo>
                    <a:lnTo>
                      <a:pt x="33" y="194"/>
                    </a:lnTo>
                    <a:lnTo>
                      <a:pt x="33" y="197"/>
                    </a:lnTo>
                    <a:lnTo>
                      <a:pt x="33" y="197"/>
                    </a:lnTo>
                    <a:lnTo>
                      <a:pt x="37" y="199"/>
                    </a:lnTo>
                    <a:lnTo>
                      <a:pt x="40" y="203"/>
                    </a:lnTo>
                    <a:lnTo>
                      <a:pt x="40" y="203"/>
                    </a:lnTo>
                    <a:lnTo>
                      <a:pt x="40" y="205"/>
                    </a:lnTo>
                    <a:lnTo>
                      <a:pt x="42" y="207"/>
                    </a:lnTo>
                    <a:lnTo>
                      <a:pt x="42" y="207"/>
                    </a:lnTo>
                    <a:lnTo>
                      <a:pt x="43" y="210"/>
                    </a:lnTo>
                    <a:lnTo>
                      <a:pt x="43" y="214"/>
                    </a:lnTo>
                    <a:lnTo>
                      <a:pt x="43" y="218"/>
                    </a:lnTo>
                    <a:lnTo>
                      <a:pt x="43" y="218"/>
                    </a:lnTo>
                    <a:lnTo>
                      <a:pt x="42" y="221"/>
                    </a:lnTo>
                    <a:lnTo>
                      <a:pt x="42" y="221"/>
                    </a:lnTo>
                    <a:lnTo>
                      <a:pt x="42" y="218"/>
                    </a:lnTo>
                    <a:lnTo>
                      <a:pt x="43" y="223"/>
                    </a:lnTo>
                    <a:lnTo>
                      <a:pt x="43" y="225"/>
                    </a:lnTo>
                    <a:lnTo>
                      <a:pt x="39" y="230"/>
                    </a:lnTo>
                    <a:lnTo>
                      <a:pt x="40" y="230"/>
                    </a:lnTo>
                    <a:lnTo>
                      <a:pt x="40" y="230"/>
                    </a:lnTo>
                    <a:lnTo>
                      <a:pt x="43" y="227"/>
                    </a:lnTo>
                    <a:lnTo>
                      <a:pt x="43" y="227"/>
                    </a:lnTo>
                    <a:lnTo>
                      <a:pt x="43" y="227"/>
                    </a:lnTo>
                    <a:lnTo>
                      <a:pt x="43" y="227"/>
                    </a:lnTo>
                    <a:lnTo>
                      <a:pt x="42" y="230"/>
                    </a:lnTo>
                    <a:lnTo>
                      <a:pt x="42" y="231"/>
                    </a:lnTo>
                    <a:lnTo>
                      <a:pt x="38" y="236"/>
                    </a:lnTo>
                    <a:lnTo>
                      <a:pt x="38" y="236"/>
                    </a:lnTo>
                    <a:lnTo>
                      <a:pt x="40" y="235"/>
                    </a:lnTo>
                    <a:lnTo>
                      <a:pt x="42" y="232"/>
                    </a:lnTo>
                    <a:lnTo>
                      <a:pt x="42" y="234"/>
                    </a:lnTo>
                    <a:lnTo>
                      <a:pt x="42" y="234"/>
                    </a:lnTo>
                    <a:lnTo>
                      <a:pt x="40" y="235"/>
                    </a:lnTo>
                    <a:lnTo>
                      <a:pt x="35" y="240"/>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6" name="Freeform 58">
                <a:extLst>
                  <a:ext uri="{FF2B5EF4-FFF2-40B4-BE49-F238E27FC236}">
                    <a16:creationId xmlns:a16="http://schemas.microsoft.com/office/drawing/2014/main" xmlns="" id="{C526FE8A-FD34-4668-B9D1-4DF5B4C368A2}"/>
                  </a:ext>
                </a:extLst>
              </p:cNvPr>
              <p:cNvSpPr>
                <a:spLocks/>
              </p:cNvSpPr>
              <p:nvPr/>
            </p:nvSpPr>
            <p:spPr bwMode="auto">
              <a:xfrm>
                <a:off x="2204140" y="6057600"/>
                <a:ext cx="868796" cy="597189"/>
              </a:xfrm>
              <a:custGeom>
                <a:avLst/>
                <a:gdLst>
                  <a:gd name="T0" fmla="*/ 248 w 499"/>
                  <a:gd name="T1" fmla="*/ 326 h 343"/>
                  <a:gd name="T2" fmla="*/ 245 w 499"/>
                  <a:gd name="T3" fmla="*/ 325 h 343"/>
                  <a:gd name="T4" fmla="*/ 239 w 499"/>
                  <a:gd name="T5" fmla="*/ 325 h 343"/>
                  <a:gd name="T6" fmla="*/ 228 w 499"/>
                  <a:gd name="T7" fmla="*/ 326 h 343"/>
                  <a:gd name="T8" fmla="*/ 211 w 499"/>
                  <a:gd name="T9" fmla="*/ 327 h 343"/>
                  <a:gd name="T10" fmla="*/ 191 w 499"/>
                  <a:gd name="T11" fmla="*/ 325 h 343"/>
                  <a:gd name="T12" fmla="*/ 158 w 499"/>
                  <a:gd name="T13" fmla="*/ 301 h 343"/>
                  <a:gd name="T14" fmla="*/ 138 w 499"/>
                  <a:gd name="T15" fmla="*/ 287 h 343"/>
                  <a:gd name="T16" fmla="*/ 130 w 499"/>
                  <a:gd name="T17" fmla="*/ 267 h 343"/>
                  <a:gd name="T18" fmla="*/ 129 w 499"/>
                  <a:gd name="T19" fmla="*/ 261 h 343"/>
                  <a:gd name="T20" fmla="*/ 109 w 499"/>
                  <a:gd name="T21" fmla="*/ 231 h 343"/>
                  <a:gd name="T22" fmla="*/ 100 w 499"/>
                  <a:gd name="T23" fmla="*/ 239 h 343"/>
                  <a:gd name="T24" fmla="*/ 62 w 499"/>
                  <a:gd name="T25" fmla="*/ 220 h 343"/>
                  <a:gd name="T26" fmla="*/ 34 w 499"/>
                  <a:gd name="T27" fmla="*/ 223 h 343"/>
                  <a:gd name="T28" fmla="*/ 9 w 499"/>
                  <a:gd name="T29" fmla="*/ 230 h 343"/>
                  <a:gd name="T30" fmla="*/ 0 w 499"/>
                  <a:gd name="T31" fmla="*/ 205 h 343"/>
                  <a:gd name="T32" fmla="*/ 33 w 499"/>
                  <a:gd name="T33" fmla="*/ 164 h 343"/>
                  <a:gd name="T34" fmla="*/ 38 w 499"/>
                  <a:gd name="T35" fmla="*/ 138 h 343"/>
                  <a:gd name="T36" fmla="*/ 54 w 499"/>
                  <a:gd name="T37" fmla="*/ 116 h 343"/>
                  <a:gd name="T38" fmla="*/ 78 w 499"/>
                  <a:gd name="T39" fmla="*/ 107 h 343"/>
                  <a:gd name="T40" fmla="*/ 85 w 499"/>
                  <a:gd name="T41" fmla="*/ 101 h 343"/>
                  <a:gd name="T42" fmla="*/ 104 w 499"/>
                  <a:gd name="T43" fmla="*/ 86 h 343"/>
                  <a:gd name="T44" fmla="*/ 117 w 499"/>
                  <a:gd name="T45" fmla="*/ 103 h 343"/>
                  <a:gd name="T46" fmla="*/ 153 w 499"/>
                  <a:gd name="T47" fmla="*/ 107 h 343"/>
                  <a:gd name="T48" fmla="*/ 173 w 499"/>
                  <a:gd name="T49" fmla="*/ 119 h 343"/>
                  <a:gd name="T50" fmla="*/ 202 w 499"/>
                  <a:gd name="T51" fmla="*/ 120 h 343"/>
                  <a:gd name="T52" fmla="*/ 236 w 499"/>
                  <a:gd name="T53" fmla="*/ 129 h 343"/>
                  <a:gd name="T54" fmla="*/ 247 w 499"/>
                  <a:gd name="T55" fmla="*/ 129 h 343"/>
                  <a:gd name="T56" fmla="*/ 282 w 499"/>
                  <a:gd name="T57" fmla="*/ 125 h 343"/>
                  <a:gd name="T58" fmla="*/ 296 w 499"/>
                  <a:gd name="T59" fmla="*/ 125 h 343"/>
                  <a:gd name="T60" fmla="*/ 326 w 499"/>
                  <a:gd name="T61" fmla="*/ 138 h 343"/>
                  <a:gd name="T62" fmla="*/ 339 w 499"/>
                  <a:gd name="T63" fmla="*/ 108 h 343"/>
                  <a:gd name="T64" fmla="*/ 368 w 499"/>
                  <a:gd name="T65" fmla="*/ 88 h 343"/>
                  <a:gd name="T66" fmla="*/ 366 w 499"/>
                  <a:gd name="T67" fmla="*/ 59 h 343"/>
                  <a:gd name="T68" fmla="*/ 371 w 499"/>
                  <a:gd name="T69" fmla="*/ 37 h 343"/>
                  <a:gd name="T70" fmla="*/ 376 w 499"/>
                  <a:gd name="T71" fmla="*/ 27 h 343"/>
                  <a:gd name="T72" fmla="*/ 392 w 499"/>
                  <a:gd name="T73" fmla="*/ 1 h 343"/>
                  <a:gd name="T74" fmla="*/ 427 w 499"/>
                  <a:gd name="T75" fmla="*/ 1 h 343"/>
                  <a:gd name="T76" fmla="*/ 454 w 499"/>
                  <a:gd name="T77" fmla="*/ 22 h 343"/>
                  <a:gd name="T78" fmla="*/ 475 w 499"/>
                  <a:gd name="T79" fmla="*/ 18 h 343"/>
                  <a:gd name="T80" fmla="*/ 498 w 499"/>
                  <a:gd name="T81" fmla="*/ 33 h 343"/>
                  <a:gd name="T82" fmla="*/ 485 w 499"/>
                  <a:gd name="T83" fmla="*/ 70 h 343"/>
                  <a:gd name="T84" fmla="*/ 487 w 499"/>
                  <a:gd name="T85" fmla="*/ 80 h 343"/>
                  <a:gd name="T86" fmla="*/ 469 w 499"/>
                  <a:gd name="T87" fmla="*/ 95 h 343"/>
                  <a:gd name="T88" fmla="*/ 445 w 499"/>
                  <a:gd name="T89" fmla="*/ 93 h 343"/>
                  <a:gd name="T90" fmla="*/ 432 w 499"/>
                  <a:gd name="T91" fmla="*/ 97 h 343"/>
                  <a:gd name="T92" fmla="*/ 428 w 499"/>
                  <a:gd name="T93" fmla="*/ 111 h 343"/>
                  <a:gd name="T94" fmla="*/ 442 w 499"/>
                  <a:gd name="T95" fmla="*/ 129 h 343"/>
                  <a:gd name="T96" fmla="*/ 424 w 499"/>
                  <a:gd name="T97" fmla="*/ 124 h 343"/>
                  <a:gd name="T98" fmla="*/ 420 w 499"/>
                  <a:gd name="T99" fmla="*/ 133 h 343"/>
                  <a:gd name="T100" fmla="*/ 427 w 499"/>
                  <a:gd name="T101" fmla="*/ 166 h 343"/>
                  <a:gd name="T102" fmla="*/ 413 w 499"/>
                  <a:gd name="T103" fmla="*/ 199 h 343"/>
                  <a:gd name="T104" fmla="*/ 445 w 499"/>
                  <a:gd name="T105" fmla="*/ 210 h 343"/>
                  <a:gd name="T106" fmla="*/ 473 w 499"/>
                  <a:gd name="T107" fmla="*/ 234 h 343"/>
                  <a:gd name="T108" fmla="*/ 452 w 499"/>
                  <a:gd name="T109" fmla="*/ 235 h 343"/>
                  <a:gd name="T110" fmla="*/ 428 w 499"/>
                  <a:gd name="T111" fmla="*/ 231 h 343"/>
                  <a:gd name="T112" fmla="*/ 387 w 499"/>
                  <a:gd name="T113" fmla="*/ 243 h 343"/>
                  <a:gd name="T114" fmla="*/ 371 w 499"/>
                  <a:gd name="T115" fmla="*/ 260 h 343"/>
                  <a:gd name="T116" fmla="*/ 342 w 499"/>
                  <a:gd name="T117" fmla="*/ 284 h 343"/>
                  <a:gd name="T118" fmla="*/ 325 w 499"/>
                  <a:gd name="T119" fmla="*/ 300 h 343"/>
                  <a:gd name="T120" fmla="*/ 297 w 499"/>
                  <a:gd name="T121" fmla="*/ 314 h 343"/>
                  <a:gd name="T122" fmla="*/ 284 w 499"/>
                  <a:gd name="T123" fmla="*/ 34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9" h="343">
                    <a:moveTo>
                      <a:pt x="275" y="343"/>
                    </a:moveTo>
                    <a:lnTo>
                      <a:pt x="269" y="341"/>
                    </a:lnTo>
                    <a:lnTo>
                      <a:pt x="269" y="341"/>
                    </a:lnTo>
                    <a:lnTo>
                      <a:pt x="268" y="341"/>
                    </a:lnTo>
                    <a:lnTo>
                      <a:pt x="267" y="339"/>
                    </a:lnTo>
                    <a:lnTo>
                      <a:pt x="267" y="339"/>
                    </a:lnTo>
                    <a:lnTo>
                      <a:pt x="261" y="335"/>
                    </a:lnTo>
                    <a:lnTo>
                      <a:pt x="261" y="335"/>
                    </a:lnTo>
                    <a:lnTo>
                      <a:pt x="255" y="330"/>
                    </a:lnTo>
                    <a:lnTo>
                      <a:pt x="255" y="330"/>
                    </a:lnTo>
                    <a:lnTo>
                      <a:pt x="252" y="330"/>
                    </a:lnTo>
                    <a:lnTo>
                      <a:pt x="249" y="329"/>
                    </a:lnTo>
                    <a:lnTo>
                      <a:pt x="248" y="326"/>
                    </a:lnTo>
                    <a:lnTo>
                      <a:pt x="248" y="326"/>
                    </a:lnTo>
                    <a:lnTo>
                      <a:pt x="248" y="326"/>
                    </a:lnTo>
                    <a:lnTo>
                      <a:pt x="248" y="326"/>
                    </a:lnTo>
                    <a:lnTo>
                      <a:pt x="249" y="327"/>
                    </a:lnTo>
                    <a:lnTo>
                      <a:pt x="248" y="325"/>
                    </a:lnTo>
                    <a:lnTo>
                      <a:pt x="248" y="325"/>
                    </a:lnTo>
                    <a:lnTo>
                      <a:pt x="249" y="324"/>
                    </a:lnTo>
                    <a:lnTo>
                      <a:pt x="249" y="324"/>
                    </a:lnTo>
                    <a:lnTo>
                      <a:pt x="249" y="321"/>
                    </a:lnTo>
                    <a:lnTo>
                      <a:pt x="249" y="320"/>
                    </a:lnTo>
                    <a:lnTo>
                      <a:pt x="247" y="324"/>
                    </a:lnTo>
                    <a:lnTo>
                      <a:pt x="244" y="320"/>
                    </a:lnTo>
                    <a:lnTo>
                      <a:pt x="244" y="320"/>
                    </a:lnTo>
                    <a:lnTo>
                      <a:pt x="244" y="321"/>
                    </a:lnTo>
                    <a:lnTo>
                      <a:pt x="245" y="324"/>
                    </a:lnTo>
                    <a:lnTo>
                      <a:pt x="245" y="324"/>
                    </a:lnTo>
                    <a:lnTo>
                      <a:pt x="245" y="325"/>
                    </a:lnTo>
                    <a:lnTo>
                      <a:pt x="244" y="327"/>
                    </a:lnTo>
                    <a:lnTo>
                      <a:pt x="243" y="327"/>
                    </a:lnTo>
                    <a:lnTo>
                      <a:pt x="236" y="321"/>
                    </a:lnTo>
                    <a:lnTo>
                      <a:pt x="236" y="321"/>
                    </a:lnTo>
                    <a:lnTo>
                      <a:pt x="236" y="321"/>
                    </a:lnTo>
                    <a:lnTo>
                      <a:pt x="236" y="322"/>
                    </a:lnTo>
                    <a:lnTo>
                      <a:pt x="236" y="322"/>
                    </a:lnTo>
                    <a:lnTo>
                      <a:pt x="237" y="324"/>
                    </a:lnTo>
                    <a:lnTo>
                      <a:pt x="237" y="324"/>
                    </a:lnTo>
                    <a:lnTo>
                      <a:pt x="239" y="325"/>
                    </a:lnTo>
                    <a:lnTo>
                      <a:pt x="239" y="325"/>
                    </a:lnTo>
                    <a:lnTo>
                      <a:pt x="239" y="325"/>
                    </a:lnTo>
                    <a:lnTo>
                      <a:pt x="239" y="325"/>
                    </a:lnTo>
                    <a:lnTo>
                      <a:pt x="239" y="325"/>
                    </a:lnTo>
                    <a:lnTo>
                      <a:pt x="239" y="325"/>
                    </a:lnTo>
                    <a:lnTo>
                      <a:pt x="240" y="325"/>
                    </a:lnTo>
                    <a:lnTo>
                      <a:pt x="240" y="325"/>
                    </a:lnTo>
                    <a:lnTo>
                      <a:pt x="240" y="326"/>
                    </a:lnTo>
                    <a:lnTo>
                      <a:pt x="240" y="326"/>
                    </a:lnTo>
                    <a:lnTo>
                      <a:pt x="237" y="326"/>
                    </a:lnTo>
                    <a:lnTo>
                      <a:pt x="237" y="326"/>
                    </a:lnTo>
                    <a:lnTo>
                      <a:pt x="235" y="327"/>
                    </a:lnTo>
                    <a:lnTo>
                      <a:pt x="235" y="327"/>
                    </a:lnTo>
                    <a:lnTo>
                      <a:pt x="232" y="327"/>
                    </a:lnTo>
                    <a:lnTo>
                      <a:pt x="232" y="327"/>
                    </a:lnTo>
                    <a:lnTo>
                      <a:pt x="228" y="327"/>
                    </a:lnTo>
                    <a:lnTo>
                      <a:pt x="228" y="327"/>
                    </a:lnTo>
                    <a:lnTo>
                      <a:pt x="227" y="326"/>
                    </a:lnTo>
                    <a:lnTo>
                      <a:pt x="227" y="326"/>
                    </a:lnTo>
                    <a:lnTo>
                      <a:pt x="228" y="326"/>
                    </a:lnTo>
                    <a:lnTo>
                      <a:pt x="230" y="324"/>
                    </a:lnTo>
                    <a:lnTo>
                      <a:pt x="223" y="329"/>
                    </a:lnTo>
                    <a:lnTo>
                      <a:pt x="218" y="329"/>
                    </a:lnTo>
                    <a:lnTo>
                      <a:pt x="212" y="322"/>
                    </a:lnTo>
                    <a:lnTo>
                      <a:pt x="212" y="322"/>
                    </a:lnTo>
                    <a:lnTo>
                      <a:pt x="214" y="325"/>
                    </a:lnTo>
                    <a:lnTo>
                      <a:pt x="214" y="325"/>
                    </a:lnTo>
                    <a:lnTo>
                      <a:pt x="215" y="326"/>
                    </a:lnTo>
                    <a:lnTo>
                      <a:pt x="216" y="326"/>
                    </a:lnTo>
                    <a:lnTo>
                      <a:pt x="216" y="326"/>
                    </a:lnTo>
                    <a:lnTo>
                      <a:pt x="215" y="327"/>
                    </a:lnTo>
                    <a:lnTo>
                      <a:pt x="215" y="327"/>
                    </a:lnTo>
                    <a:lnTo>
                      <a:pt x="212" y="327"/>
                    </a:lnTo>
                    <a:lnTo>
                      <a:pt x="212" y="327"/>
                    </a:lnTo>
                    <a:lnTo>
                      <a:pt x="211" y="327"/>
                    </a:lnTo>
                    <a:lnTo>
                      <a:pt x="207" y="327"/>
                    </a:lnTo>
                    <a:lnTo>
                      <a:pt x="207" y="327"/>
                    </a:lnTo>
                    <a:lnTo>
                      <a:pt x="207" y="327"/>
                    </a:lnTo>
                    <a:lnTo>
                      <a:pt x="207" y="327"/>
                    </a:lnTo>
                    <a:lnTo>
                      <a:pt x="204" y="330"/>
                    </a:lnTo>
                    <a:lnTo>
                      <a:pt x="202" y="331"/>
                    </a:lnTo>
                    <a:lnTo>
                      <a:pt x="199" y="331"/>
                    </a:lnTo>
                    <a:lnTo>
                      <a:pt x="199" y="331"/>
                    </a:lnTo>
                    <a:lnTo>
                      <a:pt x="199" y="331"/>
                    </a:lnTo>
                    <a:lnTo>
                      <a:pt x="197" y="331"/>
                    </a:lnTo>
                    <a:lnTo>
                      <a:pt x="194" y="329"/>
                    </a:lnTo>
                    <a:lnTo>
                      <a:pt x="193" y="329"/>
                    </a:lnTo>
                    <a:lnTo>
                      <a:pt x="193" y="329"/>
                    </a:lnTo>
                    <a:lnTo>
                      <a:pt x="191" y="325"/>
                    </a:lnTo>
                    <a:lnTo>
                      <a:pt x="191" y="325"/>
                    </a:lnTo>
                    <a:lnTo>
                      <a:pt x="191" y="325"/>
                    </a:lnTo>
                    <a:lnTo>
                      <a:pt x="190" y="324"/>
                    </a:lnTo>
                    <a:lnTo>
                      <a:pt x="190" y="324"/>
                    </a:lnTo>
                    <a:lnTo>
                      <a:pt x="183" y="318"/>
                    </a:lnTo>
                    <a:lnTo>
                      <a:pt x="183" y="318"/>
                    </a:lnTo>
                    <a:lnTo>
                      <a:pt x="174" y="313"/>
                    </a:lnTo>
                    <a:lnTo>
                      <a:pt x="170" y="308"/>
                    </a:lnTo>
                    <a:lnTo>
                      <a:pt x="167" y="304"/>
                    </a:lnTo>
                    <a:lnTo>
                      <a:pt x="167" y="304"/>
                    </a:lnTo>
                    <a:lnTo>
                      <a:pt x="165" y="302"/>
                    </a:lnTo>
                    <a:lnTo>
                      <a:pt x="165" y="302"/>
                    </a:lnTo>
                    <a:lnTo>
                      <a:pt x="159" y="301"/>
                    </a:lnTo>
                    <a:lnTo>
                      <a:pt x="159" y="301"/>
                    </a:lnTo>
                    <a:lnTo>
                      <a:pt x="158" y="301"/>
                    </a:lnTo>
                    <a:lnTo>
                      <a:pt x="158" y="301"/>
                    </a:lnTo>
                    <a:lnTo>
                      <a:pt x="153" y="301"/>
                    </a:lnTo>
                    <a:lnTo>
                      <a:pt x="149" y="298"/>
                    </a:lnTo>
                    <a:lnTo>
                      <a:pt x="146" y="297"/>
                    </a:lnTo>
                    <a:lnTo>
                      <a:pt x="145" y="294"/>
                    </a:lnTo>
                    <a:lnTo>
                      <a:pt x="145" y="292"/>
                    </a:lnTo>
                    <a:lnTo>
                      <a:pt x="145" y="289"/>
                    </a:lnTo>
                    <a:lnTo>
                      <a:pt x="145" y="289"/>
                    </a:lnTo>
                    <a:lnTo>
                      <a:pt x="142" y="288"/>
                    </a:lnTo>
                    <a:lnTo>
                      <a:pt x="142" y="288"/>
                    </a:lnTo>
                    <a:lnTo>
                      <a:pt x="142" y="288"/>
                    </a:lnTo>
                    <a:lnTo>
                      <a:pt x="142" y="288"/>
                    </a:lnTo>
                    <a:lnTo>
                      <a:pt x="141" y="288"/>
                    </a:lnTo>
                    <a:lnTo>
                      <a:pt x="141" y="288"/>
                    </a:lnTo>
                    <a:lnTo>
                      <a:pt x="138" y="287"/>
                    </a:lnTo>
                    <a:lnTo>
                      <a:pt x="138" y="287"/>
                    </a:lnTo>
                    <a:lnTo>
                      <a:pt x="137" y="287"/>
                    </a:lnTo>
                    <a:lnTo>
                      <a:pt x="132" y="289"/>
                    </a:lnTo>
                    <a:lnTo>
                      <a:pt x="126" y="289"/>
                    </a:lnTo>
                    <a:lnTo>
                      <a:pt x="121" y="281"/>
                    </a:lnTo>
                    <a:lnTo>
                      <a:pt x="121" y="281"/>
                    </a:lnTo>
                    <a:lnTo>
                      <a:pt x="122" y="279"/>
                    </a:lnTo>
                    <a:lnTo>
                      <a:pt x="122" y="279"/>
                    </a:lnTo>
                    <a:lnTo>
                      <a:pt x="122" y="276"/>
                    </a:lnTo>
                    <a:lnTo>
                      <a:pt x="124" y="273"/>
                    </a:lnTo>
                    <a:lnTo>
                      <a:pt x="124" y="272"/>
                    </a:lnTo>
                    <a:lnTo>
                      <a:pt x="124" y="272"/>
                    </a:lnTo>
                    <a:lnTo>
                      <a:pt x="126" y="269"/>
                    </a:lnTo>
                    <a:lnTo>
                      <a:pt x="129" y="268"/>
                    </a:lnTo>
                    <a:lnTo>
                      <a:pt x="129" y="268"/>
                    </a:lnTo>
                    <a:lnTo>
                      <a:pt x="130" y="267"/>
                    </a:lnTo>
                    <a:lnTo>
                      <a:pt x="130" y="267"/>
                    </a:lnTo>
                    <a:lnTo>
                      <a:pt x="130" y="267"/>
                    </a:lnTo>
                    <a:lnTo>
                      <a:pt x="130" y="267"/>
                    </a:lnTo>
                    <a:lnTo>
                      <a:pt x="130" y="267"/>
                    </a:lnTo>
                    <a:lnTo>
                      <a:pt x="130" y="267"/>
                    </a:lnTo>
                    <a:lnTo>
                      <a:pt x="130" y="267"/>
                    </a:lnTo>
                    <a:lnTo>
                      <a:pt x="130" y="267"/>
                    </a:lnTo>
                    <a:lnTo>
                      <a:pt x="130" y="267"/>
                    </a:lnTo>
                    <a:lnTo>
                      <a:pt x="130" y="267"/>
                    </a:lnTo>
                    <a:lnTo>
                      <a:pt x="132" y="269"/>
                    </a:lnTo>
                    <a:lnTo>
                      <a:pt x="133" y="269"/>
                    </a:lnTo>
                    <a:lnTo>
                      <a:pt x="129" y="263"/>
                    </a:lnTo>
                    <a:lnTo>
                      <a:pt x="129" y="263"/>
                    </a:lnTo>
                    <a:lnTo>
                      <a:pt x="129" y="261"/>
                    </a:lnTo>
                    <a:lnTo>
                      <a:pt x="129" y="261"/>
                    </a:lnTo>
                    <a:lnTo>
                      <a:pt x="128" y="259"/>
                    </a:lnTo>
                    <a:lnTo>
                      <a:pt x="128" y="256"/>
                    </a:lnTo>
                    <a:lnTo>
                      <a:pt x="128" y="256"/>
                    </a:lnTo>
                    <a:lnTo>
                      <a:pt x="125" y="251"/>
                    </a:lnTo>
                    <a:lnTo>
                      <a:pt x="124" y="248"/>
                    </a:lnTo>
                    <a:lnTo>
                      <a:pt x="124" y="248"/>
                    </a:lnTo>
                    <a:lnTo>
                      <a:pt x="124" y="248"/>
                    </a:lnTo>
                    <a:lnTo>
                      <a:pt x="117" y="240"/>
                    </a:lnTo>
                    <a:lnTo>
                      <a:pt x="113" y="236"/>
                    </a:lnTo>
                    <a:lnTo>
                      <a:pt x="109" y="234"/>
                    </a:lnTo>
                    <a:lnTo>
                      <a:pt x="109" y="232"/>
                    </a:lnTo>
                    <a:lnTo>
                      <a:pt x="108" y="232"/>
                    </a:lnTo>
                    <a:lnTo>
                      <a:pt x="108" y="232"/>
                    </a:lnTo>
                    <a:lnTo>
                      <a:pt x="109" y="231"/>
                    </a:lnTo>
                    <a:lnTo>
                      <a:pt x="109" y="231"/>
                    </a:lnTo>
                    <a:lnTo>
                      <a:pt x="111" y="228"/>
                    </a:lnTo>
                    <a:lnTo>
                      <a:pt x="109" y="227"/>
                    </a:lnTo>
                    <a:lnTo>
                      <a:pt x="107" y="230"/>
                    </a:lnTo>
                    <a:lnTo>
                      <a:pt x="104" y="227"/>
                    </a:lnTo>
                    <a:lnTo>
                      <a:pt x="104" y="227"/>
                    </a:lnTo>
                    <a:lnTo>
                      <a:pt x="104" y="228"/>
                    </a:lnTo>
                    <a:lnTo>
                      <a:pt x="105" y="231"/>
                    </a:lnTo>
                    <a:lnTo>
                      <a:pt x="105" y="231"/>
                    </a:lnTo>
                    <a:lnTo>
                      <a:pt x="107" y="232"/>
                    </a:lnTo>
                    <a:lnTo>
                      <a:pt x="104" y="235"/>
                    </a:lnTo>
                    <a:lnTo>
                      <a:pt x="103" y="235"/>
                    </a:lnTo>
                    <a:lnTo>
                      <a:pt x="103" y="235"/>
                    </a:lnTo>
                    <a:lnTo>
                      <a:pt x="101" y="236"/>
                    </a:lnTo>
                    <a:lnTo>
                      <a:pt x="101" y="236"/>
                    </a:lnTo>
                    <a:lnTo>
                      <a:pt x="100" y="239"/>
                    </a:lnTo>
                    <a:lnTo>
                      <a:pt x="93" y="240"/>
                    </a:lnTo>
                    <a:lnTo>
                      <a:pt x="93" y="240"/>
                    </a:lnTo>
                    <a:lnTo>
                      <a:pt x="88" y="238"/>
                    </a:lnTo>
                    <a:lnTo>
                      <a:pt x="88" y="238"/>
                    </a:lnTo>
                    <a:lnTo>
                      <a:pt x="85" y="236"/>
                    </a:lnTo>
                    <a:lnTo>
                      <a:pt x="84" y="236"/>
                    </a:lnTo>
                    <a:lnTo>
                      <a:pt x="76" y="236"/>
                    </a:lnTo>
                    <a:lnTo>
                      <a:pt x="70" y="231"/>
                    </a:lnTo>
                    <a:lnTo>
                      <a:pt x="70" y="228"/>
                    </a:lnTo>
                    <a:lnTo>
                      <a:pt x="70" y="228"/>
                    </a:lnTo>
                    <a:lnTo>
                      <a:pt x="68" y="226"/>
                    </a:lnTo>
                    <a:lnTo>
                      <a:pt x="66" y="223"/>
                    </a:lnTo>
                    <a:lnTo>
                      <a:pt x="66" y="223"/>
                    </a:lnTo>
                    <a:lnTo>
                      <a:pt x="64" y="222"/>
                    </a:lnTo>
                    <a:lnTo>
                      <a:pt x="62" y="220"/>
                    </a:lnTo>
                    <a:lnTo>
                      <a:pt x="62" y="220"/>
                    </a:lnTo>
                    <a:lnTo>
                      <a:pt x="58" y="218"/>
                    </a:lnTo>
                    <a:lnTo>
                      <a:pt x="55" y="216"/>
                    </a:lnTo>
                    <a:lnTo>
                      <a:pt x="51" y="218"/>
                    </a:lnTo>
                    <a:lnTo>
                      <a:pt x="50" y="218"/>
                    </a:lnTo>
                    <a:lnTo>
                      <a:pt x="48" y="218"/>
                    </a:lnTo>
                    <a:lnTo>
                      <a:pt x="48" y="218"/>
                    </a:lnTo>
                    <a:lnTo>
                      <a:pt x="46" y="218"/>
                    </a:lnTo>
                    <a:lnTo>
                      <a:pt x="46" y="218"/>
                    </a:lnTo>
                    <a:lnTo>
                      <a:pt x="43" y="218"/>
                    </a:lnTo>
                    <a:lnTo>
                      <a:pt x="42" y="219"/>
                    </a:lnTo>
                    <a:lnTo>
                      <a:pt x="37" y="223"/>
                    </a:lnTo>
                    <a:lnTo>
                      <a:pt x="35" y="223"/>
                    </a:lnTo>
                    <a:lnTo>
                      <a:pt x="34" y="223"/>
                    </a:lnTo>
                    <a:lnTo>
                      <a:pt x="34" y="223"/>
                    </a:lnTo>
                    <a:lnTo>
                      <a:pt x="33" y="222"/>
                    </a:lnTo>
                    <a:lnTo>
                      <a:pt x="33" y="222"/>
                    </a:lnTo>
                    <a:lnTo>
                      <a:pt x="27" y="222"/>
                    </a:lnTo>
                    <a:lnTo>
                      <a:pt x="27" y="222"/>
                    </a:lnTo>
                    <a:lnTo>
                      <a:pt x="29" y="220"/>
                    </a:lnTo>
                    <a:lnTo>
                      <a:pt x="25" y="223"/>
                    </a:lnTo>
                    <a:lnTo>
                      <a:pt x="22" y="223"/>
                    </a:lnTo>
                    <a:lnTo>
                      <a:pt x="19" y="227"/>
                    </a:lnTo>
                    <a:lnTo>
                      <a:pt x="17" y="227"/>
                    </a:lnTo>
                    <a:lnTo>
                      <a:pt x="15" y="226"/>
                    </a:lnTo>
                    <a:lnTo>
                      <a:pt x="15" y="226"/>
                    </a:lnTo>
                    <a:lnTo>
                      <a:pt x="14" y="227"/>
                    </a:lnTo>
                    <a:lnTo>
                      <a:pt x="14" y="227"/>
                    </a:lnTo>
                    <a:lnTo>
                      <a:pt x="11" y="228"/>
                    </a:lnTo>
                    <a:lnTo>
                      <a:pt x="9" y="230"/>
                    </a:lnTo>
                    <a:lnTo>
                      <a:pt x="7" y="230"/>
                    </a:lnTo>
                    <a:lnTo>
                      <a:pt x="6" y="230"/>
                    </a:lnTo>
                    <a:lnTo>
                      <a:pt x="1" y="224"/>
                    </a:lnTo>
                    <a:lnTo>
                      <a:pt x="1" y="224"/>
                    </a:lnTo>
                    <a:lnTo>
                      <a:pt x="1" y="220"/>
                    </a:lnTo>
                    <a:lnTo>
                      <a:pt x="2" y="218"/>
                    </a:lnTo>
                    <a:lnTo>
                      <a:pt x="2" y="216"/>
                    </a:lnTo>
                    <a:lnTo>
                      <a:pt x="2" y="216"/>
                    </a:lnTo>
                    <a:lnTo>
                      <a:pt x="2" y="215"/>
                    </a:lnTo>
                    <a:lnTo>
                      <a:pt x="2" y="215"/>
                    </a:lnTo>
                    <a:lnTo>
                      <a:pt x="1" y="214"/>
                    </a:lnTo>
                    <a:lnTo>
                      <a:pt x="0" y="211"/>
                    </a:lnTo>
                    <a:lnTo>
                      <a:pt x="0" y="210"/>
                    </a:lnTo>
                    <a:lnTo>
                      <a:pt x="0" y="210"/>
                    </a:lnTo>
                    <a:lnTo>
                      <a:pt x="0" y="205"/>
                    </a:lnTo>
                    <a:lnTo>
                      <a:pt x="1" y="201"/>
                    </a:lnTo>
                    <a:lnTo>
                      <a:pt x="3" y="197"/>
                    </a:lnTo>
                    <a:lnTo>
                      <a:pt x="7" y="194"/>
                    </a:lnTo>
                    <a:lnTo>
                      <a:pt x="9" y="194"/>
                    </a:lnTo>
                    <a:lnTo>
                      <a:pt x="9" y="194"/>
                    </a:lnTo>
                    <a:lnTo>
                      <a:pt x="13" y="190"/>
                    </a:lnTo>
                    <a:lnTo>
                      <a:pt x="15" y="186"/>
                    </a:lnTo>
                    <a:lnTo>
                      <a:pt x="15" y="186"/>
                    </a:lnTo>
                    <a:lnTo>
                      <a:pt x="19" y="179"/>
                    </a:lnTo>
                    <a:lnTo>
                      <a:pt x="25" y="174"/>
                    </a:lnTo>
                    <a:lnTo>
                      <a:pt x="26" y="173"/>
                    </a:lnTo>
                    <a:lnTo>
                      <a:pt x="26" y="173"/>
                    </a:lnTo>
                    <a:lnTo>
                      <a:pt x="33" y="166"/>
                    </a:lnTo>
                    <a:lnTo>
                      <a:pt x="33" y="166"/>
                    </a:lnTo>
                    <a:lnTo>
                      <a:pt x="33" y="164"/>
                    </a:lnTo>
                    <a:lnTo>
                      <a:pt x="33" y="164"/>
                    </a:lnTo>
                    <a:lnTo>
                      <a:pt x="30" y="161"/>
                    </a:lnTo>
                    <a:lnTo>
                      <a:pt x="29" y="158"/>
                    </a:lnTo>
                    <a:lnTo>
                      <a:pt x="29" y="154"/>
                    </a:lnTo>
                    <a:lnTo>
                      <a:pt x="30" y="150"/>
                    </a:lnTo>
                    <a:lnTo>
                      <a:pt x="30" y="150"/>
                    </a:lnTo>
                    <a:lnTo>
                      <a:pt x="31" y="148"/>
                    </a:lnTo>
                    <a:lnTo>
                      <a:pt x="31" y="148"/>
                    </a:lnTo>
                    <a:lnTo>
                      <a:pt x="35" y="142"/>
                    </a:lnTo>
                    <a:lnTo>
                      <a:pt x="38" y="141"/>
                    </a:lnTo>
                    <a:lnTo>
                      <a:pt x="38" y="141"/>
                    </a:lnTo>
                    <a:lnTo>
                      <a:pt x="38" y="141"/>
                    </a:lnTo>
                    <a:lnTo>
                      <a:pt x="38" y="140"/>
                    </a:lnTo>
                    <a:lnTo>
                      <a:pt x="38" y="140"/>
                    </a:lnTo>
                    <a:lnTo>
                      <a:pt x="38" y="138"/>
                    </a:lnTo>
                    <a:lnTo>
                      <a:pt x="38" y="138"/>
                    </a:lnTo>
                    <a:lnTo>
                      <a:pt x="37" y="134"/>
                    </a:lnTo>
                    <a:lnTo>
                      <a:pt x="37" y="132"/>
                    </a:lnTo>
                    <a:lnTo>
                      <a:pt x="37" y="129"/>
                    </a:lnTo>
                    <a:lnTo>
                      <a:pt x="39" y="127"/>
                    </a:lnTo>
                    <a:lnTo>
                      <a:pt x="39" y="125"/>
                    </a:lnTo>
                    <a:lnTo>
                      <a:pt x="39" y="125"/>
                    </a:lnTo>
                    <a:lnTo>
                      <a:pt x="42" y="124"/>
                    </a:lnTo>
                    <a:lnTo>
                      <a:pt x="44" y="124"/>
                    </a:lnTo>
                    <a:lnTo>
                      <a:pt x="44" y="124"/>
                    </a:lnTo>
                    <a:lnTo>
                      <a:pt x="48" y="120"/>
                    </a:lnTo>
                    <a:lnTo>
                      <a:pt x="51" y="119"/>
                    </a:lnTo>
                    <a:lnTo>
                      <a:pt x="51" y="119"/>
                    </a:lnTo>
                    <a:lnTo>
                      <a:pt x="51" y="119"/>
                    </a:lnTo>
                    <a:lnTo>
                      <a:pt x="54" y="116"/>
                    </a:lnTo>
                    <a:lnTo>
                      <a:pt x="54" y="116"/>
                    </a:lnTo>
                    <a:lnTo>
                      <a:pt x="56" y="115"/>
                    </a:lnTo>
                    <a:lnTo>
                      <a:pt x="58" y="113"/>
                    </a:lnTo>
                    <a:lnTo>
                      <a:pt x="63" y="109"/>
                    </a:lnTo>
                    <a:lnTo>
                      <a:pt x="63" y="109"/>
                    </a:lnTo>
                    <a:lnTo>
                      <a:pt x="63" y="109"/>
                    </a:lnTo>
                    <a:lnTo>
                      <a:pt x="63" y="109"/>
                    </a:lnTo>
                    <a:lnTo>
                      <a:pt x="63" y="109"/>
                    </a:lnTo>
                    <a:lnTo>
                      <a:pt x="67" y="107"/>
                    </a:lnTo>
                    <a:lnTo>
                      <a:pt x="72" y="105"/>
                    </a:lnTo>
                    <a:lnTo>
                      <a:pt x="72" y="105"/>
                    </a:lnTo>
                    <a:lnTo>
                      <a:pt x="74" y="105"/>
                    </a:lnTo>
                    <a:lnTo>
                      <a:pt x="74" y="105"/>
                    </a:lnTo>
                    <a:lnTo>
                      <a:pt x="76" y="105"/>
                    </a:lnTo>
                    <a:lnTo>
                      <a:pt x="78" y="107"/>
                    </a:lnTo>
                    <a:lnTo>
                      <a:pt x="78" y="107"/>
                    </a:lnTo>
                    <a:lnTo>
                      <a:pt x="79" y="104"/>
                    </a:lnTo>
                    <a:lnTo>
                      <a:pt x="83" y="103"/>
                    </a:lnTo>
                    <a:lnTo>
                      <a:pt x="84" y="103"/>
                    </a:lnTo>
                    <a:lnTo>
                      <a:pt x="84" y="103"/>
                    </a:lnTo>
                    <a:lnTo>
                      <a:pt x="81" y="104"/>
                    </a:lnTo>
                    <a:lnTo>
                      <a:pt x="80" y="105"/>
                    </a:lnTo>
                    <a:lnTo>
                      <a:pt x="84" y="103"/>
                    </a:lnTo>
                    <a:lnTo>
                      <a:pt x="84" y="103"/>
                    </a:lnTo>
                    <a:lnTo>
                      <a:pt x="84" y="103"/>
                    </a:lnTo>
                    <a:lnTo>
                      <a:pt x="84" y="101"/>
                    </a:lnTo>
                    <a:lnTo>
                      <a:pt x="85" y="101"/>
                    </a:lnTo>
                    <a:lnTo>
                      <a:pt x="85" y="101"/>
                    </a:lnTo>
                    <a:lnTo>
                      <a:pt x="85" y="101"/>
                    </a:lnTo>
                    <a:lnTo>
                      <a:pt x="85" y="101"/>
                    </a:lnTo>
                    <a:lnTo>
                      <a:pt x="85" y="101"/>
                    </a:lnTo>
                    <a:lnTo>
                      <a:pt x="85" y="101"/>
                    </a:lnTo>
                    <a:lnTo>
                      <a:pt x="85" y="101"/>
                    </a:lnTo>
                    <a:lnTo>
                      <a:pt x="85" y="101"/>
                    </a:lnTo>
                    <a:lnTo>
                      <a:pt x="85" y="101"/>
                    </a:lnTo>
                    <a:lnTo>
                      <a:pt x="85" y="101"/>
                    </a:lnTo>
                    <a:lnTo>
                      <a:pt x="85" y="101"/>
                    </a:lnTo>
                    <a:lnTo>
                      <a:pt x="85" y="101"/>
                    </a:lnTo>
                    <a:lnTo>
                      <a:pt x="85" y="100"/>
                    </a:lnTo>
                    <a:lnTo>
                      <a:pt x="85" y="100"/>
                    </a:lnTo>
                    <a:lnTo>
                      <a:pt x="88" y="96"/>
                    </a:lnTo>
                    <a:lnTo>
                      <a:pt x="88" y="96"/>
                    </a:lnTo>
                    <a:lnTo>
                      <a:pt x="95" y="90"/>
                    </a:lnTo>
                    <a:lnTo>
                      <a:pt x="99" y="86"/>
                    </a:lnTo>
                    <a:lnTo>
                      <a:pt x="104" y="86"/>
                    </a:lnTo>
                    <a:lnTo>
                      <a:pt x="104" y="86"/>
                    </a:lnTo>
                    <a:lnTo>
                      <a:pt x="107" y="86"/>
                    </a:lnTo>
                    <a:lnTo>
                      <a:pt x="111" y="88"/>
                    </a:lnTo>
                    <a:lnTo>
                      <a:pt x="111" y="88"/>
                    </a:lnTo>
                    <a:lnTo>
                      <a:pt x="112" y="91"/>
                    </a:lnTo>
                    <a:lnTo>
                      <a:pt x="113" y="95"/>
                    </a:lnTo>
                    <a:lnTo>
                      <a:pt x="113" y="95"/>
                    </a:lnTo>
                    <a:lnTo>
                      <a:pt x="112" y="97"/>
                    </a:lnTo>
                    <a:lnTo>
                      <a:pt x="112" y="97"/>
                    </a:lnTo>
                    <a:lnTo>
                      <a:pt x="112" y="97"/>
                    </a:lnTo>
                    <a:lnTo>
                      <a:pt x="113" y="97"/>
                    </a:lnTo>
                    <a:lnTo>
                      <a:pt x="113" y="97"/>
                    </a:lnTo>
                    <a:lnTo>
                      <a:pt x="115" y="101"/>
                    </a:lnTo>
                    <a:lnTo>
                      <a:pt x="117" y="103"/>
                    </a:lnTo>
                    <a:lnTo>
                      <a:pt x="117" y="103"/>
                    </a:lnTo>
                    <a:lnTo>
                      <a:pt x="122" y="105"/>
                    </a:lnTo>
                    <a:lnTo>
                      <a:pt x="122" y="105"/>
                    </a:lnTo>
                    <a:lnTo>
                      <a:pt x="126" y="108"/>
                    </a:lnTo>
                    <a:lnTo>
                      <a:pt x="130" y="109"/>
                    </a:lnTo>
                    <a:lnTo>
                      <a:pt x="130" y="109"/>
                    </a:lnTo>
                    <a:lnTo>
                      <a:pt x="136" y="111"/>
                    </a:lnTo>
                    <a:lnTo>
                      <a:pt x="142" y="112"/>
                    </a:lnTo>
                    <a:lnTo>
                      <a:pt x="142" y="112"/>
                    </a:lnTo>
                    <a:lnTo>
                      <a:pt x="142" y="112"/>
                    </a:lnTo>
                    <a:lnTo>
                      <a:pt x="144" y="113"/>
                    </a:lnTo>
                    <a:lnTo>
                      <a:pt x="144" y="113"/>
                    </a:lnTo>
                    <a:lnTo>
                      <a:pt x="146" y="112"/>
                    </a:lnTo>
                    <a:lnTo>
                      <a:pt x="149" y="109"/>
                    </a:lnTo>
                    <a:lnTo>
                      <a:pt x="149" y="109"/>
                    </a:lnTo>
                    <a:lnTo>
                      <a:pt x="153" y="107"/>
                    </a:lnTo>
                    <a:lnTo>
                      <a:pt x="157" y="105"/>
                    </a:lnTo>
                    <a:lnTo>
                      <a:pt x="158" y="104"/>
                    </a:lnTo>
                    <a:lnTo>
                      <a:pt x="159" y="104"/>
                    </a:lnTo>
                    <a:lnTo>
                      <a:pt x="165" y="107"/>
                    </a:lnTo>
                    <a:lnTo>
                      <a:pt x="166" y="108"/>
                    </a:lnTo>
                    <a:lnTo>
                      <a:pt x="166" y="108"/>
                    </a:lnTo>
                    <a:lnTo>
                      <a:pt x="170" y="112"/>
                    </a:lnTo>
                    <a:lnTo>
                      <a:pt x="173" y="115"/>
                    </a:lnTo>
                    <a:lnTo>
                      <a:pt x="174" y="115"/>
                    </a:lnTo>
                    <a:lnTo>
                      <a:pt x="174" y="115"/>
                    </a:lnTo>
                    <a:lnTo>
                      <a:pt x="175" y="115"/>
                    </a:lnTo>
                    <a:lnTo>
                      <a:pt x="177" y="115"/>
                    </a:lnTo>
                    <a:lnTo>
                      <a:pt x="177" y="115"/>
                    </a:lnTo>
                    <a:lnTo>
                      <a:pt x="174" y="116"/>
                    </a:lnTo>
                    <a:lnTo>
                      <a:pt x="173" y="119"/>
                    </a:lnTo>
                    <a:lnTo>
                      <a:pt x="177" y="115"/>
                    </a:lnTo>
                    <a:lnTo>
                      <a:pt x="178" y="115"/>
                    </a:lnTo>
                    <a:lnTo>
                      <a:pt x="178" y="115"/>
                    </a:lnTo>
                    <a:lnTo>
                      <a:pt x="178" y="115"/>
                    </a:lnTo>
                    <a:lnTo>
                      <a:pt x="178" y="115"/>
                    </a:lnTo>
                    <a:lnTo>
                      <a:pt x="179" y="113"/>
                    </a:lnTo>
                    <a:lnTo>
                      <a:pt x="193" y="113"/>
                    </a:lnTo>
                    <a:lnTo>
                      <a:pt x="198" y="116"/>
                    </a:lnTo>
                    <a:lnTo>
                      <a:pt x="198" y="116"/>
                    </a:lnTo>
                    <a:lnTo>
                      <a:pt x="199" y="117"/>
                    </a:lnTo>
                    <a:lnTo>
                      <a:pt x="199" y="117"/>
                    </a:lnTo>
                    <a:lnTo>
                      <a:pt x="197" y="116"/>
                    </a:lnTo>
                    <a:lnTo>
                      <a:pt x="197" y="116"/>
                    </a:lnTo>
                    <a:lnTo>
                      <a:pt x="202" y="120"/>
                    </a:lnTo>
                    <a:lnTo>
                      <a:pt x="202" y="120"/>
                    </a:lnTo>
                    <a:lnTo>
                      <a:pt x="202" y="121"/>
                    </a:lnTo>
                    <a:lnTo>
                      <a:pt x="202" y="121"/>
                    </a:lnTo>
                    <a:lnTo>
                      <a:pt x="203" y="124"/>
                    </a:lnTo>
                    <a:lnTo>
                      <a:pt x="203" y="124"/>
                    </a:lnTo>
                    <a:lnTo>
                      <a:pt x="208" y="124"/>
                    </a:lnTo>
                    <a:lnTo>
                      <a:pt x="208" y="124"/>
                    </a:lnTo>
                    <a:lnTo>
                      <a:pt x="216" y="125"/>
                    </a:lnTo>
                    <a:lnTo>
                      <a:pt x="226" y="127"/>
                    </a:lnTo>
                    <a:lnTo>
                      <a:pt x="226" y="127"/>
                    </a:lnTo>
                    <a:lnTo>
                      <a:pt x="230" y="125"/>
                    </a:lnTo>
                    <a:lnTo>
                      <a:pt x="231" y="125"/>
                    </a:lnTo>
                    <a:lnTo>
                      <a:pt x="237" y="132"/>
                    </a:lnTo>
                    <a:lnTo>
                      <a:pt x="237" y="132"/>
                    </a:lnTo>
                    <a:lnTo>
                      <a:pt x="236" y="129"/>
                    </a:lnTo>
                    <a:lnTo>
                      <a:pt x="236" y="129"/>
                    </a:lnTo>
                    <a:lnTo>
                      <a:pt x="234" y="128"/>
                    </a:lnTo>
                    <a:lnTo>
                      <a:pt x="232" y="128"/>
                    </a:lnTo>
                    <a:lnTo>
                      <a:pt x="232" y="128"/>
                    </a:lnTo>
                    <a:lnTo>
                      <a:pt x="234" y="127"/>
                    </a:lnTo>
                    <a:lnTo>
                      <a:pt x="234" y="127"/>
                    </a:lnTo>
                    <a:lnTo>
                      <a:pt x="236" y="127"/>
                    </a:lnTo>
                    <a:lnTo>
                      <a:pt x="236" y="127"/>
                    </a:lnTo>
                    <a:lnTo>
                      <a:pt x="237" y="127"/>
                    </a:lnTo>
                    <a:lnTo>
                      <a:pt x="241" y="127"/>
                    </a:lnTo>
                    <a:lnTo>
                      <a:pt x="247" y="130"/>
                    </a:lnTo>
                    <a:lnTo>
                      <a:pt x="247" y="130"/>
                    </a:lnTo>
                    <a:lnTo>
                      <a:pt x="245" y="129"/>
                    </a:lnTo>
                    <a:lnTo>
                      <a:pt x="245" y="129"/>
                    </a:lnTo>
                    <a:lnTo>
                      <a:pt x="247" y="129"/>
                    </a:lnTo>
                    <a:lnTo>
                      <a:pt x="247" y="129"/>
                    </a:lnTo>
                    <a:lnTo>
                      <a:pt x="248" y="129"/>
                    </a:lnTo>
                    <a:lnTo>
                      <a:pt x="248" y="129"/>
                    </a:lnTo>
                    <a:lnTo>
                      <a:pt x="251" y="129"/>
                    </a:lnTo>
                    <a:lnTo>
                      <a:pt x="251" y="129"/>
                    </a:lnTo>
                    <a:lnTo>
                      <a:pt x="255" y="129"/>
                    </a:lnTo>
                    <a:lnTo>
                      <a:pt x="255" y="129"/>
                    </a:lnTo>
                    <a:lnTo>
                      <a:pt x="259" y="129"/>
                    </a:lnTo>
                    <a:lnTo>
                      <a:pt x="259" y="129"/>
                    </a:lnTo>
                    <a:lnTo>
                      <a:pt x="264" y="130"/>
                    </a:lnTo>
                    <a:lnTo>
                      <a:pt x="269" y="132"/>
                    </a:lnTo>
                    <a:lnTo>
                      <a:pt x="271" y="133"/>
                    </a:lnTo>
                    <a:lnTo>
                      <a:pt x="271" y="133"/>
                    </a:lnTo>
                    <a:lnTo>
                      <a:pt x="271" y="133"/>
                    </a:lnTo>
                    <a:lnTo>
                      <a:pt x="277" y="125"/>
                    </a:lnTo>
                    <a:lnTo>
                      <a:pt x="282" y="125"/>
                    </a:lnTo>
                    <a:lnTo>
                      <a:pt x="286" y="128"/>
                    </a:lnTo>
                    <a:lnTo>
                      <a:pt x="286" y="128"/>
                    </a:lnTo>
                    <a:lnTo>
                      <a:pt x="286" y="130"/>
                    </a:lnTo>
                    <a:lnTo>
                      <a:pt x="288" y="129"/>
                    </a:lnTo>
                    <a:lnTo>
                      <a:pt x="289" y="130"/>
                    </a:lnTo>
                    <a:lnTo>
                      <a:pt x="289" y="130"/>
                    </a:lnTo>
                    <a:lnTo>
                      <a:pt x="288" y="128"/>
                    </a:lnTo>
                    <a:lnTo>
                      <a:pt x="292" y="125"/>
                    </a:lnTo>
                    <a:lnTo>
                      <a:pt x="293" y="125"/>
                    </a:lnTo>
                    <a:lnTo>
                      <a:pt x="296" y="125"/>
                    </a:lnTo>
                    <a:lnTo>
                      <a:pt x="296" y="125"/>
                    </a:lnTo>
                    <a:lnTo>
                      <a:pt x="294" y="125"/>
                    </a:lnTo>
                    <a:lnTo>
                      <a:pt x="294" y="125"/>
                    </a:lnTo>
                    <a:lnTo>
                      <a:pt x="296" y="125"/>
                    </a:lnTo>
                    <a:lnTo>
                      <a:pt x="296" y="125"/>
                    </a:lnTo>
                    <a:lnTo>
                      <a:pt x="298" y="124"/>
                    </a:lnTo>
                    <a:lnTo>
                      <a:pt x="298" y="124"/>
                    </a:lnTo>
                    <a:lnTo>
                      <a:pt x="301" y="125"/>
                    </a:lnTo>
                    <a:lnTo>
                      <a:pt x="304" y="127"/>
                    </a:lnTo>
                    <a:lnTo>
                      <a:pt x="304" y="127"/>
                    </a:lnTo>
                    <a:lnTo>
                      <a:pt x="305" y="130"/>
                    </a:lnTo>
                    <a:lnTo>
                      <a:pt x="305" y="130"/>
                    </a:lnTo>
                    <a:lnTo>
                      <a:pt x="306" y="130"/>
                    </a:lnTo>
                    <a:lnTo>
                      <a:pt x="306" y="130"/>
                    </a:lnTo>
                    <a:lnTo>
                      <a:pt x="313" y="133"/>
                    </a:lnTo>
                    <a:lnTo>
                      <a:pt x="313" y="133"/>
                    </a:lnTo>
                    <a:lnTo>
                      <a:pt x="317" y="134"/>
                    </a:lnTo>
                    <a:lnTo>
                      <a:pt x="317" y="134"/>
                    </a:lnTo>
                    <a:lnTo>
                      <a:pt x="322" y="137"/>
                    </a:lnTo>
                    <a:lnTo>
                      <a:pt x="326" y="138"/>
                    </a:lnTo>
                    <a:lnTo>
                      <a:pt x="326" y="138"/>
                    </a:lnTo>
                    <a:lnTo>
                      <a:pt x="327" y="137"/>
                    </a:lnTo>
                    <a:lnTo>
                      <a:pt x="330" y="136"/>
                    </a:lnTo>
                    <a:lnTo>
                      <a:pt x="330" y="136"/>
                    </a:lnTo>
                    <a:lnTo>
                      <a:pt x="330" y="136"/>
                    </a:lnTo>
                    <a:lnTo>
                      <a:pt x="335" y="130"/>
                    </a:lnTo>
                    <a:lnTo>
                      <a:pt x="335" y="130"/>
                    </a:lnTo>
                    <a:lnTo>
                      <a:pt x="335" y="128"/>
                    </a:lnTo>
                    <a:lnTo>
                      <a:pt x="335" y="125"/>
                    </a:lnTo>
                    <a:lnTo>
                      <a:pt x="335" y="123"/>
                    </a:lnTo>
                    <a:lnTo>
                      <a:pt x="335" y="121"/>
                    </a:lnTo>
                    <a:lnTo>
                      <a:pt x="335" y="121"/>
                    </a:lnTo>
                    <a:lnTo>
                      <a:pt x="339" y="109"/>
                    </a:lnTo>
                    <a:lnTo>
                      <a:pt x="339" y="109"/>
                    </a:lnTo>
                    <a:lnTo>
                      <a:pt x="339" y="108"/>
                    </a:lnTo>
                    <a:lnTo>
                      <a:pt x="339" y="108"/>
                    </a:lnTo>
                    <a:lnTo>
                      <a:pt x="339" y="105"/>
                    </a:lnTo>
                    <a:lnTo>
                      <a:pt x="341" y="103"/>
                    </a:lnTo>
                    <a:lnTo>
                      <a:pt x="341" y="101"/>
                    </a:lnTo>
                    <a:lnTo>
                      <a:pt x="341" y="99"/>
                    </a:lnTo>
                    <a:lnTo>
                      <a:pt x="346" y="93"/>
                    </a:lnTo>
                    <a:lnTo>
                      <a:pt x="364" y="93"/>
                    </a:lnTo>
                    <a:lnTo>
                      <a:pt x="364" y="93"/>
                    </a:lnTo>
                    <a:lnTo>
                      <a:pt x="366" y="93"/>
                    </a:lnTo>
                    <a:lnTo>
                      <a:pt x="366" y="93"/>
                    </a:lnTo>
                    <a:lnTo>
                      <a:pt x="367" y="92"/>
                    </a:lnTo>
                    <a:lnTo>
                      <a:pt x="367" y="92"/>
                    </a:lnTo>
                    <a:lnTo>
                      <a:pt x="367" y="92"/>
                    </a:lnTo>
                    <a:lnTo>
                      <a:pt x="368" y="88"/>
                    </a:lnTo>
                    <a:lnTo>
                      <a:pt x="368" y="88"/>
                    </a:lnTo>
                    <a:lnTo>
                      <a:pt x="368" y="88"/>
                    </a:lnTo>
                    <a:lnTo>
                      <a:pt x="368" y="88"/>
                    </a:lnTo>
                    <a:lnTo>
                      <a:pt x="370" y="86"/>
                    </a:lnTo>
                    <a:lnTo>
                      <a:pt x="371" y="83"/>
                    </a:lnTo>
                    <a:lnTo>
                      <a:pt x="372" y="82"/>
                    </a:lnTo>
                    <a:lnTo>
                      <a:pt x="372" y="82"/>
                    </a:lnTo>
                    <a:lnTo>
                      <a:pt x="374" y="78"/>
                    </a:lnTo>
                    <a:lnTo>
                      <a:pt x="374" y="76"/>
                    </a:lnTo>
                    <a:lnTo>
                      <a:pt x="374" y="76"/>
                    </a:lnTo>
                    <a:lnTo>
                      <a:pt x="371" y="72"/>
                    </a:lnTo>
                    <a:lnTo>
                      <a:pt x="371" y="72"/>
                    </a:lnTo>
                    <a:lnTo>
                      <a:pt x="368" y="68"/>
                    </a:lnTo>
                    <a:lnTo>
                      <a:pt x="367" y="64"/>
                    </a:lnTo>
                    <a:lnTo>
                      <a:pt x="366" y="62"/>
                    </a:lnTo>
                    <a:lnTo>
                      <a:pt x="366" y="59"/>
                    </a:lnTo>
                    <a:lnTo>
                      <a:pt x="371" y="54"/>
                    </a:lnTo>
                    <a:lnTo>
                      <a:pt x="372" y="54"/>
                    </a:lnTo>
                    <a:lnTo>
                      <a:pt x="372" y="54"/>
                    </a:lnTo>
                    <a:lnTo>
                      <a:pt x="375" y="54"/>
                    </a:lnTo>
                    <a:lnTo>
                      <a:pt x="378" y="55"/>
                    </a:lnTo>
                    <a:lnTo>
                      <a:pt x="378" y="55"/>
                    </a:lnTo>
                    <a:lnTo>
                      <a:pt x="378" y="55"/>
                    </a:lnTo>
                    <a:lnTo>
                      <a:pt x="382" y="52"/>
                    </a:lnTo>
                    <a:lnTo>
                      <a:pt x="382" y="52"/>
                    </a:lnTo>
                    <a:lnTo>
                      <a:pt x="376" y="50"/>
                    </a:lnTo>
                    <a:lnTo>
                      <a:pt x="375" y="50"/>
                    </a:lnTo>
                    <a:lnTo>
                      <a:pt x="370" y="45"/>
                    </a:lnTo>
                    <a:lnTo>
                      <a:pt x="370" y="45"/>
                    </a:lnTo>
                    <a:lnTo>
                      <a:pt x="370" y="39"/>
                    </a:lnTo>
                    <a:lnTo>
                      <a:pt x="371" y="37"/>
                    </a:lnTo>
                    <a:lnTo>
                      <a:pt x="371" y="37"/>
                    </a:lnTo>
                    <a:lnTo>
                      <a:pt x="372" y="34"/>
                    </a:lnTo>
                    <a:lnTo>
                      <a:pt x="372" y="33"/>
                    </a:lnTo>
                    <a:lnTo>
                      <a:pt x="374" y="31"/>
                    </a:lnTo>
                    <a:lnTo>
                      <a:pt x="374" y="31"/>
                    </a:lnTo>
                    <a:lnTo>
                      <a:pt x="376" y="33"/>
                    </a:lnTo>
                    <a:lnTo>
                      <a:pt x="379" y="34"/>
                    </a:lnTo>
                    <a:lnTo>
                      <a:pt x="379" y="33"/>
                    </a:lnTo>
                    <a:lnTo>
                      <a:pt x="378" y="33"/>
                    </a:lnTo>
                    <a:lnTo>
                      <a:pt x="378" y="31"/>
                    </a:lnTo>
                    <a:lnTo>
                      <a:pt x="376" y="30"/>
                    </a:lnTo>
                    <a:lnTo>
                      <a:pt x="379" y="29"/>
                    </a:lnTo>
                    <a:lnTo>
                      <a:pt x="379" y="27"/>
                    </a:lnTo>
                    <a:lnTo>
                      <a:pt x="379" y="27"/>
                    </a:lnTo>
                    <a:lnTo>
                      <a:pt x="376" y="27"/>
                    </a:lnTo>
                    <a:lnTo>
                      <a:pt x="374" y="29"/>
                    </a:lnTo>
                    <a:lnTo>
                      <a:pt x="372" y="27"/>
                    </a:lnTo>
                    <a:lnTo>
                      <a:pt x="372" y="23"/>
                    </a:lnTo>
                    <a:lnTo>
                      <a:pt x="378" y="18"/>
                    </a:lnTo>
                    <a:lnTo>
                      <a:pt x="378" y="18"/>
                    </a:lnTo>
                    <a:lnTo>
                      <a:pt x="380" y="17"/>
                    </a:lnTo>
                    <a:lnTo>
                      <a:pt x="383" y="15"/>
                    </a:lnTo>
                    <a:lnTo>
                      <a:pt x="383" y="15"/>
                    </a:lnTo>
                    <a:lnTo>
                      <a:pt x="386" y="13"/>
                    </a:lnTo>
                    <a:lnTo>
                      <a:pt x="386" y="13"/>
                    </a:lnTo>
                    <a:lnTo>
                      <a:pt x="386" y="12"/>
                    </a:lnTo>
                    <a:lnTo>
                      <a:pt x="386" y="12"/>
                    </a:lnTo>
                    <a:lnTo>
                      <a:pt x="386" y="9"/>
                    </a:lnTo>
                    <a:lnTo>
                      <a:pt x="391" y="1"/>
                    </a:lnTo>
                    <a:lnTo>
                      <a:pt x="392" y="1"/>
                    </a:lnTo>
                    <a:lnTo>
                      <a:pt x="392" y="1"/>
                    </a:lnTo>
                    <a:lnTo>
                      <a:pt x="397" y="2"/>
                    </a:lnTo>
                    <a:lnTo>
                      <a:pt x="401" y="4"/>
                    </a:lnTo>
                    <a:lnTo>
                      <a:pt x="403" y="9"/>
                    </a:lnTo>
                    <a:lnTo>
                      <a:pt x="403" y="10"/>
                    </a:lnTo>
                    <a:lnTo>
                      <a:pt x="403" y="10"/>
                    </a:lnTo>
                    <a:lnTo>
                      <a:pt x="403" y="10"/>
                    </a:lnTo>
                    <a:lnTo>
                      <a:pt x="408" y="8"/>
                    </a:lnTo>
                    <a:lnTo>
                      <a:pt x="408" y="8"/>
                    </a:lnTo>
                    <a:lnTo>
                      <a:pt x="413" y="4"/>
                    </a:lnTo>
                    <a:lnTo>
                      <a:pt x="417" y="1"/>
                    </a:lnTo>
                    <a:lnTo>
                      <a:pt x="421" y="0"/>
                    </a:lnTo>
                    <a:lnTo>
                      <a:pt x="423" y="0"/>
                    </a:lnTo>
                    <a:lnTo>
                      <a:pt x="424" y="0"/>
                    </a:lnTo>
                    <a:lnTo>
                      <a:pt x="427" y="1"/>
                    </a:lnTo>
                    <a:lnTo>
                      <a:pt x="427" y="1"/>
                    </a:lnTo>
                    <a:lnTo>
                      <a:pt x="433" y="5"/>
                    </a:lnTo>
                    <a:lnTo>
                      <a:pt x="438" y="10"/>
                    </a:lnTo>
                    <a:lnTo>
                      <a:pt x="438" y="10"/>
                    </a:lnTo>
                    <a:lnTo>
                      <a:pt x="442" y="14"/>
                    </a:lnTo>
                    <a:lnTo>
                      <a:pt x="445" y="17"/>
                    </a:lnTo>
                    <a:lnTo>
                      <a:pt x="449" y="17"/>
                    </a:lnTo>
                    <a:lnTo>
                      <a:pt x="453" y="25"/>
                    </a:lnTo>
                    <a:lnTo>
                      <a:pt x="453" y="25"/>
                    </a:lnTo>
                    <a:lnTo>
                      <a:pt x="454" y="23"/>
                    </a:lnTo>
                    <a:lnTo>
                      <a:pt x="454" y="23"/>
                    </a:lnTo>
                    <a:lnTo>
                      <a:pt x="454" y="23"/>
                    </a:lnTo>
                    <a:lnTo>
                      <a:pt x="454" y="23"/>
                    </a:lnTo>
                    <a:lnTo>
                      <a:pt x="454" y="23"/>
                    </a:lnTo>
                    <a:lnTo>
                      <a:pt x="454" y="22"/>
                    </a:lnTo>
                    <a:lnTo>
                      <a:pt x="454" y="22"/>
                    </a:lnTo>
                    <a:lnTo>
                      <a:pt x="454" y="23"/>
                    </a:lnTo>
                    <a:lnTo>
                      <a:pt x="456" y="25"/>
                    </a:lnTo>
                    <a:lnTo>
                      <a:pt x="456" y="25"/>
                    </a:lnTo>
                    <a:lnTo>
                      <a:pt x="461" y="25"/>
                    </a:lnTo>
                    <a:lnTo>
                      <a:pt x="461" y="25"/>
                    </a:lnTo>
                    <a:lnTo>
                      <a:pt x="466" y="23"/>
                    </a:lnTo>
                    <a:lnTo>
                      <a:pt x="466" y="23"/>
                    </a:lnTo>
                    <a:lnTo>
                      <a:pt x="466" y="23"/>
                    </a:lnTo>
                    <a:lnTo>
                      <a:pt x="469" y="22"/>
                    </a:lnTo>
                    <a:lnTo>
                      <a:pt x="469" y="22"/>
                    </a:lnTo>
                    <a:lnTo>
                      <a:pt x="468" y="23"/>
                    </a:lnTo>
                    <a:lnTo>
                      <a:pt x="469" y="23"/>
                    </a:lnTo>
                    <a:lnTo>
                      <a:pt x="473" y="18"/>
                    </a:lnTo>
                    <a:lnTo>
                      <a:pt x="475" y="18"/>
                    </a:lnTo>
                    <a:lnTo>
                      <a:pt x="475" y="18"/>
                    </a:lnTo>
                    <a:lnTo>
                      <a:pt x="477" y="18"/>
                    </a:lnTo>
                    <a:lnTo>
                      <a:pt x="477" y="18"/>
                    </a:lnTo>
                    <a:lnTo>
                      <a:pt x="479" y="18"/>
                    </a:lnTo>
                    <a:lnTo>
                      <a:pt x="482" y="19"/>
                    </a:lnTo>
                    <a:lnTo>
                      <a:pt x="482" y="19"/>
                    </a:lnTo>
                    <a:lnTo>
                      <a:pt x="485" y="23"/>
                    </a:lnTo>
                    <a:lnTo>
                      <a:pt x="485" y="27"/>
                    </a:lnTo>
                    <a:lnTo>
                      <a:pt x="487" y="30"/>
                    </a:lnTo>
                    <a:lnTo>
                      <a:pt x="487" y="30"/>
                    </a:lnTo>
                    <a:lnTo>
                      <a:pt x="487" y="29"/>
                    </a:lnTo>
                    <a:lnTo>
                      <a:pt x="487" y="29"/>
                    </a:lnTo>
                    <a:lnTo>
                      <a:pt x="489" y="30"/>
                    </a:lnTo>
                    <a:lnTo>
                      <a:pt x="493" y="30"/>
                    </a:lnTo>
                    <a:lnTo>
                      <a:pt x="498" y="33"/>
                    </a:lnTo>
                    <a:lnTo>
                      <a:pt x="498" y="33"/>
                    </a:lnTo>
                    <a:lnTo>
                      <a:pt x="499" y="38"/>
                    </a:lnTo>
                    <a:lnTo>
                      <a:pt x="498" y="42"/>
                    </a:lnTo>
                    <a:lnTo>
                      <a:pt x="495" y="45"/>
                    </a:lnTo>
                    <a:lnTo>
                      <a:pt x="494" y="47"/>
                    </a:lnTo>
                    <a:lnTo>
                      <a:pt x="494" y="47"/>
                    </a:lnTo>
                    <a:lnTo>
                      <a:pt x="491" y="51"/>
                    </a:lnTo>
                    <a:lnTo>
                      <a:pt x="491" y="51"/>
                    </a:lnTo>
                    <a:lnTo>
                      <a:pt x="490" y="58"/>
                    </a:lnTo>
                    <a:lnTo>
                      <a:pt x="489" y="63"/>
                    </a:lnTo>
                    <a:lnTo>
                      <a:pt x="489" y="63"/>
                    </a:lnTo>
                    <a:lnTo>
                      <a:pt x="487" y="67"/>
                    </a:lnTo>
                    <a:lnTo>
                      <a:pt x="483" y="70"/>
                    </a:lnTo>
                    <a:lnTo>
                      <a:pt x="485" y="70"/>
                    </a:lnTo>
                    <a:lnTo>
                      <a:pt x="485" y="70"/>
                    </a:lnTo>
                    <a:lnTo>
                      <a:pt x="485" y="71"/>
                    </a:lnTo>
                    <a:lnTo>
                      <a:pt x="485" y="71"/>
                    </a:lnTo>
                    <a:lnTo>
                      <a:pt x="486" y="68"/>
                    </a:lnTo>
                    <a:lnTo>
                      <a:pt x="486" y="70"/>
                    </a:lnTo>
                    <a:lnTo>
                      <a:pt x="486" y="70"/>
                    </a:lnTo>
                    <a:lnTo>
                      <a:pt x="485" y="72"/>
                    </a:lnTo>
                    <a:lnTo>
                      <a:pt x="485" y="72"/>
                    </a:lnTo>
                    <a:lnTo>
                      <a:pt x="485" y="72"/>
                    </a:lnTo>
                    <a:lnTo>
                      <a:pt x="485" y="72"/>
                    </a:lnTo>
                    <a:lnTo>
                      <a:pt x="485" y="72"/>
                    </a:lnTo>
                    <a:lnTo>
                      <a:pt x="485" y="72"/>
                    </a:lnTo>
                    <a:lnTo>
                      <a:pt x="485" y="72"/>
                    </a:lnTo>
                    <a:lnTo>
                      <a:pt x="489" y="76"/>
                    </a:lnTo>
                    <a:lnTo>
                      <a:pt x="489" y="76"/>
                    </a:lnTo>
                    <a:lnTo>
                      <a:pt x="487" y="80"/>
                    </a:lnTo>
                    <a:lnTo>
                      <a:pt x="487" y="83"/>
                    </a:lnTo>
                    <a:lnTo>
                      <a:pt x="487" y="84"/>
                    </a:lnTo>
                    <a:lnTo>
                      <a:pt x="487" y="88"/>
                    </a:lnTo>
                    <a:lnTo>
                      <a:pt x="479" y="95"/>
                    </a:lnTo>
                    <a:lnTo>
                      <a:pt x="479" y="95"/>
                    </a:lnTo>
                    <a:lnTo>
                      <a:pt x="479" y="95"/>
                    </a:lnTo>
                    <a:lnTo>
                      <a:pt x="479" y="95"/>
                    </a:lnTo>
                    <a:lnTo>
                      <a:pt x="481" y="93"/>
                    </a:lnTo>
                    <a:lnTo>
                      <a:pt x="481" y="93"/>
                    </a:lnTo>
                    <a:lnTo>
                      <a:pt x="479" y="95"/>
                    </a:lnTo>
                    <a:lnTo>
                      <a:pt x="475" y="96"/>
                    </a:lnTo>
                    <a:lnTo>
                      <a:pt x="475" y="96"/>
                    </a:lnTo>
                    <a:lnTo>
                      <a:pt x="474" y="96"/>
                    </a:lnTo>
                    <a:lnTo>
                      <a:pt x="470" y="96"/>
                    </a:lnTo>
                    <a:lnTo>
                      <a:pt x="469" y="95"/>
                    </a:lnTo>
                    <a:lnTo>
                      <a:pt x="469" y="95"/>
                    </a:lnTo>
                    <a:lnTo>
                      <a:pt x="468" y="95"/>
                    </a:lnTo>
                    <a:lnTo>
                      <a:pt x="468" y="95"/>
                    </a:lnTo>
                    <a:lnTo>
                      <a:pt x="465" y="96"/>
                    </a:lnTo>
                    <a:lnTo>
                      <a:pt x="462" y="96"/>
                    </a:lnTo>
                    <a:lnTo>
                      <a:pt x="462" y="96"/>
                    </a:lnTo>
                    <a:lnTo>
                      <a:pt x="458" y="96"/>
                    </a:lnTo>
                    <a:lnTo>
                      <a:pt x="456" y="91"/>
                    </a:lnTo>
                    <a:lnTo>
                      <a:pt x="456" y="91"/>
                    </a:lnTo>
                    <a:lnTo>
                      <a:pt x="450" y="92"/>
                    </a:lnTo>
                    <a:lnTo>
                      <a:pt x="448" y="93"/>
                    </a:lnTo>
                    <a:lnTo>
                      <a:pt x="448" y="93"/>
                    </a:lnTo>
                    <a:lnTo>
                      <a:pt x="448" y="93"/>
                    </a:lnTo>
                    <a:lnTo>
                      <a:pt x="445" y="93"/>
                    </a:lnTo>
                    <a:lnTo>
                      <a:pt x="445" y="93"/>
                    </a:lnTo>
                    <a:lnTo>
                      <a:pt x="442" y="93"/>
                    </a:lnTo>
                    <a:lnTo>
                      <a:pt x="442" y="93"/>
                    </a:lnTo>
                    <a:lnTo>
                      <a:pt x="441" y="93"/>
                    </a:lnTo>
                    <a:lnTo>
                      <a:pt x="441" y="93"/>
                    </a:lnTo>
                    <a:lnTo>
                      <a:pt x="442" y="92"/>
                    </a:lnTo>
                    <a:lnTo>
                      <a:pt x="444" y="90"/>
                    </a:lnTo>
                    <a:lnTo>
                      <a:pt x="438" y="95"/>
                    </a:lnTo>
                    <a:lnTo>
                      <a:pt x="438" y="95"/>
                    </a:lnTo>
                    <a:lnTo>
                      <a:pt x="436" y="95"/>
                    </a:lnTo>
                    <a:lnTo>
                      <a:pt x="436" y="95"/>
                    </a:lnTo>
                    <a:lnTo>
                      <a:pt x="434" y="95"/>
                    </a:lnTo>
                    <a:lnTo>
                      <a:pt x="433" y="96"/>
                    </a:lnTo>
                    <a:lnTo>
                      <a:pt x="433" y="96"/>
                    </a:lnTo>
                    <a:lnTo>
                      <a:pt x="433" y="96"/>
                    </a:lnTo>
                    <a:lnTo>
                      <a:pt x="432" y="97"/>
                    </a:lnTo>
                    <a:lnTo>
                      <a:pt x="432" y="97"/>
                    </a:lnTo>
                    <a:lnTo>
                      <a:pt x="433" y="100"/>
                    </a:lnTo>
                    <a:lnTo>
                      <a:pt x="433" y="100"/>
                    </a:lnTo>
                    <a:lnTo>
                      <a:pt x="434" y="104"/>
                    </a:lnTo>
                    <a:lnTo>
                      <a:pt x="431" y="108"/>
                    </a:lnTo>
                    <a:lnTo>
                      <a:pt x="431" y="108"/>
                    </a:lnTo>
                    <a:lnTo>
                      <a:pt x="428" y="105"/>
                    </a:lnTo>
                    <a:lnTo>
                      <a:pt x="429" y="107"/>
                    </a:lnTo>
                    <a:lnTo>
                      <a:pt x="429" y="107"/>
                    </a:lnTo>
                    <a:lnTo>
                      <a:pt x="428" y="107"/>
                    </a:lnTo>
                    <a:lnTo>
                      <a:pt x="429" y="108"/>
                    </a:lnTo>
                    <a:lnTo>
                      <a:pt x="427" y="111"/>
                    </a:lnTo>
                    <a:lnTo>
                      <a:pt x="427" y="111"/>
                    </a:lnTo>
                    <a:lnTo>
                      <a:pt x="428" y="111"/>
                    </a:lnTo>
                    <a:lnTo>
                      <a:pt x="428" y="111"/>
                    </a:lnTo>
                    <a:lnTo>
                      <a:pt x="431" y="109"/>
                    </a:lnTo>
                    <a:lnTo>
                      <a:pt x="432" y="113"/>
                    </a:lnTo>
                    <a:lnTo>
                      <a:pt x="432" y="113"/>
                    </a:lnTo>
                    <a:lnTo>
                      <a:pt x="432" y="111"/>
                    </a:lnTo>
                    <a:lnTo>
                      <a:pt x="433" y="113"/>
                    </a:lnTo>
                    <a:lnTo>
                      <a:pt x="433" y="115"/>
                    </a:lnTo>
                    <a:lnTo>
                      <a:pt x="440" y="120"/>
                    </a:lnTo>
                    <a:lnTo>
                      <a:pt x="440" y="120"/>
                    </a:lnTo>
                    <a:lnTo>
                      <a:pt x="440" y="119"/>
                    </a:lnTo>
                    <a:lnTo>
                      <a:pt x="440" y="119"/>
                    </a:lnTo>
                    <a:lnTo>
                      <a:pt x="440" y="120"/>
                    </a:lnTo>
                    <a:lnTo>
                      <a:pt x="440" y="120"/>
                    </a:lnTo>
                    <a:lnTo>
                      <a:pt x="442" y="123"/>
                    </a:lnTo>
                    <a:lnTo>
                      <a:pt x="442" y="125"/>
                    </a:lnTo>
                    <a:lnTo>
                      <a:pt x="442" y="129"/>
                    </a:lnTo>
                    <a:lnTo>
                      <a:pt x="442" y="129"/>
                    </a:lnTo>
                    <a:lnTo>
                      <a:pt x="440" y="132"/>
                    </a:lnTo>
                    <a:lnTo>
                      <a:pt x="437" y="132"/>
                    </a:lnTo>
                    <a:lnTo>
                      <a:pt x="434" y="133"/>
                    </a:lnTo>
                    <a:lnTo>
                      <a:pt x="434" y="133"/>
                    </a:lnTo>
                    <a:lnTo>
                      <a:pt x="431" y="134"/>
                    </a:lnTo>
                    <a:lnTo>
                      <a:pt x="428" y="130"/>
                    </a:lnTo>
                    <a:lnTo>
                      <a:pt x="428" y="130"/>
                    </a:lnTo>
                    <a:lnTo>
                      <a:pt x="429" y="129"/>
                    </a:lnTo>
                    <a:lnTo>
                      <a:pt x="429" y="129"/>
                    </a:lnTo>
                    <a:lnTo>
                      <a:pt x="429" y="127"/>
                    </a:lnTo>
                    <a:lnTo>
                      <a:pt x="429" y="124"/>
                    </a:lnTo>
                    <a:lnTo>
                      <a:pt x="427" y="129"/>
                    </a:lnTo>
                    <a:lnTo>
                      <a:pt x="427" y="129"/>
                    </a:lnTo>
                    <a:lnTo>
                      <a:pt x="424" y="124"/>
                    </a:lnTo>
                    <a:lnTo>
                      <a:pt x="424" y="124"/>
                    </a:lnTo>
                    <a:lnTo>
                      <a:pt x="423" y="127"/>
                    </a:lnTo>
                    <a:lnTo>
                      <a:pt x="424" y="129"/>
                    </a:lnTo>
                    <a:lnTo>
                      <a:pt x="424" y="129"/>
                    </a:lnTo>
                    <a:lnTo>
                      <a:pt x="425" y="130"/>
                    </a:lnTo>
                    <a:lnTo>
                      <a:pt x="425" y="130"/>
                    </a:lnTo>
                    <a:lnTo>
                      <a:pt x="425" y="130"/>
                    </a:lnTo>
                    <a:lnTo>
                      <a:pt x="424" y="133"/>
                    </a:lnTo>
                    <a:lnTo>
                      <a:pt x="424" y="133"/>
                    </a:lnTo>
                    <a:lnTo>
                      <a:pt x="423" y="133"/>
                    </a:lnTo>
                    <a:lnTo>
                      <a:pt x="423" y="133"/>
                    </a:lnTo>
                    <a:lnTo>
                      <a:pt x="420" y="133"/>
                    </a:lnTo>
                    <a:lnTo>
                      <a:pt x="420" y="133"/>
                    </a:lnTo>
                    <a:lnTo>
                      <a:pt x="420" y="133"/>
                    </a:lnTo>
                    <a:lnTo>
                      <a:pt x="420" y="133"/>
                    </a:lnTo>
                    <a:lnTo>
                      <a:pt x="421" y="140"/>
                    </a:lnTo>
                    <a:lnTo>
                      <a:pt x="421" y="140"/>
                    </a:lnTo>
                    <a:lnTo>
                      <a:pt x="423" y="148"/>
                    </a:lnTo>
                    <a:lnTo>
                      <a:pt x="423" y="149"/>
                    </a:lnTo>
                    <a:lnTo>
                      <a:pt x="423" y="152"/>
                    </a:lnTo>
                    <a:lnTo>
                      <a:pt x="423" y="152"/>
                    </a:lnTo>
                    <a:lnTo>
                      <a:pt x="423" y="152"/>
                    </a:lnTo>
                    <a:lnTo>
                      <a:pt x="423" y="152"/>
                    </a:lnTo>
                    <a:lnTo>
                      <a:pt x="425" y="154"/>
                    </a:lnTo>
                    <a:lnTo>
                      <a:pt x="427" y="158"/>
                    </a:lnTo>
                    <a:lnTo>
                      <a:pt x="427" y="158"/>
                    </a:lnTo>
                    <a:lnTo>
                      <a:pt x="429" y="160"/>
                    </a:lnTo>
                    <a:lnTo>
                      <a:pt x="429" y="160"/>
                    </a:lnTo>
                    <a:lnTo>
                      <a:pt x="428" y="164"/>
                    </a:lnTo>
                    <a:lnTo>
                      <a:pt x="427" y="166"/>
                    </a:lnTo>
                    <a:lnTo>
                      <a:pt x="423" y="169"/>
                    </a:lnTo>
                    <a:lnTo>
                      <a:pt x="421" y="171"/>
                    </a:lnTo>
                    <a:lnTo>
                      <a:pt x="421" y="171"/>
                    </a:lnTo>
                    <a:lnTo>
                      <a:pt x="417" y="177"/>
                    </a:lnTo>
                    <a:lnTo>
                      <a:pt x="412" y="182"/>
                    </a:lnTo>
                    <a:lnTo>
                      <a:pt x="412" y="182"/>
                    </a:lnTo>
                    <a:lnTo>
                      <a:pt x="408" y="186"/>
                    </a:lnTo>
                    <a:lnTo>
                      <a:pt x="407" y="186"/>
                    </a:lnTo>
                    <a:lnTo>
                      <a:pt x="412" y="193"/>
                    </a:lnTo>
                    <a:lnTo>
                      <a:pt x="412" y="193"/>
                    </a:lnTo>
                    <a:lnTo>
                      <a:pt x="412" y="193"/>
                    </a:lnTo>
                    <a:lnTo>
                      <a:pt x="413" y="194"/>
                    </a:lnTo>
                    <a:lnTo>
                      <a:pt x="413" y="194"/>
                    </a:lnTo>
                    <a:lnTo>
                      <a:pt x="412" y="199"/>
                    </a:lnTo>
                    <a:lnTo>
                      <a:pt x="413" y="199"/>
                    </a:lnTo>
                    <a:lnTo>
                      <a:pt x="413" y="199"/>
                    </a:lnTo>
                    <a:lnTo>
                      <a:pt x="415" y="199"/>
                    </a:lnTo>
                    <a:lnTo>
                      <a:pt x="415" y="199"/>
                    </a:lnTo>
                    <a:lnTo>
                      <a:pt x="417" y="199"/>
                    </a:lnTo>
                    <a:lnTo>
                      <a:pt x="420" y="201"/>
                    </a:lnTo>
                    <a:lnTo>
                      <a:pt x="420" y="201"/>
                    </a:lnTo>
                    <a:lnTo>
                      <a:pt x="421" y="199"/>
                    </a:lnTo>
                    <a:lnTo>
                      <a:pt x="425" y="199"/>
                    </a:lnTo>
                    <a:lnTo>
                      <a:pt x="427" y="199"/>
                    </a:lnTo>
                    <a:lnTo>
                      <a:pt x="427" y="199"/>
                    </a:lnTo>
                    <a:lnTo>
                      <a:pt x="433" y="202"/>
                    </a:lnTo>
                    <a:lnTo>
                      <a:pt x="438" y="206"/>
                    </a:lnTo>
                    <a:lnTo>
                      <a:pt x="438" y="206"/>
                    </a:lnTo>
                    <a:lnTo>
                      <a:pt x="442" y="210"/>
                    </a:lnTo>
                    <a:lnTo>
                      <a:pt x="445" y="210"/>
                    </a:lnTo>
                    <a:lnTo>
                      <a:pt x="445" y="210"/>
                    </a:lnTo>
                    <a:lnTo>
                      <a:pt x="452" y="214"/>
                    </a:lnTo>
                    <a:lnTo>
                      <a:pt x="458" y="214"/>
                    </a:lnTo>
                    <a:lnTo>
                      <a:pt x="458" y="214"/>
                    </a:lnTo>
                    <a:lnTo>
                      <a:pt x="465" y="214"/>
                    </a:lnTo>
                    <a:lnTo>
                      <a:pt x="472" y="219"/>
                    </a:lnTo>
                    <a:lnTo>
                      <a:pt x="472" y="219"/>
                    </a:lnTo>
                    <a:lnTo>
                      <a:pt x="472" y="219"/>
                    </a:lnTo>
                    <a:lnTo>
                      <a:pt x="472" y="219"/>
                    </a:lnTo>
                    <a:lnTo>
                      <a:pt x="473" y="219"/>
                    </a:lnTo>
                    <a:lnTo>
                      <a:pt x="473" y="219"/>
                    </a:lnTo>
                    <a:lnTo>
                      <a:pt x="474" y="223"/>
                    </a:lnTo>
                    <a:lnTo>
                      <a:pt x="475" y="226"/>
                    </a:lnTo>
                    <a:lnTo>
                      <a:pt x="475" y="228"/>
                    </a:lnTo>
                    <a:lnTo>
                      <a:pt x="473" y="234"/>
                    </a:lnTo>
                    <a:lnTo>
                      <a:pt x="473" y="234"/>
                    </a:lnTo>
                    <a:lnTo>
                      <a:pt x="472" y="234"/>
                    </a:lnTo>
                    <a:lnTo>
                      <a:pt x="472" y="234"/>
                    </a:lnTo>
                    <a:lnTo>
                      <a:pt x="473" y="232"/>
                    </a:lnTo>
                    <a:lnTo>
                      <a:pt x="470" y="234"/>
                    </a:lnTo>
                    <a:lnTo>
                      <a:pt x="470" y="234"/>
                    </a:lnTo>
                    <a:lnTo>
                      <a:pt x="470" y="234"/>
                    </a:lnTo>
                    <a:lnTo>
                      <a:pt x="462" y="238"/>
                    </a:lnTo>
                    <a:lnTo>
                      <a:pt x="462" y="238"/>
                    </a:lnTo>
                    <a:lnTo>
                      <a:pt x="460" y="238"/>
                    </a:lnTo>
                    <a:lnTo>
                      <a:pt x="460" y="238"/>
                    </a:lnTo>
                    <a:lnTo>
                      <a:pt x="456" y="236"/>
                    </a:lnTo>
                    <a:lnTo>
                      <a:pt x="453" y="235"/>
                    </a:lnTo>
                    <a:lnTo>
                      <a:pt x="452" y="235"/>
                    </a:lnTo>
                    <a:lnTo>
                      <a:pt x="452" y="235"/>
                    </a:lnTo>
                    <a:lnTo>
                      <a:pt x="452" y="235"/>
                    </a:lnTo>
                    <a:lnTo>
                      <a:pt x="452" y="235"/>
                    </a:lnTo>
                    <a:lnTo>
                      <a:pt x="450" y="235"/>
                    </a:lnTo>
                    <a:lnTo>
                      <a:pt x="448" y="235"/>
                    </a:lnTo>
                    <a:lnTo>
                      <a:pt x="442" y="230"/>
                    </a:lnTo>
                    <a:lnTo>
                      <a:pt x="442" y="231"/>
                    </a:lnTo>
                    <a:lnTo>
                      <a:pt x="442" y="231"/>
                    </a:lnTo>
                    <a:lnTo>
                      <a:pt x="445" y="234"/>
                    </a:lnTo>
                    <a:lnTo>
                      <a:pt x="444" y="234"/>
                    </a:lnTo>
                    <a:lnTo>
                      <a:pt x="444" y="234"/>
                    </a:lnTo>
                    <a:lnTo>
                      <a:pt x="442" y="234"/>
                    </a:lnTo>
                    <a:lnTo>
                      <a:pt x="437" y="234"/>
                    </a:lnTo>
                    <a:lnTo>
                      <a:pt x="433" y="232"/>
                    </a:lnTo>
                    <a:lnTo>
                      <a:pt x="433" y="232"/>
                    </a:lnTo>
                    <a:lnTo>
                      <a:pt x="428" y="231"/>
                    </a:lnTo>
                    <a:lnTo>
                      <a:pt x="428" y="231"/>
                    </a:lnTo>
                    <a:lnTo>
                      <a:pt x="423" y="232"/>
                    </a:lnTo>
                    <a:lnTo>
                      <a:pt x="419" y="234"/>
                    </a:lnTo>
                    <a:lnTo>
                      <a:pt x="419" y="234"/>
                    </a:lnTo>
                    <a:lnTo>
                      <a:pt x="416" y="234"/>
                    </a:lnTo>
                    <a:lnTo>
                      <a:pt x="416" y="234"/>
                    </a:lnTo>
                    <a:lnTo>
                      <a:pt x="416" y="234"/>
                    </a:lnTo>
                    <a:lnTo>
                      <a:pt x="412" y="235"/>
                    </a:lnTo>
                    <a:lnTo>
                      <a:pt x="408" y="236"/>
                    </a:lnTo>
                    <a:lnTo>
                      <a:pt x="408" y="236"/>
                    </a:lnTo>
                    <a:lnTo>
                      <a:pt x="407" y="236"/>
                    </a:lnTo>
                    <a:lnTo>
                      <a:pt x="407" y="236"/>
                    </a:lnTo>
                    <a:lnTo>
                      <a:pt x="397" y="238"/>
                    </a:lnTo>
                    <a:lnTo>
                      <a:pt x="391" y="242"/>
                    </a:lnTo>
                    <a:lnTo>
                      <a:pt x="387" y="243"/>
                    </a:lnTo>
                    <a:lnTo>
                      <a:pt x="387" y="243"/>
                    </a:lnTo>
                    <a:lnTo>
                      <a:pt x="382" y="247"/>
                    </a:lnTo>
                    <a:lnTo>
                      <a:pt x="375" y="253"/>
                    </a:lnTo>
                    <a:lnTo>
                      <a:pt x="375" y="253"/>
                    </a:lnTo>
                    <a:lnTo>
                      <a:pt x="374" y="257"/>
                    </a:lnTo>
                    <a:lnTo>
                      <a:pt x="374" y="257"/>
                    </a:lnTo>
                    <a:lnTo>
                      <a:pt x="374" y="257"/>
                    </a:lnTo>
                    <a:lnTo>
                      <a:pt x="374" y="255"/>
                    </a:lnTo>
                    <a:lnTo>
                      <a:pt x="371" y="259"/>
                    </a:lnTo>
                    <a:lnTo>
                      <a:pt x="371" y="259"/>
                    </a:lnTo>
                    <a:lnTo>
                      <a:pt x="371" y="260"/>
                    </a:lnTo>
                    <a:lnTo>
                      <a:pt x="371" y="260"/>
                    </a:lnTo>
                    <a:lnTo>
                      <a:pt x="371" y="260"/>
                    </a:lnTo>
                    <a:lnTo>
                      <a:pt x="371" y="260"/>
                    </a:lnTo>
                    <a:lnTo>
                      <a:pt x="371" y="260"/>
                    </a:lnTo>
                    <a:lnTo>
                      <a:pt x="371" y="260"/>
                    </a:lnTo>
                    <a:lnTo>
                      <a:pt x="371" y="264"/>
                    </a:lnTo>
                    <a:lnTo>
                      <a:pt x="370" y="265"/>
                    </a:lnTo>
                    <a:lnTo>
                      <a:pt x="370" y="265"/>
                    </a:lnTo>
                    <a:lnTo>
                      <a:pt x="370" y="265"/>
                    </a:lnTo>
                    <a:lnTo>
                      <a:pt x="370" y="264"/>
                    </a:lnTo>
                    <a:lnTo>
                      <a:pt x="364" y="269"/>
                    </a:lnTo>
                    <a:lnTo>
                      <a:pt x="362" y="269"/>
                    </a:lnTo>
                    <a:lnTo>
                      <a:pt x="362" y="269"/>
                    </a:lnTo>
                    <a:lnTo>
                      <a:pt x="355" y="273"/>
                    </a:lnTo>
                    <a:lnTo>
                      <a:pt x="350" y="280"/>
                    </a:lnTo>
                    <a:lnTo>
                      <a:pt x="349" y="281"/>
                    </a:lnTo>
                    <a:lnTo>
                      <a:pt x="349" y="281"/>
                    </a:lnTo>
                    <a:lnTo>
                      <a:pt x="346" y="283"/>
                    </a:lnTo>
                    <a:lnTo>
                      <a:pt x="342" y="284"/>
                    </a:lnTo>
                    <a:lnTo>
                      <a:pt x="342" y="284"/>
                    </a:lnTo>
                    <a:lnTo>
                      <a:pt x="335" y="288"/>
                    </a:lnTo>
                    <a:lnTo>
                      <a:pt x="333" y="289"/>
                    </a:lnTo>
                    <a:lnTo>
                      <a:pt x="333" y="292"/>
                    </a:lnTo>
                    <a:lnTo>
                      <a:pt x="333" y="294"/>
                    </a:lnTo>
                    <a:lnTo>
                      <a:pt x="326" y="300"/>
                    </a:lnTo>
                    <a:lnTo>
                      <a:pt x="326" y="300"/>
                    </a:lnTo>
                    <a:lnTo>
                      <a:pt x="326" y="300"/>
                    </a:lnTo>
                    <a:lnTo>
                      <a:pt x="326" y="300"/>
                    </a:lnTo>
                    <a:lnTo>
                      <a:pt x="325" y="301"/>
                    </a:lnTo>
                    <a:lnTo>
                      <a:pt x="325" y="301"/>
                    </a:lnTo>
                    <a:lnTo>
                      <a:pt x="325" y="301"/>
                    </a:lnTo>
                    <a:lnTo>
                      <a:pt x="322" y="301"/>
                    </a:lnTo>
                    <a:lnTo>
                      <a:pt x="322" y="301"/>
                    </a:lnTo>
                    <a:lnTo>
                      <a:pt x="325" y="300"/>
                    </a:lnTo>
                    <a:lnTo>
                      <a:pt x="325" y="298"/>
                    </a:lnTo>
                    <a:lnTo>
                      <a:pt x="319" y="302"/>
                    </a:lnTo>
                    <a:lnTo>
                      <a:pt x="318" y="302"/>
                    </a:lnTo>
                    <a:lnTo>
                      <a:pt x="318" y="302"/>
                    </a:lnTo>
                    <a:lnTo>
                      <a:pt x="317" y="302"/>
                    </a:lnTo>
                    <a:lnTo>
                      <a:pt x="317" y="302"/>
                    </a:lnTo>
                    <a:lnTo>
                      <a:pt x="317" y="302"/>
                    </a:lnTo>
                    <a:lnTo>
                      <a:pt x="314" y="305"/>
                    </a:lnTo>
                    <a:lnTo>
                      <a:pt x="314" y="305"/>
                    </a:lnTo>
                    <a:lnTo>
                      <a:pt x="312" y="306"/>
                    </a:lnTo>
                    <a:lnTo>
                      <a:pt x="312" y="306"/>
                    </a:lnTo>
                    <a:lnTo>
                      <a:pt x="309" y="308"/>
                    </a:lnTo>
                    <a:lnTo>
                      <a:pt x="305" y="309"/>
                    </a:lnTo>
                    <a:lnTo>
                      <a:pt x="305" y="309"/>
                    </a:lnTo>
                    <a:lnTo>
                      <a:pt x="297" y="314"/>
                    </a:lnTo>
                    <a:lnTo>
                      <a:pt x="292" y="321"/>
                    </a:lnTo>
                    <a:lnTo>
                      <a:pt x="292" y="321"/>
                    </a:lnTo>
                    <a:lnTo>
                      <a:pt x="289" y="325"/>
                    </a:lnTo>
                    <a:lnTo>
                      <a:pt x="289" y="325"/>
                    </a:lnTo>
                    <a:lnTo>
                      <a:pt x="289" y="325"/>
                    </a:lnTo>
                    <a:lnTo>
                      <a:pt x="289" y="325"/>
                    </a:lnTo>
                    <a:lnTo>
                      <a:pt x="288" y="325"/>
                    </a:lnTo>
                    <a:lnTo>
                      <a:pt x="288" y="325"/>
                    </a:lnTo>
                    <a:lnTo>
                      <a:pt x="289" y="325"/>
                    </a:lnTo>
                    <a:lnTo>
                      <a:pt x="292" y="330"/>
                    </a:lnTo>
                    <a:lnTo>
                      <a:pt x="292" y="331"/>
                    </a:lnTo>
                    <a:lnTo>
                      <a:pt x="288" y="337"/>
                    </a:lnTo>
                    <a:lnTo>
                      <a:pt x="288" y="337"/>
                    </a:lnTo>
                    <a:lnTo>
                      <a:pt x="286" y="339"/>
                    </a:lnTo>
                    <a:lnTo>
                      <a:pt x="284" y="341"/>
                    </a:lnTo>
                    <a:lnTo>
                      <a:pt x="284" y="341"/>
                    </a:lnTo>
                    <a:lnTo>
                      <a:pt x="281" y="343"/>
                    </a:lnTo>
                    <a:lnTo>
                      <a:pt x="276" y="343"/>
                    </a:lnTo>
                    <a:lnTo>
                      <a:pt x="275" y="343"/>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7" name="Freeform 59">
                <a:extLst>
                  <a:ext uri="{FF2B5EF4-FFF2-40B4-BE49-F238E27FC236}">
                    <a16:creationId xmlns:a16="http://schemas.microsoft.com/office/drawing/2014/main" xmlns="" id="{DD89E78C-EC13-4A52-A467-3B14AACF6B69}"/>
                  </a:ext>
                </a:extLst>
              </p:cNvPr>
              <p:cNvSpPr>
                <a:spLocks/>
              </p:cNvSpPr>
              <p:nvPr/>
            </p:nvSpPr>
            <p:spPr bwMode="auto">
              <a:xfrm>
                <a:off x="1835032" y="5846937"/>
                <a:ext cx="27857" cy="34821"/>
              </a:xfrm>
              <a:custGeom>
                <a:avLst/>
                <a:gdLst>
                  <a:gd name="T0" fmla="*/ 11 w 16"/>
                  <a:gd name="T1" fmla="*/ 20 h 20"/>
                  <a:gd name="T2" fmla="*/ 11 w 16"/>
                  <a:gd name="T3" fmla="*/ 20 h 20"/>
                  <a:gd name="T4" fmla="*/ 5 w 16"/>
                  <a:gd name="T5" fmla="*/ 19 h 20"/>
                  <a:gd name="T6" fmla="*/ 3 w 16"/>
                  <a:gd name="T7" fmla="*/ 17 h 20"/>
                  <a:gd name="T8" fmla="*/ 0 w 16"/>
                  <a:gd name="T9" fmla="*/ 14 h 20"/>
                  <a:gd name="T10" fmla="*/ 0 w 16"/>
                  <a:gd name="T11" fmla="*/ 11 h 20"/>
                  <a:gd name="T12" fmla="*/ 0 w 16"/>
                  <a:gd name="T13" fmla="*/ 11 h 20"/>
                  <a:gd name="T14" fmla="*/ 0 w 16"/>
                  <a:gd name="T15" fmla="*/ 8 h 20"/>
                  <a:gd name="T16" fmla="*/ 0 w 16"/>
                  <a:gd name="T17" fmla="*/ 6 h 20"/>
                  <a:gd name="T18" fmla="*/ 1 w 16"/>
                  <a:gd name="T19" fmla="*/ 3 h 20"/>
                  <a:gd name="T20" fmla="*/ 7 w 16"/>
                  <a:gd name="T21" fmla="*/ 0 h 20"/>
                  <a:gd name="T22" fmla="*/ 9 w 16"/>
                  <a:gd name="T23" fmla="*/ 0 h 20"/>
                  <a:gd name="T24" fmla="*/ 14 w 16"/>
                  <a:gd name="T25" fmla="*/ 7 h 20"/>
                  <a:gd name="T26" fmla="*/ 14 w 16"/>
                  <a:gd name="T27" fmla="*/ 11 h 20"/>
                  <a:gd name="T28" fmla="*/ 14 w 16"/>
                  <a:gd name="T29" fmla="*/ 11 h 20"/>
                  <a:gd name="T30" fmla="*/ 16 w 16"/>
                  <a:gd name="T31" fmla="*/ 12 h 20"/>
                  <a:gd name="T32" fmla="*/ 11 w 16"/>
                  <a:gd name="T33" fmla="*/ 20 h 20"/>
                  <a:gd name="T34" fmla="*/ 11 w 16"/>
                  <a:gd name="T3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0">
                    <a:moveTo>
                      <a:pt x="11" y="20"/>
                    </a:moveTo>
                    <a:lnTo>
                      <a:pt x="11" y="20"/>
                    </a:lnTo>
                    <a:lnTo>
                      <a:pt x="5" y="19"/>
                    </a:lnTo>
                    <a:lnTo>
                      <a:pt x="3" y="17"/>
                    </a:lnTo>
                    <a:lnTo>
                      <a:pt x="0" y="14"/>
                    </a:lnTo>
                    <a:lnTo>
                      <a:pt x="0" y="11"/>
                    </a:lnTo>
                    <a:lnTo>
                      <a:pt x="0" y="11"/>
                    </a:lnTo>
                    <a:lnTo>
                      <a:pt x="0" y="8"/>
                    </a:lnTo>
                    <a:lnTo>
                      <a:pt x="0" y="6"/>
                    </a:lnTo>
                    <a:lnTo>
                      <a:pt x="1" y="3"/>
                    </a:lnTo>
                    <a:lnTo>
                      <a:pt x="7" y="0"/>
                    </a:lnTo>
                    <a:lnTo>
                      <a:pt x="9" y="0"/>
                    </a:lnTo>
                    <a:lnTo>
                      <a:pt x="14" y="7"/>
                    </a:lnTo>
                    <a:lnTo>
                      <a:pt x="14" y="11"/>
                    </a:lnTo>
                    <a:lnTo>
                      <a:pt x="14" y="11"/>
                    </a:lnTo>
                    <a:lnTo>
                      <a:pt x="16" y="12"/>
                    </a:lnTo>
                    <a:lnTo>
                      <a:pt x="11" y="20"/>
                    </a:lnTo>
                    <a:lnTo>
                      <a:pt x="11" y="20"/>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8" name="Freeform 60">
                <a:extLst>
                  <a:ext uri="{FF2B5EF4-FFF2-40B4-BE49-F238E27FC236}">
                    <a16:creationId xmlns:a16="http://schemas.microsoft.com/office/drawing/2014/main" xmlns="" id="{FA09B7CF-E6CE-4E09-9E62-89FC58818D9A}"/>
                  </a:ext>
                </a:extLst>
              </p:cNvPr>
              <p:cNvSpPr>
                <a:spLocks/>
              </p:cNvSpPr>
              <p:nvPr/>
            </p:nvSpPr>
            <p:spPr bwMode="auto">
              <a:xfrm>
                <a:off x="1843739" y="5859120"/>
                <a:ext cx="10447" cy="13929"/>
              </a:xfrm>
              <a:custGeom>
                <a:avLst/>
                <a:gdLst>
                  <a:gd name="T0" fmla="*/ 2 w 6"/>
                  <a:gd name="T1" fmla="*/ 0 h 8"/>
                  <a:gd name="T2" fmla="*/ 2 w 6"/>
                  <a:gd name="T3" fmla="*/ 0 h 8"/>
                  <a:gd name="T4" fmla="*/ 4 w 6"/>
                  <a:gd name="T5" fmla="*/ 0 h 8"/>
                  <a:gd name="T6" fmla="*/ 4 w 6"/>
                  <a:gd name="T7" fmla="*/ 0 h 8"/>
                  <a:gd name="T8" fmla="*/ 4 w 6"/>
                  <a:gd name="T9" fmla="*/ 1 h 8"/>
                  <a:gd name="T10" fmla="*/ 4 w 6"/>
                  <a:gd name="T11" fmla="*/ 1 h 8"/>
                  <a:gd name="T12" fmla="*/ 4 w 6"/>
                  <a:gd name="T13" fmla="*/ 5 h 8"/>
                  <a:gd name="T14" fmla="*/ 4 w 6"/>
                  <a:gd name="T15" fmla="*/ 5 h 8"/>
                  <a:gd name="T16" fmla="*/ 4 w 6"/>
                  <a:gd name="T17" fmla="*/ 7 h 8"/>
                  <a:gd name="T18" fmla="*/ 6 w 6"/>
                  <a:gd name="T19" fmla="*/ 8 h 8"/>
                  <a:gd name="T20" fmla="*/ 6 w 6"/>
                  <a:gd name="T21" fmla="*/ 8 h 8"/>
                  <a:gd name="T22" fmla="*/ 3 w 6"/>
                  <a:gd name="T23" fmla="*/ 7 h 8"/>
                  <a:gd name="T24" fmla="*/ 2 w 6"/>
                  <a:gd name="T25" fmla="*/ 7 h 8"/>
                  <a:gd name="T26" fmla="*/ 2 w 6"/>
                  <a:gd name="T27" fmla="*/ 7 h 8"/>
                  <a:gd name="T28" fmla="*/ 2 w 6"/>
                  <a:gd name="T29" fmla="*/ 4 h 8"/>
                  <a:gd name="T30" fmla="*/ 2 w 6"/>
                  <a:gd name="T31" fmla="*/ 4 h 8"/>
                  <a:gd name="T32" fmla="*/ 0 w 6"/>
                  <a:gd name="T33" fmla="*/ 1 h 8"/>
                  <a:gd name="T34" fmla="*/ 2 w 6"/>
                  <a:gd name="T35" fmla="*/ 0 h 8"/>
                  <a:gd name="T36" fmla="*/ 2 w 6"/>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8">
                    <a:moveTo>
                      <a:pt x="2" y="0"/>
                    </a:moveTo>
                    <a:lnTo>
                      <a:pt x="2" y="0"/>
                    </a:lnTo>
                    <a:lnTo>
                      <a:pt x="4" y="0"/>
                    </a:lnTo>
                    <a:lnTo>
                      <a:pt x="4" y="0"/>
                    </a:lnTo>
                    <a:lnTo>
                      <a:pt x="4" y="1"/>
                    </a:lnTo>
                    <a:lnTo>
                      <a:pt x="4" y="1"/>
                    </a:lnTo>
                    <a:lnTo>
                      <a:pt x="4" y="5"/>
                    </a:lnTo>
                    <a:lnTo>
                      <a:pt x="4" y="5"/>
                    </a:lnTo>
                    <a:lnTo>
                      <a:pt x="4" y="7"/>
                    </a:lnTo>
                    <a:lnTo>
                      <a:pt x="6" y="8"/>
                    </a:lnTo>
                    <a:lnTo>
                      <a:pt x="6" y="8"/>
                    </a:lnTo>
                    <a:lnTo>
                      <a:pt x="3" y="7"/>
                    </a:lnTo>
                    <a:lnTo>
                      <a:pt x="2" y="7"/>
                    </a:lnTo>
                    <a:lnTo>
                      <a:pt x="2" y="7"/>
                    </a:lnTo>
                    <a:lnTo>
                      <a:pt x="2" y="4"/>
                    </a:lnTo>
                    <a:lnTo>
                      <a:pt x="2" y="4"/>
                    </a:lnTo>
                    <a:lnTo>
                      <a:pt x="0" y="1"/>
                    </a:lnTo>
                    <a:lnTo>
                      <a:pt x="2" y="0"/>
                    </a:ln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9" name="Freeform 61">
                <a:extLst>
                  <a:ext uri="{FF2B5EF4-FFF2-40B4-BE49-F238E27FC236}">
                    <a16:creationId xmlns:a16="http://schemas.microsoft.com/office/drawing/2014/main" xmlns="" id="{F472DB4D-080C-49E0-93F5-17E506579224}"/>
                  </a:ext>
                </a:extLst>
              </p:cNvPr>
              <p:cNvSpPr>
                <a:spLocks/>
              </p:cNvSpPr>
              <p:nvPr/>
            </p:nvSpPr>
            <p:spPr bwMode="auto">
              <a:xfrm>
                <a:off x="1998694" y="6165542"/>
                <a:ext cx="36563" cy="41786"/>
              </a:xfrm>
              <a:custGeom>
                <a:avLst/>
                <a:gdLst>
                  <a:gd name="T0" fmla="*/ 6 w 21"/>
                  <a:gd name="T1" fmla="*/ 18 h 24"/>
                  <a:gd name="T2" fmla="*/ 6 w 21"/>
                  <a:gd name="T3" fmla="*/ 18 h 24"/>
                  <a:gd name="T4" fmla="*/ 8 w 21"/>
                  <a:gd name="T5" fmla="*/ 21 h 24"/>
                  <a:gd name="T6" fmla="*/ 10 w 21"/>
                  <a:gd name="T7" fmla="*/ 22 h 24"/>
                  <a:gd name="T8" fmla="*/ 10 w 21"/>
                  <a:gd name="T9" fmla="*/ 22 h 24"/>
                  <a:gd name="T10" fmla="*/ 9 w 21"/>
                  <a:gd name="T11" fmla="*/ 22 h 24"/>
                  <a:gd name="T12" fmla="*/ 9 w 21"/>
                  <a:gd name="T13" fmla="*/ 22 h 24"/>
                  <a:gd name="T14" fmla="*/ 5 w 21"/>
                  <a:gd name="T15" fmla="*/ 22 h 24"/>
                  <a:gd name="T16" fmla="*/ 2 w 21"/>
                  <a:gd name="T17" fmla="*/ 20 h 24"/>
                  <a:gd name="T18" fmla="*/ 1 w 21"/>
                  <a:gd name="T19" fmla="*/ 17 h 24"/>
                  <a:gd name="T20" fmla="*/ 0 w 21"/>
                  <a:gd name="T21" fmla="*/ 16 h 24"/>
                  <a:gd name="T22" fmla="*/ 0 w 21"/>
                  <a:gd name="T23" fmla="*/ 13 h 24"/>
                  <a:gd name="T24" fmla="*/ 0 w 21"/>
                  <a:gd name="T25" fmla="*/ 13 h 24"/>
                  <a:gd name="T26" fmla="*/ 0 w 21"/>
                  <a:gd name="T27" fmla="*/ 8 h 24"/>
                  <a:gd name="T28" fmla="*/ 1 w 21"/>
                  <a:gd name="T29" fmla="*/ 5 h 24"/>
                  <a:gd name="T30" fmla="*/ 2 w 21"/>
                  <a:gd name="T31" fmla="*/ 2 h 24"/>
                  <a:gd name="T32" fmla="*/ 2 w 21"/>
                  <a:gd name="T33" fmla="*/ 2 h 24"/>
                  <a:gd name="T34" fmla="*/ 5 w 21"/>
                  <a:gd name="T35" fmla="*/ 1 h 24"/>
                  <a:gd name="T36" fmla="*/ 9 w 21"/>
                  <a:gd name="T37" fmla="*/ 0 h 24"/>
                  <a:gd name="T38" fmla="*/ 9 w 21"/>
                  <a:gd name="T39" fmla="*/ 0 h 24"/>
                  <a:gd name="T40" fmla="*/ 10 w 21"/>
                  <a:gd name="T41" fmla="*/ 0 h 24"/>
                  <a:gd name="T42" fmla="*/ 10 w 21"/>
                  <a:gd name="T43" fmla="*/ 0 h 24"/>
                  <a:gd name="T44" fmla="*/ 10 w 21"/>
                  <a:gd name="T45" fmla="*/ 0 h 24"/>
                  <a:gd name="T46" fmla="*/ 10 w 21"/>
                  <a:gd name="T47" fmla="*/ 0 h 24"/>
                  <a:gd name="T48" fmla="*/ 13 w 21"/>
                  <a:gd name="T49" fmla="*/ 1 h 24"/>
                  <a:gd name="T50" fmla="*/ 16 w 21"/>
                  <a:gd name="T51" fmla="*/ 2 h 24"/>
                  <a:gd name="T52" fmla="*/ 18 w 21"/>
                  <a:gd name="T53" fmla="*/ 5 h 24"/>
                  <a:gd name="T54" fmla="*/ 18 w 21"/>
                  <a:gd name="T55" fmla="*/ 5 h 24"/>
                  <a:gd name="T56" fmla="*/ 18 w 21"/>
                  <a:gd name="T57" fmla="*/ 5 h 24"/>
                  <a:gd name="T58" fmla="*/ 18 w 21"/>
                  <a:gd name="T59" fmla="*/ 5 h 24"/>
                  <a:gd name="T60" fmla="*/ 17 w 21"/>
                  <a:gd name="T61" fmla="*/ 4 h 24"/>
                  <a:gd name="T62" fmla="*/ 20 w 21"/>
                  <a:gd name="T63" fmla="*/ 8 h 24"/>
                  <a:gd name="T64" fmla="*/ 20 w 21"/>
                  <a:gd name="T65" fmla="*/ 8 h 24"/>
                  <a:gd name="T66" fmla="*/ 20 w 21"/>
                  <a:gd name="T67" fmla="*/ 9 h 24"/>
                  <a:gd name="T68" fmla="*/ 20 w 21"/>
                  <a:gd name="T69" fmla="*/ 9 h 24"/>
                  <a:gd name="T70" fmla="*/ 21 w 21"/>
                  <a:gd name="T71" fmla="*/ 14 h 24"/>
                  <a:gd name="T72" fmla="*/ 21 w 21"/>
                  <a:gd name="T73" fmla="*/ 17 h 24"/>
                  <a:gd name="T74" fmla="*/ 20 w 21"/>
                  <a:gd name="T75" fmla="*/ 20 h 24"/>
                  <a:gd name="T76" fmla="*/ 20 w 21"/>
                  <a:gd name="T77" fmla="*/ 20 h 24"/>
                  <a:gd name="T78" fmla="*/ 17 w 21"/>
                  <a:gd name="T79" fmla="*/ 22 h 24"/>
                  <a:gd name="T80" fmla="*/ 13 w 21"/>
                  <a:gd name="T81" fmla="*/ 24 h 24"/>
                  <a:gd name="T82" fmla="*/ 6 w 21"/>
                  <a:gd name="T83"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24">
                    <a:moveTo>
                      <a:pt x="6" y="18"/>
                    </a:moveTo>
                    <a:lnTo>
                      <a:pt x="6" y="18"/>
                    </a:lnTo>
                    <a:lnTo>
                      <a:pt x="8" y="21"/>
                    </a:lnTo>
                    <a:lnTo>
                      <a:pt x="10" y="22"/>
                    </a:lnTo>
                    <a:lnTo>
                      <a:pt x="10" y="22"/>
                    </a:lnTo>
                    <a:lnTo>
                      <a:pt x="9" y="22"/>
                    </a:lnTo>
                    <a:lnTo>
                      <a:pt x="9" y="22"/>
                    </a:lnTo>
                    <a:lnTo>
                      <a:pt x="5" y="22"/>
                    </a:lnTo>
                    <a:lnTo>
                      <a:pt x="2" y="20"/>
                    </a:lnTo>
                    <a:lnTo>
                      <a:pt x="1" y="17"/>
                    </a:lnTo>
                    <a:lnTo>
                      <a:pt x="0" y="16"/>
                    </a:lnTo>
                    <a:lnTo>
                      <a:pt x="0" y="13"/>
                    </a:lnTo>
                    <a:lnTo>
                      <a:pt x="0" y="13"/>
                    </a:lnTo>
                    <a:lnTo>
                      <a:pt x="0" y="8"/>
                    </a:lnTo>
                    <a:lnTo>
                      <a:pt x="1" y="5"/>
                    </a:lnTo>
                    <a:lnTo>
                      <a:pt x="2" y="2"/>
                    </a:lnTo>
                    <a:lnTo>
                      <a:pt x="2" y="2"/>
                    </a:lnTo>
                    <a:lnTo>
                      <a:pt x="5" y="1"/>
                    </a:lnTo>
                    <a:lnTo>
                      <a:pt x="9" y="0"/>
                    </a:lnTo>
                    <a:lnTo>
                      <a:pt x="9" y="0"/>
                    </a:lnTo>
                    <a:lnTo>
                      <a:pt x="10" y="0"/>
                    </a:lnTo>
                    <a:lnTo>
                      <a:pt x="10" y="0"/>
                    </a:lnTo>
                    <a:lnTo>
                      <a:pt x="10" y="0"/>
                    </a:lnTo>
                    <a:lnTo>
                      <a:pt x="10" y="0"/>
                    </a:lnTo>
                    <a:lnTo>
                      <a:pt x="13" y="1"/>
                    </a:lnTo>
                    <a:lnTo>
                      <a:pt x="16" y="2"/>
                    </a:lnTo>
                    <a:lnTo>
                      <a:pt x="18" y="5"/>
                    </a:lnTo>
                    <a:lnTo>
                      <a:pt x="18" y="5"/>
                    </a:lnTo>
                    <a:lnTo>
                      <a:pt x="18" y="5"/>
                    </a:lnTo>
                    <a:lnTo>
                      <a:pt x="18" y="5"/>
                    </a:lnTo>
                    <a:lnTo>
                      <a:pt x="17" y="4"/>
                    </a:lnTo>
                    <a:lnTo>
                      <a:pt x="20" y="8"/>
                    </a:lnTo>
                    <a:lnTo>
                      <a:pt x="20" y="8"/>
                    </a:lnTo>
                    <a:lnTo>
                      <a:pt x="20" y="9"/>
                    </a:lnTo>
                    <a:lnTo>
                      <a:pt x="20" y="9"/>
                    </a:lnTo>
                    <a:lnTo>
                      <a:pt x="21" y="14"/>
                    </a:lnTo>
                    <a:lnTo>
                      <a:pt x="21" y="17"/>
                    </a:lnTo>
                    <a:lnTo>
                      <a:pt x="20" y="20"/>
                    </a:lnTo>
                    <a:lnTo>
                      <a:pt x="20" y="20"/>
                    </a:lnTo>
                    <a:lnTo>
                      <a:pt x="17" y="22"/>
                    </a:lnTo>
                    <a:lnTo>
                      <a:pt x="13" y="24"/>
                    </a:lnTo>
                    <a:lnTo>
                      <a:pt x="6" y="18"/>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0" name="Freeform 62">
                <a:extLst>
                  <a:ext uri="{FF2B5EF4-FFF2-40B4-BE49-F238E27FC236}">
                    <a16:creationId xmlns:a16="http://schemas.microsoft.com/office/drawing/2014/main" xmlns="" id="{3BCA192D-7144-4B31-93F1-75A67E42585F}"/>
                  </a:ext>
                </a:extLst>
              </p:cNvPr>
              <p:cNvSpPr>
                <a:spLocks/>
              </p:cNvSpPr>
              <p:nvPr/>
            </p:nvSpPr>
            <p:spPr bwMode="auto">
              <a:xfrm>
                <a:off x="1873359" y="5993182"/>
                <a:ext cx="38304" cy="33081"/>
              </a:xfrm>
              <a:custGeom>
                <a:avLst/>
                <a:gdLst>
                  <a:gd name="T0" fmla="*/ 11 w 22"/>
                  <a:gd name="T1" fmla="*/ 19 h 19"/>
                  <a:gd name="T2" fmla="*/ 11 w 22"/>
                  <a:gd name="T3" fmla="*/ 19 h 19"/>
                  <a:gd name="T4" fmla="*/ 8 w 22"/>
                  <a:gd name="T5" fmla="*/ 18 h 19"/>
                  <a:gd name="T6" fmla="*/ 7 w 22"/>
                  <a:gd name="T7" fmla="*/ 17 h 19"/>
                  <a:gd name="T8" fmla="*/ 7 w 22"/>
                  <a:gd name="T9" fmla="*/ 17 h 19"/>
                  <a:gd name="T10" fmla="*/ 8 w 22"/>
                  <a:gd name="T11" fmla="*/ 17 h 19"/>
                  <a:gd name="T12" fmla="*/ 8 w 22"/>
                  <a:gd name="T13" fmla="*/ 17 h 19"/>
                  <a:gd name="T14" fmla="*/ 4 w 22"/>
                  <a:gd name="T15" fmla="*/ 13 h 19"/>
                  <a:gd name="T16" fmla="*/ 4 w 22"/>
                  <a:gd name="T17" fmla="*/ 13 h 19"/>
                  <a:gd name="T18" fmla="*/ 4 w 22"/>
                  <a:gd name="T19" fmla="*/ 13 h 19"/>
                  <a:gd name="T20" fmla="*/ 4 w 22"/>
                  <a:gd name="T21" fmla="*/ 13 h 19"/>
                  <a:gd name="T22" fmla="*/ 3 w 22"/>
                  <a:gd name="T23" fmla="*/ 13 h 19"/>
                  <a:gd name="T24" fmla="*/ 3 w 22"/>
                  <a:gd name="T25" fmla="*/ 13 h 19"/>
                  <a:gd name="T26" fmla="*/ 4 w 22"/>
                  <a:gd name="T27" fmla="*/ 14 h 19"/>
                  <a:gd name="T28" fmla="*/ 4 w 22"/>
                  <a:gd name="T29" fmla="*/ 14 h 19"/>
                  <a:gd name="T30" fmla="*/ 3 w 22"/>
                  <a:gd name="T31" fmla="*/ 14 h 19"/>
                  <a:gd name="T32" fmla="*/ 0 w 22"/>
                  <a:gd name="T33" fmla="*/ 9 h 19"/>
                  <a:gd name="T34" fmla="*/ 0 w 22"/>
                  <a:gd name="T35" fmla="*/ 5 h 19"/>
                  <a:gd name="T36" fmla="*/ 6 w 22"/>
                  <a:gd name="T37" fmla="*/ 0 h 19"/>
                  <a:gd name="T38" fmla="*/ 10 w 22"/>
                  <a:gd name="T39" fmla="*/ 0 h 19"/>
                  <a:gd name="T40" fmla="*/ 16 w 22"/>
                  <a:gd name="T41" fmla="*/ 5 h 19"/>
                  <a:gd name="T42" fmla="*/ 16 w 22"/>
                  <a:gd name="T43" fmla="*/ 5 h 19"/>
                  <a:gd name="T44" fmla="*/ 15 w 22"/>
                  <a:gd name="T45" fmla="*/ 2 h 19"/>
                  <a:gd name="T46" fmla="*/ 12 w 22"/>
                  <a:gd name="T47" fmla="*/ 1 h 19"/>
                  <a:gd name="T48" fmla="*/ 12 w 22"/>
                  <a:gd name="T49" fmla="*/ 1 h 19"/>
                  <a:gd name="T50" fmla="*/ 12 w 22"/>
                  <a:gd name="T51" fmla="*/ 1 h 19"/>
                  <a:gd name="T52" fmla="*/ 16 w 22"/>
                  <a:gd name="T53" fmla="*/ 1 h 19"/>
                  <a:gd name="T54" fmla="*/ 19 w 22"/>
                  <a:gd name="T55" fmla="*/ 2 h 19"/>
                  <a:gd name="T56" fmla="*/ 20 w 22"/>
                  <a:gd name="T57" fmla="*/ 5 h 19"/>
                  <a:gd name="T58" fmla="*/ 20 w 22"/>
                  <a:gd name="T59" fmla="*/ 6 h 19"/>
                  <a:gd name="T60" fmla="*/ 20 w 22"/>
                  <a:gd name="T61" fmla="*/ 6 h 19"/>
                  <a:gd name="T62" fmla="*/ 20 w 22"/>
                  <a:gd name="T63" fmla="*/ 5 h 19"/>
                  <a:gd name="T64" fmla="*/ 20 w 22"/>
                  <a:gd name="T65" fmla="*/ 5 h 19"/>
                  <a:gd name="T66" fmla="*/ 18 w 22"/>
                  <a:gd name="T67" fmla="*/ 4 h 19"/>
                  <a:gd name="T68" fmla="*/ 16 w 22"/>
                  <a:gd name="T69" fmla="*/ 4 h 19"/>
                  <a:gd name="T70" fmla="*/ 20 w 22"/>
                  <a:gd name="T71" fmla="*/ 8 h 19"/>
                  <a:gd name="T72" fmla="*/ 20 w 22"/>
                  <a:gd name="T73" fmla="*/ 9 h 19"/>
                  <a:gd name="T74" fmla="*/ 20 w 22"/>
                  <a:gd name="T75" fmla="*/ 9 h 19"/>
                  <a:gd name="T76" fmla="*/ 20 w 22"/>
                  <a:gd name="T77" fmla="*/ 8 h 19"/>
                  <a:gd name="T78" fmla="*/ 22 w 22"/>
                  <a:gd name="T79" fmla="*/ 9 h 19"/>
                  <a:gd name="T80" fmla="*/ 22 w 22"/>
                  <a:gd name="T81" fmla="*/ 10 h 19"/>
                  <a:gd name="T82" fmla="*/ 18 w 22"/>
                  <a:gd name="T83" fmla="*/ 15 h 19"/>
                  <a:gd name="T84" fmla="*/ 18 w 22"/>
                  <a:gd name="T85" fmla="*/ 15 h 19"/>
                  <a:gd name="T86" fmla="*/ 19 w 22"/>
                  <a:gd name="T87" fmla="*/ 15 h 19"/>
                  <a:gd name="T88" fmla="*/ 19 w 22"/>
                  <a:gd name="T89" fmla="*/ 15 h 19"/>
                  <a:gd name="T90" fmla="*/ 16 w 22"/>
                  <a:gd name="T91" fmla="*/ 18 h 19"/>
                  <a:gd name="T92" fmla="*/ 11 w 22"/>
                  <a:gd name="T93" fmla="*/ 19 h 19"/>
                  <a:gd name="T94" fmla="*/ 11 w 22"/>
                  <a:gd name="T9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19">
                    <a:moveTo>
                      <a:pt x="11" y="19"/>
                    </a:moveTo>
                    <a:lnTo>
                      <a:pt x="11" y="19"/>
                    </a:lnTo>
                    <a:lnTo>
                      <a:pt x="8" y="18"/>
                    </a:lnTo>
                    <a:lnTo>
                      <a:pt x="7" y="17"/>
                    </a:lnTo>
                    <a:lnTo>
                      <a:pt x="7" y="17"/>
                    </a:lnTo>
                    <a:lnTo>
                      <a:pt x="8" y="17"/>
                    </a:lnTo>
                    <a:lnTo>
                      <a:pt x="8" y="17"/>
                    </a:lnTo>
                    <a:lnTo>
                      <a:pt x="4" y="13"/>
                    </a:lnTo>
                    <a:lnTo>
                      <a:pt x="4" y="13"/>
                    </a:lnTo>
                    <a:lnTo>
                      <a:pt x="4" y="13"/>
                    </a:lnTo>
                    <a:lnTo>
                      <a:pt x="4" y="13"/>
                    </a:lnTo>
                    <a:lnTo>
                      <a:pt x="3" y="13"/>
                    </a:lnTo>
                    <a:lnTo>
                      <a:pt x="3" y="13"/>
                    </a:lnTo>
                    <a:lnTo>
                      <a:pt x="4" y="14"/>
                    </a:lnTo>
                    <a:lnTo>
                      <a:pt x="4" y="14"/>
                    </a:lnTo>
                    <a:lnTo>
                      <a:pt x="3" y="14"/>
                    </a:lnTo>
                    <a:lnTo>
                      <a:pt x="0" y="9"/>
                    </a:lnTo>
                    <a:lnTo>
                      <a:pt x="0" y="5"/>
                    </a:lnTo>
                    <a:lnTo>
                      <a:pt x="6" y="0"/>
                    </a:lnTo>
                    <a:lnTo>
                      <a:pt x="10" y="0"/>
                    </a:lnTo>
                    <a:lnTo>
                      <a:pt x="16" y="5"/>
                    </a:lnTo>
                    <a:lnTo>
                      <a:pt x="16" y="5"/>
                    </a:lnTo>
                    <a:lnTo>
                      <a:pt x="15" y="2"/>
                    </a:lnTo>
                    <a:lnTo>
                      <a:pt x="12" y="1"/>
                    </a:lnTo>
                    <a:lnTo>
                      <a:pt x="12" y="1"/>
                    </a:lnTo>
                    <a:lnTo>
                      <a:pt x="12" y="1"/>
                    </a:lnTo>
                    <a:lnTo>
                      <a:pt x="16" y="1"/>
                    </a:lnTo>
                    <a:lnTo>
                      <a:pt x="19" y="2"/>
                    </a:lnTo>
                    <a:lnTo>
                      <a:pt x="20" y="5"/>
                    </a:lnTo>
                    <a:lnTo>
                      <a:pt x="20" y="6"/>
                    </a:lnTo>
                    <a:lnTo>
                      <a:pt x="20" y="6"/>
                    </a:lnTo>
                    <a:lnTo>
                      <a:pt x="20" y="5"/>
                    </a:lnTo>
                    <a:lnTo>
                      <a:pt x="20" y="5"/>
                    </a:lnTo>
                    <a:lnTo>
                      <a:pt x="18" y="4"/>
                    </a:lnTo>
                    <a:lnTo>
                      <a:pt x="16" y="4"/>
                    </a:lnTo>
                    <a:lnTo>
                      <a:pt x="20" y="8"/>
                    </a:lnTo>
                    <a:lnTo>
                      <a:pt x="20" y="9"/>
                    </a:lnTo>
                    <a:lnTo>
                      <a:pt x="20" y="9"/>
                    </a:lnTo>
                    <a:lnTo>
                      <a:pt x="20" y="8"/>
                    </a:lnTo>
                    <a:lnTo>
                      <a:pt x="22" y="9"/>
                    </a:lnTo>
                    <a:lnTo>
                      <a:pt x="22" y="10"/>
                    </a:lnTo>
                    <a:lnTo>
                      <a:pt x="18" y="15"/>
                    </a:lnTo>
                    <a:lnTo>
                      <a:pt x="18" y="15"/>
                    </a:lnTo>
                    <a:lnTo>
                      <a:pt x="19" y="15"/>
                    </a:lnTo>
                    <a:lnTo>
                      <a:pt x="19" y="15"/>
                    </a:lnTo>
                    <a:lnTo>
                      <a:pt x="16" y="18"/>
                    </a:lnTo>
                    <a:lnTo>
                      <a:pt x="11" y="19"/>
                    </a:lnTo>
                    <a:lnTo>
                      <a:pt x="11" y="19"/>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6" name="Group 25">
              <a:extLst>
                <a:ext uri="{FF2B5EF4-FFF2-40B4-BE49-F238E27FC236}">
                  <a16:creationId xmlns:a16="http://schemas.microsoft.com/office/drawing/2014/main" xmlns="" id="{46FFF572-1DD0-4003-9712-66C5C988EDB6}"/>
                </a:ext>
              </a:extLst>
            </p:cNvPr>
            <p:cNvGrpSpPr/>
            <p:nvPr/>
          </p:nvGrpSpPr>
          <p:grpSpPr>
            <a:xfrm>
              <a:off x="3664135" y="2849038"/>
              <a:ext cx="2928296" cy="2917984"/>
              <a:chOff x="1075924" y="1840727"/>
              <a:chExt cx="3830363" cy="3900003"/>
            </a:xfrm>
            <a:solidFill>
              <a:srgbClr val="50575F">
                <a:alpha val="34118"/>
              </a:srgbClr>
            </a:solidFill>
          </p:grpSpPr>
          <p:sp>
            <p:nvSpPr>
              <p:cNvPr id="36" name="Freeform 14">
                <a:extLst>
                  <a:ext uri="{FF2B5EF4-FFF2-40B4-BE49-F238E27FC236}">
                    <a16:creationId xmlns:a16="http://schemas.microsoft.com/office/drawing/2014/main" xmlns="" id="{06FD1B5E-6809-4C34-B8D1-A7E7D0644EA1}"/>
                  </a:ext>
                </a:extLst>
              </p:cNvPr>
              <p:cNvSpPr>
                <a:spLocks/>
              </p:cNvSpPr>
              <p:nvPr/>
            </p:nvSpPr>
            <p:spPr bwMode="auto">
              <a:xfrm>
                <a:off x="2373025" y="1840727"/>
                <a:ext cx="1847280" cy="2498441"/>
              </a:xfrm>
              <a:custGeom>
                <a:avLst/>
                <a:gdLst>
                  <a:gd name="T0" fmla="*/ 439 w 1061"/>
                  <a:gd name="T1" fmla="*/ 1434 h 1435"/>
                  <a:gd name="T2" fmla="*/ 425 w 1061"/>
                  <a:gd name="T3" fmla="*/ 1359 h 1435"/>
                  <a:gd name="T4" fmla="*/ 393 w 1061"/>
                  <a:gd name="T5" fmla="*/ 1345 h 1435"/>
                  <a:gd name="T6" fmla="*/ 320 w 1061"/>
                  <a:gd name="T7" fmla="*/ 1421 h 1435"/>
                  <a:gd name="T8" fmla="*/ 279 w 1061"/>
                  <a:gd name="T9" fmla="*/ 1392 h 1435"/>
                  <a:gd name="T10" fmla="*/ 283 w 1061"/>
                  <a:gd name="T11" fmla="*/ 1335 h 1435"/>
                  <a:gd name="T12" fmla="*/ 201 w 1061"/>
                  <a:gd name="T13" fmla="*/ 1332 h 1435"/>
                  <a:gd name="T14" fmla="*/ 170 w 1061"/>
                  <a:gd name="T15" fmla="*/ 1347 h 1435"/>
                  <a:gd name="T16" fmla="*/ 137 w 1061"/>
                  <a:gd name="T17" fmla="*/ 1398 h 1435"/>
                  <a:gd name="T18" fmla="*/ 66 w 1061"/>
                  <a:gd name="T19" fmla="*/ 1380 h 1435"/>
                  <a:gd name="T20" fmla="*/ 32 w 1061"/>
                  <a:gd name="T21" fmla="*/ 1349 h 1435"/>
                  <a:gd name="T22" fmla="*/ 66 w 1061"/>
                  <a:gd name="T23" fmla="*/ 1319 h 1435"/>
                  <a:gd name="T24" fmla="*/ 47 w 1061"/>
                  <a:gd name="T25" fmla="*/ 1263 h 1435"/>
                  <a:gd name="T26" fmla="*/ 21 w 1061"/>
                  <a:gd name="T27" fmla="*/ 1216 h 1435"/>
                  <a:gd name="T28" fmla="*/ 61 w 1061"/>
                  <a:gd name="T29" fmla="*/ 1131 h 1435"/>
                  <a:gd name="T30" fmla="*/ 3 w 1061"/>
                  <a:gd name="T31" fmla="*/ 1047 h 1435"/>
                  <a:gd name="T32" fmla="*/ 55 w 1061"/>
                  <a:gd name="T33" fmla="*/ 1019 h 1435"/>
                  <a:gd name="T34" fmla="*/ 113 w 1061"/>
                  <a:gd name="T35" fmla="*/ 999 h 1435"/>
                  <a:gd name="T36" fmla="*/ 106 w 1061"/>
                  <a:gd name="T37" fmla="*/ 826 h 1435"/>
                  <a:gd name="T38" fmla="*/ 97 w 1061"/>
                  <a:gd name="T39" fmla="*/ 606 h 1435"/>
                  <a:gd name="T40" fmla="*/ 90 w 1061"/>
                  <a:gd name="T41" fmla="*/ 397 h 1435"/>
                  <a:gd name="T42" fmla="*/ 81 w 1061"/>
                  <a:gd name="T43" fmla="*/ 175 h 1435"/>
                  <a:gd name="T44" fmla="*/ 82 w 1061"/>
                  <a:gd name="T45" fmla="*/ 0 h 1435"/>
                  <a:gd name="T46" fmla="*/ 156 w 1061"/>
                  <a:gd name="T47" fmla="*/ 52 h 1435"/>
                  <a:gd name="T48" fmla="*/ 200 w 1061"/>
                  <a:gd name="T49" fmla="*/ 117 h 1435"/>
                  <a:gd name="T50" fmla="*/ 228 w 1061"/>
                  <a:gd name="T51" fmla="*/ 163 h 1435"/>
                  <a:gd name="T52" fmla="*/ 244 w 1061"/>
                  <a:gd name="T53" fmla="*/ 199 h 1435"/>
                  <a:gd name="T54" fmla="*/ 271 w 1061"/>
                  <a:gd name="T55" fmla="*/ 260 h 1435"/>
                  <a:gd name="T56" fmla="*/ 298 w 1061"/>
                  <a:gd name="T57" fmla="*/ 321 h 1435"/>
                  <a:gd name="T58" fmla="*/ 295 w 1061"/>
                  <a:gd name="T59" fmla="*/ 395 h 1435"/>
                  <a:gd name="T60" fmla="*/ 249 w 1061"/>
                  <a:gd name="T61" fmla="*/ 454 h 1435"/>
                  <a:gd name="T62" fmla="*/ 257 w 1061"/>
                  <a:gd name="T63" fmla="*/ 544 h 1435"/>
                  <a:gd name="T64" fmla="*/ 331 w 1061"/>
                  <a:gd name="T65" fmla="*/ 550 h 1435"/>
                  <a:gd name="T66" fmla="*/ 381 w 1061"/>
                  <a:gd name="T67" fmla="*/ 571 h 1435"/>
                  <a:gd name="T68" fmla="*/ 418 w 1061"/>
                  <a:gd name="T69" fmla="*/ 559 h 1435"/>
                  <a:gd name="T70" fmla="*/ 464 w 1061"/>
                  <a:gd name="T71" fmla="*/ 555 h 1435"/>
                  <a:gd name="T72" fmla="*/ 552 w 1061"/>
                  <a:gd name="T73" fmla="*/ 543 h 1435"/>
                  <a:gd name="T74" fmla="*/ 606 w 1061"/>
                  <a:gd name="T75" fmla="*/ 620 h 1435"/>
                  <a:gd name="T76" fmla="*/ 660 w 1061"/>
                  <a:gd name="T77" fmla="*/ 608 h 1435"/>
                  <a:gd name="T78" fmla="*/ 689 w 1061"/>
                  <a:gd name="T79" fmla="*/ 666 h 1435"/>
                  <a:gd name="T80" fmla="*/ 758 w 1061"/>
                  <a:gd name="T81" fmla="*/ 659 h 1435"/>
                  <a:gd name="T82" fmla="*/ 772 w 1061"/>
                  <a:gd name="T83" fmla="*/ 727 h 1435"/>
                  <a:gd name="T84" fmla="*/ 786 w 1061"/>
                  <a:gd name="T85" fmla="*/ 827 h 1435"/>
                  <a:gd name="T86" fmla="*/ 757 w 1061"/>
                  <a:gd name="T87" fmla="*/ 854 h 1435"/>
                  <a:gd name="T88" fmla="*/ 864 w 1061"/>
                  <a:gd name="T89" fmla="*/ 836 h 1435"/>
                  <a:gd name="T90" fmla="*/ 881 w 1061"/>
                  <a:gd name="T91" fmla="*/ 852 h 1435"/>
                  <a:gd name="T92" fmla="*/ 951 w 1061"/>
                  <a:gd name="T93" fmla="*/ 850 h 1435"/>
                  <a:gd name="T94" fmla="*/ 989 w 1061"/>
                  <a:gd name="T95" fmla="*/ 838 h 1435"/>
                  <a:gd name="T96" fmla="*/ 1036 w 1061"/>
                  <a:gd name="T97" fmla="*/ 862 h 1435"/>
                  <a:gd name="T98" fmla="*/ 1057 w 1061"/>
                  <a:gd name="T99" fmla="*/ 914 h 1435"/>
                  <a:gd name="T100" fmla="*/ 1045 w 1061"/>
                  <a:gd name="T101" fmla="*/ 953 h 1435"/>
                  <a:gd name="T102" fmla="*/ 999 w 1061"/>
                  <a:gd name="T103" fmla="*/ 1076 h 1435"/>
                  <a:gd name="T104" fmla="*/ 932 w 1061"/>
                  <a:gd name="T105" fmla="*/ 1045 h 1435"/>
                  <a:gd name="T106" fmla="*/ 868 w 1061"/>
                  <a:gd name="T107" fmla="*/ 1035 h 1435"/>
                  <a:gd name="T108" fmla="*/ 828 w 1061"/>
                  <a:gd name="T109" fmla="*/ 1024 h 1435"/>
                  <a:gd name="T110" fmla="*/ 747 w 1061"/>
                  <a:gd name="T111" fmla="*/ 1007 h 1435"/>
                  <a:gd name="T112" fmla="*/ 627 w 1061"/>
                  <a:gd name="T113" fmla="*/ 1111 h 1435"/>
                  <a:gd name="T114" fmla="*/ 599 w 1061"/>
                  <a:gd name="T115" fmla="*/ 1140 h 1435"/>
                  <a:gd name="T116" fmla="*/ 585 w 1061"/>
                  <a:gd name="T117" fmla="*/ 1244 h 1435"/>
                  <a:gd name="T118" fmla="*/ 562 w 1061"/>
                  <a:gd name="T119" fmla="*/ 1306 h 1435"/>
                  <a:gd name="T120" fmla="*/ 548 w 1061"/>
                  <a:gd name="T121" fmla="*/ 1363 h 1435"/>
                  <a:gd name="T122" fmla="*/ 612 w 1061"/>
                  <a:gd name="T123" fmla="*/ 1410 h 1435"/>
                  <a:gd name="T124" fmla="*/ 560 w 1061"/>
                  <a:gd name="T125" fmla="*/ 14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1" h="1435">
                    <a:moveTo>
                      <a:pt x="500" y="1435"/>
                    </a:moveTo>
                    <a:lnTo>
                      <a:pt x="496" y="1431"/>
                    </a:lnTo>
                    <a:lnTo>
                      <a:pt x="496" y="1433"/>
                    </a:lnTo>
                    <a:lnTo>
                      <a:pt x="496" y="1433"/>
                    </a:lnTo>
                    <a:lnTo>
                      <a:pt x="499" y="1434"/>
                    </a:lnTo>
                    <a:lnTo>
                      <a:pt x="497" y="1434"/>
                    </a:lnTo>
                    <a:lnTo>
                      <a:pt x="497" y="1434"/>
                    </a:lnTo>
                    <a:lnTo>
                      <a:pt x="495" y="1434"/>
                    </a:lnTo>
                    <a:lnTo>
                      <a:pt x="495" y="1434"/>
                    </a:lnTo>
                    <a:lnTo>
                      <a:pt x="490" y="1431"/>
                    </a:lnTo>
                    <a:lnTo>
                      <a:pt x="490" y="1431"/>
                    </a:lnTo>
                    <a:lnTo>
                      <a:pt x="487" y="1430"/>
                    </a:lnTo>
                    <a:lnTo>
                      <a:pt x="487" y="1430"/>
                    </a:lnTo>
                    <a:lnTo>
                      <a:pt x="482" y="1427"/>
                    </a:lnTo>
                    <a:lnTo>
                      <a:pt x="483" y="1427"/>
                    </a:lnTo>
                    <a:lnTo>
                      <a:pt x="479" y="1425"/>
                    </a:lnTo>
                    <a:lnTo>
                      <a:pt x="479" y="1425"/>
                    </a:lnTo>
                    <a:lnTo>
                      <a:pt x="479" y="1425"/>
                    </a:lnTo>
                    <a:lnTo>
                      <a:pt x="479" y="1425"/>
                    </a:lnTo>
                    <a:lnTo>
                      <a:pt x="480" y="1426"/>
                    </a:lnTo>
                    <a:lnTo>
                      <a:pt x="480" y="1426"/>
                    </a:lnTo>
                    <a:lnTo>
                      <a:pt x="479" y="1426"/>
                    </a:lnTo>
                    <a:lnTo>
                      <a:pt x="479" y="1426"/>
                    </a:lnTo>
                    <a:lnTo>
                      <a:pt x="476" y="1425"/>
                    </a:lnTo>
                    <a:lnTo>
                      <a:pt x="474" y="1423"/>
                    </a:lnTo>
                    <a:lnTo>
                      <a:pt x="474" y="1423"/>
                    </a:lnTo>
                    <a:lnTo>
                      <a:pt x="472" y="1422"/>
                    </a:lnTo>
                    <a:lnTo>
                      <a:pt x="472" y="1422"/>
                    </a:lnTo>
                    <a:lnTo>
                      <a:pt x="468" y="1423"/>
                    </a:lnTo>
                    <a:lnTo>
                      <a:pt x="466" y="1426"/>
                    </a:lnTo>
                    <a:lnTo>
                      <a:pt x="466" y="1426"/>
                    </a:lnTo>
                    <a:lnTo>
                      <a:pt x="460" y="1429"/>
                    </a:lnTo>
                    <a:lnTo>
                      <a:pt x="456" y="1431"/>
                    </a:lnTo>
                    <a:lnTo>
                      <a:pt x="456" y="1431"/>
                    </a:lnTo>
                    <a:lnTo>
                      <a:pt x="453" y="1433"/>
                    </a:lnTo>
                    <a:lnTo>
                      <a:pt x="450" y="1433"/>
                    </a:lnTo>
                    <a:lnTo>
                      <a:pt x="450" y="1433"/>
                    </a:lnTo>
                    <a:lnTo>
                      <a:pt x="447" y="1433"/>
                    </a:lnTo>
                    <a:lnTo>
                      <a:pt x="445" y="1433"/>
                    </a:lnTo>
                    <a:lnTo>
                      <a:pt x="445" y="1433"/>
                    </a:lnTo>
                    <a:lnTo>
                      <a:pt x="447" y="1431"/>
                    </a:lnTo>
                    <a:lnTo>
                      <a:pt x="447" y="1430"/>
                    </a:lnTo>
                    <a:lnTo>
                      <a:pt x="442" y="1434"/>
                    </a:lnTo>
                    <a:lnTo>
                      <a:pt x="441" y="1434"/>
                    </a:lnTo>
                    <a:lnTo>
                      <a:pt x="439" y="1434"/>
                    </a:lnTo>
                    <a:lnTo>
                      <a:pt x="439" y="1434"/>
                    </a:lnTo>
                    <a:lnTo>
                      <a:pt x="437" y="1433"/>
                    </a:lnTo>
                    <a:lnTo>
                      <a:pt x="435" y="1431"/>
                    </a:lnTo>
                    <a:lnTo>
                      <a:pt x="434" y="1429"/>
                    </a:lnTo>
                    <a:lnTo>
                      <a:pt x="434" y="1429"/>
                    </a:lnTo>
                    <a:lnTo>
                      <a:pt x="434" y="1426"/>
                    </a:lnTo>
                    <a:lnTo>
                      <a:pt x="434" y="1423"/>
                    </a:lnTo>
                    <a:lnTo>
                      <a:pt x="438" y="1419"/>
                    </a:lnTo>
                    <a:lnTo>
                      <a:pt x="438" y="1419"/>
                    </a:lnTo>
                    <a:lnTo>
                      <a:pt x="439" y="1418"/>
                    </a:lnTo>
                    <a:lnTo>
                      <a:pt x="439" y="1418"/>
                    </a:lnTo>
                    <a:lnTo>
                      <a:pt x="439" y="1418"/>
                    </a:lnTo>
                    <a:lnTo>
                      <a:pt x="437" y="1414"/>
                    </a:lnTo>
                    <a:lnTo>
                      <a:pt x="433" y="1412"/>
                    </a:lnTo>
                    <a:lnTo>
                      <a:pt x="433" y="1412"/>
                    </a:lnTo>
                    <a:lnTo>
                      <a:pt x="426" y="1406"/>
                    </a:lnTo>
                    <a:lnTo>
                      <a:pt x="423" y="1405"/>
                    </a:lnTo>
                    <a:lnTo>
                      <a:pt x="423" y="1405"/>
                    </a:lnTo>
                    <a:lnTo>
                      <a:pt x="421" y="1402"/>
                    </a:lnTo>
                    <a:lnTo>
                      <a:pt x="415" y="1400"/>
                    </a:lnTo>
                    <a:lnTo>
                      <a:pt x="415" y="1400"/>
                    </a:lnTo>
                    <a:lnTo>
                      <a:pt x="409" y="1394"/>
                    </a:lnTo>
                    <a:lnTo>
                      <a:pt x="410" y="1394"/>
                    </a:lnTo>
                    <a:lnTo>
                      <a:pt x="406" y="1392"/>
                    </a:lnTo>
                    <a:lnTo>
                      <a:pt x="406" y="1392"/>
                    </a:lnTo>
                    <a:lnTo>
                      <a:pt x="406" y="1388"/>
                    </a:lnTo>
                    <a:lnTo>
                      <a:pt x="406" y="1385"/>
                    </a:lnTo>
                    <a:lnTo>
                      <a:pt x="409" y="1381"/>
                    </a:lnTo>
                    <a:lnTo>
                      <a:pt x="409" y="1381"/>
                    </a:lnTo>
                    <a:lnTo>
                      <a:pt x="409" y="1381"/>
                    </a:lnTo>
                    <a:lnTo>
                      <a:pt x="409" y="1381"/>
                    </a:lnTo>
                    <a:lnTo>
                      <a:pt x="409" y="1382"/>
                    </a:lnTo>
                    <a:lnTo>
                      <a:pt x="413" y="1377"/>
                    </a:lnTo>
                    <a:lnTo>
                      <a:pt x="413" y="1377"/>
                    </a:lnTo>
                    <a:lnTo>
                      <a:pt x="414" y="1375"/>
                    </a:lnTo>
                    <a:lnTo>
                      <a:pt x="414" y="1375"/>
                    </a:lnTo>
                    <a:lnTo>
                      <a:pt x="417" y="1371"/>
                    </a:lnTo>
                    <a:lnTo>
                      <a:pt x="417" y="1371"/>
                    </a:lnTo>
                    <a:lnTo>
                      <a:pt x="418" y="1368"/>
                    </a:lnTo>
                    <a:lnTo>
                      <a:pt x="418" y="1368"/>
                    </a:lnTo>
                    <a:lnTo>
                      <a:pt x="419" y="1365"/>
                    </a:lnTo>
                    <a:lnTo>
                      <a:pt x="419" y="1365"/>
                    </a:lnTo>
                    <a:lnTo>
                      <a:pt x="422" y="1361"/>
                    </a:lnTo>
                    <a:lnTo>
                      <a:pt x="423" y="1363"/>
                    </a:lnTo>
                    <a:lnTo>
                      <a:pt x="425" y="1359"/>
                    </a:lnTo>
                    <a:lnTo>
                      <a:pt x="425" y="1359"/>
                    </a:lnTo>
                    <a:lnTo>
                      <a:pt x="426" y="1357"/>
                    </a:lnTo>
                    <a:lnTo>
                      <a:pt x="426" y="1357"/>
                    </a:lnTo>
                    <a:lnTo>
                      <a:pt x="427" y="1355"/>
                    </a:lnTo>
                    <a:lnTo>
                      <a:pt x="427" y="1355"/>
                    </a:lnTo>
                    <a:lnTo>
                      <a:pt x="429" y="1352"/>
                    </a:lnTo>
                    <a:lnTo>
                      <a:pt x="429" y="1352"/>
                    </a:lnTo>
                    <a:lnTo>
                      <a:pt x="429" y="1352"/>
                    </a:lnTo>
                    <a:lnTo>
                      <a:pt x="429" y="1351"/>
                    </a:lnTo>
                    <a:lnTo>
                      <a:pt x="429" y="1351"/>
                    </a:lnTo>
                    <a:lnTo>
                      <a:pt x="429" y="1351"/>
                    </a:lnTo>
                    <a:lnTo>
                      <a:pt x="429" y="1352"/>
                    </a:lnTo>
                    <a:lnTo>
                      <a:pt x="435" y="1347"/>
                    </a:lnTo>
                    <a:lnTo>
                      <a:pt x="435" y="1345"/>
                    </a:lnTo>
                    <a:lnTo>
                      <a:pt x="435" y="1345"/>
                    </a:lnTo>
                    <a:lnTo>
                      <a:pt x="433" y="1347"/>
                    </a:lnTo>
                    <a:lnTo>
                      <a:pt x="431" y="1348"/>
                    </a:lnTo>
                    <a:lnTo>
                      <a:pt x="433" y="1345"/>
                    </a:lnTo>
                    <a:lnTo>
                      <a:pt x="433" y="1345"/>
                    </a:lnTo>
                    <a:lnTo>
                      <a:pt x="431" y="1347"/>
                    </a:lnTo>
                    <a:lnTo>
                      <a:pt x="431" y="1347"/>
                    </a:lnTo>
                    <a:lnTo>
                      <a:pt x="431" y="1344"/>
                    </a:lnTo>
                    <a:lnTo>
                      <a:pt x="431" y="1340"/>
                    </a:lnTo>
                    <a:lnTo>
                      <a:pt x="431" y="1340"/>
                    </a:lnTo>
                    <a:lnTo>
                      <a:pt x="433" y="1341"/>
                    </a:lnTo>
                    <a:lnTo>
                      <a:pt x="430" y="1339"/>
                    </a:lnTo>
                    <a:lnTo>
                      <a:pt x="430" y="1339"/>
                    </a:lnTo>
                    <a:lnTo>
                      <a:pt x="427" y="1336"/>
                    </a:lnTo>
                    <a:lnTo>
                      <a:pt x="427" y="1336"/>
                    </a:lnTo>
                    <a:lnTo>
                      <a:pt x="423" y="1334"/>
                    </a:lnTo>
                    <a:lnTo>
                      <a:pt x="421" y="1331"/>
                    </a:lnTo>
                    <a:lnTo>
                      <a:pt x="421" y="1331"/>
                    </a:lnTo>
                    <a:lnTo>
                      <a:pt x="419" y="1330"/>
                    </a:lnTo>
                    <a:lnTo>
                      <a:pt x="419" y="1330"/>
                    </a:lnTo>
                    <a:lnTo>
                      <a:pt x="415" y="1328"/>
                    </a:lnTo>
                    <a:lnTo>
                      <a:pt x="415" y="1328"/>
                    </a:lnTo>
                    <a:lnTo>
                      <a:pt x="415" y="1328"/>
                    </a:lnTo>
                    <a:lnTo>
                      <a:pt x="415" y="1328"/>
                    </a:lnTo>
                    <a:lnTo>
                      <a:pt x="412" y="1330"/>
                    </a:lnTo>
                    <a:lnTo>
                      <a:pt x="409" y="1331"/>
                    </a:lnTo>
                    <a:lnTo>
                      <a:pt x="402" y="1337"/>
                    </a:lnTo>
                    <a:lnTo>
                      <a:pt x="402" y="1337"/>
                    </a:lnTo>
                    <a:lnTo>
                      <a:pt x="396" y="1345"/>
                    </a:lnTo>
                    <a:lnTo>
                      <a:pt x="393" y="1345"/>
                    </a:lnTo>
                    <a:lnTo>
                      <a:pt x="393" y="1345"/>
                    </a:lnTo>
                    <a:lnTo>
                      <a:pt x="389" y="1349"/>
                    </a:lnTo>
                    <a:lnTo>
                      <a:pt x="389" y="1349"/>
                    </a:lnTo>
                    <a:lnTo>
                      <a:pt x="385" y="1352"/>
                    </a:lnTo>
                    <a:lnTo>
                      <a:pt x="382" y="1355"/>
                    </a:lnTo>
                    <a:lnTo>
                      <a:pt x="380" y="1356"/>
                    </a:lnTo>
                    <a:lnTo>
                      <a:pt x="380" y="1356"/>
                    </a:lnTo>
                    <a:lnTo>
                      <a:pt x="380" y="1356"/>
                    </a:lnTo>
                    <a:lnTo>
                      <a:pt x="376" y="1360"/>
                    </a:lnTo>
                    <a:lnTo>
                      <a:pt x="376" y="1360"/>
                    </a:lnTo>
                    <a:lnTo>
                      <a:pt x="373" y="1361"/>
                    </a:lnTo>
                    <a:lnTo>
                      <a:pt x="372" y="1364"/>
                    </a:lnTo>
                    <a:lnTo>
                      <a:pt x="368" y="1365"/>
                    </a:lnTo>
                    <a:lnTo>
                      <a:pt x="368" y="1365"/>
                    </a:lnTo>
                    <a:lnTo>
                      <a:pt x="368" y="1365"/>
                    </a:lnTo>
                    <a:lnTo>
                      <a:pt x="356" y="1376"/>
                    </a:lnTo>
                    <a:lnTo>
                      <a:pt x="347" y="1386"/>
                    </a:lnTo>
                    <a:lnTo>
                      <a:pt x="341" y="1388"/>
                    </a:lnTo>
                    <a:lnTo>
                      <a:pt x="341" y="1388"/>
                    </a:lnTo>
                    <a:lnTo>
                      <a:pt x="341" y="1388"/>
                    </a:lnTo>
                    <a:lnTo>
                      <a:pt x="337" y="1389"/>
                    </a:lnTo>
                    <a:lnTo>
                      <a:pt x="335" y="1390"/>
                    </a:lnTo>
                    <a:lnTo>
                      <a:pt x="331" y="1397"/>
                    </a:lnTo>
                    <a:lnTo>
                      <a:pt x="331" y="1397"/>
                    </a:lnTo>
                    <a:lnTo>
                      <a:pt x="328" y="1401"/>
                    </a:lnTo>
                    <a:lnTo>
                      <a:pt x="328" y="1401"/>
                    </a:lnTo>
                    <a:lnTo>
                      <a:pt x="330" y="1400"/>
                    </a:lnTo>
                    <a:lnTo>
                      <a:pt x="330" y="1400"/>
                    </a:lnTo>
                    <a:lnTo>
                      <a:pt x="330" y="1401"/>
                    </a:lnTo>
                    <a:lnTo>
                      <a:pt x="330" y="1401"/>
                    </a:lnTo>
                    <a:lnTo>
                      <a:pt x="326" y="1406"/>
                    </a:lnTo>
                    <a:lnTo>
                      <a:pt x="326" y="1406"/>
                    </a:lnTo>
                    <a:lnTo>
                      <a:pt x="327" y="1406"/>
                    </a:lnTo>
                    <a:lnTo>
                      <a:pt x="327" y="1406"/>
                    </a:lnTo>
                    <a:lnTo>
                      <a:pt x="327" y="1406"/>
                    </a:lnTo>
                    <a:lnTo>
                      <a:pt x="327" y="1408"/>
                    </a:lnTo>
                    <a:lnTo>
                      <a:pt x="322" y="1414"/>
                    </a:lnTo>
                    <a:lnTo>
                      <a:pt x="322" y="1414"/>
                    </a:lnTo>
                    <a:lnTo>
                      <a:pt x="324" y="1413"/>
                    </a:lnTo>
                    <a:lnTo>
                      <a:pt x="326" y="1410"/>
                    </a:lnTo>
                    <a:lnTo>
                      <a:pt x="326" y="1410"/>
                    </a:lnTo>
                    <a:lnTo>
                      <a:pt x="326" y="1412"/>
                    </a:lnTo>
                    <a:lnTo>
                      <a:pt x="326" y="1412"/>
                    </a:lnTo>
                    <a:lnTo>
                      <a:pt x="324" y="1415"/>
                    </a:lnTo>
                    <a:lnTo>
                      <a:pt x="323" y="1418"/>
                    </a:lnTo>
                    <a:lnTo>
                      <a:pt x="320" y="1421"/>
                    </a:lnTo>
                    <a:lnTo>
                      <a:pt x="320" y="1421"/>
                    </a:lnTo>
                    <a:lnTo>
                      <a:pt x="316" y="1422"/>
                    </a:lnTo>
                    <a:lnTo>
                      <a:pt x="316" y="1422"/>
                    </a:lnTo>
                    <a:lnTo>
                      <a:pt x="314" y="1423"/>
                    </a:lnTo>
                    <a:lnTo>
                      <a:pt x="314" y="1423"/>
                    </a:lnTo>
                    <a:lnTo>
                      <a:pt x="312" y="1423"/>
                    </a:lnTo>
                    <a:lnTo>
                      <a:pt x="312" y="1423"/>
                    </a:lnTo>
                    <a:lnTo>
                      <a:pt x="314" y="1423"/>
                    </a:lnTo>
                    <a:lnTo>
                      <a:pt x="308" y="1426"/>
                    </a:lnTo>
                    <a:lnTo>
                      <a:pt x="307" y="1426"/>
                    </a:lnTo>
                    <a:lnTo>
                      <a:pt x="307" y="1426"/>
                    </a:lnTo>
                    <a:lnTo>
                      <a:pt x="304" y="1426"/>
                    </a:lnTo>
                    <a:lnTo>
                      <a:pt x="304" y="1426"/>
                    </a:lnTo>
                    <a:lnTo>
                      <a:pt x="300" y="1425"/>
                    </a:lnTo>
                    <a:lnTo>
                      <a:pt x="298" y="1423"/>
                    </a:lnTo>
                    <a:lnTo>
                      <a:pt x="298" y="1423"/>
                    </a:lnTo>
                    <a:lnTo>
                      <a:pt x="298" y="1423"/>
                    </a:lnTo>
                    <a:lnTo>
                      <a:pt x="298" y="1423"/>
                    </a:lnTo>
                    <a:lnTo>
                      <a:pt x="299" y="1423"/>
                    </a:lnTo>
                    <a:lnTo>
                      <a:pt x="297" y="1419"/>
                    </a:lnTo>
                    <a:lnTo>
                      <a:pt x="295" y="1421"/>
                    </a:lnTo>
                    <a:lnTo>
                      <a:pt x="295" y="1421"/>
                    </a:lnTo>
                    <a:lnTo>
                      <a:pt x="294" y="1417"/>
                    </a:lnTo>
                    <a:lnTo>
                      <a:pt x="294" y="1417"/>
                    </a:lnTo>
                    <a:lnTo>
                      <a:pt x="294" y="1415"/>
                    </a:lnTo>
                    <a:lnTo>
                      <a:pt x="294" y="1415"/>
                    </a:lnTo>
                    <a:lnTo>
                      <a:pt x="294" y="1417"/>
                    </a:lnTo>
                    <a:lnTo>
                      <a:pt x="294" y="1417"/>
                    </a:lnTo>
                    <a:lnTo>
                      <a:pt x="295" y="1417"/>
                    </a:lnTo>
                    <a:lnTo>
                      <a:pt x="293" y="1413"/>
                    </a:lnTo>
                    <a:lnTo>
                      <a:pt x="291" y="1414"/>
                    </a:lnTo>
                    <a:lnTo>
                      <a:pt x="291" y="1414"/>
                    </a:lnTo>
                    <a:lnTo>
                      <a:pt x="290" y="1410"/>
                    </a:lnTo>
                    <a:lnTo>
                      <a:pt x="290" y="1410"/>
                    </a:lnTo>
                    <a:lnTo>
                      <a:pt x="290" y="1410"/>
                    </a:lnTo>
                    <a:lnTo>
                      <a:pt x="290" y="1410"/>
                    </a:lnTo>
                    <a:lnTo>
                      <a:pt x="290" y="1410"/>
                    </a:lnTo>
                    <a:lnTo>
                      <a:pt x="290" y="1410"/>
                    </a:lnTo>
                    <a:lnTo>
                      <a:pt x="291" y="1410"/>
                    </a:lnTo>
                    <a:lnTo>
                      <a:pt x="289" y="1406"/>
                    </a:lnTo>
                    <a:lnTo>
                      <a:pt x="287" y="1408"/>
                    </a:lnTo>
                    <a:lnTo>
                      <a:pt x="286" y="1405"/>
                    </a:lnTo>
                    <a:lnTo>
                      <a:pt x="286" y="1405"/>
                    </a:lnTo>
                    <a:lnTo>
                      <a:pt x="282" y="1400"/>
                    </a:lnTo>
                    <a:lnTo>
                      <a:pt x="279" y="1392"/>
                    </a:lnTo>
                    <a:lnTo>
                      <a:pt x="278" y="1384"/>
                    </a:lnTo>
                    <a:lnTo>
                      <a:pt x="278" y="1373"/>
                    </a:lnTo>
                    <a:lnTo>
                      <a:pt x="278" y="1368"/>
                    </a:lnTo>
                    <a:lnTo>
                      <a:pt x="281" y="1363"/>
                    </a:lnTo>
                    <a:lnTo>
                      <a:pt x="281" y="1363"/>
                    </a:lnTo>
                    <a:lnTo>
                      <a:pt x="279" y="1364"/>
                    </a:lnTo>
                    <a:lnTo>
                      <a:pt x="279" y="1365"/>
                    </a:lnTo>
                    <a:lnTo>
                      <a:pt x="279" y="1365"/>
                    </a:lnTo>
                    <a:lnTo>
                      <a:pt x="279" y="1363"/>
                    </a:lnTo>
                    <a:lnTo>
                      <a:pt x="279" y="1363"/>
                    </a:lnTo>
                    <a:lnTo>
                      <a:pt x="279" y="1356"/>
                    </a:lnTo>
                    <a:lnTo>
                      <a:pt x="279" y="1356"/>
                    </a:lnTo>
                    <a:lnTo>
                      <a:pt x="286" y="1349"/>
                    </a:lnTo>
                    <a:lnTo>
                      <a:pt x="286" y="1349"/>
                    </a:lnTo>
                    <a:lnTo>
                      <a:pt x="286" y="1349"/>
                    </a:lnTo>
                    <a:lnTo>
                      <a:pt x="286" y="1349"/>
                    </a:lnTo>
                    <a:lnTo>
                      <a:pt x="283" y="1351"/>
                    </a:lnTo>
                    <a:lnTo>
                      <a:pt x="282" y="1351"/>
                    </a:lnTo>
                    <a:lnTo>
                      <a:pt x="282" y="1351"/>
                    </a:lnTo>
                    <a:lnTo>
                      <a:pt x="281" y="1353"/>
                    </a:lnTo>
                    <a:lnTo>
                      <a:pt x="281" y="1353"/>
                    </a:lnTo>
                    <a:lnTo>
                      <a:pt x="281" y="1353"/>
                    </a:lnTo>
                    <a:lnTo>
                      <a:pt x="281" y="1353"/>
                    </a:lnTo>
                    <a:lnTo>
                      <a:pt x="281" y="1348"/>
                    </a:lnTo>
                    <a:lnTo>
                      <a:pt x="281" y="1348"/>
                    </a:lnTo>
                    <a:lnTo>
                      <a:pt x="281" y="1348"/>
                    </a:lnTo>
                    <a:lnTo>
                      <a:pt x="281" y="1348"/>
                    </a:lnTo>
                    <a:lnTo>
                      <a:pt x="281" y="1347"/>
                    </a:lnTo>
                    <a:lnTo>
                      <a:pt x="281" y="1347"/>
                    </a:lnTo>
                    <a:lnTo>
                      <a:pt x="287" y="1341"/>
                    </a:lnTo>
                    <a:lnTo>
                      <a:pt x="287" y="1341"/>
                    </a:lnTo>
                    <a:lnTo>
                      <a:pt x="287" y="1341"/>
                    </a:lnTo>
                    <a:lnTo>
                      <a:pt x="287" y="1341"/>
                    </a:lnTo>
                    <a:lnTo>
                      <a:pt x="285" y="1343"/>
                    </a:lnTo>
                    <a:lnTo>
                      <a:pt x="283" y="1344"/>
                    </a:lnTo>
                    <a:lnTo>
                      <a:pt x="283" y="1344"/>
                    </a:lnTo>
                    <a:lnTo>
                      <a:pt x="282" y="1347"/>
                    </a:lnTo>
                    <a:lnTo>
                      <a:pt x="282" y="1347"/>
                    </a:lnTo>
                    <a:lnTo>
                      <a:pt x="282" y="1345"/>
                    </a:lnTo>
                    <a:lnTo>
                      <a:pt x="282" y="1345"/>
                    </a:lnTo>
                    <a:lnTo>
                      <a:pt x="282" y="1341"/>
                    </a:lnTo>
                    <a:lnTo>
                      <a:pt x="282" y="1339"/>
                    </a:lnTo>
                    <a:lnTo>
                      <a:pt x="286" y="1334"/>
                    </a:lnTo>
                    <a:lnTo>
                      <a:pt x="286" y="1334"/>
                    </a:lnTo>
                    <a:lnTo>
                      <a:pt x="283" y="1335"/>
                    </a:lnTo>
                    <a:lnTo>
                      <a:pt x="283" y="1336"/>
                    </a:lnTo>
                    <a:lnTo>
                      <a:pt x="283" y="1336"/>
                    </a:lnTo>
                    <a:lnTo>
                      <a:pt x="283" y="1336"/>
                    </a:lnTo>
                    <a:lnTo>
                      <a:pt x="283" y="1336"/>
                    </a:lnTo>
                    <a:lnTo>
                      <a:pt x="283" y="1334"/>
                    </a:lnTo>
                    <a:lnTo>
                      <a:pt x="283" y="1334"/>
                    </a:lnTo>
                    <a:lnTo>
                      <a:pt x="283" y="1331"/>
                    </a:lnTo>
                    <a:lnTo>
                      <a:pt x="279" y="1330"/>
                    </a:lnTo>
                    <a:lnTo>
                      <a:pt x="279" y="1330"/>
                    </a:lnTo>
                    <a:lnTo>
                      <a:pt x="277" y="1328"/>
                    </a:lnTo>
                    <a:lnTo>
                      <a:pt x="277" y="1328"/>
                    </a:lnTo>
                    <a:lnTo>
                      <a:pt x="277" y="1328"/>
                    </a:lnTo>
                    <a:lnTo>
                      <a:pt x="275" y="1330"/>
                    </a:lnTo>
                    <a:lnTo>
                      <a:pt x="271" y="1330"/>
                    </a:lnTo>
                    <a:lnTo>
                      <a:pt x="271" y="1330"/>
                    </a:lnTo>
                    <a:lnTo>
                      <a:pt x="270" y="1332"/>
                    </a:lnTo>
                    <a:lnTo>
                      <a:pt x="270" y="1332"/>
                    </a:lnTo>
                    <a:lnTo>
                      <a:pt x="269" y="1335"/>
                    </a:lnTo>
                    <a:lnTo>
                      <a:pt x="269" y="1335"/>
                    </a:lnTo>
                    <a:lnTo>
                      <a:pt x="263" y="1341"/>
                    </a:lnTo>
                    <a:lnTo>
                      <a:pt x="258" y="1348"/>
                    </a:lnTo>
                    <a:lnTo>
                      <a:pt x="249" y="1351"/>
                    </a:lnTo>
                    <a:lnTo>
                      <a:pt x="249" y="1351"/>
                    </a:lnTo>
                    <a:lnTo>
                      <a:pt x="244" y="1344"/>
                    </a:lnTo>
                    <a:lnTo>
                      <a:pt x="240" y="1337"/>
                    </a:lnTo>
                    <a:lnTo>
                      <a:pt x="240" y="1337"/>
                    </a:lnTo>
                    <a:lnTo>
                      <a:pt x="234" y="1331"/>
                    </a:lnTo>
                    <a:lnTo>
                      <a:pt x="232" y="1328"/>
                    </a:lnTo>
                    <a:lnTo>
                      <a:pt x="229" y="1326"/>
                    </a:lnTo>
                    <a:lnTo>
                      <a:pt x="229" y="1326"/>
                    </a:lnTo>
                    <a:lnTo>
                      <a:pt x="228" y="1327"/>
                    </a:lnTo>
                    <a:lnTo>
                      <a:pt x="228" y="1327"/>
                    </a:lnTo>
                    <a:lnTo>
                      <a:pt x="222" y="1326"/>
                    </a:lnTo>
                    <a:lnTo>
                      <a:pt x="220" y="1324"/>
                    </a:lnTo>
                    <a:lnTo>
                      <a:pt x="218" y="1323"/>
                    </a:lnTo>
                    <a:lnTo>
                      <a:pt x="217" y="1324"/>
                    </a:lnTo>
                    <a:lnTo>
                      <a:pt x="217" y="1324"/>
                    </a:lnTo>
                    <a:lnTo>
                      <a:pt x="217" y="1324"/>
                    </a:lnTo>
                    <a:lnTo>
                      <a:pt x="213" y="1327"/>
                    </a:lnTo>
                    <a:lnTo>
                      <a:pt x="209" y="1328"/>
                    </a:lnTo>
                    <a:lnTo>
                      <a:pt x="208" y="1328"/>
                    </a:lnTo>
                    <a:lnTo>
                      <a:pt x="208" y="1328"/>
                    </a:lnTo>
                    <a:lnTo>
                      <a:pt x="204" y="1330"/>
                    </a:lnTo>
                    <a:lnTo>
                      <a:pt x="201" y="1332"/>
                    </a:lnTo>
                    <a:lnTo>
                      <a:pt x="201" y="1332"/>
                    </a:lnTo>
                    <a:lnTo>
                      <a:pt x="200" y="1334"/>
                    </a:lnTo>
                    <a:lnTo>
                      <a:pt x="197" y="1335"/>
                    </a:lnTo>
                    <a:lnTo>
                      <a:pt x="197" y="1335"/>
                    </a:lnTo>
                    <a:lnTo>
                      <a:pt x="199" y="1334"/>
                    </a:lnTo>
                    <a:lnTo>
                      <a:pt x="200" y="1331"/>
                    </a:lnTo>
                    <a:lnTo>
                      <a:pt x="193" y="1336"/>
                    </a:lnTo>
                    <a:lnTo>
                      <a:pt x="189" y="1336"/>
                    </a:lnTo>
                    <a:lnTo>
                      <a:pt x="189" y="1336"/>
                    </a:lnTo>
                    <a:lnTo>
                      <a:pt x="187" y="1336"/>
                    </a:lnTo>
                    <a:lnTo>
                      <a:pt x="187" y="1336"/>
                    </a:lnTo>
                    <a:lnTo>
                      <a:pt x="184" y="1336"/>
                    </a:lnTo>
                    <a:lnTo>
                      <a:pt x="184" y="1336"/>
                    </a:lnTo>
                    <a:lnTo>
                      <a:pt x="183" y="1336"/>
                    </a:lnTo>
                    <a:lnTo>
                      <a:pt x="183" y="1336"/>
                    </a:lnTo>
                    <a:lnTo>
                      <a:pt x="184" y="1335"/>
                    </a:lnTo>
                    <a:lnTo>
                      <a:pt x="185" y="1332"/>
                    </a:lnTo>
                    <a:lnTo>
                      <a:pt x="180" y="1337"/>
                    </a:lnTo>
                    <a:lnTo>
                      <a:pt x="180" y="1337"/>
                    </a:lnTo>
                    <a:lnTo>
                      <a:pt x="180" y="1337"/>
                    </a:lnTo>
                    <a:lnTo>
                      <a:pt x="180" y="1337"/>
                    </a:lnTo>
                    <a:lnTo>
                      <a:pt x="180" y="1337"/>
                    </a:lnTo>
                    <a:lnTo>
                      <a:pt x="180" y="1337"/>
                    </a:lnTo>
                    <a:lnTo>
                      <a:pt x="180" y="1337"/>
                    </a:lnTo>
                    <a:lnTo>
                      <a:pt x="178" y="1337"/>
                    </a:lnTo>
                    <a:lnTo>
                      <a:pt x="178" y="1337"/>
                    </a:lnTo>
                    <a:lnTo>
                      <a:pt x="174" y="1337"/>
                    </a:lnTo>
                    <a:lnTo>
                      <a:pt x="174" y="1337"/>
                    </a:lnTo>
                    <a:lnTo>
                      <a:pt x="172" y="1337"/>
                    </a:lnTo>
                    <a:lnTo>
                      <a:pt x="172" y="1337"/>
                    </a:lnTo>
                    <a:lnTo>
                      <a:pt x="174" y="1336"/>
                    </a:lnTo>
                    <a:lnTo>
                      <a:pt x="175" y="1334"/>
                    </a:lnTo>
                    <a:lnTo>
                      <a:pt x="170" y="1339"/>
                    </a:lnTo>
                    <a:lnTo>
                      <a:pt x="168" y="1339"/>
                    </a:lnTo>
                    <a:lnTo>
                      <a:pt x="168" y="1339"/>
                    </a:lnTo>
                    <a:lnTo>
                      <a:pt x="168" y="1339"/>
                    </a:lnTo>
                    <a:lnTo>
                      <a:pt x="168" y="1339"/>
                    </a:lnTo>
                    <a:lnTo>
                      <a:pt x="168" y="1341"/>
                    </a:lnTo>
                    <a:lnTo>
                      <a:pt x="168" y="1341"/>
                    </a:lnTo>
                    <a:lnTo>
                      <a:pt x="167" y="1339"/>
                    </a:lnTo>
                    <a:lnTo>
                      <a:pt x="167" y="1339"/>
                    </a:lnTo>
                    <a:lnTo>
                      <a:pt x="167" y="1340"/>
                    </a:lnTo>
                    <a:lnTo>
                      <a:pt x="170" y="1343"/>
                    </a:lnTo>
                    <a:lnTo>
                      <a:pt x="170" y="1345"/>
                    </a:lnTo>
                    <a:lnTo>
                      <a:pt x="170" y="1345"/>
                    </a:lnTo>
                    <a:lnTo>
                      <a:pt x="170" y="1347"/>
                    </a:lnTo>
                    <a:lnTo>
                      <a:pt x="170" y="1347"/>
                    </a:lnTo>
                    <a:lnTo>
                      <a:pt x="170" y="1348"/>
                    </a:lnTo>
                    <a:lnTo>
                      <a:pt x="170" y="1348"/>
                    </a:lnTo>
                    <a:lnTo>
                      <a:pt x="168" y="1347"/>
                    </a:lnTo>
                    <a:lnTo>
                      <a:pt x="166" y="1344"/>
                    </a:lnTo>
                    <a:lnTo>
                      <a:pt x="170" y="1349"/>
                    </a:lnTo>
                    <a:lnTo>
                      <a:pt x="170" y="1349"/>
                    </a:lnTo>
                    <a:lnTo>
                      <a:pt x="170" y="1349"/>
                    </a:lnTo>
                    <a:lnTo>
                      <a:pt x="171" y="1351"/>
                    </a:lnTo>
                    <a:lnTo>
                      <a:pt x="171" y="1351"/>
                    </a:lnTo>
                    <a:lnTo>
                      <a:pt x="171" y="1351"/>
                    </a:lnTo>
                    <a:lnTo>
                      <a:pt x="171" y="1351"/>
                    </a:lnTo>
                    <a:lnTo>
                      <a:pt x="171" y="1356"/>
                    </a:lnTo>
                    <a:lnTo>
                      <a:pt x="171" y="1356"/>
                    </a:lnTo>
                    <a:lnTo>
                      <a:pt x="171" y="1356"/>
                    </a:lnTo>
                    <a:lnTo>
                      <a:pt x="171" y="1356"/>
                    </a:lnTo>
                    <a:lnTo>
                      <a:pt x="168" y="1353"/>
                    </a:lnTo>
                    <a:lnTo>
                      <a:pt x="168" y="1353"/>
                    </a:lnTo>
                    <a:lnTo>
                      <a:pt x="166" y="1352"/>
                    </a:lnTo>
                    <a:lnTo>
                      <a:pt x="172" y="1359"/>
                    </a:lnTo>
                    <a:lnTo>
                      <a:pt x="172" y="1360"/>
                    </a:lnTo>
                    <a:lnTo>
                      <a:pt x="172" y="1360"/>
                    </a:lnTo>
                    <a:lnTo>
                      <a:pt x="172" y="1361"/>
                    </a:lnTo>
                    <a:lnTo>
                      <a:pt x="172" y="1361"/>
                    </a:lnTo>
                    <a:lnTo>
                      <a:pt x="172" y="1363"/>
                    </a:lnTo>
                    <a:lnTo>
                      <a:pt x="172" y="1363"/>
                    </a:lnTo>
                    <a:lnTo>
                      <a:pt x="171" y="1360"/>
                    </a:lnTo>
                    <a:lnTo>
                      <a:pt x="168" y="1359"/>
                    </a:lnTo>
                    <a:lnTo>
                      <a:pt x="174" y="1364"/>
                    </a:lnTo>
                    <a:lnTo>
                      <a:pt x="174" y="1365"/>
                    </a:lnTo>
                    <a:lnTo>
                      <a:pt x="171" y="1371"/>
                    </a:lnTo>
                    <a:lnTo>
                      <a:pt x="171" y="1371"/>
                    </a:lnTo>
                    <a:lnTo>
                      <a:pt x="160" y="1381"/>
                    </a:lnTo>
                    <a:lnTo>
                      <a:pt x="160" y="1381"/>
                    </a:lnTo>
                    <a:lnTo>
                      <a:pt x="154" y="1388"/>
                    </a:lnTo>
                    <a:lnTo>
                      <a:pt x="147" y="1394"/>
                    </a:lnTo>
                    <a:lnTo>
                      <a:pt x="144" y="1396"/>
                    </a:lnTo>
                    <a:lnTo>
                      <a:pt x="144" y="1396"/>
                    </a:lnTo>
                    <a:lnTo>
                      <a:pt x="142" y="1397"/>
                    </a:lnTo>
                    <a:lnTo>
                      <a:pt x="139" y="1397"/>
                    </a:lnTo>
                    <a:lnTo>
                      <a:pt x="139" y="1397"/>
                    </a:lnTo>
                    <a:lnTo>
                      <a:pt x="139" y="1397"/>
                    </a:lnTo>
                    <a:lnTo>
                      <a:pt x="142" y="1396"/>
                    </a:lnTo>
                    <a:lnTo>
                      <a:pt x="142" y="1394"/>
                    </a:lnTo>
                    <a:lnTo>
                      <a:pt x="137" y="1398"/>
                    </a:lnTo>
                    <a:lnTo>
                      <a:pt x="135" y="1398"/>
                    </a:lnTo>
                    <a:lnTo>
                      <a:pt x="135" y="1398"/>
                    </a:lnTo>
                    <a:lnTo>
                      <a:pt x="135" y="1398"/>
                    </a:lnTo>
                    <a:lnTo>
                      <a:pt x="126" y="1397"/>
                    </a:lnTo>
                    <a:lnTo>
                      <a:pt x="119" y="1393"/>
                    </a:lnTo>
                    <a:lnTo>
                      <a:pt x="114" y="1388"/>
                    </a:lnTo>
                    <a:lnTo>
                      <a:pt x="109" y="1384"/>
                    </a:lnTo>
                    <a:lnTo>
                      <a:pt x="109" y="1384"/>
                    </a:lnTo>
                    <a:lnTo>
                      <a:pt x="100" y="1376"/>
                    </a:lnTo>
                    <a:lnTo>
                      <a:pt x="101" y="1376"/>
                    </a:lnTo>
                    <a:lnTo>
                      <a:pt x="98" y="1373"/>
                    </a:lnTo>
                    <a:lnTo>
                      <a:pt x="98" y="1373"/>
                    </a:lnTo>
                    <a:lnTo>
                      <a:pt x="100" y="1372"/>
                    </a:lnTo>
                    <a:lnTo>
                      <a:pt x="98" y="1373"/>
                    </a:lnTo>
                    <a:lnTo>
                      <a:pt x="97" y="1372"/>
                    </a:lnTo>
                    <a:lnTo>
                      <a:pt x="97" y="1372"/>
                    </a:lnTo>
                    <a:lnTo>
                      <a:pt x="97" y="1373"/>
                    </a:lnTo>
                    <a:lnTo>
                      <a:pt x="93" y="1377"/>
                    </a:lnTo>
                    <a:lnTo>
                      <a:pt x="92" y="1377"/>
                    </a:lnTo>
                    <a:lnTo>
                      <a:pt x="92" y="1377"/>
                    </a:lnTo>
                    <a:lnTo>
                      <a:pt x="90" y="1377"/>
                    </a:lnTo>
                    <a:lnTo>
                      <a:pt x="90" y="1377"/>
                    </a:lnTo>
                    <a:lnTo>
                      <a:pt x="86" y="1377"/>
                    </a:lnTo>
                    <a:lnTo>
                      <a:pt x="86" y="1377"/>
                    </a:lnTo>
                    <a:lnTo>
                      <a:pt x="85" y="1377"/>
                    </a:lnTo>
                    <a:lnTo>
                      <a:pt x="85" y="1377"/>
                    </a:lnTo>
                    <a:lnTo>
                      <a:pt x="88" y="1376"/>
                    </a:lnTo>
                    <a:lnTo>
                      <a:pt x="89" y="1372"/>
                    </a:lnTo>
                    <a:lnTo>
                      <a:pt x="84" y="1378"/>
                    </a:lnTo>
                    <a:lnTo>
                      <a:pt x="81" y="1378"/>
                    </a:lnTo>
                    <a:lnTo>
                      <a:pt x="81" y="1378"/>
                    </a:lnTo>
                    <a:lnTo>
                      <a:pt x="80" y="1378"/>
                    </a:lnTo>
                    <a:lnTo>
                      <a:pt x="80" y="1378"/>
                    </a:lnTo>
                    <a:lnTo>
                      <a:pt x="77" y="1378"/>
                    </a:lnTo>
                    <a:lnTo>
                      <a:pt x="77" y="1378"/>
                    </a:lnTo>
                    <a:lnTo>
                      <a:pt x="76" y="1378"/>
                    </a:lnTo>
                    <a:lnTo>
                      <a:pt x="76" y="1378"/>
                    </a:lnTo>
                    <a:lnTo>
                      <a:pt x="77" y="1377"/>
                    </a:lnTo>
                    <a:lnTo>
                      <a:pt x="80" y="1373"/>
                    </a:lnTo>
                    <a:lnTo>
                      <a:pt x="73" y="1380"/>
                    </a:lnTo>
                    <a:lnTo>
                      <a:pt x="72" y="1380"/>
                    </a:lnTo>
                    <a:lnTo>
                      <a:pt x="72" y="1380"/>
                    </a:lnTo>
                    <a:lnTo>
                      <a:pt x="69" y="1380"/>
                    </a:lnTo>
                    <a:lnTo>
                      <a:pt x="69" y="1380"/>
                    </a:lnTo>
                    <a:lnTo>
                      <a:pt x="66" y="1380"/>
                    </a:lnTo>
                    <a:lnTo>
                      <a:pt x="66" y="1380"/>
                    </a:lnTo>
                    <a:lnTo>
                      <a:pt x="64" y="1380"/>
                    </a:lnTo>
                    <a:lnTo>
                      <a:pt x="64" y="1380"/>
                    </a:lnTo>
                    <a:lnTo>
                      <a:pt x="66" y="1378"/>
                    </a:lnTo>
                    <a:lnTo>
                      <a:pt x="68" y="1376"/>
                    </a:lnTo>
                    <a:lnTo>
                      <a:pt x="62" y="1380"/>
                    </a:lnTo>
                    <a:lnTo>
                      <a:pt x="62" y="1381"/>
                    </a:lnTo>
                    <a:lnTo>
                      <a:pt x="62" y="1381"/>
                    </a:lnTo>
                    <a:lnTo>
                      <a:pt x="62" y="1381"/>
                    </a:lnTo>
                    <a:lnTo>
                      <a:pt x="61" y="1381"/>
                    </a:lnTo>
                    <a:lnTo>
                      <a:pt x="61" y="1381"/>
                    </a:lnTo>
                    <a:lnTo>
                      <a:pt x="61" y="1381"/>
                    </a:lnTo>
                    <a:lnTo>
                      <a:pt x="59" y="1381"/>
                    </a:lnTo>
                    <a:lnTo>
                      <a:pt x="59" y="1381"/>
                    </a:lnTo>
                    <a:lnTo>
                      <a:pt x="56" y="1381"/>
                    </a:lnTo>
                    <a:lnTo>
                      <a:pt x="56" y="1381"/>
                    </a:lnTo>
                    <a:lnTo>
                      <a:pt x="55" y="1381"/>
                    </a:lnTo>
                    <a:lnTo>
                      <a:pt x="55" y="1381"/>
                    </a:lnTo>
                    <a:lnTo>
                      <a:pt x="56" y="1380"/>
                    </a:lnTo>
                    <a:lnTo>
                      <a:pt x="57" y="1377"/>
                    </a:lnTo>
                    <a:lnTo>
                      <a:pt x="52" y="1382"/>
                    </a:lnTo>
                    <a:lnTo>
                      <a:pt x="48" y="1382"/>
                    </a:lnTo>
                    <a:lnTo>
                      <a:pt x="43" y="1380"/>
                    </a:lnTo>
                    <a:lnTo>
                      <a:pt x="43" y="1380"/>
                    </a:lnTo>
                    <a:lnTo>
                      <a:pt x="39" y="1376"/>
                    </a:lnTo>
                    <a:lnTo>
                      <a:pt x="35" y="1372"/>
                    </a:lnTo>
                    <a:lnTo>
                      <a:pt x="35" y="1372"/>
                    </a:lnTo>
                    <a:lnTo>
                      <a:pt x="27" y="1365"/>
                    </a:lnTo>
                    <a:lnTo>
                      <a:pt x="25" y="1361"/>
                    </a:lnTo>
                    <a:lnTo>
                      <a:pt x="25" y="1360"/>
                    </a:lnTo>
                    <a:lnTo>
                      <a:pt x="29" y="1355"/>
                    </a:lnTo>
                    <a:lnTo>
                      <a:pt x="29" y="1355"/>
                    </a:lnTo>
                    <a:lnTo>
                      <a:pt x="29" y="1355"/>
                    </a:lnTo>
                    <a:lnTo>
                      <a:pt x="29" y="1355"/>
                    </a:lnTo>
                    <a:lnTo>
                      <a:pt x="28" y="1355"/>
                    </a:lnTo>
                    <a:lnTo>
                      <a:pt x="28" y="1355"/>
                    </a:lnTo>
                    <a:lnTo>
                      <a:pt x="28" y="1355"/>
                    </a:lnTo>
                    <a:lnTo>
                      <a:pt x="28" y="1355"/>
                    </a:lnTo>
                    <a:lnTo>
                      <a:pt x="31" y="1351"/>
                    </a:lnTo>
                    <a:lnTo>
                      <a:pt x="31" y="1351"/>
                    </a:lnTo>
                    <a:lnTo>
                      <a:pt x="35" y="1347"/>
                    </a:lnTo>
                    <a:lnTo>
                      <a:pt x="35" y="1347"/>
                    </a:lnTo>
                    <a:lnTo>
                      <a:pt x="32" y="1348"/>
                    </a:lnTo>
                    <a:lnTo>
                      <a:pt x="32" y="1349"/>
                    </a:lnTo>
                    <a:lnTo>
                      <a:pt x="32" y="1349"/>
                    </a:lnTo>
                    <a:lnTo>
                      <a:pt x="31" y="1347"/>
                    </a:lnTo>
                    <a:lnTo>
                      <a:pt x="31" y="1347"/>
                    </a:lnTo>
                    <a:lnTo>
                      <a:pt x="33" y="1348"/>
                    </a:lnTo>
                    <a:lnTo>
                      <a:pt x="31" y="1345"/>
                    </a:lnTo>
                    <a:lnTo>
                      <a:pt x="31" y="1345"/>
                    </a:lnTo>
                    <a:lnTo>
                      <a:pt x="28" y="1343"/>
                    </a:lnTo>
                    <a:lnTo>
                      <a:pt x="28" y="1340"/>
                    </a:lnTo>
                    <a:lnTo>
                      <a:pt x="28" y="1340"/>
                    </a:lnTo>
                    <a:lnTo>
                      <a:pt x="28" y="1339"/>
                    </a:lnTo>
                    <a:lnTo>
                      <a:pt x="27" y="1335"/>
                    </a:lnTo>
                    <a:lnTo>
                      <a:pt x="27" y="1332"/>
                    </a:lnTo>
                    <a:lnTo>
                      <a:pt x="33" y="1326"/>
                    </a:lnTo>
                    <a:lnTo>
                      <a:pt x="33" y="1326"/>
                    </a:lnTo>
                    <a:lnTo>
                      <a:pt x="33" y="1326"/>
                    </a:lnTo>
                    <a:lnTo>
                      <a:pt x="33" y="1326"/>
                    </a:lnTo>
                    <a:lnTo>
                      <a:pt x="32" y="1327"/>
                    </a:lnTo>
                    <a:lnTo>
                      <a:pt x="31" y="1330"/>
                    </a:lnTo>
                    <a:lnTo>
                      <a:pt x="36" y="1324"/>
                    </a:lnTo>
                    <a:lnTo>
                      <a:pt x="37" y="1324"/>
                    </a:lnTo>
                    <a:lnTo>
                      <a:pt x="37" y="1324"/>
                    </a:lnTo>
                    <a:lnTo>
                      <a:pt x="41" y="1323"/>
                    </a:lnTo>
                    <a:lnTo>
                      <a:pt x="41" y="1323"/>
                    </a:lnTo>
                    <a:lnTo>
                      <a:pt x="45" y="1322"/>
                    </a:lnTo>
                    <a:lnTo>
                      <a:pt x="51" y="1322"/>
                    </a:lnTo>
                    <a:lnTo>
                      <a:pt x="51" y="1322"/>
                    </a:lnTo>
                    <a:lnTo>
                      <a:pt x="55" y="1322"/>
                    </a:lnTo>
                    <a:lnTo>
                      <a:pt x="55" y="1322"/>
                    </a:lnTo>
                    <a:lnTo>
                      <a:pt x="52" y="1323"/>
                    </a:lnTo>
                    <a:lnTo>
                      <a:pt x="52" y="1324"/>
                    </a:lnTo>
                    <a:lnTo>
                      <a:pt x="56" y="1320"/>
                    </a:lnTo>
                    <a:lnTo>
                      <a:pt x="56" y="1320"/>
                    </a:lnTo>
                    <a:lnTo>
                      <a:pt x="59" y="1320"/>
                    </a:lnTo>
                    <a:lnTo>
                      <a:pt x="59" y="1320"/>
                    </a:lnTo>
                    <a:lnTo>
                      <a:pt x="60" y="1320"/>
                    </a:lnTo>
                    <a:lnTo>
                      <a:pt x="60" y="1320"/>
                    </a:lnTo>
                    <a:lnTo>
                      <a:pt x="59" y="1322"/>
                    </a:lnTo>
                    <a:lnTo>
                      <a:pt x="57" y="1324"/>
                    </a:lnTo>
                    <a:lnTo>
                      <a:pt x="64" y="1319"/>
                    </a:lnTo>
                    <a:lnTo>
                      <a:pt x="64" y="1319"/>
                    </a:lnTo>
                    <a:lnTo>
                      <a:pt x="64" y="1319"/>
                    </a:lnTo>
                    <a:lnTo>
                      <a:pt x="65" y="1318"/>
                    </a:lnTo>
                    <a:lnTo>
                      <a:pt x="66" y="1318"/>
                    </a:lnTo>
                    <a:lnTo>
                      <a:pt x="68" y="1318"/>
                    </a:lnTo>
                    <a:lnTo>
                      <a:pt x="68" y="1318"/>
                    </a:lnTo>
                    <a:lnTo>
                      <a:pt x="66" y="1319"/>
                    </a:lnTo>
                    <a:lnTo>
                      <a:pt x="68" y="1318"/>
                    </a:lnTo>
                    <a:lnTo>
                      <a:pt x="68" y="1318"/>
                    </a:lnTo>
                    <a:lnTo>
                      <a:pt x="68" y="1318"/>
                    </a:lnTo>
                    <a:lnTo>
                      <a:pt x="68" y="1318"/>
                    </a:lnTo>
                    <a:lnTo>
                      <a:pt x="66" y="1320"/>
                    </a:lnTo>
                    <a:lnTo>
                      <a:pt x="72" y="1315"/>
                    </a:lnTo>
                    <a:lnTo>
                      <a:pt x="72" y="1314"/>
                    </a:lnTo>
                    <a:lnTo>
                      <a:pt x="72" y="1314"/>
                    </a:lnTo>
                    <a:lnTo>
                      <a:pt x="69" y="1315"/>
                    </a:lnTo>
                    <a:lnTo>
                      <a:pt x="70" y="1314"/>
                    </a:lnTo>
                    <a:lnTo>
                      <a:pt x="70" y="1314"/>
                    </a:lnTo>
                    <a:lnTo>
                      <a:pt x="68" y="1315"/>
                    </a:lnTo>
                    <a:lnTo>
                      <a:pt x="68" y="1315"/>
                    </a:lnTo>
                    <a:lnTo>
                      <a:pt x="68" y="1311"/>
                    </a:lnTo>
                    <a:lnTo>
                      <a:pt x="68" y="1311"/>
                    </a:lnTo>
                    <a:lnTo>
                      <a:pt x="70" y="1312"/>
                    </a:lnTo>
                    <a:lnTo>
                      <a:pt x="70" y="1312"/>
                    </a:lnTo>
                    <a:lnTo>
                      <a:pt x="70" y="1312"/>
                    </a:lnTo>
                    <a:lnTo>
                      <a:pt x="72" y="1312"/>
                    </a:lnTo>
                    <a:lnTo>
                      <a:pt x="69" y="1310"/>
                    </a:lnTo>
                    <a:lnTo>
                      <a:pt x="68" y="1306"/>
                    </a:lnTo>
                    <a:lnTo>
                      <a:pt x="68" y="1306"/>
                    </a:lnTo>
                    <a:lnTo>
                      <a:pt x="68" y="1308"/>
                    </a:lnTo>
                    <a:lnTo>
                      <a:pt x="65" y="1307"/>
                    </a:lnTo>
                    <a:lnTo>
                      <a:pt x="65" y="1307"/>
                    </a:lnTo>
                    <a:lnTo>
                      <a:pt x="65" y="1300"/>
                    </a:lnTo>
                    <a:lnTo>
                      <a:pt x="64" y="1295"/>
                    </a:lnTo>
                    <a:lnTo>
                      <a:pt x="64" y="1295"/>
                    </a:lnTo>
                    <a:lnTo>
                      <a:pt x="61" y="1289"/>
                    </a:lnTo>
                    <a:lnTo>
                      <a:pt x="61" y="1282"/>
                    </a:lnTo>
                    <a:lnTo>
                      <a:pt x="61" y="1282"/>
                    </a:lnTo>
                    <a:lnTo>
                      <a:pt x="57" y="1281"/>
                    </a:lnTo>
                    <a:lnTo>
                      <a:pt x="55" y="1278"/>
                    </a:lnTo>
                    <a:lnTo>
                      <a:pt x="52" y="1273"/>
                    </a:lnTo>
                    <a:lnTo>
                      <a:pt x="52" y="1273"/>
                    </a:lnTo>
                    <a:lnTo>
                      <a:pt x="51" y="1270"/>
                    </a:lnTo>
                    <a:lnTo>
                      <a:pt x="51" y="1270"/>
                    </a:lnTo>
                    <a:lnTo>
                      <a:pt x="52" y="1271"/>
                    </a:lnTo>
                    <a:lnTo>
                      <a:pt x="49" y="1267"/>
                    </a:lnTo>
                    <a:lnTo>
                      <a:pt x="49" y="1267"/>
                    </a:lnTo>
                    <a:lnTo>
                      <a:pt x="49" y="1267"/>
                    </a:lnTo>
                    <a:lnTo>
                      <a:pt x="48" y="1265"/>
                    </a:lnTo>
                    <a:lnTo>
                      <a:pt x="48" y="1265"/>
                    </a:lnTo>
                    <a:lnTo>
                      <a:pt x="47" y="1263"/>
                    </a:lnTo>
                    <a:lnTo>
                      <a:pt x="47" y="1263"/>
                    </a:lnTo>
                    <a:lnTo>
                      <a:pt x="48" y="1265"/>
                    </a:lnTo>
                    <a:lnTo>
                      <a:pt x="48" y="1265"/>
                    </a:lnTo>
                    <a:lnTo>
                      <a:pt x="49" y="1265"/>
                    </a:lnTo>
                    <a:lnTo>
                      <a:pt x="45" y="1261"/>
                    </a:lnTo>
                    <a:lnTo>
                      <a:pt x="45" y="1262"/>
                    </a:lnTo>
                    <a:lnTo>
                      <a:pt x="45" y="1262"/>
                    </a:lnTo>
                    <a:lnTo>
                      <a:pt x="43" y="1257"/>
                    </a:lnTo>
                    <a:lnTo>
                      <a:pt x="43" y="1257"/>
                    </a:lnTo>
                    <a:lnTo>
                      <a:pt x="43" y="1256"/>
                    </a:lnTo>
                    <a:lnTo>
                      <a:pt x="43" y="1256"/>
                    </a:lnTo>
                    <a:lnTo>
                      <a:pt x="43" y="1256"/>
                    </a:lnTo>
                    <a:lnTo>
                      <a:pt x="40" y="1252"/>
                    </a:lnTo>
                    <a:lnTo>
                      <a:pt x="40" y="1253"/>
                    </a:lnTo>
                    <a:lnTo>
                      <a:pt x="40" y="1253"/>
                    </a:lnTo>
                    <a:lnTo>
                      <a:pt x="37" y="1249"/>
                    </a:lnTo>
                    <a:lnTo>
                      <a:pt x="35" y="1246"/>
                    </a:lnTo>
                    <a:lnTo>
                      <a:pt x="35" y="1246"/>
                    </a:lnTo>
                    <a:lnTo>
                      <a:pt x="31" y="1245"/>
                    </a:lnTo>
                    <a:lnTo>
                      <a:pt x="31" y="1245"/>
                    </a:lnTo>
                    <a:lnTo>
                      <a:pt x="29" y="1242"/>
                    </a:lnTo>
                    <a:lnTo>
                      <a:pt x="29" y="1242"/>
                    </a:lnTo>
                    <a:lnTo>
                      <a:pt x="27" y="1240"/>
                    </a:lnTo>
                    <a:lnTo>
                      <a:pt x="24" y="1234"/>
                    </a:lnTo>
                    <a:lnTo>
                      <a:pt x="24" y="1233"/>
                    </a:lnTo>
                    <a:lnTo>
                      <a:pt x="24" y="1232"/>
                    </a:lnTo>
                    <a:lnTo>
                      <a:pt x="24" y="1232"/>
                    </a:lnTo>
                    <a:lnTo>
                      <a:pt x="24" y="1229"/>
                    </a:lnTo>
                    <a:lnTo>
                      <a:pt x="24" y="1229"/>
                    </a:lnTo>
                    <a:lnTo>
                      <a:pt x="24" y="1229"/>
                    </a:lnTo>
                    <a:lnTo>
                      <a:pt x="24" y="1229"/>
                    </a:lnTo>
                    <a:lnTo>
                      <a:pt x="25" y="1230"/>
                    </a:lnTo>
                    <a:lnTo>
                      <a:pt x="28" y="1232"/>
                    </a:lnTo>
                    <a:lnTo>
                      <a:pt x="23" y="1226"/>
                    </a:lnTo>
                    <a:lnTo>
                      <a:pt x="23" y="1224"/>
                    </a:lnTo>
                    <a:lnTo>
                      <a:pt x="23" y="1224"/>
                    </a:lnTo>
                    <a:lnTo>
                      <a:pt x="23" y="1222"/>
                    </a:lnTo>
                    <a:lnTo>
                      <a:pt x="23" y="1222"/>
                    </a:lnTo>
                    <a:lnTo>
                      <a:pt x="23" y="1221"/>
                    </a:lnTo>
                    <a:lnTo>
                      <a:pt x="23" y="1221"/>
                    </a:lnTo>
                    <a:lnTo>
                      <a:pt x="24" y="1222"/>
                    </a:lnTo>
                    <a:lnTo>
                      <a:pt x="27" y="1225"/>
                    </a:lnTo>
                    <a:lnTo>
                      <a:pt x="21" y="1218"/>
                    </a:lnTo>
                    <a:lnTo>
                      <a:pt x="21" y="1217"/>
                    </a:lnTo>
                    <a:lnTo>
                      <a:pt x="21" y="1217"/>
                    </a:lnTo>
                    <a:lnTo>
                      <a:pt x="21" y="1216"/>
                    </a:lnTo>
                    <a:lnTo>
                      <a:pt x="21" y="1216"/>
                    </a:lnTo>
                    <a:lnTo>
                      <a:pt x="21" y="1215"/>
                    </a:lnTo>
                    <a:lnTo>
                      <a:pt x="21" y="1215"/>
                    </a:lnTo>
                    <a:lnTo>
                      <a:pt x="23" y="1217"/>
                    </a:lnTo>
                    <a:lnTo>
                      <a:pt x="25" y="1218"/>
                    </a:lnTo>
                    <a:lnTo>
                      <a:pt x="20" y="1212"/>
                    </a:lnTo>
                    <a:lnTo>
                      <a:pt x="20" y="1211"/>
                    </a:lnTo>
                    <a:lnTo>
                      <a:pt x="20" y="1211"/>
                    </a:lnTo>
                    <a:lnTo>
                      <a:pt x="20" y="1207"/>
                    </a:lnTo>
                    <a:lnTo>
                      <a:pt x="20" y="1207"/>
                    </a:lnTo>
                    <a:lnTo>
                      <a:pt x="20" y="1205"/>
                    </a:lnTo>
                    <a:lnTo>
                      <a:pt x="20" y="1205"/>
                    </a:lnTo>
                    <a:lnTo>
                      <a:pt x="21" y="1208"/>
                    </a:lnTo>
                    <a:lnTo>
                      <a:pt x="21" y="1208"/>
                    </a:lnTo>
                    <a:lnTo>
                      <a:pt x="25" y="1209"/>
                    </a:lnTo>
                    <a:lnTo>
                      <a:pt x="19" y="1204"/>
                    </a:lnTo>
                    <a:lnTo>
                      <a:pt x="19" y="1201"/>
                    </a:lnTo>
                    <a:lnTo>
                      <a:pt x="19" y="1201"/>
                    </a:lnTo>
                    <a:lnTo>
                      <a:pt x="19" y="1197"/>
                    </a:lnTo>
                    <a:lnTo>
                      <a:pt x="19" y="1197"/>
                    </a:lnTo>
                    <a:lnTo>
                      <a:pt x="19" y="1196"/>
                    </a:lnTo>
                    <a:lnTo>
                      <a:pt x="19" y="1196"/>
                    </a:lnTo>
                    <a:lnTo>
                      <a:pt x="20" y="1199"/>
                    </a:lnTo>
                    <a:lnTo>
                      <a:pt x="20" y="1199"/>
                    </a:lnTo>
                    <a:lnTo>
                      <a:pt x="24" y="1200"/>
                    </a:lnTo>
                    <a:lnTo>
                      <a:pt x="18" y="1195"/>
                    </a:lnTo>
                    <a:lnTo>
                      <a:pt x="18" y="1192"/>
                    </a:lnTo>
                    <a:lnTo>
                      <a:pt x="19" y="1189"/>
                    </a:lnTo>
                    <a:lnTo>
                      <a:pt x="19" y="1189"/>
                    </a:lnTo>
                    <a:lnTo>
                      <a:pt x="24" y="1180"/>
                    </a:lnTo>
                    <a:lnTo>
                      <a:pt x="32" y="1171"/>
                    </a:lnTo>
                    <a:lnTo>
                      <a:pt x="32" y="1171"/>
                    </a:lnTo>
                    <a:lnTo>
                      <a:pt x="40" y="1160"/>
                    </a:lnTo>
                    <a:lnTo>
                      <a:pt x="40" y="1160"/>
                    </a:lnTo>
                    <a:lnTo>
                      <a:pt x="43" y="1158"/>
                    </a:lnTo>
                    <a:lnTo>
                      <a:pt x="43" y="1158"/>
                    </a:lnTo>
                    <a:lnTo>
                      <a:pt x="44" y="1155"/>
                    </a:lnTo>
                    <a:lnTo>
                      <a:pt x="44" y="1155"/>
                    </a:lnTo>
                    <a:lnTo>
                      <a:pt x="45" y="1152"/>
                    </a:lnTo>
                    <a:lnTo>
                      <a:pt x="47" y="1150"/>
                    </a:lnTo>
                    <a:lnTo>
                      <a:pt x="47" y="1150"/>
                    </a:lnTo>
                    <a:lnTo>
                      <a:pt x="52" y="1144"/>
                    </a:lnTo>
                    <a:lnTo>
                      <a:pt x="52" y="1144"/>
                    </a:lnTo>
                    <a:lnTo>
                      <a:pt x="59" y="1135"/>
                    </a:lnTo>
                    <a:lnTo>
                      <a:pt x="61" y="1131"/>
                    </a:lnTo>
                    <a:lnTo>
                      <a:pt x="62" y="1127"/>
                    </a:lnTo>
                    <a:lnTo>
                      <a:pt x="62" y="1127"/>
                    </a:lnTo>
                    <a:lnTo>
                      <a:pt x="60" y="1127"/>
                    </a:lnTo>
                    <a:lnTo>
                      <a:pt x="59" y="1127"/>
                    </a:lnTo>
                    <a:lnTo>
                      <a:pt x="55" y="1125"/>
                    </a:lnTo>
                    <a:lnTo>
                      <a:pt x="55" y="1125"/>
                    </a:lnTo>
                    <a:lnTo>
                      <a:pt x="51" y="1123"/>
                    </a:lnTo>
                    <a:lnTo>
                      <a:pt x="51" y="1123"/>
                    </a:lnTo>
                    <a:lnTo>
                      <a:pt x="45" y="1119"/>
                    </a:lnTo>
                    <a:lnTo>
                      <a:pt x="45" y="1119"/>
                    </a:lnTo>
                    <a:lnTo>
                      <a:pt x="45" y="1121"/>
                    </a:lnTo>
                    <a:lnTo>
                      <a:pt x="45" y="1121"/>
                    </a:lnTo>
                    <a:lnTo>
                      <a:pt x="45" y="1121"/>
                    </a:lnTo>
                    <a:lnTo>
                      <a:pt x="44" y="1121"/>
                    </a:lnTo>
                    <a:lnTo>
                      <a:pt x="40" y="1118"/>
                    </a:lnTo>
                    <a:lnTo>
                      <a:pt x="40" y="1118"/>
                    </a:lnTo>
                    <a:lnTo>
                      <a:pt x="36" y="1115"/>
                    </a:lnTo>
                    <a:lnTo>
                      <a:pt x="33" y="1110"/>
                    </a:lnTo>
                    <a:lnTo>
                      <a:pt x="33" y="1110"/>
                    </a:lnTo>
                    <a:lnTo>
                      <a:pt x="33" y="1110"/>
                    </a:lnTo>
                    <a:lnTo>
                      <a:pt x="32" y="1103"/>
                    </a:lnTo>
                    <a:lnTo>
                      <a:pt x="32" y="1103"/>
                    </a:lnTo>
                    <a:lnTo>
                      <a:pt x="29" y="1096"/>
                    </a:lnTo>
                    <a:lnTo>
                      <a:pt x="27" y="1089"/>
                    </a:lnTo>
                    <a:lnTo>
                      <a:pt x="27" y="1089"/>
                    </a:lnTo>
                    <a:lnTo>
                      <a:pt x="24" y="1084"/>
                    </a:lnTo>
                    <a:lnTo>
                      <a:pt x="24" y="1084"/>
                    </a:lnTo>
                    <a:lnTo>
                      <a:pt x="24" y="1082"/>
                    </a:lnTo>
                    <a:lnTo>
                      <a:pt x="23" y="1078"/>
                    </a:lnTo>
                    <a:lnTo>
                      <a:pt x="23" y="1078"/>
                    </a:lnTo>
                    <a:lnTo>
                      <a:pt x="23" y="1078"/>
                    </a:lnTo>
                    <a:lnTo>
                      <a:pt x="12" y="1069"/>
                    </a:lnTo>
                    <a:lnTo>
                      <a:pt x="12" y="1069"/>
                    </a:lnTo>
                    <a:lnTo>
                      <a:pt x="2" y="1059"/>
                    </a:lnTo>
                    <a:lnTo>
                      <a:pt x="0" y="1056"/>
                    </a:lnTo>
                    <a:lnTo>
                      <a:pt x="0" y="1056"/>
                    </a:lnTo>
                    <a:lnTo>
                      <a:pt x="0" y="1052"/>
                    </a:lnTo>
                    <a:lnTo>
                      <a:pt x="2" y="1049"/>
                    </a:lnTo>
                    <a:lnTo>
                      <a:pt x="3" y="1047"/>
                    </a:lnTo>
                    <a:lnTo>
                      <a:pt x="3" y="1047"/>
                    </a:lnTo>
                    <a:lnTo>
                      <a:pt x="3" y="1048"/>
                    </a:lnTo>
                    <a:lnTo>
                      <a:pt x="6" y="1044"/>
                    </a:lnTo>
                    <a:lnTo>
                      <a:pt x="4" y="1045"/>
                    </a:lnTo>
                    <a:lnTo>
                      <a:pt x="4" y="1045"/>
                    </a:lnTo>
                    <a:lnTo>
                      <a:pt x="3" y="1047"/>
                    </a:lnTo>
                    <a:lnTo>
                      <a:pt x="3" y="1047"/>
                    </a:lnTo>
                    <a:lnTo>
                      <a:pt x="3" y="1045"/>
                    </a:lnTo>
                    <a:lnTo>
                      <a:pt x="3" y="1045"/>
                    </a:lnTo>
                    <a:lnTo>
                      <a:pt x="3" y="1044"/>
                    </a:lnTo>
                    <a:lnTo>
                      <a:pt x="3" y="1044"/>
                    </a:lnTo>
                    <a:lnTo>
                      <a:pt x="3" y="1040"/>
                    </a:lnTo>
                    <a:lnTo>
                      <a:pt x="4" y="1037"/>
                    </a:lnTo>
                    <a:lnTo>
                      <a:pt x="6" y="1033"/>
                    </a:lnTo>
                    <a:lnTo>
                      <a:pt x="6" y="1033"/>
                    </a:lnTo>
                    <a:lnTo>
                      <a:pt x="7" y="1033"/>
                    </a:lnTo>
                    <a:lnTo>
                      <a:pt x="12" y="1029"/>
                    </a:lnTo>
                    <a:lnTo>
                      <a:pt x="14" y="1029"/>
                    </a:lnTo>
                    <a:lnTo>
                      <a:pt x="15" y="1031"/>
                    </a:lnTo>
                    <a:lnTo>
                      <a:pt x="15" y="1031"/>
                    </a:lnTo>
                    <a:lnTo>
                      <a:pt x="20" y="1028"/>
                    </a:lnTo>
                    <a:lnTo>
                      <a:pt x="21" y="1027"/>
                    </a:lnTo>
                    <a:lnTo>
                      <a:pt x="24" y="1025"/>
                    </a:lnTo>
                    <a:lnTo>
                      <a:pt x="25" y="1025"/>
                    </a:lnTo>
                    <a:lnTo>
                      <a:pt x="25" y="1025"/>
                    </a:lnTo>
                    <a:lnTo>
                      <a:pt x="29" y="1027"/>
                    </a:lnTo>
                    <a:lnTo>
                      <a:pt x="32" y="1028"/>
                    </a:lnTo>
                    <a:lnTo>
                      <a:pt x="32" y="1028"/>
                    </a:lnTo>
                    <a:lnTo>
                      <a:pt x="32" y="1029"/>
                    </a:lnTo>
                    <a:lnTo>
                      <a:pt x="35" y="1031"/>
                    </a:lnTo>
                    <a:lnTo>
                      <a:pt x="35" y="1031"/>
                    </a:lnTo>
                    <a:lnTo>
                      <a:pt x="35" y="1031"/>
                    </a:lnTo>
                    <a:lnTo>
                      <a:pt x="35" y="1031"/>
                    </a:lnTo>
                    <a:lnTo>
                      <a:pt x="33" y="1033"/>
                    </a:lnTo>
                    <a:lnTo>
                      <a:pt x="36" y="1032"/>
                    </a:lnTo>
                    <a:lnTo>
                      <a:pt x="37" y="1033"/>
                    </a:lnTo>
                    <a:lnTo>
                      <a:pt x="37" y="1033"/>
                    </a:lnTo>
                    <a:lnTo>
                      <a:pt x="36" y="1032"/>
                    </a:lnTo>
                    <a:lnTo>
                      <a:pt x="40" y="1027"/>
                    </a:lnTo>
                    <a:lnTo>
                      <a:pt x="40" y="1027"/>
                    </a:lnTo>
                    <a:lnTo>
                      <a:pt x="41" y="1027"/>
                    </a:lnTo>
                    <a:lnTo>
                      <a:pt x="41" y="1027"/>
                    </a:lnTo>
                    <a:lnTo>
                      <a:pt x="43" y="1027"/>
                    </a:lnTo>
                    <a:lnTo>
                      <a:pt x="44" y="1025"/>
                    </a:lnTo>
                    <a:lnTo>
                      <a:pt x="44" y="1025"/>
                    </a:lnTo>
                    <a:lnTo>
                      <a:pt x="47" y="1022"/>
                    </a:lnTo>
                    <a:lnTo>
                      <a:pt x="51" y="1019"/>
                    </a:lnTo>
                    <a:lnTo>
                      <a:pt x="52" y="1019"/>
                    </a:lnTo>
                    <a:lnTo>
                      <a:pt x="52" y="1019"/>
                    </a:lnTo>
                    <a:lnTo>
                      <a:pt x="55" y="1019"/>
                    </a:lnTo>
                    <a:lnTo>
                      <a:pt x="55" y="1019"/>
                    </a:lnTo>
                    <a:lnTo>
                      <a:pt x="59" y="1019"/>
                    </a:lnTo>
                    <a:lnTo>
                      <a:pt x="61" y="1020"/>
                    </a:lnTo>
                    <a:lnTo>
                      <a:pt x="61" y="1020"/>
                    </a:lnTo>
                    <a:lnTo>
                      <a:pt x="61" y="1022"/>
                    </a:lnTo>
                    <a:lnTo>
                      <a:pt x="61" y="1022"/>
                    </a:lnTo>
                    <a:lnTo>
                      <a:pt x="65" y="1023"/>
                    </a:lnTo>
                    <a:lnTo>
                      <a:pt x="65" y="1023"/>
                    </a:lnTo>
                    <a:lnTo>
                      <a:pt x="68" y="1024"/>
                    </a:lnTo>
                    <a:lnTo>
                      <a:pt x="68" y="1024"/>
                    </a:lnTo>
                    <a:lnTo>
                      <a:pt x="72" y="1023"/>
                    </a:lnTo>
                    <a:lnTo>
                      <a:pt x="73" y="1020"/>
                    </a:lnTo>
                    <a:lnTo>
                      <a:pt x="73" y="1019"/>
                    </a:lnTo>
                    <a:lnTo>
                      <a:pt x="74" y="1016"/>
                    </a:lnTo>
                    <a:lnTo>
                      <a:pt x="76" y="1015"/>
                    </a:lnTo>
                    <a:lnTo>
                      <a:pt x="76" y="1015"/>
                    </a:lnTo>
                    <a:lnTo>
                      <a:pt x="80" y="1010"/>
                    </a:lnTo>
                    <a:lnTo>
                      <a:pt x="84" y="1007"/>
                    </a:lnTo>
                    <a:lnTo>
                      <a:pt x="88" y="1004"/>
                    </a:lnTo>
                    <a:lnTo>
                      <a:pt x="89" y="1004"/>
                    </a:lnTo>
                    <a:lnTo>
                      <a:pt x="90" y="1004"/>
                    </a:lnTo>
                    <a:lnTo>
                      <a:pt x="92" y="1007"/>
                    </a:lnTo>
                    <a:lnTo>
                      <a:pt x="92" y="1007"/>
                    </a:lnTo>
                    <a:lnTo>
                      <a:pt x="90" y="1008"/>
                    </a:lnTo>
                    <a:lnTo>
                      <a:pt x="90" y="1008"/>
                    </a:lnTo>
                    <a:lnTo>
                      <a:pt x="90" y="1011"/>
                    </a:lnTo>
                    <a:lnTo>
                      <a:pt x="90" y="1012"/>
                    </a:lnTo>
                    <a:lnTo>
                      <a:pt x="93" y="1008"/>
                    </a:lnTo>
                    <a:lnTo>
                      <a:pt x="97" y="1012"/>
                    </a:lnTo>
                    <a:lnTo>
                      <a:pt x="97" y="1012"/>
                    </a:lnTo>
                    <a:lnTo>
                      <a:pt x="97" y="1011"/>
                    </a:lnTo>
                    <a:lnTo>
                      <a:pt x="96" y="1008"/>
                    </a:lnTo>
                    <a:lnTo>
                      <a:pt x="96" y="1008"/>
                    </a:lnTo>
                    <a:lnTo>
                      <a:pt x="94" y="1007"/>
                    </a:lnTo>
                    <a:lnTo>
                      <a:pt x="96" y="1004"/>
                    </a:lnTo>
                    <a:lnTo>
                      <a:pt x="96" y="1004"/>
                    </a:lnTo>
                    <a:lnTo>
                      <a:pt x="94" y="1006"/>
                    </a:lnTo>
                    <a:lnTo>
                      <a:pt x="94" y="1006"/>
                    </a:lnTo>
                    <a:lnTo>
                      <a:pt x="96" y="1004"/>
                    </a:lnTo>
                    <a:lnTo>
                      <a:pt x="100" y="1003"/>
                    </a:lnTo>
                    <a:lnTo>
                      <a:pt x="100" y="1003"/>
                    </a:lnTo>
                    <a:lnTo>
                      <a:pt x="100" y="1003"/>
                    </a:lnTo>
                    <a:lnTo>
                      <a:pt x="100" y="1003"/>
                    </a:lnTo>
                    <a:lnTo>
                      <a:pt x="106" y="1002"/>
                    </a:lnTo>
                    <a:lnTo>
                      <a:pt x="106" y="1002"/>
                    </a:lnTo>
                    <a:lnTo>
                      <a:pt x="113" y="999"/>
                    </a:lnTo>
                    <a:lnTo>
                      <a:pt x="113" y="999"/>
                    </a:lnTo>
                    <a:lnTo>
                      <a:pt x="114" y="999"/>
                    </a:lnTo>
                    <a:lnTo>
                      <a:pt x="115" y="999"/>
                    </a:lnTo>
                    <a:lnTo>
                      <a:pt x="115" y="998"/>
                    </a:lnTo>
                    <a:lnTo>
                      <a:pt x="115" y="998"/>
                    </a:lnTo>
                    <a:lnTo>
                      <a:pt x="115" y="998"/>
                    </a:lnTo>
                    <a:lnTo>
                      <a:pt x="118" y="996"/>
                    </a:lnTo>
                    <a:lnTo>
                      <a:pt x="118" y="995"/>
                    </a:lnTo>
                    <a:lnTo>
                      <a:pt x="118" y="995"/>
                    </a:lnTo>
                    <a:lnTo>
                      <a:pt x="115" y="996"/>
                    </a:lnTo>
                    <a:lnTo>
                      <a:pt x="114" y="998"/>
                    </a:lnTo>
                    <a:lnTo>
                      <a:pt x="111" y="995"/>
                    </a:lnTo>
                    <a:lnTo>
                      <a:pt x="111" y="987"/>
                    </a:lnTo>
                    <a:lnTo>
                      <a:pt x="111" y="987"/>
                    </a:lnTo>
                    <a:lnTo>
                      <a:pt x="111" y="974"/>
                    </a:lnTo>
                    <a:lnTo>
                      <a:pt x="111" y="974"/>
                    </a:lnTo>
                    <a:lnTo>
                      <a:pt x="111" y="966"/>
                    </a:lnTo>
                    <a:lnTo>
                      <a:pt x="110" y="959"/>
                    </a:lnTo>
                    <a:lnTo>
                      <a:pt x="110" y="957"/>
                    </a:lnTo>
                    <a:lnTo>
                      <a:pt x="110" y="950"/>
                    </a:lnTo>
                    <a:lnTo>
                      <a:pt x="110" y="950"/>
                    </a:lnTo>
                    <a:lnTo>
                      <a:pt x="110" y="938"/>
                    </a:lnTo>
                    <a:lnTo>
                      <a:pt x="110" y="938"/>
                    </a:lnTo>
                    <a:lnTo>
                      <a:pt x="110" y="929"/>
                    </a:lnTo>
                    <a:lnTo>
                      <a:pt x="109" y="922"/>
                    </a:lnTo>
                    <a:lnTo>
                      <a:pt x="109" y="920"/>
                    </a:lnTo>
                    <a:lnTo>
                      <a:pt x="109" y="912"/>
                    </a:lnTo>
                    <a:lnTo>
                      <a:pt x="109" y="912"/>
                    </a:lnTo>
                    <a:lnTo>
                      <a:pt x="109" y="900"/>
                    </a:lnTo>
                    <a:lnTo>
                      <a:pt x="109" y="900"/>
                    </a:lnTo>
                    <a:lnTo>
                      <a:pt x="109" y="891"/>
                    </a:lnTo>
                    <a:lnTo>
                      <a:pt x="109" y="884"/>
                    </a:lnTo>
                    <a:lnTo>
                      <a:pt x="107" y="883"/>
                    </a:lnTo>
                    <a:lnTo>
                      <a:pt x="107" y="875"/>
                    </a:lnTo>
                    <a:lnTo>
                      <a:pt x="107" y="875"/>
                    </a:lnTo>
                    <a:lnTo>
                      <a:pt x="107" y="864"/>
                    </a:lnTo>
                    <a:lnTo>
                      <a:pt x="107" y="864"/>
                    </a:lnTo>
                    <a:lnTo>
                      <a:pt x="107" y="858"/>
                    </a:lnTo>
                    <a:lnTo>
                      <a:pt x="107" y="852"/>
                    </a:lnTo>
                    <a:lnTo>
                      <a:pt x="106" y="850"/>
                    </a:lnTo>
                    <a:lnTo>
                      <a:pt x="106" y="842"/>
                    </a:lnTo>
                    <a:lnTo>
                      <a:pt x="106" y="842"/>
                    </a:lnTo>
                    <a:lnTo>
                      <a:pt x="106" y="831"/>
                    </a:lnTo>
                    <a:lnTo>
                      <a:pt x="106" y="831"/>
                    </a:lnTo>
                    <a:lnTo>
                      <a:pt x="106" y="826"/>
                    </a:lnTo>
                    <a:lnTo>
                      <a:pt x="106" y="821"/>
                    </a:lnTo>
                    <a:lnTo>
                      <a:pt x="105" y="818"/>
                    </a:lnTo>
                    <a:lnTo>
                      <a:pt x="105" y="810"/>
                    </a:lnTo>
                    <a:lnTo>
                      <a:pt x="105" y="810"/>
                    </a:lnTo>
                    <a:lnTo>
                      <a:pt x="105" y="799"/>
                    </a:lnTo>
                    <a:lnTo>
                      <a:pt x="105" y="799"/>
                    </a:lnTo>
                    <a:lnTo>
                      <a:pt x="105" y="791"/>
                    </a:lnTo>
                    <a:lnTo>
                      <a:pt x="105" y="786"/>
                    </a:lnTo>
                    <a:lnTo>
                      <a:pt x="103" y="784"/>
                    </a:lnTo>
                    <a:lnTo>
                      <a:pt x="103" y="776"/>
                    </a:lnTo>
                    <a:lnTo>
                      <a:pt x="103" y="776"/>
                    </a:lnTo>
                    <a:lnTo>
                      <a:pt x="103" y="765"/>
                    </a:lnTo>
                    <a:lnTo>
                      <a:pt x="103" y="765"/>
                    </a:lnTo>
                    <a:lnTo>
                      <a:pt x="103" y="758"/>
                    </a:lnTo>
                    <a:lnTo>
                      <a:pt x="103" y="753"/>
                    </a:lnTo>
                    <a:lnTo>
                      <a:pt x="102" y="750"/>
                    </a:lnTo>
                    <a:lnTo>
                      <a:pt x="102" y="744"/>
                    </a:lnTo>
                    <a:lnTo>
                      <a:pt x="102" y="744"/>
                    </a:lnTo>
                    <a:lnTo>
                      <a:pt x="102" y="732"/>
                    </a:lnTo>
                    <a:lnTo>
                      <a:pt x="102" y="732"/>
                    </a:lnTo>
                    <a:lnTo>
                      <a:pt x="102" y="724"/>
                    </a:lnTo>
                    <a:lnTo>
                      <a:pt x="102" y="719"/>
                    </a:lnTo>
                    <a:lnTo>
                      <a:pt x="101" y="716"/>
                    </a:lnTo>
                    <a:lnTo>
                      <a:pt x="101" y="708"/>
                    </a:lnTo>
                    <a:lnTo>
                      <a:pt x="101" y="708"/>
                    </a:lnTo>
                    <a:lnTo>
                      <a:pt x="101" y="698"/>
                    </a:lnTo>
                    <a:lnTo>
                      <a:pt x="101" y="698"/>
                    </a:lnTo>
                    <a:lnTo>
                      <a:pt x="102" y="691"/>
                    </a:lnTo>
                    <a:lnTo>
                      <a:pt x="101" y="686"/>
                    </a:lnTo>
                    <a:lnTo>
                      <a:pt x="100" y="683"/>
                    </a:lnTo>
                    <a:lnTo>
                      <a:pt x="100" y="674"/>
                    </a:lnTo>
                    <a:lnTo>
                      <a:pt x="100" y="674"/>
                    </a:lnTo>
                    <a:lnTo>
                      <a:pt x="100" y="663"/>
                    </a:lnTo>
                    <a:lnTo>
                      <a:pt x="100" y="663"/>
                    </a:lnTo>
                    <a:lnTo>
                      <a:pt x="101" y="655"/>
                    </a:lnTo>
                    <a:lnTo>
                      <a:pt x="100" y="650"/>
                    </a:lnTo>
                    <a:lnTo>
                      <a:pt x="98" y="647"/>
                    </a:lnTo>
                    <a:lnTo>
                      <a:pt x="98" y="641"/>
                    </a:lnTo>
                    <a:lnTo>
                      <a:pt x="98" y="641"/>
                    </a:lnTo>
                    <a:lnTo>
                      <a:pt x="98" y="629"/>
                    </a:lnTo>
                    <a:lnTo>
                      <a:pt x="98" y="629"/>
                    </a:lnTo>
                    <a:lnTo>
                      <a:pt x="100" y="621"/>
                    </a:lnTo>
                    <a:lnTo>
                      <a:pt x="98" y="616"/>
                    </a:lnTo>
                    <a:lnTo>
                      <a:pt x="97" y="613"/>
                    </a:lnTo>
                    <a:lnTo>
                      <a:pt x="97" y="606"/>
                    </a:lnTo>
                    <a:lnTo>
                      <a:pt x="97" y="606"/>
                    </a:lnTo>
                    <a:lnTo>
                      <a:pt x="98" y="596"/>
                    </a:lnTo>
                    <a:lnTo>
                      <a:pt x="98" y="596"/>
                    </a:lnTo>
                    <a:lnTo>
                      <a:pt x="98" y="589"/>
                    </a:lnTo>
                    <a:lnTo>
                      <a:pt x="97" y="584"/>
                    </a:lnTo>
                    <a:lnTo>
                      <a:pt x="97" y="581"/>
                    </a:lnTo>
                    <a:lnTo>
                      <a:pt x="97" y="576"/>
                    </a:lnTo>
                    <a:lnTo>
                      <a:pt x="97" y="576"/>
                    </a:lnTo>
                    <a:lnTo>
                      <a:pt x="97" y="565"/>
                    </a:lnTo>
                    <a:lnTo>
                      <a:pt x="97" y="565"/>
                    </a:lnTo>
                    <a:lnTo>
                      <a:pt x="97" y="559"/>
                    </a:lnTo>
                    <a:lnTo>
                      <a:pt x="96" y="553"/>
                    </a:lnTo>
                    <a:lnTo>
                      <a:pt x="96" y="551"/>
                    </a:lnTo>
                    <a:lnTo>
                      <a:pt x="96" y="544"/>
                    </a:lnTo>
                    <a:lnTo>
                      <a:pt x="96" y="544"/>
                    </a:lnTo>
                    <a:lnTo>
                      <a:pt x="96" y="534"/>
                    </a:lnTo>
                    <a:lnTo>
                      <a:pt x="96" y="534"/>
                    </a:lnTo>
                    <a:lnTo>
                      <a:pt x="96" y="528"/>
                    </a:lnTo>
                    <a:lnTo>
                      <a:pt x="94" y="523"/>
                    </a:lnTo>
                    <a:lnTo>
                      <a:pt x="94" y="520"/>
                    </a:lnTo>
                    <a:lnTo>
                      <a:pt x="94" y="514"/>
                    </a:lnTo>
                    <a:lnTo>
                      <a:pt x="94" y="514"/>
                    </a:lnTo>
                    <a:lnTo>
                      <a:pt x="94" y="502"/>
                    </a:lnTo>
                    <a:lnTo>
                      <a:pt x="94" y="502"/>
                    </a:lnTo>
                    <a:lnTo>
                      <a:pt x="94" y="494"/>
                    </a:lnTo>
                    <a:lnTo>
                      <a:pt x="93" y="489"/>
                    </a:lnTo>
                    <a:lnTo>
                      <a:pt x="93" y="486"/>
                    </a:lnTo>
                    <a:lnTo>
                      <a:pt x="93" y="478"/>
                    </a:lnTo>
                    <a:lnTo>
                      <a:pt x="93" y="478"/>
                    </a:lnTo>
                    <a:lnTo>
                      <a:pt x="93" y="466"/>
                    </a:lnTo>
                    <a:lnTo>
                      <a:pt x="93" y="466"/>
                    </a:lnTo>
                    <a:lnTo>
                      <a:pt x="93" y="460"/>
                    </a:lnTo>
                    <a:lnTo>
                      <a:pt x="92" y="453"/>
                    </a:lnTo>
                    <a:lnTo>
                      <a:pt x="92" y="450"/>
                    </a:lnTo>
                    <a:lnTo>
                      <a:pt x="92" y="444"/>
                    </a:lnTo>
                    <a:lnTo>
                      <a:pt x="92" y="444"/>
                    </a:lnTo>
                    <a:lnTo>
                      <a:pt x="92" y="432"/>
                    </a:lnTo>
                    <a:lnTo>
                      <a:pt x="92" y="432"/>
                    </a:lnTo>
                    <a:lnTo>
                      <a:pt x="92" y="425"/>
                    </a:lnTo>
                    <a:lnTo>
                      <a:pt x="90" y="419"/>
                    </a:lnTo>
                    <a:lnTo>
                      <a:pt x="90" y="416"/>
                    </a:lnTo>
                    <a:lnTo>
                      <a:pt x="90" y="409"/>
                    </a:lnTo>
                    <a:lnTo>
                      <a:pt x="90" y="409"/>
                    </a:lnTo>
                    <a:lnTo>
                      <a:pt x="90" y="397"/>
                    </a:lnTo>
                    <a:lnTo>
                      <a:pt x="90" y="397"/>
                    </a:lnTo>
                    <a:lnTo>
                      <a:pt x="90" y="391"/>
                    </a:lnTo>
                    <a:lnTo>
                      <a:pt x="89" y="384"/>
                    </a:lnTo>
                    <a:lnTo>
                      <a:pt x="89" y="382"/>
                    </a:lnTo>
                    <a:lnTo>
                      <a:pt x="89" y="375"/>
                    </a:lnTo>
                    <a:lnTo>
                      <a:pt x="89" y="375"/>
                    </a:lnTo>
                    <a:lnTo>
                      <a:pt x="89" y="364"/>
                    </a:lnTo>
                    <a:lnTo>
                      <a:pt x="89" y="364"/>
                    </a:lnTo>
                    <a:lnTo>
                      <a:pt x="89" y="358"/>
                    </a:lnTo>
                    <a:lnTo>
                      <a:pt x="88" y="354"/>
                    </a:lnTo>
                    <a:lnTo>
                      <a:pt x="88" y="350"/>
                    </a:lnTo>
                    <a:lnTo>
                      <a:pt x="88" y="345"/>
                    </a:lnTo>
                    <a:lnTo>
                      <a:pt x="88" y="345"/>
                    </a:lnTo>
                    <a:lnTo>
                      <a:pt x="88" y="333"/>
                    </a:lnTo>
                    <a:lnTo>
                      <a:pt x="88" y="333"/>
                    </a:lnTo>
                    <a:lnTo>
                      <a:pt x="88" y="325"/>
                    </a:lnTo>
                    <a:lnTo>
                      <a:pt x="86" y="318"/>
                    </a:lnTo>
                    <a:lnTo>
                      <a:pt x="86" y="317"/>
                    </a:lnTo>
                    <a:lnTo>
                      <a:pt x="86" y="308"/>
                    </a:lnTo>
                    <a:lnTo>
                      <a:pt x="86" y="308"/>
                    </a:lnTo>
                    <a:lnTo>
                      <a:pt x="86" y="297"/>
                    </a:lnTo>
                    <a:lnTo>
                      <a:pt x="86" y="297"/>
                    </a:lnTo>
                    <a:lnTo>
                      <a:pt x="86" y="289"/>
                    </a:lnTo>
                    <a:lnTo>
                      <a:pt x="85" y="284"/>
                    </a:lnTo>
                    <a:lnTo>
                      <a:pt x="85" y="281"/>
                    </a:lnTo>
                    <a:lnTo>
                      <a:pt x="85" y="273"/>
                    </a:lnTo>
                    <a:lnTo>
                      <a:pt x="85" y="273"/>
                    </a:lnTo>
                    <a:lnTo>
                      <a:pt x="85" y="263"/>
                    </a:lnTo>
                    <a:lnTo>
                      <a:pt x="85" y="263"/>
                    </a:lnTo>
                    <a:lnTo>
                      <a:pt x="85" y="256"/>
                    </a:lnTo>
                    <a:lnTo>
                      <a:pt x="84" y="251"/>
                    </a:lnTo>
                    <a:lnTo>
                      <a:pt x="84" y="248"/>
                    </a:lnTo>
                    <a:lnTo>
                      <a:pt x="84" y="240"/>
                    </a:lnTo>
                    <a:lnTo>
                      <a:pt x="84" y="240"/>
                    </a:lnTo>
                    <a:lnTo>
                      <a:pt x="84" y="227"/>
                    </a:lnTo>
                    <a:lnTo>
                      <a:pt x="84" y="227"/>
                    </a:lnTo>
                    <a:lnTo>
                      <a:pt x="84" y="218"/>
                    </a:lnTo>
                    <a:lnTo>
                      <a:pt x="82" y="210"/>
                    </a:lnTo>
                    <a:lnTo>
                      <a:pt x="82" y="208"/>
                    </a:lnTo>
                    <a:lnTo>
                      <a:pt x="82" y="200"/>
                    </a:lnTo>
                    <a:lnTo>
                      <a:pt x="82" y="200"/>
                    </a:lnTo>
                    <a:lnTo>
                      <a:pt x="82" y="190"/>
                    </a:lnTo>
                    <a:lnTo>
                      <a:pt x="82" y="190"/>
                    </a:lnTo>
                    <a:lnTo>
                      <a:pt x="82" y="183"/>
                    </a:lnTo>
                    <a:lnTo>
                      <a:pt x="81" y="178"/>
                    </a:lnTo>
                    <a:lnTo>
                      <a:pt x="81" y="175"/>
                    </a:lnTo>
                    <a:lnTo>
                      <a:pt x="81" y="167"/>
                    </a:lnTo>
                    <a:lnTo>
                      <a:pt x="81" y="167"/>
                    </a:lnTo>
                    <a:lnTo>
                      <a:pt x="81" y="158"/>
                    </a:lnTo>
                    <a:lnTo>
                      <a:pt x="81" y="158"/>
                    </a:lnTo>
                    <a:lnTo>
                      <a:pt x="81" y="153"/>
                    </a:lnTo>
                    <a:lnTo>
                      <a:pt x="81" y="148"/>
                    </a:lnTo>
                    <a:lnTo>
                      <a:pt x="80" y="145"/>
                    </a:lnTo>
                    <a:lnTo>
                      <a:pt x="80" y="138"/>
                    </a:lnTo>
                    <a:lnTo>
                      <a:pt x="80" y="138"/>
                    </a:lnTo>
                    <a:lnTo>
                      <a:pt x="80" y="128"/>
                    </a:lnTo>
                    <a:lnTo>
                      <a:pt x="80" y="128"/>
                    </a:lnTo>
                    <a:lnTo>
                      <a:pt x="80" y="121"/>
                    </a:lnTo>
                    <a:lnTo>
                      <a:pt x="80" y="116"/>
                    </a:lnTo>
                    <a:lnTo>
                      <a:pt x="78" y="113"/>
                    </a:lnTo>
                    <a:lnTo>
                      <a:pt x="78" y="107"/>
                    </a:lnTo>
                    <a:lnTo>
                      <a:pt x="78" y="107"/>
                    </a:lnTo>
                    <a:lnTo>
                      <a:pt x="78" y="96"/>
                    </a:lnTo>
                    <a:lnTo>
                      <a:pt x="78" y="96"/>
                    </a:lnTo>
                    <a:lnTo>
                      <a:pt x="78" y="89"/>
                    </a:lnTo>
                    <a:lnTo>
                      <a:pt x="78" y="84"/>
                    </a:lnTo>
                    <a:lnTo>
                      <a:pt x="77" y="81"/>
                    </a:lnTo>
                    <a:lnTo>
                      <a:pt x="77" y="74"/>
                    </a:lnTo>
                    <a:lnTo>
                      <a:pt x="77" y="74"/>
                    </a:lnTo>
                    <a:lnTo>
                      <a:pt x="77" y="63"/>
                    </a:lnTo>
                    <a:lnTo>
                      <a:pt x="77" y="63"/>
                    </a:lnTo>
                    <a:lnTo>
                      <a:pt x="77" y="56"/>
                    </a:lnTo>
                    <a:lnTo>
                      <a:pt x="77" y="51"/>
                    </a:lnTo>
                    <a:lnTo>
                      <a:pt x="76" y="48"/>
                    </a:lnTo>
                    <a:lnTo>
                      <a:pt x="76" y="39"/>
                    </a:lnTo>
                    <a:lnTo>
                      <a:pt x="76" y="39"/>
                    </a:lnTo>
                    <a:lnTo>
                      <a:pt x="76" y="29"/>
                    </a:lnTo>
                    <a:lnTo>
                      <a:pt x="76" y="29"/>
                    </a:lnTo>
                    <a:lnTo>
                      <a:pt x="76" y="22"/>
                    </a:lnTo>
                    <a:lnTo>
                      <a:pt x="76" y="17"/>
                    </a:lnTo>
                    <a:lnTo>
                      <a:pt x="74" y="13"/>
                    </a:lnTo>
                    <a:lnTo>
                      <a:pt x="74" y="13"/>
                    </a:lnTo>
                    <a:lnTo>
                      <a:pt x="74" y="11"/>
                    </a:lnTo>
                    <a:lnTo>
                      <a:pt x="74" y="11"/>
                    </a:lnTo>
                    <a:lnTo>
                      <a:pt x="74" y="6"/>
                    </a:lnTo>
                    <a:lnTo>
                      <a:pt x="76" y="3"/>
                    </a:lnTo>
                    <a:lnTo>
                      <a:pt x="77" y="2"/>
                    </a:lnTo>
                    <a:lnTo>
                      <a:pt x="77" y="2"/>
                    </a:lnTo>
                    <a:lnTo>
                      <a:pt x="80" y="0"/>
                    </a:lnTo>
                    <a:lnTo>
                      <a:pt x="82" y="0"/>
                    </a:lnTo>
                    <a:lnTo>
                      <a:pt x="82" y="0"/>
                    </a:lnTo>
                    <a:lnTo>
                      <a:pt x="85" y="0"/>
                    </a:lnTo>
                    <a:lnTo>
                      <a:pt x="89" y="5"/>
                    </a:lnTo>
                    <a:lnTo>
                      <a:pt x="89" y="7"/>
                    </a:lnTo>
                    <a:lnTo>
                      <a:pt x="89" y="7"/>
                    </a:lnTo>
                    <a:lnTo>
                      <a:pt x="94" y="10"/>
                    </a:lnTo>
                    <a:lnTo>
                      <a:pt x="94" y="10"/>
                    </a:lnTo>
                    <a:lnTo>
                      <a:pt x="97" y="11"/>
                    </a:lnTo>
                    <a:lnTo>
                      <a:pt x="97" y="11"/>
                    </a:lnTo>
                    <a:lnTo>
                      <a:pt x="103" y="18"/>
                    </a:lnTo>
                    <a:lnTo>
                      <a:pt x="103" y="21"/>
                    </a:lnTo>
                    <a:lnTo>
                      <a:pt x="103" y="21"/>
                    </a:lnTo>
                    <a:lnTo>
                      <a:pt x="106" y="22"/>
                    </a:lnTo>
                    <a:lnTo>
                      <a:pt x="109" y="23"/>
                    </a:lnTo>
                    <a:lnTo>
                      <a:pt x="109" y="23"/>
                    </a:lnTo>
                    <a:lnTo>
                      <a:pt x="110" y="25"/>
                    </a:lnTo>
                    <a:lnTo>
                      <a:pt x="110" y="25"/>
                    </a:lnTo>
                    <a:lnTo>
                      <a:pt x="110" y="26"/>
                    </a:lnTo>
                    <a:lnTo>
                      <a:pt x="110" y="26"/>
                    </a:lnTo>
                    <a:lnTo>
                      <a:pt x="114" y="26"/>
                    </a:lnTo>
                    <a:lnTo>
                      <a:pt x="114" y="26"/>
                    </a:lnTo>
                    <a:lnTo>
                      <a:pt x="118" y="26"/>
                    </a:lnTo>
                    <a:lnTo>
                      <a:pt x="121" y="27"/>
                    </a:lnTo>
                    <a:lnTo>
                      <a:pt x="123" y="33"/>
                    </a:lnTo>
                    <a:lnTo>
                      <a:pt x="123" y="33"/>
                    </a:lnTo>
                    <a:lnTo>
                      <a:pt x="125" y="34"/>
                    </a:lnTo>
                    <a:lnTo>
                      <a:pt x="125" y="34"/>
                    </a:lnTo>
                    <a:lnTo>
                      <a:pt x="125" y="34"/>
                    </a:lnTo>
                    <a:lnTo>
                      <a:pt x="125" y="34"/>
                    </a:lnTo>
                    <a:lnTo>
                      <a:pt x="127" y="34"/>
                    </a:lnTo>
                    <a:lnTo>
                      <a:pt x="133" y="34"/>
                    </a:lnTo>
                    <a:lnTo>
                      <a:pt x="133" y="34"/>
                    </a:lnTo>
                    <a:lnTo>
                      <a:pt x="137" y="34"/>
                    </a:lnTo>
                    <a:lnTo>
                      <a:pt x="140" y="35"/>
                    </a:lnTo>
                    <a:lnTo>
                      <a:pt x="146" y="38"/>
                    </a:lnTo>
                    <a:lnTo>
                      <a:pt x="150" y="42"/>
                    </a:lnTo>
                    <a:lnTo>
                      <a:pt x="150" y="42"/>
                    </a:lnTo>
                    <a:lnTo>
                      <a:pt x="150" y="42"/>
                    </a:lnTo>
                    <a:lnTo>
                      <a:pt x="150" y="43"/>
                    </a:lnTo>
                    <a:lnTo>
                      <a:pt x="150" y="43"/>
                    </a:lnTo>
                    <a:lnTo>
                      <a:pt x="152" y="46"/>
                    </a:lnTo>
                    <a:lnTo>
                      <a:pt x="154" y="47"/>
                    </a:lnTo>
                    <a:lnTo>
                      <a:pt x="154" y="51"/>
                    </a:lnTo>
                    <a:lnTo>
                      <a:pt x="154" y="51"/>
                    </a:lnTo>
                    <a:lnTo>
                      <a:pt x="155" y="51"/>
                    </a:lnTo>
                    <a:lnTo>
                      <a:pt x="156" y="52"/>
                    </a:lnTo>
                    <a:lnTo>
                      <a:pt x="156" y="52"/>
                    </a:lnTo>
                    <a:lnTo>
                      <a:pt x="160" y="54"/>
                    </a:lnTo>
                    <a:lnTo>
                      <a:pt x="163" y="58"/>
                    </a:lnTo>
                    <a:lnTo>
                      <a:pt x="163" y="58"/>
                    </a:lnTo>
                    <a:lnTo>
                      <a:pt x="163" y="58"/>
                    </a:lnTo>
                    <a:lnTo>
                      <a:pt x="166" y="59"/>
                    </a:lnTo>
                    <a:lnTo>
                      <a:pt x="167" y="60"/>
                    </a:lnTo>
                    <a:lnTo>
                      <a:pt x="167" y="60"/>
                    </a:lnTo>
                    <a:lnTo>
                      <a:pt x="171" y="63"/>
                    </a:lnTo>
                    <a:lnTo>
                      <a:pt x="174" y="64"/>
                    </a:lnTo>
                    <a:lnTo>
                      <a:pt x="174" y="64"/>
                    </a:lnTo>
                    <a:lnTo>
                      <a:pt x="175" y="66"/>
                    </a:lnTo>
                    <a:lnTo>
                      <a:pt x="175" y="66"/>
                    </a:lnTo>
                    <a:lnTo>
                      <a:pt x="178" y="68"/>
                    </a:lnTo>
                    <a:lnTo>
                      <a:pt x="179" y="72"/>
                    </a:lnTo>
                    <a:lnTo>
                      <a:pt x="178" y="76"/>
                    </a:lnTo>
                    <a:lnTo>
                      <a:pt x="178" y="76"/>
                    </a:lnTo>
                    <a:lnTo>
                      <a:pt x="178" y="76"/>
                    </a:lnTo>
                    <a:lnTo>
                      <a:pt x="178" y="76"/>
                    </a:lnTo>
                    <a:lnTo>
                      <a:pt x="178" y="76"/>
                    </a:lnTo>
                    <a:lnTo>
                      <a:pt x="179" y="76"/>
                    </a:lnTo>
                    <a:lnTo>
                      <a:pt x="179" y="76"/>
                    </a:lnTo>
                    <a:lnTo>
                      <a:pt x="180" y="78"/>
                    </a:lnTo>
                    <a:lnTo>
                      <a:pt x="180" y="78"/>
                    </a:lnTo>
                    <a:lnTo>
                      <a:pt x="184" y="80"/>
                    </a:lnTo>
                    <a:lnTo>
                      <a:pt x="184" y="80"/>
                    </a:lnTo>
                    <a:lnTo>
                      <a:pt x="187" y="85"/>
                    </a:lnTo>
                    <a:lnTo>
                      <a:pt x="187" y="85"/>
                    </a:lnTo>
                    <a:lnTo>
                      <a:pt x="188" y="89"/>
                    </a:lnTo>
                    <a:lnTo>
                      <a:pt x="191" y="95"/>
                    </a:lnTo>
                    <a:lnTo>
                      <a:pt x="191" y="96"/>
                    </a:lnTo>
                    <a:lnTo>
                      <a:pt x="191" y="97"/>
                    </a:lnTo>
                    <a:lnTo>
                      <a:pt x="191" y="99"/>
                    </a:lnTo>
                    <a:lnTo>
                      <a:pt x="191" y="99"/>
                    </a:lnTo>
                    <a:lnTo>
                      <a:pt x="191" y="99"/>
                    </a:lnTo>
                    <a:lnTo>
                      <a:pt x="191" y="100"/>
                    </a:lnTo>
                    <a:lnTo>
                      <a:pt x="196" y="104"/>
                    </a:lnTo>
                    <a:lnTo>
                      <a:pt x="196" y="104"/>
                    </a:lnTo>
                    <a:lnTo>
                      <a:pt x="195" y="103"/>
                    </a:lnTo>
                    <a:lnTo>
                      <a:pt x="199" y="107"/>
                    </a:lnTo>
                    <a:lnTo>
                      <a:pt x="199" y="107"/>
                    </a:lnTo>
                    <a:lnTo>
                      <a:pt x="196" y="111"/>
                    </a:lnTo>
                    <a:lnTo>
                      <a:pt x="196" y="112"/>
                    </a:lnTo>
                    <a:lnTo>
                      <a:pt x="196" y="112"/>
                    </a:lnTo>
                    <a:lnTo>
                      <a:pt x="200" y="117"/>
                    </a:lnTo>
                    <a:lnTo>
                      <a:pt x="205" y="121"/>
                    </a:lnTo>
                    <a:lnTo>
                      <a:pt x="207" y="126"/>
                    </a:lnTo>
                    <a:lnTo>
                      <a:pt x="207" y="126"/>
                    </a:lnTo>
                    <a:lnTo>
                      <a:pt x="205" y="132"/>
                    </a:lnTo>
                    <a:lnTo>
                      <a:pt x="205" y="132"/>
                    </a:lnTo>
                    <a:lnTo>
                      <a:pt x="207" y="129"/>
                    </a:lnTo>
                    <a:lnTo>
                      <a:pt x="207" y="128"/>
                    </a:lnTo>
                    <a:lnTo>
                      <a:pt x="207" y="128"/>
                    </a:lnTo>
                    <a:lnTo>
                      <a:pt x="208" y="130"/>
                    </a:lnTo>
                    <a:lnTo>
                      <a:pt x="209" y="130"/>
                    </a:lnTo>
                    <a:lnTo>
                      <a:pt x="213" y="132"/>
                    </a:lnTo>
                    <a:lnTo>
                      <a:pt x="213" y="132"/>
                    </a:lnTo>
                    <a:lnTo>
                      <a:pt x="215" y="134"/>
                    </a:lnTo>
                    <a:lnTo>
                      <a:pt x="216" y="137"/>
                    </a:lnTo>
                    <a:lnTo>
                      <a:pt x="215" y="141"/>
                    </a:lnTo>
                    <a:lnTo>
                      <a:pt x="215" y="141"/>
                    </a:lnTo>
                    <a:lnTo>
                      <a:pt x="213" y="142"/>
                    </a:lnTo>
                    <a:lnTo>
                      <a:pt x="213" y="142"/>
                    </a:lnTo>
                    <a:lnTo>
                      <a:pt x="211" y="141"/>
                    </a:lnTo>
                    <a:lnTo>
                      <a:pt x="208" y="140"/>
                    </a:lnTo>
                    <a:lnTo>
                      <a:pt x="208" y="142"/>
                    </a:lnTo>
                    <a:lnTo>
                      <a:pt x="209" y="141"/>
                    </a:lnTo>
                    <a:lnTo>
                      <a:pt x="209" y="142"/>
                    </a:lnTo>
                    <a:lnTo>
                      <a:pt x="211" y="144"/>
                    </a:lnTo>
                    <a:lnTo>
                      <a:pt x="212" y="142"/>
                    </a:lnTo>
                    <a:lnTo>
                      <a:pt x="212" y="142"/>
                    </a:lnTo>
                    <a:lnTo>
                      <a:pt x="212" y="142"/>
                    </a:lnTo>
                    <a:lnTo>
                      <a:pt x="211" y="144"/>
                    </a:lnTo>
                    <a:lnTo>
                      <a:pt x="213" y="145"/>
                    </a:lnTo>
                    <a:lnTo>
                      <a:pt x="213" y="145"/>
                    </a:lnTo>
                    <a:lnTo>
                      <a:pt x="213" y="144"/>
                    </a:lnTo>
                    <a:lnTo>
                      <a:pt x="213" y="144"/>
                    </a:lnTo>
                    <a:lnTo>
                      <a:pt x="213" y="142"/>
                    </a:lnTo>
                    <a:lnTo>
                      <a:pt x="213" y="142"/>
                    </a:lnTo>
                    <a:lnTo>
                      <a:pt x="217" y="148"/>
                    </a:lnTo>
                    <a:lnTo>
                      <a:pt x="220" y="152"/>
                    </a:lnTo>
                    <a:lnTo>
                      <a:pt x="220" y="152"/>
                    </a:lnTo>
                    <a:lnTo>
                      <a:pt x="222" y="156"/>
                    </a:lnTo>
                    <a:lnTo>
                      <a:pt x="222" y="156"/>
                    </a:lnTo>
                    <a:lnTo>
                      <a:pt x="224" y="158"/>
                    </a:lnTo>
                    <a:lnTo>
                      <a:pt x="225" y="161"/>
                    </a:lnTo>
                    <a:lnTo>
                      <a:pt x="225" y="161"/>
                    </a:lnTo>
                    <a:lnTo>
                      <a:pt x="226" y="163"/>
                    </a:lnTo>
                    <a:lnTo>
                      <a:pt x="226" y="163"/>
                    </a:lnTo>
                    <a:lnTo>
                      <a:pt x="228" y="163"/>
                    </a:lnTo>
                    <a:lnTo>
                      <a:pt x="228" y="163"/>
                    </a:lnTo>
                    <a:lnTo>
                      <a:pt x="229" y="163"/>
                    </a:lnTo>
                    <a:lnTo>
                      <a:pt x="229" y="163"/>
                    </a:lnTo>
                    <a:lnTo>
                      <a:pt x="232" y="163"/>
                    </a:lnTo>
                    <a:lnTo>
                      <a:pt x="233" y="165"/>
                    </a:lnTo>
                    <a:lnTo>
                      <a:pt x="236" y="166"/>
                    </a:lnTo>
                    <a:lnTo>
                      <a:pt x="236" y="169"/>
                    </a:lnTo>
                    <a:lnTo>
                      <a:pt x="237" y="170"/>
                    </a:lnTo>
                    <a:lnTo>
                      <a:pt x="237" y="173"/>
                    </a:lnTo>
                    <a:lnTo>
                      <a:pt x="237" y="173"/>
                    </a:lnTo>
                    <a:lnTo>
                      <a:pt x="237" y="174"/>
                    </a:lnTo>
                    <a:lnTo>
                      <a:pt x="237" y="174"/>
                    </a:lnTo>
                    <a:lnTo>
                      <a:pt x="240" y="177"/>
                    </a:lnTo>
                    <a:lnTo>
                      <a:pt x="241" y="181"/>
                    </a:lnTo>
                    <a:lnTo>
                      <a:pt x="241" y="181"/>
                    </a:lnTo>
                    <a:lnTo>
                      <a:pt x="241" y="181"/>
                    </a:lnTo>
                    <a:lnTo>
                      <a:pt x="245" y="186"/>
                    </a:lnTo>
                    <a:lnTo>
                      <a:pt x="245" y="187"/>
                    </a:lnTo>
                    <a:lnTo>
                      <a:pt x="245" y="187"/>
                    </a:lnTo>
                    <a:lnTo>
                      <a:pt x="246" y="189"/>
                    </a:lnTo>
                    <a:lnTo>
                      <a:pt x="248" y="193"/>
                    </a:lnTo>
                    <a:lnTo>
                      <a:pt x="248" y="193"/>
                    </a:lnTo>
                    <a:lnTo>
                      <a:pt x="246" y="197"/>
                    </a:lnTo>
                    <a:lnTo>
                      <a:pt x="245" y="198"/>
                    </a:lnTo>
                    <a:lnTo>
                      <a:pt x="245" y="198"/>
                    </a:lnTo>
                    <a:lnTo>
                      <a:pt x="245" y="198"/>
                    </a:lnTo>
                    <a:lnTo>
                      <a:pt x="245" y="198"/>
                    </a:lnTo>
                    <a:lnTo>
                      <a:pt x="245" y="198"/>
                    </a:lnTo>
                    <a:lnTo>
                      <a:pt x="244" y="198"/>
                    </a:lnTo>
                    <a:lnTo>
                      <a:pt x="244" y="198"/>
                    </a:lnTo>
                    <a:lnTo>
                      <a:pt x="242" y="197"/>
                    </a:lnTo>
                    <a:lnTo>
                      <a:pt x="240" y="197"/>
                    </a:lnTo>
                    <a:lnTo>
                      <a:pt x="240" y="197"/>
                    </a:lnTo>
                    <a:lnTo>
                      <a:pt x="242" y="198"/>
                    </a:lnTo>
                    <a:lnTo>
                      <a:pt x="240" y="200"/>
                    </a:lnTo>
                    <a:lnTo>
                      <a:pt x="240" y="202"/>
                    </a:lnTo>
                    <a:lnTo>
                      <a:pt x="240" y="202"/>
                    </a:lnTo>
                    <a:lnTo>
                      <a:pt x="242" y="200"/>
                    </a:lnTo>
                    <a:lnTo>
                      <a:pt x="244" y="199"/>
                    </a:lnTo>
                    <a:lnTo>
                      <a:pt x="244" y="199"/>
                    </a:lnTo>
                    <a:lnTo>
                      <a:pt x="244" y="199"/>
                    </a:lnTo>
                    <a:lnTo>
                      <a:pt x="244" y="199"/>
                    </a:lnTo>
                    <a:lnTo>
                      <a:pt x="244" y="199"/>
                    </a:lnTo>
                    <a:lnTo>
                      <a:pt x="244" y="199"/>
                    </a:lnTo>
                    <a:lnTo>
                      <a:pt x="244" y="199"/>
                    </a:lnTo>
                    <a:lnTo>
                      <a:pt x="244" y="199"/>
                    </a:lnTo>
                    <a:lnTo>
                      <a:pt x="244" y="198"/>
                    </a:lnTo>
                    <a:lnTo>
                      <a:pt x="244" y="198"/>
                    </a:lnTo>
                    <a:lnTo>
                      <a:pt x="244" y="199"/>
                    </a:lnTo>
                    <a:lnTo>
                      <a:pt x="244" y="199"/>
                    </a:lnTo>
                    <a:lnTo>
                      <a:pt x="244" y="199"/>
                    </a:lnTo>
                    <a:lnTo>
                      <a:pt x="249" y="202"/>
                    </a:lnTo>
                    <a:lnTo>
                      <a:pt x="252" y="204"/>
                    </a:lnTo>
                    <a:lnTo>
                      <a:pt x="252" y="204"/>
                    </a:lnTo>
                    <a:lnTo>
                      <a:pt x="254" y="206"/>
                    </a:lnTo>
                    <a:lnTo>
                      <a:pt x="256" y="208"/>
                    </a:lnTo>
                    <a:lnTo>
                      <a:pt x="256" y="208"/>
                    </a:lnTo>
                    <a:lnTo>
                      <a:pt x="257" y="212"/>
                    </a:lnTo>
                    <a:lnTo>
                      <a:pt x="257" y="212"/>
                    </a:lnTo>
                    <a:lnTo>
                      <a:pt x="257" y="211"/>
                    </a:lnTo>
                    <a:lnTo>
                      <a:pt x="257" y="212"/>
                    </a:lnTo>
                    <a:lnTo>
                      <a:pt x="256" y="212"/>
                    </a:lnTo>
                    <a:lnTo>
                      <a:pt x="259" y="216"/>
                    </a:lnTo>
                    <a:lnTo>
                      <a:pt x="259" y="216"/>
                    </a:lnTo>
                    <a:lnTo>
                      <a:pt x="258" y="219"/>
                    </a:lnTo>
                    <a:lnTo>
                      <a:pt x="257" y="222"/>
                    </a:lnTo>
                    <a:lnTo>
                      <a:pt x="253" y="224"/>
                    </a:lnTo>
                    <a:lnTo>
                      <a:pt x="253" y="224"/>
                    </a:lnTo>
                    <a:lnTo>
                      <a:pt x="253" y="227"/>
                    </a:lnTo>
                    <a:lnTo>
                      <a:pt x="252" y="230"/>
                    </a:lnTo>
                    <a:lnTo>
                      <a:pt x="252" y="230"/>
                    </a:lnTo>
                    <a:lnTo>
                      <a:pt x="258" y="236"/>
                    </a:lnTo>
                    <a:lnTo>
                      <a:pt x="258" y="236"/>
                    </a:lnTo>
                    <a:lnTo>
                      <a:pt x="257" y="239"/>
                    </a:lnTo>
                    <a:lnTo>
                      <a:pt x="257" y="239"/>
                    </a:lnTo>
                    <a:lnTo>
                      <a:pt x="257" y="241"/>
                    </a:lnTo>
                    <a:lnTo>
                      <a:pt x="257" y="243"/>
                    </a:lnTo>
                    <a:lnTo>
                      <a:pt x="257" y="243"/>
                    </a:lnTo>
                    <a:lnTo>
                      <a:pt x="259" y="244"/>
                    </a:lnTo>
                    <a:lnTo>
                      <a:pt x="262" y="245"/>
                    </a:lnTo>
                    <a:lnTo>
                      <a:pt x="265" y="248"/>
                    </a:lnTo>
                    <a:lnTo>
                      <a:pt x="265" y="248"/>
                    </a:lnTo>
                    <a:lnTo>
                      <a:pt x="269" y="253"/>
                    </a:lnTo>
                    <a:lnTo>
                      <a:pt x="269" y="253"/>
                    </a:lnTo>
                    <a:lnTo>
                      <a:pt x="270" y="256"/>
                    </a:lnTo>
                    <a:lnTo>
                      <a:pt x="270" y="256"/>
                    </a:lnTo>
                    <a:lnTo>
                      <a:pt x="270" y="255"/>
                    </a:lnTo>
                    <a:lnTo>
                      <a:pt x="270" y="255"/>
                    </a:lnTo>
                    <a:lnTo>
                      <a:pt x="271" y="257"/>
                    </a:lnTo>
                    <a:lnTo>
                      <a:pt x="271" y="260"/>
                    </a:lnTo>
                    <a:lnTo>
                      <a:pt x="271" y="265"/>
                    </a:lnTo>
                    <a:lnTo>
                      <a:pt x="271" y="265"/>
                    </a:lnTo>
                    <a:lnTo>
                      <a:pt x="274" y="269"/>
                    </a:lnTo>
                    <a:lnTo>
                      <a:pt x="275" y="272"/>
                    </a:lnTo>
                    <a:lnTo>
                      <a:pt x="275" y="276"/>
                    </a:lnTo>
                    <a:lnTo>
                      <a:pt x="274" y="280"/>
                    </a:lnTo>
                    <a:lnTo>
                      <a:pt x="274" y="281"/>
                    </a:lnTo>
                    <a:lnTo>
                      <a:pt x="279" y="277"/>
                    </a:lnTo>
                    <a:lnTo>
                      <a:pt x="279" y="277"/>
                    </a:lnTo>
                    <a:lnTo>
                      <a:pt x="282" y="278"/>
                    </a:lnTo>
                    <a:lnTo>
                      <a:pt x="285" y="280"/>
                    </a:lnTo>
                    <a:lnTo>
                      <a:pt x="286" y="284"/>
                    </a:lnTo>
                    <a:lnTo>
                      <a:pt x="286" y="285"/>
                    </a:lnTo>
                    <a:lnTo>
                      <a:pt x="286" y="286"/>
                    </a:lnTo>
                    <a:lnTo>
                      <a:pt x="285" y="289"/>
                    </a:lnTo>
                    <a:lnTo>
                      <a:pt x="285" y="289"/>
                    </a:lnTo>
                    <a:lnTo>
                      <a:pt x="286" y="290"/>
                    </a:lnTo>
                    <a:lnTo>
                      <a:pt x="294" y="296"/>
                    </a:lnTo>
                    <a:lnTo>
                      <a:pt x="294" y="297"/>
                    </a:lnTo>
                    <a:lnTo>
                      <a:pt x="289" y="302"/>
                    </a:lnTo>
                    <a:lnTo>
                      <a:pt x="289" y="302"/>
                    </a:lnTo>
                    <a:lnTo>
                      <a:pt x="289" y="301"/>
                    </a:lnTo>
                    <a:lnTo>
                      <a:pt x="289" y="302"/>
                    </a:lnTo>
                    <a:lnTo>
                      <a:pt x="287" y="304"/>
                    </a:lnTo>
                    <a:lnTo>
                      <a:pt x="287" y="304"/>
                    </a:lnTo>
                    <a:lnTo>
                      <a:pt x="290" y="302"/>
                    </a:lnTo>
                    <a:lnTo>
                      <a:pt x="290" y="302"/>
                    </a:lnTo>
                    <a:lnTo>
                      <a:pt x="290" y="302"/>
                    </a:lnTo>
                    <a:lnTo>
                      <a:pt x="290" y="302"/>
                    </a:lnTo>
                    <a:lnTo>
                      <a:pt x="290" y="302"/>
                    </a:lnTo>
                    <a:lnTo>
                      <a:pt x="290" y="302"/>
                    </a:lnTo>
                    <a:lnTo>
                      <a:pt x="290" y="302"/>
                    </a:lnTo>
                    <a:lnTo>
                      <a:pt x="290" y="302"/>
                    </a:lnTo>
                    <a:lnTo>
                      <a:pt x="291" y="305"/>
                    </a:lnTo>
                    <a:lnTo>
                      <a:pt x="291" y="305"/>
                    </a:lnTo>
                    <a:lnTo>
                      <a:pt x="290" y="304"/>
                    </a:lnTo>
                    <a:lnTo>
                      <a:pt x="290" y="304"/>
                    </a:lnTo>
                    <a:lnTo>
                      <a:pt x="291" y="305"/>
                    </a:lnTo>
                    <a:lnTo>
                      <a:pt x="293" y="308"/>
                    </a:lnTo>
                    <a:lnTo>
                      <a:pt x="293" y="308"/>
                    </a:lnTo>
                    <a:lnTo>
                      <a:pt x="293" y="309"/>
                    </a:lnTo>
                    <a:lnTo>
                      <a:pt x="295" y="312"/>
                    </a:lnTo>
                    <a:lnTo>
                      <a:pt x="295" y="312"/>
                    </a:lnTo>
                    <a:lnTo>
                      <a:pt x="297" y="312"/>
                    </a:lnTo>
                    <a:lnTo>
                      <a:pt x="298" y="321"/>
                    </a:lnTo>
                    <a:lnTo>
                      <a:pt x="298" y="321"/>
                    </a:lnTo>
                    <a:lnTo>
                      <a:pt x="298" y="321"/>
                    </a:lnTo>
                    <a:lnTo>
                      <a:pt x="298" y="321"/>
                    </a:lnTo>
                    <a:lnTo>
                      <a:pt x="298" y="321"/>
                    </a:lnTo>
                    <a:lnTo>
                      <a:pt x="299" y="321"/>
                    </a:lnTo>
                    <a:lnTo>
                      <a:pt x="299" y="321"/>
                    </a:lnTo>
                    <a:lnTo>
                      <a:pt x="299" y="322"/>
                    </a:lnTo>
                    <a:lnTo>
                      <a:pt x="299" y="322"/>
                    </a:lnTo>
                    <a:lnTo>
                      <a:pt x="299" y="325"/>
                    </a:lnTo>
                    <a:lnTo>
                      <a:pt x="298" y="327"/>
                    </a:lnTo>
                    <a:lnTo>
                      <a:pt x="297" y="330"/>
                    </a:lnTo>
                    <a:lnTo>
                      <a:pt x="297" y="330"/>
                    </a:lnTo>
                    <a:lnTo>
                      <a:pt x="297" y="335"/>
                    </a:lnTo>
                    <a:lnTo>
                      <a:pt x="297" y="335"/>
                    </a:lnTo>
                    <a:lnTo>
                      <a:pt x="298" y="341"/>
                    </a:lnTo>
                    <a:lnTo>
                      <a:pt x="298" y="347"/>
                    </a:lnTo>
                    <a:lnTo>
                      <a:pt x="298" y="347"/>
                    </a:lnTo>
                    <a:lnTo>
                      <a:pt x="299" y="351"/>
                    </a:lnTo>
                    <a:lnTo>
                      <a:pt x="298" y="356"/>
                    </a:lnTo>
                    <a:lnTo>
                      <a:pt x="298" y="356"/>
                    </a:lnTo>
                    <a:lnTo>
                      <a:pt x="298" y="358"/>
                    </a:lnTo>
                    <a:lnTo>
                      <a:pt x="298" y="358"/>
                    </a:lnTo>
                    <a:lnTo>
                      <a:pt x="298" y="358"/>
                    </a:lnTo>
                    <a:lnTo>
                      <a:pt x="299" y="359"/>
                    </a:lnTo>
                    <a:lnTo>
                      <a:pt x="299" y="359"/>
                    </a:lnTo>
                    <a:lnTo>
                      <a:pt x="302" y="362"/>
                    </a:lnTo>
                    <a:lnTo>
                      <a:pt x="304" y="366"/>
                    </a:lnTo>
                    <a:lnTo>
                      <a:pt x="304" y="367"/>
                    </a:lnTo>
                    <a:lnTo>
                      <a:pt x="304" y="367"/>
                    </a:lnTo>
                    <a:lnTo>
                      <a:pt x="304" y="372"/>
                    </a:lnTo>
                    <a:lnTo>
                      <a:pt x="303" y="375"/>
                    </a:lnTo>
                    <a:lnTo>
                      <a:pt x="298" y="378"/>
                    </a:lnTo>
                    <a:lnTo>
                      <a:pt x="298" y="378"/>
                    </a:lnTo>
                    <a:lnTo>
                      <a:pt x="297" y="382"/>
                    </a:lnTo>
                    <a:lnTo>
                      <a:pt x="297" y="382"/>
                    </a:lnTo>
                    <a:lnTo>
                      <a:pt x="297" y="382"/>
                    </a:lnTo>
                    <a:lnTo>
                      <a:pt x="298" y="380"/>
                    </a:lnTo>
                    <a:lnTo>
                      <a:pt x="297" y="383"/>
                    </a:lnTo>
                    <a:lnTo>
                      <a:pt x="297" y="383"/>
                    </a:lnTo>
                    <a:lnTo>
                      <a:pt x="295" y="387"/>
                    </a:lnTo>
                    <a:lnTo>
                      <a:pt x="295" y="387"/>
                    </a:lnTo>
                    <a:lnTo>
                      <a:pt x="295" y="395"/>
                    </a:lnTo>
                    <a:lnTo>
                      <a:pt x="295" y="395"/>
                    </a:lnTo>
                    <a:lnTo>
                      <a:pt x="295" y="395"/>
                    </a:lnTo>
                    <a:lnTo>
                      <a:pt x="295" y="395"/>
                    </a:lnTo>
                    <a:lnTo>
                      <a:pt x="294" y="396"/>
                    </a:lnTo>
                    <a:lnTo>
                      <a:pt x="294" y="396"/>
                    </a:lnTo>
                    <a:lnTo>
                      <a:pt x="293" y="400"/>
                    </a:lnTo>
                    <a:lnTo>
                      <a:pt x="293" y="400"/>
                    </a:lnTo>
                    <a:lnTo>
                      <a:pt x="290" y="404"/>
                    </a:lnTo>
                    <a:lnTo>
                      <a:pt x="290" y="404"/>
                    </a:lnTo>
                    <a:lnTo>
                      <a:pt x="290" y="407"/>
                    </a:lnTo>
                    <a:lnTo>
                      <a:pt x="283" y="409"/>
                    </a:lnTo>
                    <a:lnTo>
                      <a:pt x="283" y="409"/>
                    </a:lnTo>
                    <a:lnTo>
                      <a:pt x="283" y="409"/>
                    </a:lnTo>
                    <a:lnTo>
                      <a:pt x="283" y="409"/>
                    </a:lnTo>
                    <a:lnTo>
                      <a:pt x="282" y="413"/>
                    </a:lnTo>
                    <a:lnTo>
                      <a:pt x="281" y="417"/>
                    </a:lnTo>
                    <a:lnTo>
                      <a:pt x="277" y="421"/>
                    </a:lnTo>
                    <a:lnTo>
                      <a:pt x="277" y="421"/>
                    </a:lnTo>
                    <a:lnTo>
                      <a:pt x="273" y="424"/>
                    </a:lnTo>
                    <a:lnTo>
                      <a:pt x="273" y="424"/>
                    </a:lnTo>
                    <a:lnTo>
                      <a:pt x="271" y="429"/>
                    </a:lnTo>
                    <a:lnTo>
                      <a:pt x="270" y="432"/>
                    </a:lnTo>
                    <a:lnTo>
                      <a:pt x="270" y="432"/>
                    </a:lnTo>
                    <a:lnTo>
                      <a:pt x="269" y="433"/>
                    </a:lnTo>
                    <a:lnTo>
                      <a:pt x="269" y="433"/>
                    </a:lnTo>
                    <a:lnTo>
                      <a:pt x="269" y="433"/>
                    </a:lnTo>
                    <a:lnTo>
                      <a:pt x="267" y="437"/>
                    </a:lnTo>
                    <a:lnTo>
                      <a:pt x="266" y="440"/>
                    </a:lnTo>
                    <a:lnTo>
                      <a:pt x="262" y="442"/>
                    </a:lnTo>
                    <a:lnTo>
                      <a:pt x="262" y="442"/>
                    </a:lnTo>
                    <a:lnTo>
                      <a:pt x="262" y="444"/>
                    </a:lnTo>
                    <a:lnTo>
                      <a:pt x="262" y="444"/>
                    </a:lnTo>
                    <a:lnTo>
                      <a:pt x="261" y="445"/>
                    </a:lnTo>
                    <a:lnTo>
                      <a:pt x="261" y="445"/>
                    </a:lnTo>
                    <a:lnTo>
                      <a:pt x="259" y="448"/>
                    </a:lnTo>
                    <a:lnTo>
                      <a:pt x="258" y="450"/>
                    </a:lnTo>
                    <a:lnTo>
                      <a:pt x="258" y="450"/>
                    </a:lnTo>
                    <a:lnTo>
                      <a:pt x="256" y="452"/>
                    </a:lnTo>
                    <a:lnTo>
                      <a:pt x="250" y="453"/>
                    </a:lnTo>
                    <a:lnTo>
                      <a:pt x="250" y="453"/>
                    </a:lnTo>
                    <a:lnTo>
                      <a:pt x="250" y="453"/>
                    </a:lnTo>
                    <a:lnTo>
                      <a:pt x="250" y="453"/>
                    </a:lnTo>
                    <a:lnTo>
                      <a:pt x="249" y="454"/>
                    </a:lnTo>
                    <a:lnTo>
                      <a:pt x="249" y="453"/>
                    </a:lnTo>
                    <a:lnTo>
                      <a:pt x="245" y="458"/>
                    </a:lnTo>
                    <a:lnTo>
                      <a:pt x="245" y="458"/>
                    </a:lnTo>
                    <a:lnTo>
                      <a:pt x="248" y="457"/>
                    </a:lnTo>
                    <a:lnTo>
                      <a:pt x="249" y="454"/>
                    </a:lnTo>
                    <a:lnTo>
                      <a:pt x="249" y="454"/>
                    </a:lnTo>
                    <a:lnTo>
                      <a:pt x="249" y="457"/>
                    </a:lnTo>
                    <a:lnTo>
                      <a:pt x="249" y="457"/>
                    </a:lnTo>
                    <a:lnTo>
                      <a:pt x="249" y="461"/>
                    </a:lnTo>
                    <a:lnTo>
                      <a:pt x="249" y="464"/>
                    </a:lnTo>
                    <a:lnTo>
                      <a:pt x="242" y="469"/>
                    </a:lnTo>
                    <a:lnTo>
                      <a:pt x="242" y="469"/>
                    </a:lnTo>
                    <a:lnTo>
                      <a:pt x="242" y="469"/>
                    </a:lnTo>
                    <a:lnTo>
                      <a:pt x="242" y="469"/>
                    </a:lnTo>
                    <a:lnTo>
                      <a:pt x="245" y="469"/>
                    </a:lnTo>
                    <a:lnTo>
                      <a:pt x="246" y="468"/>
                    </a:lnTo>
                    <a:lnTo>
                      <a:pt x="246" y="468"/>
                    </a:lnTo>
                    <a:lnTo>
                      <a:pt x="248" y="465"/>
                    </a:lnTo>
                    <a:lnTo>
                      <a:pt x="248" y="465"/>
                    </a:lnTo>
                    <a:lnTo>
                      <a:pt x="248" y="466"/>
                    </a:lnTo>
                    <a:lnTo>
                      <a:pt x="248" y="466"/>
                    </a:lnTo>
                    <a:lnTo>
                      <a:pt x="248" y="470"/>
                    </a:lnTo>
                    <a:lnTo>
                      <a:pt x="248" y="472"/>
                    </a:lnTo>
                    <a:lnTo>
                      <a:pt x="248" y="473"/>
                    </a:lnTo>
                    <a:lnTo>
                      <a:pt x="248" y="473"/>
                    </a:lnTo>
                    <a:lnTo>
                      <a:pt x="248" y="477"/>
                    </a:lnTo>
                    <a:lnTo>
                      <a:pt x="248" y="481"/>
                    </a:lnTo>
                    <a:lnTo>
                      <a:pt x="249" y="483"/>
                    </a:lnTo>
                    <a:lnTo>
                      <a:pt x="250" y="486"/>
                    </a:lnTo>
                    <a:lnTo>
                      <a:pt x="254" y="491"/>
                    </a:lnTo>
                    <a:lnTo>
                      <a:pt x="254" y="506"/>
                    </a:lnTo>
                    <a:lnTo>
                      <a:pt x="254" y="506"/>
                    </a:lnTo>
                    <a:lnTo>
                      <a:pt x="254" y="510"/>
                    </a:lnTo>
                    <a:lnTo>
                      <a:pt x="254" y="512"/>
                    </a:lnTo>
                    <a:lnTo>
                      <a:pt x="252" y="516"/>
                    </a:lnTo>
                    <a:lnTo>
                      <a:pt x="252" y="516"/>
                    </a:lnTo>
                    <a:lnTo>
                      <a:pt x="252" y="518"/>
                    </a:lnTo>
                    <a:lnTo>
                      <a:pt x="252" y="523"/>
                    </a:lnTo>
                    <a:lnTo>
                      <a:pt x="252" y="524"/>
                    </a:lnTo>
                    <a:lnTo>
                      <a:pt x="252" y="524"/>
                    </a:lnTo>
                    <a:lnTo>
                      <a:pt x="252" y="526"/>
                    </a:lnTo>
                    <a:lnTo>
                      <a:pt x="252" y="526"/>
                    </a:lnTo>
                    <a:lnTo>
                      <a:pt x="254" y="528"/>
                    </a:lnTo>
                    <a:lnTo>
                      <a:pt x="256" y="534"/>
                    </a:lnTo>
                    <a:lnTo>
                      <a:pt x="256" y="535"/>
                    </a:lnTo>
                    <a:lnTo>
                      <a:pt x="254" y="536"/>
                    </a:lnTo>
                    <a:lnTo>
                      <a:pt x="254" y="536"/>
                    </a:lnTo>
                    <a:lnTo>
                      <a:pt x="256" y="539"/>
                    </a:lnTo>
                    <a:lnTo>
                      <a:pt x="257" y="544"/>
                    </a:lnTo>
                    <a:lnTo>
                      <a:pt x="257" y="544"/>
                    </a:lnTo>
                    <a:lnTo>
                      <a:pt x="254" y="547"/>
                    </a:lnTo>
                    <a:lnTo>
                      <a:pt x="258" y="551"/>
                    </a:lnTo>
                    <a:lnTo>
                      <a:pt x="258" y="551"/>
                    </a:lnTo>
                    <a:lnTo>
                      <a:pt x="259" y="555"/>
                    </a:lnTo>
                    <a:lnTo>
                      <a:pt x="261" y="557"/>
                    </a:lnTo>
                    <a:lnTo>
                      <a:pt x="262" y="559"/>
                    </a:lnTo>
                    <a:lnTo>
                      <a:pt x="263" y="559"/>
                    </a:lnTo>
                    <a:lnTo>
                      <a:pt x="269" y="565"/>
                    </a:lnTo>
                    <a:lnTo>
                      <a:pt x="269" y="568"/>
                    </a:lnTo>
                    <a:lnTo>
                      <a:pt x="269" y="568"/>
                    </a:lnTo>
                    <a:lnTo>
                      <a:pt x="269" y="572"/>
                    </a:lnTo>
                    <a:lnTo>
                      <a:pt x="270" y="575"/>
                    </a:lnTo>
                    <a:lnTo>
                      <a:pt x="270" y="575"/>
                    </a:lnTo>
                    <a:lnTo>
                      <a:pt x="270" y="573"/>
                    </a:lnTo>
                    <a:lnTo>
                      <a:pt x="270" y="573"/>
                    </a:lnTo>
                    <a:lnTo>
                      <a:pt x="273" y="568"/>
                    </a:lnTo>
                    <a:lnTo>
                      <a:pt x="278" y="565"/>
                    </a:lnTo>
                    <a:lnTo>
                      <a:pt x="278" y="565"/>
                    </a:lnTo>
                    <a:lnTo>
                      <a:pt x="279" y="565"/>
                    </a:lnTo>
                    <a:lnTo>
                      <a:pt x="279" y="565"/>
                    </a:lnTo>
                    <a:lnTo>
                      <a:pt x="282" y="565"/>
                    </a:lnTo>
                    <a:lnTo>
                      <a:pt x="282" y="565"/>
                    </a:lnTo>
                    <a:lnTo>
                      <a:pt x="286" y="565"/>
                    </a:lnTo>
                    <a:lnTo>
                      <a:pt x="289" y="563"/>
                    </a:lnTo>
                    <a:lnTo>
                      <a:pt x="289" y="563"/>
                    </a:lnTo>
                    <a:lnTo>
                      <a:pt x="293" y="560"/>
                    </a:lnTo>
                    <a:lnTo>
                      <a:pt x="298" y="557"/>
                    </a:lnTo>
                    <a:lnTo>
                      <a:pt x="298" y="557"/>
                    </a:lnTo>
                    <a:lnTo>
                      <a:pt x="302" y="553"/>
                    </a:lnTo>
                    <a:lnTo>
                      <a:pt x="307" y="550"/>
                    </a:lnTo>
                    <a:lnTo>
                      <a:pt x="308" y="550"/>
                    </a:lnTo>
                    <a:lnTo>
                      <a:pt x="308" y="550"/>
                    </a:lnTo>
                    <a:lnTo>
                      <a:pt x="310" y="548"/>
                    </a:lnTo>
                    <a:lnTo>
                      <a:pt x="310" y="548"/>
                    </a:lnTo>
                    <a:lnTo>
                      <a:pt x="312" y="547"/>
                    </a:lnTo>
                    <a:lnTo>
                      <a:pt x="318" y="546"/>
                    </a:lnTo>
                    <a:lnTo>
                      <a:pt x="318" y="546"/>
                    </a:lnTo>
                    <a:lnTo>
                      <a:pt x="319" y="546"/>
                    </a:lnTo>
                    <a:lnTo>
                      <a:pt x="319" y="546"/>
                    </a:lnTo>
                    <a:lnTo>
                      <a:pt x="324" y="546"/>
                    </a:lnTo>
                    <a:lnTo>
                      <a:pt x="328" y="548"/>
                    </a:lnTo>
                    <a:lnTo>
                      <a:pt x="328" y="548"/>
                    </a:lnTo>
                    <a:lnTo>
                      <a:pt x="330" y="548"/>
                    </a:lnTo>
                    <a:lnTo>
                      <a:pt x="331" y="550"/>
                    </a:lnTo>
                    <a:lnTo>
                      <a:pt x="331" y="550"/>
                    </a:lnTo>
                    <a:lnTo>
                      <a:pt x="331" y="548"/>
                    </a:lnTo>
                    <a:lnTo>
                      <a:pt x="331" y="548"/>
                    </a:lnTo>
                    <a:lnTo>
                      <a:pt x="335" y="547"/>
                    </a:lnTo>
                    <a:lnTo>
                      <a:pt x="341" y="551"/>
                    </a:lnTo>
                    <a:lnTo>
                      <a:pt x="341" y="551"/>
                    </a:lnTo>
                    <a:lnTo>
                      <a:pt x="341" y="551"/>
                    </a:lnTo>
                    <a:lnTo>
                      <a:pt x="343" y="552"/>
                    </a:lnTo>
                    <a:lnTo>
                      <a:pt x="343" y="552"/>
                    </a:lnTo>
                    <a:lnTo>
                      <a:pt x="343" y="552"/>
                    </a:lnTo>
                    <a:lnTo>
                      <a:pt x="343" y="552"/>
                    </a:lnTo>
                    <a:lnTo>
                      <a:pt x="344" y="555"/>
                    </a:lnTo>
                    <a:lnTo>
                      <a:pt x="344" y="555"/>
                    </a:lnTo>
                    <a:lnTo>
                      <a:pt x="347" y="557"/>
                    </a:lnTo>
                    <a:lnTo>
                      <a:pt x="348" y="557"/>
                    </a:lnTo>
                    <a:lnTo>
                      <a:pt x="352" y="557"/>
                    </a:lnTo>
                    <a:lnTo>
                      <a:pt x="352" y="557"/>
                    </a:lnTo>
                    <a:lnTo>
                      <a:pt x="353" y="557"/>
                    </a:lnTo>
                    <a:lnTo>
                      <a:pt x="353" y="557"/>
                    </a:lnTo>
                    <a:lnTo>
                      <a:pt x="359" y="559"/>
                    </a:lnTo>
                    <a:lnTo>
                      <a:pt x="359" y="559"/>
                    </a:lnTo>
                    <a:lnTo>
                      <a:pt x="360" y="559"/>
                    </a:lnTo>
                    <a:lnTo>
                      <a:pt x="363" y="557"/>
                    </a:lnTo>
                    <a:lnTo>
                      <a:pt x="365" y="557"/>
                    </a:lnTo>
                    <a:lnTo>
                      <a:pt x="367" y="557"/>
                    </a:lnTo>
                    <a:lnTo>
                      <a:pt x="367" y="557"/>
                    </a:lnTo>
                    <a:lnTo>
                      <a:pt x="371" y="560"/>
                    </a:lnTo>
                    <a:lnTo>
                      <a:pt x="371" y="560"/>
                    </a:lnTo>
                    <a:lnTo>
                      <a:pt x="368" y="559"/>
                    </a:lnTo>
                    <a:lnTo>
                      <a:pt x="372" y="561"/>
                    </a:lnTo>
                    <a:lnTo>
                      <a:pt x="372" y="561"/>
                    </a:lnTo>
                    <a:lnTo>
                      <a:pt x="372" y="561"/>
                    </a:lnTo>
                    <a:lnTo>
                      <a:pt x="372" y="561"/>
                    </a:lnTo>
                    <a:lnTo>
                      <a:pt x="373" y="561"/>
                    </a:lnTo>
                    <a:lnTo>
                      <a:pt x="373" y="561"/>
                    </a:lnTo>
                    <a:lnTo>
                      <a:pt x="376" y="563"/>
                    </a:lnTo>
                    <a:lnTo>
                      <a:pt x="378" y="564"/>
                    </a:lnTo>
                    <a:lnTo>
                      <a:pt x="378" y="564"/>
                    </a:lnTo>
                    <a:lnTo>
                      <a:pt x="377" y="565"/>
                    </a:lnTo>
                    <a:lnTo>
                      <a:pt x="377" y="565"/>
                    </a:lnTo>
                    <a:lnTo>
                      <a:pt x="376" y="567"/>
                    </a:lnTo>
                    <a:lnTo>
                      <a:pt x="376" y="567"/>
                    </a:lnTo>
                    <a:lnTo>
                      <a:pt x="376" y="571"/>
                    </a:lnTo>
                    <a:lnTo>
                      <a:pt x="378" y="567"/>
                    </a:lnTo>
                    <a:lnTo>
                      <a:pt x="381" y="571"/>
                    </a:lnTo>
                    <a:lnTo>
                      <a:pt x="381" y="571"/>
                    </a:lnTo>
                    <a:lnTo>
                      <a:pt x="381" y="568"/>
                    </a:lnTo>
                    <a:lnTo>
                      <a:pt x="380" y="567"/>
                    </a:lnTo>
                    <a:lnTo>
                      <a:pt x="380" y="567"/>
                    </a:lnTo>
                    <a:lnTo>
                      <a:pt x="380" y="565"/>
                    </a:lnTo>
                    <a:lnTo>
                      <a:pt x="381" y="564"/>
                    </a:lnTo>
                    <a:lnTo>
                      <a:pt x="381" y="563"/>
                    </a:lnTo>
                    <a:lnTo>
                      <a:pt x="381" y="563"/>
                    </a:lnTo>
                    <a:lnTo>
                      <a:pt x="381" y="563"/>
                    </a:lnTo>
                    <a:lnTo>
                      <a:pt x="381" y="563"/>
                    </a:lnTo>
                    <a:lnTo>
                      <a:pt x="382" y="563"/>
                    </a:lnTo>
                    <a:lnTo>
                      <a:pt x="382" y="563"/>
                    </a:lnTo>
                    <a:lnTo>
                      <a:pt x="384" y="563"/>
                    </a:lnTo>
                    <a:lnTo>
                      <a:pt x="384" y="563"/>
                    </a:lnTo>
                    <a:lnTo>
                      <a:pt x="386" y="563"/>
                    </a:lnTo>
                    <a:lnTo>
                      <a:pt x="386" y="563"/>
                    </a:lnTo>
                    <a:lnTo>
                      <a:pt x="386" y="563"/>
                    </a:lnTo>
                    <a:lnTo>
                      <a:pt x="386" y="563"/>
                    </a:lnTo>
                    <a:lnTo>
                      <a:pt x="390" y="560"/>
                    </a:lnTo>
                    <a:lnTo>
                      <a:pt x="396" y="557"/>
                    </a:lnTo>
                    <a:lnTo>
                      <a:pt x="396" y="557"/>
                    </a:lnTo>
                    <a:lnTo>
                      <a:pt x="397" y="556"/>
                    </a:lnTo>
                    <a:lnTo>
                      <a:pt x="401" y="555"/>
                    </a:lnTo>
                    <a:lnTo>
                      <a:pt x="402" y="555"/>
                    </a:lnTo>
                    <a:lnTo>
                      <a:pt x="404" y="557"/>
                    </a:lnTo>
                    <a:lnTo>
                      <a:pt x="404" y="557"/>
                    </a:lnTo>
                    <a:lnTo>
                      <a:pt x="402" y="559"/>
                    </a:lnTo>
                    <a:lnTo>
                      <a:pt x="402" y="559"/>
                    </a:lnTo>
                    <a:lnTo>
                      <a:pt x="401" y="561"/>
                    </a:lnTo>
                    <a:lnTo>
                      <a:pt x="401" y="564"/>
                    </a:lnTo>
                    <a:lnTo>
                      <a:pt x="404" y="557"/>
                    </a:lnTo>
                    <a:lnTo>
                      <a:pt x="408" y="564"/>
                    </a:lnTo>
                    <a:lnTo>
                      <a:pt x="408" y="564"/>
                    </a:lnTo>
                    <a:lnTo>
                      <a:pt x="408" y="561"/>
                    </a:lnTo>
                    <a:lnTo>
                      <a:pt x="408" y="559"/>
                    </a:lnTo>
                    <a:lnTo>
                      <a:pt x="408" y="559"/>
                    </a:lnTo>
                    <a:lnTo>
                      <a:pt x="405" y="557"/>
                    </a:lnTo>
                    <a:lnTo>
                      <a:pt x="410" y="552"/>
                    </a:lnTo>
                    <a:lnTo>
                      <a:pt x="410" y="552"/>
                    </a:lnTo>
                    <a:lnTo>
                      <a:pt x="414" y="555"/>
                    </a:lnTo>
                    <a:lnTo>
                      <a:pt x="414" y="555"/>
                    </a:lnTo>
                    <a:lnTo>
                      <a:pt x="412" y="553"/>
                    </a:lnTo>
                    <a:lnTo>
                      <a:pt x="418" y="559"/>
                    </a:lnTo>
                    <a:lnTo>
                      <a:pt x="418" y="559"/>
                    </a:lnTo>
                    <a:lnTo>
                      <a:pt x="417" y="559"/>
                    </a:lnTo>
                    <a:lnTo>
                      <a:pt x="418" y="559"/>
                    </a:lnTo>
                    <a:lnTo>
                      <a:pt x="418" y="559"/>
                    </a:lnTo>
                    <a:lnTo>
                      <a:pt x="418" y="559"/>
                    </a:lnTo>
                    <a:lnTo>
                      <a:pt x="418" y="559"/>
                    </a:lnTo>
                    <a:lnTo>
                      <a:pt x="421" y="556"/>
                    </a:lnTo>
                    <a:lnTo>
                      <a:pt x="421" y="556"/>
                    </a:lnTo>
                    <a:lnTo>
                      <a:pt x="425" y="551"/>
                    </a:lnTo>
                    <a:lnTo>
                      <a:pt x="427" y="550"/>
                    </a:lnTo>
                    <a:lnTo>
                      <a:pt x="429" y="550"/>
                    </a:lnTo>
                    <a:lnTo>
                      <a:pt x="429" y="550"/>
                    </a:lnTo>
                    <a:lnTo>
                      <a:pt x="431" y="550"/>
                    </a:lnTo>
                    <a:lnTo>
                      <a:pt x="433" y="550"/>
                    </a:lnTo>
                    <a:lnTo>
                      <a:pt x="433" y="551"/>
                    </a:lnTo>
                    <a:lnTo>
                      <a:pt x="433" y="551"/>
                    </a:lnTo>
                    <a:lnTo>
                      <a:pt x="433" y="551"/>
                    </a:lnTo>
                    <a:lnTo>
                      <a:pt x="433" y="551"/>
                    </a:lnTo>
                    <a:lnTo>
                      <a:pt x="434" y="552"/>
                    </a:lnTo>
                    <a:lnTo>
                      <a:pt x="434" y="552"/>
                    </a:lnTo>
                    <a:lnTo>
                      <a:pt x="434" y="553"/>
                    </a:lnTo>
                    <a:lnTo>
                      <a:pt x="434" y="553"/>
                    </a:lnTo>
                    <a:lnTo>
                      <a:pt x="433" y="556"/>
                    </a:lnTo>
                    <a:lnTo>
                      <a:pt x="433" y="557"/>
                    </a:lnTo>
                    <a:lnTo>
                      <a:pt x="434" y="553"/>
                    </a:lnTo>
                    <a:lnTo>
                      <a:pt x="438" y="557"/>
                    </a:lnTo>
                    <a:lnTo>
                      <a:pt x="438" y="557"/>
                    </a:lnTo>
                    <a:lnTo>
                      <a:pt x="438" y="556"/>
                    </a:lnTo>
                    <a:lnTo>
                      <a:pt x="438" y="553"/>
                    </a:lnTo>
                    <a:lnTo>
                      <a:pt x="438" y="553"/>
                    </a:lnTo>
                    <a:lnTo>
                      <a:pt x="435" y="552"/>
                    </a:lnTo>
                    <a:lnTo>
                      <a:pt x="435" y="552"/>
                    </a:lnTo>
                    <a:lnTo>
                      <a:pt x="435" y="552"/>
                    </a:lnTo>
                    <a:lnTo>
                      <a:pt x="435" y="551"/>
                    </a:lnTo>
                    <a:lnTo>
                      <a:pt x="435" y="551"/>
                    </a:lnTo>
                    <a:lnTo>
                      <a:pt x="438" y="550"/>
                    </a:lnTo>
                    <a:lnTo>
                      <a:pt x="442" y="548"/>
                    </a:lnTo>
                    <a:lnTo>
                      <a:pt x="450" y="548"/>
                    </a:lnTo>
                    <a:lnTo>
                      <a:pt x="453" y="550"/>
                    </a:lnTo>
                    <a:lnTo>
                      <a:pt x="453" y="550"/>
                    </a:lnTo>
                    <a:lnTo>
                      <a:pt x="455" y="551"/>
                    </a:lnTo>
                    <a:lnTo>
                      <a:pt x="455" y="551"/>
                    </a:lnTo>
                    <a:lnTo>
                      <a:pt x="458" y="552"/>
                    </a:lnTo>
                    <a:lnTo>
                      <a:pt x="459" y="552"/>
                    </a:lnTo>
                    <a:lnTo>
                      <a:pt x="462" y="553"/>
                    </a:lnTo>
                    <a:lnTo>
                      <a:pt x="462" y="553"/>
                    </a:lnTo>
                    <a:lnTo>
                      <a:pt x="464" y="555"/>
                    </a:lnTo>
                    <a:lnTo>
                      <a:pt x="464" y="555"/>
                    </a:lnTo>
                    <a:lnTo>
                      <a:pt x="472" y="557"/>
                    </a:lnTo>
                    <a:lnTo>
                      <a:pt x="475" y="557"/>
                    </a:lnTo>
                    <a:lnTo>
                      <a:pt x="475" y="557"/>
                    </a:lnTo>
                    <a:lnTo>
                      <a:pt x="478" y="556"/>
                    </a:lnTo>
                    <a:lnTo>
                      <a:pt x="482" y="555"/>
                    </a:lnTo>
                    <a:lnTo>
                      <a:pt x="482" y="555"/>
                    </a:lnTo>
                    <a:lnTo>
                      <a:pt x="484" y="555"/>
                    </a:lnTo>
                    <a:lnTo>
                      <a:pt x="484" y="555"/>
                    </a:lnTo>
                    <a:lnTo>
                      <a:pt x="483" y="555"/>
                    </a:lnTo>
                    <a:lnTo>
                      <a:pt x="488" y="552"/>
                    </a:lnTo>
                    <a:lnTo>
                      <a:pt x="488" y="552"/>
                    </a:lnTo>
                    <a:lnTo>
                      <a:pt x="488" y="552"/>
                    </a:lnTo>
                    <a:lnTo>
                      <a:pt x="492" y="553"/>
                    </a:lnTo>
                    <a:lnTo>
                      <a:pt x="495" y="555"/>
                    </a:lnTo>
                    <a:lnTo>
                      <a:pt x="497" y="557"/>
                    </a:lnTo>
                    <a:lnTo>
                      <a:pt x="497" y="557"/>
                    </a:lnTo>
                    <a:lnTo>
                      <a:pt x="497" y="557"/>
                    </a:lnTo>
                    <a:lnTo>
                      <a:pt x="499" y="557"/>
                    </a:lnTo>
                    <a:lnTo>
                      <a:pt x="500" y="557"/>
                    </a:lnTo>
                    <a:lnTo>
                      <a:pt x="500" y="557"/>
                    </a:lnTo>
                    <a:lnTo>
                      <a:pt x="503" y="559"/>
                    </a:lnTo>
                    <a:lnTo>
                      <a:pt x="503" y="559"/>
                    </a:lnTo>
                    <a:lnTo>
                      <a:pt x="504" y="559"/>
                    </a:lnTo>
                    <a:lnTo>
                      <a:pt x="504" y="559"/>
                    </a:lnTo>
                    <a:lnTo>
                      <a:pt x="507" y="559"/>
                    </a:lnTo>
                    <a:lnTo>
                      <a:pt x="509" y="557"/>
                    </a:lnTo>
                    <a:lnTo>
                      <a:pt x="513" y="556"/>
                    </a:lnTo>
                    <a:lnTo>
                      <a:pt x="516" y="556"/>
                    </a:lnTo>
                    <a:lnTo>
                      <a:pt x="516" y="556"/>
                    </a:lnTo>
                    <a:lnTo>
                      <a:pt x="519" y="553"/>
                    </a:lnTo>
                    <a:lnTo>
                      <a:pt x="519" y="553"/>
                    </a:lnTo>
                    <a:lnTo>
                      <a:pt x="528" y="546"/>
                    </a:lnTo>
                    <a:lnTo>
                      <a:pt x="531" y="544"/>
                    </a:lnTo>
                    <a:lnTo>
                      <a:pt x="531" y="544"/>
                    </a:lnTo>
                    <a:lnTo>
                      <a:pt x="534" y="540"/>
                    </a:lnTo>
                    <a:lnTo>
                      <a:pt x="536" y="540"/>
                    </a:lnTo>
                    <a:lnTo>
                      <a:pt x="540" y="536"/>
                    </a:lnTo>
                    <a:lnTo>
                      <a:pt x="540" y="536"/>
                    </a:lnTo>
                    <a:lnTo>
                      <a:pt x="540" y="536"/>
                    </a:lnTo>
                    <a:lnTo>
                      <a:pt x="544" y="534"/>
                    </a:lnTo>
                    <a:lnTo>
                      <a:pt x="544" y="534"/>
                    </a:lnTo>
                    <a:lnTo>
                      <a:pt x="546" y="536"/>
                    </a:lnTo>
                    <a:lnTo>
                      <a:pt x="549" y="538"/>
                    </a:lnTo>
                    <a:lnTo>
                      <a:pt x="552" y="543"/>
                    </a:lnTo>
                    <a:lnTo>
                      <a:pt x="552" y="543"/>
                    </a:lnTo>
                    <a:lnTo>
                      <a:pt x="554" y="546"/>
                    </a:lnTo>
                    <a:lnTo>
                      <a:pt x="557" y="550"/>
                    </a:lnTo>
                    <a:lnTo>
                      <a:pt x="557" y="550"/>
                    </a:lnTo>
                    <a:lnTo>
                      <a:pt x="557" y="550"/>
                    </a:lnTo>
                    <a:lnTo>
                      <a:pt x="561" y="556"/>
                    </a:lnTo>
                    <a:lnTo>
                      <a:pt x="561" y="556"/>
                    </a:lnTo>
                    <a:lnTo>
                      <a:pt x="565" y="564"/>
                    </a:lnTo>
                    <a:lnTo>
                      <a:pt x="566" y="567"/>
                    </a:lnTo>
                    <a:lnTo>
                      <a:pt x="566" y="567"/>
                    </a:lnTo>
                    <a:lnTo>
                      <a:pt x="566" y="567"/>
                    </a:lnTo>
                    <a:lnTo>
                      <a:pt x="566" y="567"/>
                    </a:lnTo>
                    <a:lnTo>
                      <a:pt x="566" y="567"/>
                    </a:lnTo>
                    <a:lnTo>
                      <a:pt x="566" y="567"/>
                    </a:lnTo>
                    <a:lnTo>
                      <a:pt x="568" y="569"/>
                    </a:lnTo>
                    <a:lnTo>
                      <a:pt x="569" y="573"/>
                    </a:lnTo>
                    <a:lnTo>
                      <a:pt x="569" y="573"/>
                    </a:lnTo>
                    <a:lnTo>
                      <a:pt x="570" y="577"/>
                    </a:lnTo>
                    <a:lnTo>
                      <a:pt x="572" y="577"/>
                    </a:lnTo>
                    <a:lnTo>
                      <a:pt x="572" y="577"/>
                    </a:lnTo>
                    <a:lnTo>
                      <a:pt x="574" y="581"/>
                    </a:lnTo>
                    <a:lnTo>
                      <a:pt x="574" y="581"/>
                    </a:lnTo>
                    <a:lnTo>
                      <a:pt x="574" y="581"/>
                    </a:lnTo>
                    <a:lnTo>
                      <a:pt x="575" y="581"/>
                    </a:lnTo>
                    <a:lnTo>
                      <a:pt x="575" y="581"/>
                    </a:lnTo>
                    <a:lnTo>
                      <a:pt x="578" y="583"/>
                    </a:lnTo>
                    <a:lnTo>
                      <a:pt x="581" y="583"/>
                    </a:lnTo>
                    <a:lnTo>
                      <a:pt x="585" y="585"/>
                    </a:lnTo>
                    <a:lnTo>
                      <a:pt x="585" y="585"/>
                    </a:lnTo>
                    <a:lnTo>
                      <a:pt x="586" y="590"/>
                    </a:lnTo>
                    <a:lnTo>
                      <a:pt x="586" y="590"/>
                    </a:lnTo>
                    <a:lnTo>
                      <a:pt x="590" y="596"/>
                    </a:lnTo>
                    <a:lnTo>
                      <a:pt x="591" y="601"/>
                    </a:lnTo>
                    <a:lnTo>
                      <a:pt x="594" y="614"/>
                    </a:lnTo>
                    <a:lnTo>
                      <a:pt x="594" y="614"/>
                    </a:lnTo>
                    <a:lnTo>
                      <a:pt x="595" y="622"/>
                    </a:lnTo>
                    <a:lnTo>
                      <a:pt x="595" y="622"/>
                    </a:lnTo>
                    <a:lnTo>
                      <a:pt x="597" y="621"/>
                    </a:lnTo>
                    <a:lnTo>
                      <a:pt x="599" y="621"/>
                    </a:lnTo>
                    <a:lnTo>
                      <a:pt x="599" y="621"/>
                    </a:lnTo>
                    <a:lnTo>
                      <a:pt x="602" y="620"/>
                    </a:lnTo>
                    <a:lnTo>
                      <a:pt x="602" y="620"/>
                    </a:lnTo>
                    <a:lnTo>
                      <a:pt x="605" y="620"/>
                    </a:lnTo>
                    <a:lnTo>
                      <a:pt x="605" y="620"/>
                    </a:lnTo>
                    <a:lnTo>
                      <a:pt x="606" y="620"/>
                    </a:lnTo>
                    <a:lnTo>
                      <a:pt x="606" y="620"/>
                    </a:lnTo>
                    <a:lnTo>
                      <a:pt x="605" y="621"/>
                    </a:lnTo>
                    <a:lnTo>
                      <a:pt x="603" y="621"/>
                    </a:lnTo>
                    <a:lnTo>
                      <a:pt x="603" y="621"/>
                    </a:lnTo>
                    <a:lnTo>
                      <a:pt x="602" y="625"/>
                    </a:lnTo>
                    <a:lnTo>
                      <a:pt x="607" y="618"/>
                    </a:lnTo>
                    <a:lnTo>
                      <a:pt x="611" y="618"/>
                    </a:lnTo>
                    <a:lnTo>
                      <a:pt x="611" y="618"/>
                    </a:lnTo>
                    <a:lnTo>
                      <a:pt x="614" y="617"/>
                    </a:lnTo>
                    <a:lnTo>
                      <a:pt x="619" y="614"/>
                    </a:lnTo>
                    <a:lnTo>
                      <a:pt x="619" y="614"/>
                    </a:lnTo>
                    <a:lnTo>
                      <a:pt x="619" y="614"/>
                    </a:lnTo>
                    <a:lnTo>
                      <a:pt x="620" y="614"/>
                    </a:lnTo>
                    <a:lnTo>
                      <a:pt x="620" y="614"/>
                    </a:lnTo>
                    <a:lnTo>
                      <a:pt x="622" y="612"/>
                    </a:lnTo>
                    <a:lnTo>
                      <a:pt x="623" y="609"/>
                    </a:lnTo>
                    <a:lnTo>
                      <a:pt x="623" y="609"/>
                    </a:lnTo>
                    <a:lnTo>
                      <a:pt x="623" y="609"/>
                    </a:lnTo>
                    <a:lnTo>
                      <a:pt x="631" y="605"/>
                    </a:lnTo>
                    <a:lnTo>
                      <a:pt x="631" y="605"/>
                    </a:lnTo>
                    <a:lnTo>
                      <a:pt x="634" y="606"/>
                    </a:lnTo>
                    <a:lnTo>
                      <a:pt x="636" y="609"/>
                    </a:lnTo>
                    <a:lnTo>
                      <a:pt x="640" y="614"/>
                    </a:lnTo>
                    <a:lnTo>
                      <a:pt x="640" y="614"/>
                    </a:lnTo>
                    <a:lnTo>
                      <a:pt x="643" y="618"/>
                    </a:lnTo>
                    <a:lnTo>
                      <a:pt x="643" y="618"/>
                    </a:lnTo>
                    <a:lnTo>
                      <a:pt x="643" y="618"/>
                    </a:lnTo>
                    <a:lnTo>
                      <a:pt x="643" y="618"/>
                    </a:lnTo>
                    <a:lnTo>
                      <a:pt x="643" y="618"/>
                    </a:lnTo>
                    <a:lnTo>
                      <a:pt x="643" y="618"/>
                    </a:lnTo>
                    <a:lnTo>
                      <a:pt x="643" y="618"/>
                    </a:lnTo>
                    <a:lnTo>
                      <a:pt x="643" y="618"/>
                    </a:lnTo>
                    <a:lnTo>
                      <a:pt x="643" y="618"/>
                    </a:lnTo>
                    <a:lnTo>
                      <a:pt x="643" y="618"/>
                    </a:lnTo>
                    <a:lnTo>
                      <a:pt x="642" y="620"/>
                    </a:lnTo>
                    <a:lnTo>
                      <a:pt x="646" y="616"/>
                    </a:lnTo>
                    <a:lnTo>
                      <a:pt x="646" y="616"/>
                    </a:lnTo>
                    <a:lnTo>
                      <a:pt x="648" y="613"/>
                    </a:lnTo>
                    <a:lnTo>
                      <a:pt x="648" y="613"/>
                    </a:lnTo>
                    <a:lnTo>
                      <a:pt x="652" y="608"/>
                    </a:lnTo>
                    <a:lnTo>
                      <a:pt x="655" y="606"/>
                    </a:lnTo>
                    <a:lnTo>
                      <a:pt x="655" y="606"/>
                    </a:lnTo>
                    <a:lnTo>
                      <a:pt x="656" y="606"/>
                    </a:lnTo>
                    <a:lnTo>
                      <a:pt x="656" y="606"/>
                    </a:lnTo>
                    <a:lnTo>
                      <a:pt x="659" y="606"/>
                    </a:lnTo>
                    <a:lnTo>
                      <a:pt x="660" y="608"/>
                    </a:lnTo>
                    <a:lnTo>
                      <a:pt x="660" y="608"/>
                    </a:lnTo>
                    <a:lnTo>
                      <a:pt x="664" y="608"/>
                    </a:lnTo>
                    <a:lnTo>
                      <a:pt x="665" y="609"/>
                    </a:lnTo>
                    <a:lnTo>
                      <a:pt x="665" y="609"/>
                    </a:lnTo>
                    <a:lnTo>
                      <a:pt x="665" y="609"/>
                    </a:lnTo>
                    <a:lnTo>
                      <a:pt x="664" y="609"/>
                    </a:lnTo>
                    <a:lnTo>
                      <a:pt x="668" y="612"/>
                    </a:lnTo>
                    <a:lnTo>
                      <a:pt x="668" y="612"/>
                    </a:lnTo>
                    <a:lnTo>
                      <a:pt x="669" y="613"/>
                    </a:lnTo>
                    <a:lnTo>
                      <a:pt x="669" y="613"/>
                    </a:lnTo>
                    <a:lnTo>
                      <a:pt x="672" y="614"/>
                    </a:lnTo>
                    <a:lnTo>
                      <a:pt x="675" y="618"/>
                    </a:lnTo>
                    <a:lnTo>
                      <a:pt x="676" y="621"/>
                    </a:lnTo>
                    <a:lnTo>
                      <a:pt x="676" y="622"/>
                    </a:lnTo>
                    <a:lnTo>
                      <a:pt x="676" y="622"/>
                    </a:lnTo>
                    <a:lnTo>
                      <a:pt x="676" y="629"/>
                    </a:lnTo>
                    <a:lnTo>
                      <a:pt x="676" y="629"/>
                    </a:lnTo>
                    <a:lnTo>
                      <a:pt x="676" y="630"/>
                    </a:lnTo>
                    <a:lnTo>
                      <a:pt x="676" y="630"/>
                    </a:lnTo>
                    <a:lnTo>
                      <a:pt x="675" y="629"/>
                    </a:lnTo>
                    <a:lnTo>
                      <a:pt x="673" y="628"/>
                    </a:lnTo>
                    <a:lnTo>
                      <a:pt x="677" y="634"/>
                    </a:lnTo>
                    <a:lnTo>
                      <a:pt x="677" y="635"/>
                    </a:lnTo>
                    <a:lnTo>
                      <a:pt x="677" y="635"/>
                    </a:lnTo>
                    <a:lnTo>
                      <a:pt x="677" y="641"/>
                    </a:lnTo>
                    <a:lnTo>
                      <a:pt x="677" y="641"/>
                    </a:lnTo>
                    <a:lnTo>
                      <a:pt x="677" y="643"/>
                    </a:lnTo>
                    <a:lnTo>
                      <a:pt x="677" y="643"/>
                    </a:lnTo>
                    <a:lnTo>
                      <a:pt x="676" y="642"/>
                    </a:lnTo>
                    <a:lnTo>
                      <a:pt x="675" y="641"/>
                    </a:lnTo>
                    <a:lnTo>
                      <a:pt x="679" y="646"/>
                    </a:lnTo>
                    <a:lnTo>
                      <a:pt x="679" y="649"/>
                    </a:lnTo>
                    <a:lnTo>
                      <a:pt x="679" y="649"/>
                    </a:lnTo>
                    <a:lnTo>
                      <a:pt x="679" y="654"/>
                    </a:lnTo>
                    <a:lnTo>
                      <a:pt x="679" y="654"/>
                    </a:lnTo>
                    <a:lnTo>
                      <a:pt x="677" y="657"/>
                    </a:lnTo>
                    <a:lnTo>
                      <a:pt x="677" y="657"/>
                    </a:lnTo>
                    <a:lnTo>
                      <a:pt x="677" y="654"/>
                    </a:lnTo>
                    <a:lnTo>
                      <a:pt x="675" y="653"/>
                    </a:lnTo>
                    <a:lnTo>
                      <a:pt x="680" y="659"/>
                    </a:lnTo>
                    <a:lnTo>
                      <a:pt x="680" y="663"/>
                    </a:lnTo>
                    <a:lnTo>
                      <a:pt x="680" y="663"/>
                    </a:lnTo>
                    <a:lnTo>
                      <a:pt x="684" y="665"/>
                    </a:lnTo>
                    <a:lnTo>
                      <a:pt x="684" y="665"/>
                    </a:lnTo>
                    <a:lnTo>
                      <a:pt x="689" y="666"/>
                    </a:lnTo>
                    <a:lnTo>
                      <a:pt x="694" y="668"/>
                    </a:lnTo>
                    <a:lnTo>
                      <a:pt x="712" y="668"/>
                    </a:lnTo>
                    <a:lnTo>
                      <a:pt x="712" y="668"/>
                    </a:lnTo>
                    <a:lnTo>
                      <a:pt x="714" y="668"/>
                    </a:lnTo>
                    <a:lnTo>
                      <a:pt x="714" y="668"/>
                    </a:lnTo>
                    <a:lnTo>
                      <a:pt x="718" y="668"/>
                    </a:lnTo>
                    <a:lnTo>
                      <a:pt x="718" y="668"/>
                    </a:lnTo>
                    <a:lnTo>
                      <a:pt x="721" y="668"/>
                    </a:lnTo>
                    <a:lnTo>
                      <a:pt x="721" y="668"/>
                    </a:lnTo>
                    <a:lnTo>
                      <a:pt x="722" y="668"/>
                    </a:lnTo>
                    <a:lnTo>
                      <a:pt x="722" y="668"/>
                    </a:lnTo>
                    <a:lnTo>
                      <a:pt x="721" y="670"/>
                    </a:lnTo>
                    <a:lnTo>
                      <a:pt x="721" y="670"/>
                    </a:lnTo>
                    <a:lnTo>
                      <a:pt x="721" y="670"/>
                    </a:lnTo>
                    <a:lnTo>
                      <a:pt x="721" y="671"/>
                    </a:lnTo>
                    <a:lnTo>
                      <a:pt x="724" y="668"/>
                    </a:lnTo>
                    <a:lnTo>
                      <a:pt x="726" y="667"/>
                    </a:lnTo>
                    <a:lnTo>
                      <a:pt x="726" y="667"/>
                    </a:lnTo>
                    <a:lnTo>
                      <a:pt x="726" y="667"/>
                    </a:lnTo>
                    <a:lnTo>
                      <a:pt x="725" y="667"/>
                    </a:lnTo>
                    <a:lnTo>
                      <a:pt x="726" y="666"/>
                    </a:lnTo>
                    <a:lnTo>
                      <a:pt x="726" y="666"/>
                    </a:lnTo>
                    <a:lnTo>
                      <a:pt x="733" y="666"/>
                    </a:lnTo>
                    <a:lnTo>
                      <a:pt x="733" y="666"/>
                    </a:lnTo>
                    <a:lnTo>
                      <a:pt x="734" y="666"/>
                    </a:lnTo>
                    <a:lnTo>
                      <a:pt x="734" y="666"/>
                    </a:lnTo>
                    <a:lnTo>
                      <a:pt x="733" y="667"/>
                    </a:lnTo>
                    <a:lnTo>
                      <a:pt x="731" y="670"/>
                    </a:lnTo>
                    <a:lnTo>
                      <a:pt x="737" y="665"/>
                    </a:lnTo>
                    <a:lnTo>
                      <a:pt x="737" y="665"/>
                    </a:lnTo>
                    <a:lnTo>
                      <a:pt x="739" y="665"/>
                    </a:lnTo>
                    <a:lnTo>
                      <a:pt x="739" y="665"/>
                    </a:lnTo>
                    <a:lnTo>
                      <a:pt x="742" y="665"/>
                    </a:lnTo>
                    <a:lnTo>
                      <a:pt x="742" y="665"/>
                    </a:lnTo>
                    <a:lnTo>
                      <a:pt x="739" y="666"/>
                    </a:lnTo>
                    <a:lnTo>
                      <a:pt x="738" y="668"/>
                    </a:lnTo>
                    <a:lnTo>
                      <a:pt x="745" y="663"/>
                    </a:lnTo>
                    <a:lnTo>
                      <a:pt x="745" y="663"/>
                    </a:lnTo>
                    <a:lnTo>
                      <a:pt x="745" y="663"/>
                    </a:lnTo>
                    <a:lnTo>
                      <a:pt x="746" y="662"/>
                    </a:lnTo>
                    <a:lnTo>
                      <a:pt x="746" y="662"/>
                    </a:lnTo>
                    <a:lnTo>
                      <a:pt x="750" y="659"/>
                    </a:lnTo>
                    <a:lnTo>
                      <a:pt x="754" y="658"/>
                    </a:lnTo>
                    <a:lnTo>
                      <a:pt x="754" y="658"/>
                    </a:lnTo>
                    <a:lnTo>
                      <a:pt x="758" y="659"/>
                    </a:lnTo>
                    <a:lnTo>
                      <a:pt x="762" y="663"/>
                    </a:lnTo>
                    <a:lnTo>
                      <a:pt x="763" y="666"/>
                    </a:lnTo>
                    <a:lnTo>
                      <a:pt x="763" y="671"/>
                    </a:lnTo>
                    <a:lnTo>
                      <a:pt x="757" y="676"/>
                    </a:lnTo>
                    <a:lnTo>
                      <a:pt x="757" y="678"/>
                    </a:lnTo>
                    <a:lnTo>
                      <a:pt x="757" y="678"/>
                    </a:lnTo>
                    <a:lnTo>
                      <a:pt x="759" y="676"/>
                    </a:lnTo>
                    <a:lnTo>
                      <a:pt x="761" y="675"/>
                    </a:lnTo>
                    <a:lnTo>
                      <a:pt x="761" y="678"/>
                    </a:lnTo>
                    <a:lnTo>
                      <a:pt x="761" y="678"/>
                    </a:lnTo>
                    <a:lnTo>
                      <a:pt x="758" y="679"/>
                    </a:lnTo>
                    <a:lnTo>
                      <a:pt x="758" y="679"/>
                    </a:lnTo>
                    <a:lnTo>
                      <a:pt x="755" y="682"/>
                    </a:lnTo>
                    <a:lnTo>
                      <a:pt x="755" y="684"/>
                    </a:lnTo>
                    <a:lnTo>
                      <a:pt x="755" y="686"/>
                    </a:lnTo>
                    <a:lnTo>
                      <a:pt x="755" y="687"/>
                    </a:lnTo>
                    <a:lnTo>
                      <a:pt x="755" y="687"/>
                    </a:lnTo>
                    <a:lnTo>
                      <a:pt x="755" y="687"/>
                    </a:lnTo>
                    <a:lnTo>
                      <a:pt x="757" y="688"/>
                    </a:lnTo>
                    <a:lnTo>
                      <a:pt x="757" y="688"/>
                    </a:lnTo>
                    <a:lnTo>
                      <a:pt x="759" y="690"/>
                    </a:lnTo>
                    <a:lnTo>
                      <a:pt x="762" y="695"/>
                    </a:lnTo>
                    <a:lnTo>
                      <a:pt x="762" y="698"/>
                    </a:lnTo>
                    <a:lnTo>
                      <a:pt x="762" y="700"/>
                    </a:lnTo>
                    <a:lnTo>
                      <a:pt x="762" y="700"/>
                    </a:lnTo>
                    <a:lnTo>
                      <a:pt x="761" y="708"/>
                    </a:lnTo>
                    <a:lnTo>
                      <a:pt x="761" y="715"/>
                    </a:lnTo>
                    <a:lnTo>
                      <a:pt x="761" y="715"/>
                    </a:lnTo>
                    <a:lnTo>
                      <a:pt x="761" y="715"/>
                    </a:lnTo>
                    <a:lnTo>
                      <a:pt x="761" y="715"/>
                    </a:lnTo>
                    <a:lnTo>
                      <a:pt x="763" y="715"/>
                    </a:lnTo>
                    <a:lnTo>
                      <a:pt x="763" y="715"/>
                    </a:lnTo>
                    <a:lnTo>
                      <a:pt x="765" y="715"/>
                    </a:lnTo>
                    <a:lnTo>
                      <a:pt x="765" y="715"/>
                    </a:lnTo>
                    <a:lnTo>
                      <a:pt x="766" y="715"/>
                    </a:lnTo>
                    <a:lnTo>
                      <a:pt x="766" y="715"/>
                    </a:lnTo>
                    <a:lnTo>
                      <a:pt x="770" y="716"/>
                    </a:lnTo>
                    <a:lnTo>
                      <a:pt x="772" y="717"/>
                    </a:lnTo>
                    <a:lnTo>
                      <a:pt x="772" y="717"/>
                    </a:lnTo>
                    <a:lnTo>
                      <a:pt x="774" y="720"/>
                    </a:lnTo>
                    <a:lnTo>
                      <a:pt x="775" y="724"/>
                    </a:lnTo>
                    <a:lnTo>
                      <a:pt x="770" y="729"/>
                    </a:lnTo>
                    <a:lnTo>
                      <a:pt x="770" y="729"/>
                    </a:lnTo>
                    <a:lnTo>
                      <a:pt x="772" y="728"/>
                    </a:lnTo>
                    <a:lnTo>
                      <a:pt x="772" y="727"/>
                    </a:lnTo>
                    <a:lnTo>
                      <a:pt x="772" y="727"/>
                    </a:lnTo>
                    <a:lnTo>
                      <a:pt x="774" y="729"/>
                    </a:lnTo>
                    <a:lnTo>
                      <a:pt x="774" y="729"/>
                    </a:lnTo>
                    <a:lnTo>
                      <a:pt x="772" y="735"/>
                    </a:lnTo>
                    <a:lnTo>
                      <a:pt x="772" y="736"/>
                    </a:lnTo>
                    <a:lnTo>
                      <a:pt x="772" y="736"/>
                    </a:lnTo>
                    <a:lnTo>
                      <a:pt x="772" y="743"/>
                    </a:lnTo>
                    <a:lnTo>
                      <a:pt x="772" y="750"/>
                    </a:lnTo>
                    <a:lnTo>
                      <a:pt x="772" y="750"/>
                    </a:lnTo>
                    <a:lnTo>
                      <a:pt x="772" y="762"/>
                    </a:lnTo>
                    <a:lnTo>
                      <a:pt x="772" y="762"/>
                    </a:lnTo>
                    <a:lnTo>
                      <a:pt x="766" y="769"/>
                    </a:lnTo>
                    <a:lnTo>
                      <a:pt x="766" y="769"/>
                    </a:lnTo>
                    <a:lnTo>
                      <a:pt x="766" y="769"/>
                    </a:lnTo>
                    <a:lnTo>
                      <a:pt x="766" y="769"/>
                    </a:lnTo>
                    <a:lnTo>
                      <a:pt x="767" y="769"/>
                    </a:lnTo>
                    <a:lnTo>
                      <a:pt x="770" y="768"/>
                    </a:lnTo>
                    <a:lnTo>
                      <a:pt x="770" y="768"/>
                    </a:lnTo>
                    <a:lnTo>
                      <a:pt x="771" y="765"/>
                    </a:lnTo>
                    <a:lnTo>
                      <a:pt x="771" y="765"/>
                    </a:lnTo>
                    <a:lnTo>
                      <a:pt x="771" y="766"/>
                    </a:lnTo>
                    <a:lnTo>
                      <a:pt x="771" y="766"/>
                    </a:lnTo>
                    <a:lnTo>
                      <a:pt x="771" y="770"/>
                    </a:lnTo>
                    <a:lnTo>
                      <a:pt x="771" y="773"/>
                    </a:lnTo>
                    <a:lnTo>
                      <a:pt x="766" y="777"/>
                    </a:lnTo>
                    <a:lnTo>
                      <a:pt x="766" y="777"/>
                    </a:lnTo>
                    <a:lnTo>
                      <a:pt x="772" y="785"/>
                    </a:lnTo>
                    <a:lnTo>
                      <a:pt x="779" y="791"/>
                    </a:lnTo>
                    <a:lnTo>
                      <a:pt x="779" y="791"/>
                    </a:lnTo>
                    <a:lnTo>
                      <a:pt x="790" y="803"/>
                    </a:lnTo>
                    <a:lnTo>
                      <a:pt x="795" y="809"/>
                    </a:lnTo>
                    <a:lnTo>
                      <a:pt x="798" y="814"/>
                    </a:lnTo>
                    <a:lnTo>
                      <a:pt x="798" y="817"/>
                    </a:lnTo>
                    <a:lnTo>
                      <a:pt x="798" y="819"/>
                    </a:lnTo>
                    <a:lnTo>
                      <a:pt x="796" y="823"/>
                    </a:lnTo>
                    <a:lnTo>
                      <a:pt x="796" y="823"/>
                    </a:lnTo>
                    <a:lnTo>
                      <a:pt x="794" y="825"/>
                    </a:lnTo>
                    <a:lnTo>
                      <a:pt x="791" y="826"/>
                    </a:lnTo>
                    <a:lnTo>
                      <a:pt x="791" y="826"/>
                    </a:lnTo>
                    <a:lnTo>
                      <a:pt x="792" y="825"/>
                    </a:lnTo>
                    <a:lnTo>
                      <a:pt x="794" y="822"/>
                    </a:lnTo>
                    <a:lnTo>
                      <a:pt x="787" y="827"/>
                    </a:lnTo>
                    <a:lnTo>
                      <a:pt x="787" y="827"/>
                    </a:lnTo>
                    <a:lnTo>
                      <a:pt x="786" y="827"/>
                    </a:lnTo>
                    <a:lnTo>
                      <a:pt x="786" y="827"/>
                    </a:lnTo>
                    <a:lnTo>
                      <a:pt x="784" y="827"/>
                    </a:lnTo>
                    <a:lnTo>
                      <a:pt x="784" y="827"/>
                    </a:lnTo>
                    <a:lnTo>
                      <a:pt x="786" y="826"/>
                    </a:lnTo>
                    <a:lnTo>
                      <a:pt x="787" y="823"/>
                    </a:lnTo>
                    <a:lnTo>
                      <a:pt x="782" y="827"/>
                    </a:lnTo>
                    <a:lnTo>
                      <a:pt x="782" y="827"/>
                    </a:lnTo>
                    <a:lnTo>
                      <a:pt x="784" y="830"/>
                    </a:lnTo>
                    <a:lnTo>
                      <a:pt x="784" y="830"/>
                    </a:lnTo>
                    <a:lnTo>
                      <a:pt x="790" y="835"/>
                    </a:lnTo>
                    <a:lnTo>
                      <a:pt x="792" y="839"/>
                    </a:lnTo>
                    <a:lnTo>
                      <a:pt x="792" y="843"/>
                    </a:lnTo>
                    <a:lnTo>
                      <a:pt x="787" y="848"/>
                    </a:lnTo>
                    <a:lnTo>
                      <a:pt x="787" y="848"/>
                    </a:lnTo>
                    <a:lnTo>
                      <a:pt x="787" y="850"/>
                    </a:lnTo>
                    <a:lnTo>
                      <a:pt x="787" y="850"/>
                    </a:lnTo>
                    <a:lnTo>
                      <a:pt x="784" y="851"/>
                    </a:lnTo>
                    <a:lnTo>
                      <a:pt x="780" y="851"/>
                    </a:lnTo>
                    <a:lnTo>
                      <a:pt x="779" y="851"/>
                    </a:lnTo>
                    <a:lnTo>
                      <a:pt x="772" y="851"/>
                    </a:lnTo>
                    <a:lnTo>
                      <a:pt x="772" y="851"/>
                    </a:lnTo>
                    <a:lnTo>
                      <a:pt x="770" y="851"/>
                    </a:lnTo>
                    <a:lnTo>
                      <a:pt x="770" y="851"/>
                    </a:lnTo>
                    <a:lnTo>
                      <a:pt x="767" y="851"/>
                    </a:lnTo>
                    <a:lnTo>
                      <a:pt x="767" y="851"/>
                    </a:lnTo>
                    <a:lnTo>
                      <a:pt x="766" y="851"/>
                    </a:lnTo>
                    <a:lnTo>
                      <a:pt x="766" y="851"/>
                    </a:lnTo>
                    <a:lnTo>
                      <a:pt x="767" y="851"/>
                    </a:lnTo>
                    <a:lnTo>
                      <a:pt x="770" y="850"/>
                    </a:lnTo>
                    <a:lnTo>
                      <a:pt x="770" y="850"/>
                    </a:lnTo>
                    <a:lnTo>
                      <a:pt x="771" y="846"/>
                    </a:lnTo>
                    <a:lnTo>
                      <a:pt x="765" y="852"/>
                    </a:lnTo>
                    <a:lnTo>
                      <a:pt x="763" y="852"/>
                    </a:lnTo>
                    <a:lnTo>
                      <a:pt x="763" y="852"/>
                    </a:lnTo>
                    <a:lnTo>
                      <a:pt x="761" y="852"/>
                    </a:lnTo>
                    <a:lnTo>
                      <a:pt x="761" y="852"/>
                    </a:lnTo>
                    <a:lnTo>
                      <a:pt x="759" y="852"/>
                    </a:lnTo>
                    <a:lnTo>
                      <a:pt x="759" y="852"/>
                    </a:lnTo>
                    <a:lnTo>
                      <a:pt x="758" y="852"/>
                    </a:lnTo>
                    <a:lnTo>
                      <a:pt x="758" y="852"/>
                    </a:lnTo>
                    <a:lnTo>
                      <a:pt x="759" y="852"/>
                    </a:lnTo>
                    <a:lnTo>
                      <a:pt x="761" y="851"/>
                    </a:lnTo>
                    <a:lnTo>
                      <a:pt x="761" y="851"/>
                    </a:lnTo>
                    <a:lnTo>
                      <a:pt x="762" y="847"/>
                    </a:lnTo>
                    <a:lnTo>
                      <a:pt x="757" y="854"/>
                    </a:lnTo>
                    <a:lnTo>
                      <a:pt x="757" y="854"/>
                    </a:lnTo>
                    <a:lnTo>
                      <a:pt x="757" y="854"/>
                    </a:lnTo>
                    <a:lnTo>
                      <a:pt x="757" y="854"/>
                    </a:lnTo>
                    <a:lnTo>
                      <a:pt x="757" y="854"/>
                    </a:lnTo>
                    <a:lnTo>
                      <a:pt x="758" y="856"/>
                    </a:lnTo>
                    <a:lnTo>
                      <a:pt x="759" y="862"/>
                    </a:lnTo>
                    <a:lnTo>
                      <a:pt x="759" y="862"/>
                    </a:lnTo>
                    <a:lnTo>
                      <a:pt x="782" y="862"/>
                    </a:lnTo>
                    <a:lnTo>
                      <a:pt x="782" y="862"/>
                    </a:lnTo>
                    <a:lnTo>
                      <a:pt x="783" y="862"/>
                    </a:lnTo>
                    <a:lnTo>
                      <a:pt x="783" y="862"/>
                    </a:lnTo>
                    <a:lnTo>
                      <a:pt x="787" y="860"/>
                    </a:lnTo>
                    <a:lnTo>
                      <a:pt x="791" y="856"/>
                    </a:lnTo>
                    <a:lnTo>
                      <a:pt x="795" y="855"/>
                    </a:lnTo>
                    <a:lnTo>
                      <a:pt x="795" y="855"/>
                    </a:lnTo>
                    <a:lnTo>
                      <a:pt x="798" y="852"/>
                    </a:lnTo>
                    <a:lnTo>
                      <a:pt x="800" y="850"/>
                    </a:lnTo>
                    <a:lnTo>
                      <a:pt x="804" y="848"/>
                    </a:lnTo>
                    <a:lnTo>
                      <a:pt x="804" y="848"/>
                    </a:lnTo>
                    <a:lnTo>
                      <a:pt x="804" y="848"/>
                    </a:lnTo>
                    <a:lnTo>
                      <a:pt x="807" y="846"/>
                    </a:lnTo>
                    <a:lnTo>
                      <a:pt x="811" y="843"/>
                    </a:lnTo>
                    <a:lnTo>
                      <a:pt x="811" y="843"/>
                    </a:lnTo>
                    <a:lnTo>
                      <a:pt x="812" y="842"/>
                    </a:lnTo>
                    <a:lnTo>
                      <a:pt x="812" y="842"/>
                    </a:lnTo>
                    <a:lnTo>
                      <a:pt x="813" y="840"/>
                    </a:lnTo>
                    <a:lnTo>
                      <a:pt x="817" y="839"/>
                    </a:lnTo>
                    <a:lnTo>
                      <a:pt x="816" y="839"/>
                    </a:lnTo>
                    <a:lnTo>
                      <a:pt x="816" y="839"/>
                    </a:lnTo>
                    <a:lnTo>
                      <a:pt x="821" y="835"/>
                    </a:lnTo>
                    <a:lnTo>
                      <a:pt x="825" y="835"/>
                    </a:lnTo>
                    <a:lnTo>
                      <a:pt x="825" y="835"/>
                    </a:lnTo>
                    <a:lnTo>
                      <a:pt x="831" y="835"/>
                    </a:lnTo>
                    <a:lnTo>
                      <a:pt x="831" y="835"/>
                    </a:lnTo>
                    <a:lnTo>
                      <a:pt x="833" y="835"/>
                    </a:lnTo>
                    <a:lnTo>
                      <a:pt x="837" y="835"/>
                    </a:lnTo>
                    <a:lnTo>
                      <a:pt x="837" y="835"/>
                    </a:lnTo>
                    <a:lnTo>
                      <a:pt x="839" y="835"/>
                    </a:lnTo>
                    <a:lnTo>
                      <a:pt x="844" y="830"/>
                    </a:lnTo>
                    <a:lnTo>
                      <a:pt x="845" y="830"/>
                    </a:lnTo>
                    <a:lnTo>
                      <a:pt x="845" y="830"/>
                    </a:lnTo>
                    <a:lnTo>
                      <a:pt x="849" y="831"/>
                    </a:lnTo>
                    <a:lnTo>
                      <a:pt x="853" y="832"/>
                    </a:lnTo>
                    <a:lnTo>
                      <a:pt x="854" y="832"/>
                    </a:lnTo>
                    <a:lnTo>
                      <a:pt x="857" y="832"/>
                    </a:lnTo>
                    <a:lnTo>
                      <a:pt x="864" y="836"/>
                    </a:lnTo>
                    <a:lnTo>
                      <a:pt x="864" y="836"/>
                    </a:lnTo>
                    <a:lnTo>
                      <a:pt x="862" y="834"/>
                    </a:lnTo>
                    <a:lnTo>
                      <a:pt x="860" y="832"/>
                    </a:lnTo>
                    <a:lnTo>
                      <a:pt x="860" y="832"/>
                    </a:lnTo>
                    <a:lnTo>
                      <a:pt x="860" y="832"/>
                    </a:lnTo>
                    <a:lnTo>
                      <a:pt x="862" y="834"/>
                    </a:lnTo>
                    <a:lnTo>
                      <a:pt x="868" y="840"/>
                    </a:lnTo>
                    <a:lnTo>
                      <a:pt x="868" y="840"/>
                    </a:lnTo>
                    <a:lnTo>
                      <a:pt x="868" y="839"/>
                    </a:lnTo>
                    <a:lnTo>
                      <a:pt x="869" y="840"/>
                    </a:lnTo>
                    <a:lnTo>
                      <a:pt x="869" y="842"/>
                    </a:lnTo>
                    <a:lnTo>
                      <a:pt x="869" y="842"/>
                    </a:lnTo>
                    <a:lnTo>
                      <a:pt x="869" y="843"/>
                    </a:lnTo>
                    <a:lnTo>
                      <a:pt x="869" y="843"/>
                    </a:lnTo>
                    <a:lnTo>
                      <a:pt x="869" y="844"/>
                    </a:lnTo>
                    <a:lnTo>
                      <a:pt x="869" y="844"/>
                    </a:lnTo>
                    <a:lnTo>
                      <a:pt x="868" y="842"/>
                    </a:lnTo>
                    <a:lnTo>
                      <a:pt x="865" y="840"/>
                    </a:lnTo>
                    <a:lnTo>
                      <a:pt x="870" y="847"/>
                    </a:lnTo>
                    <a:lnTo>
                      <a:pt x="870" y="850"/>
                    </a:lnTo>
                    <a:lnTo>
                      <a:pt x="870" y="850"/>
                    </a:lnTo>
                    <a:lnTo>
                      <a:pt x="870" y="851"/>
                    </a:lnTo>
                    <a:lnTo>
                      <a:pt x="870" y="851"/>
                    </a:lnTo>
                    <a:lnTo>
                      <a:pt x="870" y="852"/>
                    </a:lnTo>
                    <a:lnTo>
                      <a:pt x="870" y="852"/>
                    </a:lnTo>
                    <a:lnTo>
                      <a:pt x="869" y="850"/>
                    </a:lnTo>
                    <a:lnTo>
                      <a:pt x="866" y="848"/>
                    </a:lnTo>
                    <a:lnTo>
                      <a:pt x="870" y="854"/>
                    </a:lnTo>
                    <a:lnTo>
                      <a:pt x="870" y="854"/>
                    </a:lnTo>
                    <a:lnTo>
                      <a:pt x="870" y="854"/>
                    </a:lnTo>
                    <a:lnTo>
                      <a:pt x="870" y="854"/>
                    </a:lnTo>
                    <a:lnTo>
                      <a:pt x="870" y="852"/>
                    </a:lnTo>
                    <a:lnTo>
                      <a:pt x="870" y="852"/>
                    </a:lnTo>
                    <a:lnTo>
                      <a:pt x="870" y="854"/>
                    </a:lnTo>
                    <a:lnTo>
                      <a:pt x="870" y="854"/>
                    </a:lnTo>
                    <a:lnTo>
                      <a:pt x="873" y="854"/>
                    </a:lnTo>
                    <a:lnTo>
                      <a:pt x="873" y="854"/>
                    </a:lnTo>
                    <a:lnTo>
                      <a:pt x="874" y="854"/>
                    </a:lnTo>
                    <a:lnTo>
                      <a:pt x="874" y="854"/>
                    </a:lnTo>
                    <a:lnTo>
                      <a:pt x="873" y="855"/>
                    </a:lnTo>
                    <a:lnTo>
                      <a:pt x="873" y="855"/>
                    </a:lnTo>
                    <a:lnTo>
                      <a:pt x="873" y="856"/>
                    </a:lnTo>
                    <a:lnTo>
                      <a:pt x="878" y="852"/>
                    </a:lnTo>
                    <a:lnTo>
                      <a:pt x="881" y="852"/>
                    </a:lnTo>
                    <a:lnTo>
                      <a:pt x="881" y="852"/>
                    </a:lnTo>
                    <a:lnTo>
                      <a:pt x="884" y="852"/>
                    </a:lnTo>
                    <a:lnTo>
                      <a:pt x="884" y="852"/>
                    </a:lnTo>
                    <a:lnTo>
                      <a:pt x="886" y="852"/>
                    </a:lnTo>
                    <a:lnTo>
                      <a:pt x="886" y="852"/>
                    </a:lnTo>
                    <a:lnTo>
                      <a:pt x="888" y="852"/>
                    </a:lnTo>
                    <a:lnTo>
                      <a:pt x="888" y="852"/>
                    </a:lnTo>
                    <a:lnTo>
                      <a:pt x="886" y="854"/>
                    </a:lnTo>
                    <a:lnTo>
                      <a:pt x="885" y="856"/>
                    </a:lnTo>
                    <a:lnTo>
                      <a:pt x="890" y="851"/>
                    </a:lnTo>
                    <a:lnTo>
                      <a:pt x="890" y="851"/>
                    </a:lnTo>
                    <a:lnTo>
                      <a:pt x="894" y="851"/>
                    </a:lnTo>
                    <a:lnTo>
                      <a:pt x="894" y="851"/>
                    </a:lnTo>
                    <a:lnTo>
                      <a:pt x="897" y="851"/>
                    </a:lnTo>
                    <a:lnTo>
                      <a:pt x="897" y="851"/>
                    </a:lnTo>
                    <a:lnTo>
                      <a:pt x="895" y="852"/>
                    </a:lnTo>
                    <a:lnTo>
                      <a:pt x="893" y="855"/>
                    </a:lnTo>
                    <a:lnTo>
                      <a:pt x="899" y="851"/>
                    </a:lnTo>
                    <a:lnTo>
                      <a:pt x="899" y="851"/>
                    </a:lnTo>
                    <a:lnTo>
                      <a:pt x="902" y="848"/>
                    </a:lnTo>
                    <a:lnTo>
                      <a:pt x="902" y="848"/>
                    </a:lnTo>
                    <a:lnTo>
                      <a:pt x="906" y="848"/>
                    </a:lnTo>
                    <a:lnTo>
                      <a:pt x="910" y="847"/>
                    </a:lnTo>
                    <a:lnTo>
                      <a:pt x="911" y="846"/>
                    </a:lnTo>
                    <a:lnTo>
                      <a:pt x="913" y="846"/>
                    </a:lnTo>
                    <a:lnTo>
                      <a:pt x="913" y="846"/>
                    </a:lnTo>
                    <a:lnTo>
                      <a:pt x="917" y="844"/>
                    </a:lnTo>
                    <a:lnTo>
                      <a:pt x="917" y="844"/>
                    </a:lnTo>
                    <a:lnTo>
                      <a:pt x="919" y="842"/>
                    </a:lnTo>
                    <a:lnTo>
                      <a:pt x="922" y="842"/>
                    </a:lnTo>
                    <a:lnTo>
                      <a:pt x="925" y="840"/>
                    </a:lnTo>
                    <a:lnTo>
                      <a:pt x="925" y="840"/>
                    </a:lnTo>
                    <a:lnTo>
                      <a:pt x="926" y="840"/>
                    </a:lnTo>
                    <a:lnTo>
                      <a:pt x="931" y="847"/>
                    </a:lnTo>
                    <a:lnTo>
                      <a:pt x="931" y="847"/>
                    </a:lnTo>
                    <a:lnTo>
                      <a:pt x="934" y="846"/>
                    </a:lnTo>
                    <a:lnTo>
                      <a:pt x="939" y="842"/>
                    </a:lnTo>
                    <a:lnTo>
                      <a:pt x="940" y="842"/>
                    </a:lnTo>
                    <a:lnTo>
                      <a:pt x="940" y="842"/>
                    </a:lnTo>
                    <a:lnTo>
                      <a:pt x="944" y="843"/>
                    </a:lnTo>
                    <a:lnTo>
                      <a:pt x="947" y="844"/>
                    </a:lnTo>
                    <a:lnTo>
                      <a:pt x="950" y="850"/>
                    </a:lnTo>
                    <a:lnTo>
                      <a:pt x="950" y="850"/>
                    </a:lnTo>
                    <a:lnTo>
                      <a:pt x="950" y="850"/>
                    </a:lnTo>
                    <a:lnTo>
                      <a:pt x="950" y="850"/>
                    </a:lnTo>
                    <a:lnTo>
                      <a:pt x="951" y="850"/>
                    </a:lnTo>
                    <a:lnTo>
                      <a:pt x="951" y="850"/>
                    </a:lnTo>
                    <a:lnTo>
                      <a:pt x="952" y="850"/>
                    </a:lnTo>
                    <a:lnTo>
                      <a:pt x="952" y="850"/>
                    </a:lnTo>
                    <a:lnTo>
                      <a:pt x="952" y="850"/>
                    </a:lnTo>
                    <a:lnTo>
                      <a:pt x="955" y="847"/>
                    </a:lnTo>
                    <a:lnTo>
                      <a:pt x="955" y="847"/>
                    </a:lnTo>
                    <a:lnTo>
                      <a:pt x="955" y="847"/>
                    </a:lnTo>
                    <a:lnTo>
                      <a:pt x="959" y="846"/>
                    </a:lnTo>
                    <a:lnTo>
                      <a:pt x="959" y="846"/>
                    </a:lnTo>
                    <a:lnTo>
                      <a:pt x="959" y="844"/>
                    </a:lnTo>
                    <a:lnTo>
                      <a:pt x="959" y="844"/>
                    </a:lnTo>
                    <a:lnTo>
                      <a:pt x="959" y="846"/>
                    </a:lnTo>
                    <a:lnTo>
                      <a:pt x="959" y="846"/>
                    </a:lnTo>
                    <a:lnTo>
                      <a:pt x="959" y="847"/>
                    </a:lnTo>
                    <a:lnTo>
                      <a:pt x="962" y="844"/>
                    </a:lnTo>
                    <a:lnTo>
                      <a:pt x="962" y="843"/>
                    </a:lnTo>
                    <a:lnTo>
                      <a:pt x="962" y="843"/>
                    </a:lnTo>
                    <a:lnTo>
                      <a:pt x="966" y="842"/>
                    </a:lnTo>
                    <a:lnTo>
                      <a:pt x="966" y="842"/>
                    </a:lnTo>
                    <a:lnTo>
                      <a:pt x="966" y="842"/>
                    </a:lnTo>
                    <a:lnTo>
                      <a:pt x="966" y="842"/>
                    </a:lnTo>
                    <a:lnTo>
                      <a:pt x="966" y="842"/>
                    </a:lnTo>
                    <a:lnTo>
                      <a:pt x="966" y="842"/>
                    </a:lnTo>
                    <a:lnTo>
                      <a:pt x="966" y="843"/>
                    </a:lnTo>
                    <a:lnTo>
                      <a:pt x="968" y="840"/>
                    </a:lnTo>
                    <a:lnTo>
                      <a:pt x="968" y="839"/>
                    </a:lnTo>
                    <a:lnTo>
                      <a:pt x="968" y="839"/>
                    </a:lnTo>
                    <a:lnTo>
                      <a:pt x="972" y="838"/>
                    </a:lnTo>
                    <a:lnTo>
                      <a:pt x="972" y="838"/>
                    </a:lnTo>
                    <a:lnTo>
                      <a:pt x="972" y="838"/>
                    </a:lnTo>
                    <a:lnTo>
                      <a:pt x="972" y="838"/>
                    </a:lnTo>
                    <a:lnTo>
                      <a:pt x="971" y="838"/>
                    </a:lnTo>
                    <a:lnTo>
                      <a:pt x="972" y="838"/>
                    </a:lnTo>
                    <a:lnTo>
                      <a:pt x="972" y="839"/>
                    </a:lnTo>
                    <a:lnTo>
                      <a:pt x="976" y="835"/>
                    </a:lnTo>
                    <a:lnTo>
                      <a:pt x="976" y="835"/>
                    </a:lnTo>
                    <a:lnTo>
                      <a:pt x="976" y="835"/>
                    </a:lnTo>
                    <a:lnTo>
                      <a:pt x="976" y="835"/>
                    </a:lnTo>
                    <a:lnTo>
                      <a:pt x="976" y="835"/>
                    </a:lnTo>
                    <a:lnTo>
                      <a:pt x="977" y="834"/>
                    </a:lnTo>
                    <a:lnTo>
                      <a:pt x="981" y="832"/>
                    </a:lnTo>
                    <a:lnTo>
                      <a:pt x="981" y="832"/>
                    </a:lnTo>
                    <a:lnTo>
                      <a:pt x="985" y="834"/>
                    </a:lnTo>
                    <a:lnTo>
                      <a:pt x="987" y="835"/>
                    </a:lnTo>
                    <a:lnTo>
                      <a:pt x="989" y="838"/>
                    </a:lnTo>
                    <a:lnTo>
                      <a:pt x="989" y="838"/>
                    </a:lnTo>
                    <a:lnTo>
                      <a:pt x="989" y="839"/>
                    </a:lnTo>
                    <a:lnTo>
                      <a:pt x="989" y="839"/>
                    </a:lnTo>
                    <a:lnTo>
                      <a:pt x="992" y="839"/>
                    </a:lnTo>
                    <a:lnTo>
                      <a:pt x="992" y="839"/>
                    </a:lnTo>
                    <a:lnTo>
                      <a:pt x="992" y="839"/>
                    </a:lnTo>
                    <a:lnTo>
                      <a:pt x="992" y="839"/>
                    </a:lnTo>
                    <a:lnTo>
                      <a:pt x="995" y="839"/>
                    </a:lnTo>
                    <a:lnTo>
                      <a:pt x="995" y="839"/>
                    </a:lnTo>
                    <a:lnTo>
                      <a:pt x="997" y="839"/>
                    </a:lnTo>
                    <a:lnTo>
                      <a:pt x="997" y="839"/>
                    </a:lnTo>
                    <a:lnTo>
                      <a:pt x="1001" y="839"/>
                    </a:lnTo>
                    <a:lnTo>
                      <a:pt x="1004" y="842"/>
                    </a:lnTo>
                    <a:lnTo>
                      <a:pt x="1005" y="843"/>
                    </a:lnTo>
                    <a:lnTo>
                      <a:pt x="1005" y="843"/>
                    </a:lnTo>
                    <a:lnTo>
                      <a:pt x="1005" y="843"/>
                    </a:lnTo>
                    <a:lnTo>
                      <a:pt x="1005" y="843"/>
                    </a:lnTo>
                    <a:lnTo>
                      <a:pt x="1008" y="844"/>
                    </a:lnTo>
                    <a:lnTo>
                      <a:pt x="1008" y="844"/>
                    </a:lnTo>
                    <a:lnTo>
                      <a:pt x="1010" y="848"/>
                    </a:lnTo>
                    <a:lnTo>
                      <a:pt x="1010" y="847"/>
                    </a:lnTo>
                    <a:lnTo>
                      <a:pt x="1012" y="847"/>
                    </a:lnTo>
                    <a:lnTo>
                      <a:pt x="1012" y="847"/>
                    </a:lnTo>
                    <a:lnTo>
                      <a:pt x="1010" y="846"/>
                    </a:lnTo>
                    <a:lnTo>
                      <a:pt x="1010" y="846"/>
                    </a:lnTo>
                    <a:lnTo>
                      <a:pt x="1012" y="847"/>
                    </a:lnTo>
                    <a:lnTo>
                      <a:pt x="1012" y="847"/>
                    </a:lnTo>
                    <a:lnTo>
                      <a:pt x="1014" y="848"/>
                    </a:lnTo>
                    <a:lnTo>
                      <a:pt x="1014" y="848"/>
                    </a:lnTo>
                    <a:lnTo>
                      <a:pt x="1017" y="851"/>
                    </a:lnTo>
                    <a:lnTo>
                      <a:pt x="1017" y="851"/>
                    </a:lnTo>
                    <a:lnTo>
                      <a:pt x="1017" y="851"/>
                    </a:lnTo>
                    <a:lnTo>
                      <a:pt x="1017" y="851"/>
                    </a:lnTo>
                    <a:lnTo>
                      <a:pt x="1017" y="850"/>
                    </a:lnTo>
                    <a:lnTo>
                      <a:pt x="1017" y="850"/>
                    </a:lnTo>
                    <a:lnTo>
                      <a:pt x="1017" y="851"/>
                    </a:lnTo>
                    <a:lnTo>
                      <a:pt x="1017" y="851"/>
                    </a:lnTo>
                    <a:lnTo>
                      <a:pt x="1021" y="852"/>
                    </a:lnTo>
                    <a:lnTo>
                      <a:pt x="1024" y="854"/>
                    </a:lnTo>
                    <a:lnTo>
                      <a:pt x="1024" y="854"/>
                    </a:lnTo>
                    <a:lnTo>
                      <a:pt x="1026" y="856"/>
                    </a:lnTo>
                    <a:lnTo>
                      <a:pt x="1032" y="859"/>
                    </a:lnTo>
                    <a:lnTo>
                      <a:pt x="1032" y="859"/>
                    </a:lnTo>
                    <a:lnTo>
                      <a:pt x="1036" y="860"/>
                    </a:lnTo>
                    <a:lnTo>
                      <a:pt x="1036" y="862"/>
                    </a:lnTo>
                    <a:lnTo>
                      <a:pt x="1040" y="865"/>
                    </a:lnTo>
                    <a:lnTo>
                      <a:pt x="1040" y="865"/>
                    </a:lnTo>
                    <a:lnTo>
                      <a:pt x="1038" y="863"/>
                    </a:lnTo>
                    <a:lnTo>
                      <a:pt x="1038" y="863"/>
                    </a:lnTo>
                    <a:lnTo>
                      <a:pt x="1040" y="863"/>
                    </a:lnTo>
                    <a:lnTo>
                      <a:pt x="1040" y="863"/>
                    </a:lnTo>
                    <a:lnTo>
                      <a:pt x="1042" y="864"/>
                    </a:lnTo>
                    <a:lnTo>
                      <a:pt x="1045" y="869"/>
                    </a:lnTo>
                    <a:lnTo>
                      <a:pt x="1045" y="869"/>
                    </a:lnTo>
                    <a:lnTo>
                      <a:pt x="1044" y="875"/>
                    </a:lnTo>
                    <a:lnTo>
                      <a:pt x="1042" y="879"/>
                    </a:lnTo>
                    <a:lnTo>
                      <a:pt x="1042" y="879"/>
                    </a:lnTo>
                    <a:lnTo>
                      <a:pt x="1041" y="880"/>
                    </a:lnTo>
                    <a:lnTo>
                      <a:pt x="1041" y="880"/>
                    </a:lnTo>
                    <a:lnTo>
                      <a:pt x="1041" y="883"/>
                    </a:lnTo>
                    <a:lnTo>
                      <a:pt x="1040" y="884"/>
                    </a:lnTo>
                    <a:lnTo>
                      <a:pt x="1040" y="884"/>
                    </a:lnTo>
                    <a:lnTo>
                      <a:pt x="1040" y="884"/>
                    </a:lnTo>
                    <a:lnTo>
                      <a:pt x="1040" y="884"/>
                    </a:lnTo>
                    <a:lnTo>
                      <a:pt x="1040" y="883"/>
                    </a:lnTo>
                    <a:lnTo>
                      <a:pt x="1038" y="887"/>
                    </a:lnTo>
                    <a:lnTo>
                      <a:pt x="1038" y="887"/>
                    </a:lnTo>
                    <a:lnTo>
                      <a:pt x="1038" y="887"/>
                    </a:lnTo>
                    <a:lnTo>
                      <a:pt x="1038" y="887"/>
                    </a:lnTo>
                    <a:lnTo>
                      <a:pt x="1041" y="889"/>
                    </a:lnTo>
                    <a:lnTo>
                      <a:pt x="1047" y="892"/>
                    </a:lnTo>
                    <a:lnTo>
                      <a:pt x="1047" y="892"/>
                    </a:lnTo>
                    <a:lnTo>
                      <a:pt x="1047" y="892"/>
                    </a:lnTo>
                    <a:lnTo>
                      <a:pt x="1049" y="892"/>
                    </a:lnTo>
                    <a:lnTo>
                      <a:pt x="1049" y="892"/>
                    </a:lnTo>
                    <a:lnTo>
                      <a:pt x="1053" y="895"/>
                    </a:lnTo>
                    <a:lnTo>
                      <a:pt x="1053" y="895"/>
                    </a:lnTo>
                    <a:lnTo>
                      <a:pt x="1053" y="893"/>
                    </a:lnTo>
                    <a:lnTo>
                      <a:pt x="1053" y="893"/>
                    </a:lnTo>
                    <a:lnTo>
                      <a:pt x="1054" y="895"/>
                    </a:lnTo>
                    <a:lnTo>
                      <a:pt x="1054" y="895"/>
                    </a:lnTo>
                    <a:lnTo>
                      <a:pt x="1058" y="897"/>
                    </a:lnTo>
                    <a:lnTo>
                      <a:pt x="1061" y="901"/>
                    </a:lnTo>
                    <a:lnTo>
                      <a:pt x="1061" y="904"/>
                    </a:lnTo>
                    <a:lnTo>
                      <a:pt x="1059" y="908"/>
                    </a:lnTo>
                    <a:lnTo>
                      <a:pt x="1059" y="908"/>
                    </a:lnTo>
                    <a:lnTo>
                      <a:pt x="1058" y="909"/>
                    </a:lnTo>
                    <a:lnTo>
                      <a:pt x="1058" y="909"/>
                    </a:lnTo>
                    <a:lnTo>
                      <a:pt x="1058" y="910"/>
                    </a:lnTo>
                    <a:lnTo>
                      <a:pt x="1057" y="914"/>
                    </a:lnTo>
                    <a:lnTo>
                      <a:pt x="1055" y="914"/>
                    </a:lnTo>
                    <a:lnTo>
                      <a:pt x="1055" y="914"/>
                    </a:lnTo>
                    <a:lnTo>
                      <a:pt x="1054" y="916"/>
                    </a:lnTo>
                    <a:lnTo>
                      <a:pt x="1054" y="921"/>
                    </a:lnTo>
                    <a:lnTo>
                      <a:pt x="1054" y="921"/>
                    </a:lnTo>
                    <a:lnTo>
                      <a:pt x="1047" y="928"/>
                    </a:lnTo>
                    <a:lnTo>
                      <a:pt x="1047" y="928"/>
                    </a:lnTo>
                    <a:lnTo>
                      <a:pt x="1047" y="928"/>
                    </a:lnTo>
                    <a:lnTo>
                      <a:pt x="1047" y="928"/>
                    </a:lnTo>
                    <a:lnTo>
                      <a:pt x="1049" y="928"/>
                    </a:lnTo>
                    <a:lnTo>
                      <a:pt x="1051" y="926"/>
                    </a:lnTo>
                    <a:lnTo>
                      <a:pt x="1051" y="926"/>
                    </a:lnTo>
                    <a:lnTo>
                      <a:pt x="1053" y="924"/>
                    </a:lnTo>
                    <a:lnTo>
                      <a:pt x="1053" y="924"/>
                    </a:lnTo>
                    <a:lnTo>
                      <a:pt x="1053" y="925"/>
                    </a:lnTo>
                    <a:lnTo>
                      <a:pt x="1053" y="925"/>
                    </a:lnTo>
                    <a:lnTo>
                      <a:pt x="1053" y="929"/>
                    </a:lnTo>
                    <a:lnTo>
                      <a:pt x="1053" y="929"/>
                    </a:lnTo>
                    <a:lnTo>
                      <a:pt x="1053" y="929"/>
                    </a:lnTo>
                    <a:lnTo>
                      <a:pt x="1053" y="929"/>
                    </a:lnTo>
                    <a:lnTo>
                      <a:pt x="1053" y="930"/>
                    </a:lnTo>
                    <a:lnTo>
                      <a:pt x="1051" y="930"/>
                    </a:lnTo>
                    <a:lnTo>
                      <a:pt x="1049" y="934"/>
                    </a:lnTo>
                    <a:lnTo>
                      <a:pt x="1050" y="934"/>
                    </a:lnTo>
                    <a:lnTo>
                      <a:pt x="1050" y="934"/>
                    </a:lnTo>
                    <a:lnTo>
                      <a:pt x="1051" y="932"/>
                    </a:lnTo>
                    <a:lnTo>
                      <a:pt x="1051" y="932"/>
                    </a:lnTo>
                    <a:lnTo>
                      <a:pt x="1051" y="933"/>
                    </a:lnTo>
                    <a:lnTo>
                      <a:pt x="1051" y="933"/>
                    </a:lnTo>
                    <a:lnTo>
                      <a:pt x="1051" y="934"/>
                    </a:lnTo>
                    <a:lnTo>
                      <a:pt x="1051" y="936"/>
                    </a:lnTo>
                    <a:lnTo>
                      <a:pt x="1047" y="941"/>
                    </a:lnTo>
                    <a:lnTo>
                      <a:pt x="1047" y="941"/>
                    </a:lnTo>
                    <a:lnTo>
                      <a:pt x="1049" y="940"/>
                    </a:lnTo>
                    <a:lnTo>
                      <a:pt x="1049" y="940"/>
                    </a:lnTo>
                    <a:lnTo>
                      <a:pt x="1049" y="941"/>
                    </a:lnTo>
                    <a:lnTo>
                      <a:pt x="1049" y="945"/>
                    </a:lnTo>
                    <a:lnTo>
                      <a:pt x="1045" y="950"/>
                    </a:lnTo>
                    <a:lnTo>
                      <a:pt x="1045" y="950"/>
                    </a:lnTo>
                    <a:lnTo>
                      <a:pt x="1046" y="949"/>
                    </a:lnTo>
                    <a:lnTo>
                      <a:pt x="1046" y="949"/>
                    </a:lnTo>
                    <a:lnTo>
                      <a:pt x="1046" y="950"/>
                    </a:lnTo>
                    <a:lnTo>
                      <a:pt x="1045" y="954"/>
                    </a:lnTo>
                    <a:lnTo>
                      <a:pt x="1045" y="954"/>
                    </a:lnTo>
                    <a:lnTo>
                      <a:pt x="1045" y="953"/>
                    </a:lnTo>
                    <a:lnTo>
                      <a:pt x="1045" y="953"/>
                    </a:lnTo>
                    <a:lnTo>
                      <a:pt x="1045" y="954"/>
                    </a:lnTo>
                    <a:lnTo>
                      <a:pt x="1044" y="955"/>
                    </a:lnTo>
                    <a:lnTo>
                      <a:pt x="1044" y="955"/>
                    </a:lnTo>
                    <a:lnTo>
                      <a:pt x="1047" y="958"/>
                    </a:lnTo>
                    <a:lnTo>
                      <a:pt x="1049" y="962"/>
                    </a:lnTo>
                    <a:lnTo>
                      <a:pt x="1049" y="966"/>
                    </a:lnTo>
                    <a:lnTo>
                      <a:pt x="1049" y="967"/>
                    </a:lnTo>
                    <a:lnTo>
                      <a:pt x="1049" y="967"/>
                    </a:lnTo>
                    <a:lnTo>
                      <a:pt x="1046" y="971"/>
                    </a:lnTo>
                    <a:lnTo>
                      <a:pt x="1046" y="973"/>
                    </a:lnTo>
                    <a:lnTo>
                      <a:pt x="1046" y="973"/>
                    </a:lnTo>
                    <a:lnTo>
                      <a:pt x="1038" y="984"/>
                    </a:lnTo>
                    <a:lnTo>
                      <a:pt x="1038" y="984"/>
                    </a:lnTo>
                    <a:lnTo>
                      <a:pt x="1032" y="994"/>
                    </a:lnTo>
                    <a:lnTo>
                      <a:pt x="1032" y="994"/>
                    </a:lnTo>
                    <a:lnTo>
                      <a:pt x="1032" y="994"/>
                    </a:lnTo>
                    <a:lnTo>
                      <a:pt x="1036" y="999"/>
                    </a:lnTo>
                    <a:lnTo>
                      <a:pt x="1036" y="1000"/>
                    </a:lnTo>
                    <a:lnTo>
                      <a:pt x="1034" y="1004"/>
                    </a:lnTo>
                    <a:lnTo>
                      <a:pt x="1034" y="1004"/>
                    </a:lnTo>
                    <a:lnTo>
                      <a:pt x="1028" y="1012"/>
                    </a:lnTo>
                    <a:lnTo>
                      <a:pt x="1021" y="1020"/>
                    </a:lnTo>
                    <a:lnTo>
                      <a:pt x="1020" y="1024"/>
                    </a:lnTo>
                    <a:lnTo>
                      <a:pt x="1020" y="1024"/>
                    </a:lnTo>
                    <a:lnTo>
                      <a:pt x="1016" y="1028"/>
                    </a:lnTo>
                    <a:lnTo>
                      <a:pt x="1012" y="1035"/>
                    </a:lnTo>
                    <a:lnTo>
                      <a:pt x="1004" y="1047"/>
                    </a:lnTo>
                    <a:lnTo>
                      <a:pt x="1004" y="1047"/>
                    </a:lnTo>
                    <a:lnTo>
                      <a:pt x="1003" y="1051"/>
                    </a:lnTo>
                    <a:lnTo>
                      <a:pt x="1000" y="1055"/>
                    </a:lnTo>
                    <a:lnTo>
                      <a:pt x="1000" y="1055"/>
                    </a:lnTo>
                    <a:lnTo>
                      <a:pt x="999" y="1057"/>
                    </a:lnTo>
                    <a:lnTo>
                      <a:pt x="999" y="1059"/>
                    </a:lnTo>
                    <a:lnTo>
                      <a:pt x="999" y="1059"/>
                    </a:lnTo>
                    <a:lnTo>
                      <a:pt x="1001" y="1059"/>
                    </a:lnTo>
                    <a:lnTo>
                      <a:pt x="1004" y="1061"/>
                    </a:lnTo>
                    <a:lnTo>
                      <a:pt x="1004" y="1061"/>
                    </a:lnTo>
                    <a:lnTo>
                      <a:pt x="1004" y="1061"/>
                    </a:lnTo>
                    <a:lnTo>
                      <a:pt x="1008" y="1064"/>
                    </a:lnTo>
                    <a:lnTo>
                      <a:pt x="1010" y="1066"/>
                    </a:lnTo>
                    <a:lnTo>
                      <a:pt x="1010" y="1069"/>
                    </a:lnTo>
                    <a:lnTo>
                      <a:pt x="1010" y="1072"/>
                    </a:lnTo>
                    <a:lnTo>
                      <a:pt x="1005" y="1076"/>
                    </a:lnTo>
                    <a:lnTo>
                      <a:pt x="999" y="1076"/>
                    </a:lnTo>
                    <a:lnTo>
                      <a:pt x="992" y="1072"/>
                    </a:lnTo>
                    <a:lnTo>
                      <a:pt x="992" y="1072"/>
                    </a:lnTo>
                    <a:lnTo>
                      <a:pt x="993" y="1074"/>
                    </a:lnTo>
                    <a:lnTo>
                      <a:pt x="996" y="1074"/>
                    </a:lnTo>
                    <a:lnTo>
                      <a:pt x="996" y="1074"/>
                    </a:lnTo>
                    <a:lnTo>
                      <a:pt x="996" y="1074"/>
                    </a:lnTo>
                    <a:lnTo>
                      <a:pt x="996" y="1074"/>
                    </a:lnTo>
                    <a:lnTo>
                      <a:pt x="993" y="1074"/>
                    </a:lnTo>
                    <a:lnTo>
                      <a:pt x="993" y="1074"/>
                    </a:lnTo>
                    <a:lnTo>
                      <a:pt x="991" y="1074"/>
                    </a:lnTo>
                    <a:lnTo>
                      <a:pt x="991" y="1074"/>
                    </a:lnTo>
                    <a:lnTo>
                      <a:pt x="989" y="1074"/>
                    </a:lnTo>
                    <a:lnTo>
                      <a:pt x="987" y="1074"/>
                    </a:lnTo>
                    <a:lnTo>
                      <a:pt x="981" y="1070"/>
                    </a:lnTo>
                    <a:lnTo>
                      <a:pt x="981" y="1070"/>
                    </a:lnTo>
                    <a:lnTo>
                      <a:pt x="983" y="1073"/>
                    </a:lnTo>
                    <a:lnTo>
                      <a:pt x="984" y="1073"/>
                    </a:lnTo>
                    <a:lnTo>
                      <a:pt x="984" y="1073"/>
                    </a:lnTo>
                    <a:lnTo>
                      <a:pt x="984" y="1073"/>
                    </a:lnTo>
                    <a:lnTo>
                      <a:pt x="984" y="1073"/>
                    </a:lnTo>
                    <a:lnTo>
                      <a:pt x="983" y="1073"/>
                    </a:lnTo>
                    <a:lnTo>
                      <a:pt x="983" y="1073"/>
                    </a:lnTo>
                    <a:lnTo>
                      <a:pt x="980" y="1074"/>
                    </a:lnTo>
                    <a:lnTo>
                      <a:pt x="980" y="1074"/>
                    </a:lnTo>
                    <a:lnTo>
                      <a:pt x="977" y="1073"/>
                    </a:lnTo>
                    <a:lnTo>
                      <a:pt x="976" y="1073"/>
                    </a:lnTo>
                    <a:lnTo>
                      <a:pt x="972" y="1070"/>
                    </a:lnTo>
                    <a:lnTo>
                      <a:pt x="972" y="1070"/>
                    </a:lnTo>
                    <a:lnTo>
                      <a:pt x="968" y="1069"/>
                    </a:lnTo>
                    <a:lnTo>
                      <a:pt x="964" y="1066"/>
                    </a:lnTo>
                    <a:lnTo>
                      <a:pt x="964" y="1066"/>
                    </a:lnTo>
                    <a:lnTo>
                      <a:pt x="960" y="1064"/>
                    </a:lnTo>
                    <a:lnTo>
                      <a:pt x="958" y="1062"/>
                    </a:lnTo>
                    <a:lnTo>
                      <a:pt x="958" y="1062"/>
                    </a:lnTo>
                    <a:lnTo>
                      <a:pt x="954" y="1061"/>
                    </a:lnTo>
                    <a:lnTo>
                      <a:pt x="947" y="1060"/>
                    </a:lnTo>
                    <a:lnTo>
                      <a:pt x="946" y="1060"/>
                    </a:lnTo>
                    <a:lnTo>
                      <a:pt x="942" y="1057"/>
                    </a:lnTo>
                    <a:lnTo>
                      <a:pt x="942" y="1057"/>
                    </a:lnTo>
                    <a:lnTo>
                      <a:pt x="939" y="1053"/>
                    </a:lnTo>
                    <a:lnTo>
                      <a:pt x="938" y="1049"/>
                    </a:lnTo>
                    <a:lnTo>
                      <a:pt x="938" y="1049"/>
                    </a:lnTo>
                    <a:lnTo>
                      <a:pt x="935" y="1044"/>
                    </a:lnTo>
                    <a:lnTo>
                      <a:pt x="935" y="1044"/>
                    </a:lnTo>
                    <a:lnTo>
                      <a:pt x="932" y="1045"/>
                    </a:lnTo>
                    <a:lnTo>
                      <a:pt x="928" y="1045"/>
                    </a:lnTo>
                    <a:lnTo>
                      <a:pt x="928" y="1045"/>
                    </a:lnTo>
                    <a:lnTo>
                      <a:pt x="923" y="1047"/>
                    </a:lnTo>
                    <a:lnTo>
                      <a:pt x="923" y="1047"/>
                    </a:lnTo>
                    <a:lnTo>
                      <a:pt x="917" y="1045"/>
                    </a:lnTo>
                    <a:lnTo>
                      <a:pt x="913" y="1044"/>
                    </a:lnTo>
                    <a:lnTo>
                      <a:pt x="909" y="1041"/>
                    </a:lnTo>
                    <a:lnTo>
                      <a:pt x="905" y="1039"/>
                    </a:lnTo>
                    <a:lnTo>
                      <a:pt x="905" y="1039"/>
                    </a:lnTo>
                    <a:lnTo>
                      <a:pt x="905" y="1039"/>
                    </a:lnTo>
                    <a:lnTo>
                      <a:pt x="905" y="1039"/>
                    </a:lnTo>
                    <a:lnTo>
                      <a:pt x="902" y="1040"/>
                    </a:lnTo>
                    <a:lnTo>
                      <a:pt x="898" y="1041"/>
                    </a:lnTo>
                    <a:lnTo>
                      <a:pt x="898" y="1041"/>
                    </a:lnTo>
                    <a:lnTo>
                      <a:pt x="898" y="1041"/>
                    </a:lnTo>
                    <a:lnTo>
                      <a:pt x="897" y="1041"/>
                    </a:lnTo>
                    <a:lnTo>
                      <a:pt x="894" y="1040"/>
                    </a:lnTo>
                    <a:lnTo>
                      <a:pt x="893" y="1039"/>
                    </a:lnTo>
                    <a:lnTo>
                      <a:pt x="891" y="1035"/>
                    </a:lnTo>
                    <a:lnTo>
                      <a:pt x="891" y="1035"/>
                    </a:lnTo>
                    <a:lnTo>
                      <a:pt x="891" y="1027"/>
                    </a:lnTo>
                    <a:lnTo>
                      <a:pt x="893" y="1023"/>
                    </a:lnTo>
                    <a:lnTo>
                      <a:pt x="893" y="1023"/>
                    </a:lnTo>
                    <a:lnTo>
                      <a:pt x="894" y="1022"/>
                    </a:lnTo>
                    <a:lnTo>
                      <a:pt x="894" y="1020"/>
                    </a:lnTo>
                    <a:lnTo>
                      <a:pt x="893" y="1020"/>
                    </a:lnTo>
                    <a:lnTo>
                      <a:pt x="891" y="1020"/>
                    </a:lnTo>
                    <a:lnTo>
                      <a:pt x="891" y="1020"/>
                    </a:lnTo>
                    <a:lnTo>
                      <a:pt x="891" y="1020"/>
                    </a:lnTo>
                    <a:lnTo>
                      <a:pt x="891" y="1020"/>
                    </a:lnTo>
                    <a:lnTo>
                      <a:pt x="890" y="1024"/>
                    </a:lnTo>
                    <a:lnTo>
                      <a:pt x="888" y="1027"/>
                    </a:lnTo>
                    <a:lnTo>
                      <a:pt x="881" y="1028"/>
                    </a:lnTo>
                    <a:lnTo>
                      <a:pt x="881" y="1028"/>
                    </a:lnTo>
                    <a:lnTo>
                      <a:pt x="878" y="1029"/>
                    </a:lnTo>
                    <a:lnTo>
                      <a:pt x="878" y="1029"/>
                    </a:lnTo>
                    <a:lnTo>
                      <a:pt x="877" y="1031"/>
                    </a:lnTo>
                    <a:lnTo>
                      <a:pt x="877" y="1031"/>
                    </a:lnTo>
                    <a:lnTo>
                      <a:pt x="878" y="1029"/>
                    </a:lnTo>
                    <a:lnTo>
                      <a:pt x="873" y="1033"/>
                    </a:lnTo>
                    <a:lnTo>
                      <a:pt x="873" y="1033"/>
                    </a:lnTo>
                    <a:lnTo>
                      <a:pt x="872" y="1033"/>
                    </a:lnTo>
                    <a:lnTo>
                      <a:pt x="872" y="1033"/>
                    </a:lnTo>
                    <a:lnTo>
                      <a:pt x="868" y="1035"/>
                    </a:lnTo>
                    <a:lnTo>
                      <a:pt x="868" y="1035"/>
                    </a:lnTo>
                    <a:lnTo>
                      <a:pt x="864" y="1033"/>
                    </a:lnTo>
                    <a:lnTo>
                      <a:pt x="861" y="1032"/>
                    </a:lnTo>
                    <a:lnTo>
                      <a:pt x="861" y="1032"/>
                    </a:lnTo>
                    <a:lnTo>
                      <a:pt x="860" y="1032"/>
                    </a:lnTo>
                    <a:lnTo>
                      <a:pt x="860" y="1032"/>
                    </a:lnTo>
                    <a:lnTo>
                      <a:pt x="858" y="1032"/>
                    </a:lnTo>
                    <a:lnTo>
                      <a:pt x="858" y="1032"/>
                    </a:lnTo>
                    <a:lnTo>
                      <a:pt x="854" y="1032"/>
                    </a:lnTo>
                    <a:lnTo>
                      <a:pt x="853" y="1031"/>
                    </a:lnTo>
                    <a:lnTo>
                      <a:pt x="853" y="1031"/>
                    </a:lnTo>
                    <a:lnTo>
                      <a:pt x="852" y="1031"/>
                    </a:lnTo>
                    <a:lnTo>
                      <a:pt x="852" y="1031"/>
                    </a:lnTo>
                    <a:lnTo>
                      <a:pt x="850" y="1031"/>
                    </a:lnTo>
                    <a:lnTo>
                      <a:pt x="844" y="1023"/>
                    </a:lnTo>
                    <a:lnTo>
                      <a:pt x="844" y="1023"/>
                    </a:lnTo>
                    <a:lnTo>
                      <a:pt x="844" y="1025"/>
                    </a:lnTo>
                    <a:lnTo>
                      <a:pt x="843" y="1024"/>
                    </a:lnTo>
                    <a:lnTo>
                      <a:pt x="843" y="1024"/>
                    </a:lnTo>
                    <a:lnTo>
                      <a:pt x="844" y="1027"/>
                    </a:lnTo>
                    <a:lnTo>
                      <a:pt x="845" y="1028"/>
                    </a:lnTo>
                    <a:lnTo>
                      <a:pt x="845" y="1028"/>
                    </a:lnTo>
                    <a:lnTo>
                      <a:pt x="845" y="1028"/>
                    </a:lnTo>
                    <a:lnTo>
                      <a:pt x="844" y="1028"/>
                    </a:lnTo>
                    <a:lnTo>
                      <a:pt x="844" y="1028"/>
                    </a:lnTo>
                    <a:lnTo>
                      <a:pt x="841" y="1027"/>
                    </a:lnTo>
                    <a:lnTo>
                      <a:pt x="839" y="1027"/>
                    </a:lnTo>
                    <a:lnTo>
                      <a:pt x="839" y="1027"/>
                    </a:lnTo>
                    <a:lnTo>
                      <a:pt x="835" y="1025"/>
                    </a:lnTo>
                    <a:lnTo>
                      <a:pt x="835" y="1025"/>
                    </a:lnTo>
                    <a:lnTo>
                      <a:pt x="835" y="1025"/>
                    </a:lnTo>
                    <a:lnTo>
                      <a:pt x="835" y="1025"/>
                    </a:lnTo>
                    <a:lnTo>
                      <a:pt x="837" y="1025"/>
                    </a:lnTo>
                    <a:lnTo>
                      <a:pt x="835" y="1024"/>
                    </a:lnTo>
                    <a:lnTo>
                      <a:pt x="835" y="1024"/>
                    </a:lnTo>
                    <a:lnTo>
                      <a:pt x="835" y="1024"/>
                    </a:lnTo>
                    <a:lnTo>
                      <a:pt x="833" y="1024"/>
                    </a:lnTo>
                    <a:lnTo>
                      <a:pt x="833" y="1024"/>
                    </a:lnTo>
                    <a:lnTo>
                      <a:pt x="833" y="1024"/>
                    </a:lnTo>
                    <a:lnTo>
                      <a:pt x="833" y="1024"/>
                    </a:lnTo>
                    <a:lnTo>
                      <a:pt x="831" y="1025"/>
                    </a:lnTo>
                    <a:lnTo>
                      <a:pt x="828" y="1025"/>
                    </a:lnTo>
                    <a:lnTo>
                      <a:pt x="828" y="1025"/>
                    </a:lnTo>
                    <a:lnTo>
                      <a:pt x="828" y="1025"/>
                    </a:lnTo>
                    <a:lnTo>
                      <a:pt x="828" y="1025"/>
                    </a:lnTo>
                    <a:lnTo>
                      <a:pt x="828" y="1024"/>
                    </a:lnTo>
                    <a:lnTo>
                      <a:pt x="823" y="1028"/>
                    </a:lnTo>
                    <a:lnTo>
                      <a:pt x="802" y="1028"/>
                    </a:lnTo>
                    <a:lnTo>
                      <a:pt x="802" y="1028"/>
                    </a:lnTo>
                    <a:lnTo>
                      <a:pt x="799" y="1028"/>
                    </a:lnTo>
                    <a:lnTo>
                      <a:pt x="799" y="1028"/>
                    </a:lnTo>
                    <a:lnTo>
                      <a:pt x="796" y="1028"/>
                    </a:lnTo>
                    <a:lnTo>
                      <a:pt x="792" y="1027"/>
                    </a:lnTo>
                    <a:lnTo>
                      <a:pt x="788" y="1024"/>
                    </a:lnTo>
                    <a:lnTo>
                      <a:pt x="787" y="1022"/>
                    </a:lnTo>
                    <a:lnTo>
                      <a:pt x="787" y="1022"/>
                    </a:lnTo>
                    <a:lnTo>
                      <a:pt x="786" y="1018"/>
                    </a:lnTo>
                    <a:lnTo>
                      <a:pt x="782" y="1015"/>
                    </a:lnTo>
                    <a:lnTo>
                      <a:pt x="782" y="1015"/>
                    </a:lnTo>
                    <a:lnTo>
                      <a:pt x="779" y="1014"/>
                    </a:lnTo>
                    <a:lnTo>
                      <a:pt x="779" y="1014"/>
                    </a:lnTo>
                    <a:lnTo>
                      <a:pt x="778" y="1012"/>
                    </a:lnTo>
                    <a:lnTo>
                      <a:pt x="775" y="1011"/>
                    </a:lnTo>
                    <a:lnTo>
                      <a:pt x="775" y="1011"/>
                    </a:lnTo>
                    <a:lnTo>
                      <a:pt x="774" y="1011"/>
                    </a:lnTo>
                    <a:lnTo>
                      <a:pt x="774" y="1011"/>
                    </a:lnTo>
                    <a:lnTo>
                      <a:pt x="770" y="1011"/>
                    </a:lnTo>
                    <a:lnTo>
                      <a:pt x="767" y="1011"/>
                    </a:lnTo>
                    <a:lnTo>
                      <a:pt x="767" y="1011"/>
                    </a:lnTo>
                    <a:lnTo>
                      <a:pt x="766" y="1010"/>
                    </a:lnTo>
                    <a:lnTo>
                      <a:pt x="766" y="1010"/>
                    </a:lnTo>
                    <a:lnTo>
                      <a:pt x="766" y="1010"/>
                    </a:lnTo>
                    <a:lnTo>
                      <a:pt x="759" y="1003"/>
                    </a:lnTo>
                    <a:lnTo>
                      <a:pt x="759" y="1003"/>
                    </a:lnTo>
                    <a:lnTo>
                      <a:pt x="759" y="1004"/>
                    </a:lnTo>
                    <a:lnTo>
                      <a:pt x="759" y="1007"/>
                    </a:lnTo>
                    <a:lnTo>
                      <a:pt x="759" y="1007"/>
                    </a:lnTo>
                    <a:lnTo>
                      <a:pt x="761" y="1008"/>
                    </a:lnTo>
                    <a:lnTo>
                      <a:pt x="759" y="1007"/>
                    </a:lnTo>
                    <a:lnTo>
                      <a:pt x="759" y="1007"/>
                    </a:lnTo>
                    <a:lnTo>
                      <a:pt x="761" y="1008"/>
                    </a:lnTo>
                    <a:lnTo>
                      <a:pt x="761" y="1008"/>
                    </a:lnTo>
                    <a:lnTo>
                      <a:pt x="755" y="1007"/>
                    </a:lnTo>
                    <a:lnTo>
                      <a:pt x="755" y="1007"/>
                    </a:lnTo>
                    <a:lnTo>
                      <a:pt x="750" y="1008"/>
                    </a:lnTo>
                    <a:lnTo>
                      <a:pt x="750" y="1008"/>
                    </a:lnTo>
                    <a:lnTo>
                      <a:pt x="751" y="1007"/>
                    </a:lnTo>
                    <a:lnTo>
                      <a:pt x="750" y="1008"/>
                    </a:lnTo>
                    <a:lnTo>
                      <a:pt x="750" y="1008"/>
                    </a:lnTo>
                    <a:lnTo>
                      <a:pt x="751" y="1004"/>
                    </a:lnTo>
                    <a:lnTo>
                      <a:pt x="747" y="1007"/>
                    </a:lnTo>
                    <a:lnTo>
                      <a:pt x="746" y="1008"/>
                    </a:lnTo>
                    <a:lnTo>
                      <a:pt x="746" y="1008"/>
                    </a:lnTo>
                    <a:lnTo>
                      <a:pt x="746" y="1007"/>
                    </a:lnTo>
                    <a:lnTo>
                      <a:pt x="742" y="1008"/>
                    </a:lnTo>
                    <a:lnTo>
                      <a:pt x="742" y="1008"/>
                    </a:lnTo>
                    <a:lnTo>
                      <a:pt x="742" y="1008"/>
                    </a:lnTo>
                    <a:lnTo>
                      <a:pt x="742" y="1008"/>
                    </a:lnTo>
                    <a:lnTo>
                      <a:pt x="741" y="1008"/>
                    </a:lnTo>
                    <a:lnTo>
                      <a:pt x="735" y="1004"/>
                    </a:lnTo>
                    <a:lnTo>
                      <a:pt x="735" y="1004"/>
                    </a:lnTo>
                    <a:lnTo>
                      <a:pt x="737" y="1007"/>
                    </a:lnTo>
                    <a:lnTo>
                      <a:pt x="738" y="1007"/>
                    </a:lnTo>
                    <a:lnTo>
                      <a:pt x="738" y="1007"/>
                    </a:lnTo>
                    <a:lnTo>
                      <a:pt x="738" y="1007"/>
                    </a:lnTo>
                    <a:lnTo>
                      <a:pt x="738" y="1007"/>
                    </a:lnTo>
                    <a:lnTo>
                      <a:pt x="735" y="1007"/>
                    </a:lnTo>
                    <a:lnTo>
                      <a:pt x="735" y="1007"/>
                    </a:lnTo>
                    <a:lnTo>
                      <a:pt x="731" y="1008"/>
                    </a:lnTo>
                    <a:lnTo>
                      <a:pt x="731" y="1008"/>
                    </a:lnTo>
                    <a:lnTo>
                      <a:pt x="729" y="1007"/>
                    </a:lnTo>
                    <a:lnTo>
                      <a:pt x="728" y="1007"/>
                    </a:lnTo>
                    <a:lnTo>
                      <a:pt x="728" y="1007"/>
                    </a:lnTo>
                    <a:lnTo>
                      <a:pt x="720" y="1000"/>
                    </a:lnTo>
                    <a:lnTo>
                      <a:pt x="720" y="1000"/>
                    </a:lnTo>
                    <a:lnTo>
                      <a:pt x="713" y="995"/>
                    </a:lnTo>
                    <a:lnTo>
                      <a:pt x="713" y="995"/>
                    </a:lnTo>
                    <a:lnTo>
                      <a:pt x="701" y="1006"/>
                    </a:lnTo>
                    <a:lnTo>
                      <a:pt x="691" y="1018"/>
                    </a:lnTo>
                    <a:lnTo>
                      <a:pt x="668" y="1041"/>
                    </a:lnTo>
                    <a:lnTo>
                      <a:pt x="663" y="1048"/>
                    </a:lnTo>
                    <a:lnTo>
                      <a:pt x="663" y="1048"/>
                    </a:lnTo>
                    <a:lnTo>
                      <a:pt x="639" y="1073"/>
                    </a:lnTo>
                    <a:lnTo>
                      <a:pt x="618" y="1101"/>
                    </a:lnTo>
                    <a:lnTo>
                      <a:pt x="618" y="1101"/>
                    </a:lnTo>
                    <a:lnTo>
                      <a:pt x="620" y="1101"/>
                    </a:lnTo>
                    <a:lnTo>
                      <a:pt x="623" y="1102"/>
                    </a:lnTo>
                    <a:lnTo>
                      <a:pt x="626" y="1107"/>
                    </a:lnTo>
                    <a:lnTo>
                      <a:pt x="626" y="1109"/>
                    </a:lnTo>
                    <a:lnTo>
                      <a:pt x="626" y="1109"/>
                    </a:lnTo>
                    <a:lnTo>
                      <a:pt x="626" y="1109"/>
                    </a:lnTo>
                    <a:lnTo>
                      <a:pt x="626" y="1110"/>
                    </a:lnTo>
                    <a:lnTo>
                      <a:pt x="626" y="1110"/>
                    </a:lnTo>
                    <a:lnTo>
                      <a:pt x="626" y="1109"/>
                    </a:lnTo>
                    <a:lnTo>
                      <a:pt x="623" y="1107"/>
                    </a:lnTo>
                    <a:lnTo>
                      <a:pt x="627" y="1111"/>
                    </a:lnTo>
                    <a:lnTo>
                      <a:pt x="628" y="1111"/>
                    </a:lnTo>
                    <a:lnTo>
                      <a:pt x="628" y="1111"/>
                    </a:lnTo>
                    <a:lnTo>
                      <a:pt x="631" y="1114"/>
                    </a:lnTo>
                    <a:lnTo>
                      <a:pt x="631" y="1114"/>
                    </a:lnTo>
                    <a:lnTo>
                      <a:pt x="634" y="1117"/>
                    </a:lnTo>
                    <a:lnTo>
                      <a:pt x="634" y="1117"/>
                    </a:lnTo>
                    <a:lnTo>
                      <a:pt x="634" y="1115"/>
                    </a:lnTo>
                    <a:lnTo>
                      <a:pt x="634" y="1115"/>
                    </a:lnTo>
                    <a:lnTo>
                      <a:pt x="635" y="1117"/>
                    </a:lnTo>
                    <a:lnTo>
                      <a:pt x="635" y="1117"/>
                    </a:lnTo>
                    <a:lnTo>
                      <a:pt x="639" y="1119"/>
                    </a:lnTo>
                    <a:lnTo>
                      <a:pt x="642" y="1123"/>
                    </a:lnTo>
                    <a:lnTo>
                      <a:pt x="642" y="1125"/>
                    </a:lnTo>
                    <a:lnTo>
                      <a:pt x="642" y="1125"/>
                    </a:lnTo>
                    <a:lnTo>
                      <a:pt x="642" y="1126"/>
                    </a:lnTo>
                    <a:lnTo>
                      <a:pt x="642" y="1126"/>
                    </a:lnTo>
                    <a:lnTo>
                      <a:pt x="640" y="1125"/>
                    </a:lnTo>
                    <a:lnTo>
                      <a:pt x="643" y="1129"/>
                    </a:lnTo>
                    <a:lnTo>
                      <a:pt x="643" y="1127"/>
                    </a:lnTo>
                    <a:lnTo>
                      <a:pt x="643" y="1127"/>
                    </a:lnTo>
                    <a:lnTo>
                      <a:pt x="644" y="1130"/>
                    </a:lnTo>
                    <a:lnTo>
                      <a:pt x="644" y="1130"/>
                    </a:lnTo>
                    <a:lnTo>
                      <a:pt x="647" y="1134"/>
                    </a:lnTo>
                    <a:lnTo>
                      <a:pt x="648" y="1137"/>
                    </a:lnTo>
                    <a:lnTo>
                      <a:pt x="647" y="1140"/>
                    </a:lnTo>
                    <a:lnTo>
                      <a:pt x="646" y="1146"/>
                    </a:lnTo>
                    <a:lnTo>
                      <a:pt x="646" y="1148"/>
                    </a:lnTo>
                    <a:lnTo>
                      <a:pt x="638" y="1155"/>
                    </a:lnTo>
                    <a:lnTo>
                      <a:pt x="638" y="1155"/>
                    </a:lnTo>
                    <a:lnTo>
                      <a:pt x="634" y="1152"/>
                    </a:lnTo>
                    <a:lnTo>
                      <a:pt x="631" y="1150"/>
                    </a:lnTo>
                    <a:lnTo>
                      <a:pt x="628" y="1144"/>
                    </a:lnTo>
                    <a:lnTo>
                      <a:pt x="628" y="1144"/>
                    </a:lnTo>
                    <a:lnTo>
                      <a:pt x="626" y="1142"/>
                    </a:lnTo>
                    <a:lnTo>
                      <a:pt x="626" y="1140"/>
                    </a:lnTo>
                    <a:lnTo>
                      <a:pt x="626" y="1140"/>
                    </a:lnTo>
                    <a:lnTo>
                      <a:pt x="624" y="1138"/>
                    </a:lnTo>
                    <a:lnTo>
                      <a:pt x="623" y="1134"/>
                    </a:lnTo>
                    <a:lnTo>
                      <a:pt x="623" y="1134"/>
                    </a:lnTo>
                    <a:lnTo>
                      <a:pt x="622" y="1134"/>
                    </a:lnTo>
                    <a:lnTo>
                      <a:pt x="602" y="1134"/>
                    </a:lnTo>
                    <a:lnTo>
                      <a:pt x="602" y="1134"/>
                    </a:lnTo>
                    <a:lnTo>
                      <a:pt x="602" y="1134"/>
                    </a:lnTo>
                    <a:lnTo>
                      <a:pt x="602" y="1135"/>
                    </a:lnTo>
                    <a:lnTo>
                      <a:pt x="599" y="1140"/>
                    </a:lnTo>
                    <a:lnTo>
                      <a:pt x="599" y="1140"/>
                    </a:lnTo>
                    <a:lnTo>
                      <a:pt x="599" y="1139"/>
                    </a:lnTo>
                    <a:lnTo>
                      <a:pt x="599" y="1139"/>
                    </a:lnTo>
                    <a:lnTo>
                      <a:pt x="599" y="1140"/>
                    </a:lnTo>
                    <a:lnTo>
                      <a:pt x="599" y="1142"/>
                    </a:lnTo>
                    <a:lnTo>
                      <a:pt x="597" y="1147"/>
                    </a:lnTo>
                    <a:lnTo>
                      <a:pt x="597" y="1147"/>
                    </a:lnTo>
                    <a:lnTo>
                      <a:pt x="597" y="1146"/>
                    </a:lnTo>
                    <a:lnTo>
                      <a:pt x="597" y="1146"/>
                    </a:lnTo>
                    <a:lnTo>
                      <a:pt x="597" y="1147"/>
                    </a:lnTo>
                    <a:lnTo>
                      <a:pt x="597" y="1147"/>
                    </a:lnTo>
                    <a:lnTo>
                      <a:pt x="594" y="1152"/>
                    </a:lnTo>
                    <a:lnTo>
                      <a:pt x="594" y="1152"/>
                    </a:lnTo>
                    <a:lnTo>
                      <a:pt x="585" y="1159"/>
                    </a:lnTo>
                    <a:lnTo>
                      <a:pt x="579" y="1166"/>
                    </a:lnTo>
                    <a:lnTo>
                      <a:pt x="577" y="1167"/>
                    </a:lnTo>
                    <a:lnTo>
                      <a:pt x="577" y="1167"/>
                    </a:lnTo>
                    <a:lnTo>
                      <a:pt x="574" y="1168"/>
                    </a:lnTo>
                    <a:lnTo>
                      <a:pt x="574" y="1168"/>
                    </a:lnTo>
                    <a:lnTo>
                      <a:pt x="570" y="1171"/>
                    </a:lnTo>
                    <a:lnTo>
                      <a:pt x="569" y="1174"/>
                    </a:lnTo>
                    <a:lnTo>
                      <a:pt x="569" y="1174"/>
                    </a:lnTo>
                    <a:lnTo>
                      <a:pt x="569" y="1174"/>
                    </a:lnTo>
                    <a:lnTo>
                      <a:pt x="569" y="1174"/>
                    </a:lnTo>
                    <a:lnTo>
                      <a:pt x="569" y="1174"/>
                    </a:lnTo>
                    <a:lnTo>
                      <a:pt x="570" y="1175"/>
                    </a:lnTo>
                    <a:lnTo>
                      <a:pt x="570" y="1175"/>
                    </a:lnTo>
                    <a:lnTo>
                      <a:pt x="572" y="1176"/>
                    </a:lnTo>
                    <a:lnTo>
                      <a:pt x="573" y="1178"/>
                    </a:lnTo>
                    <a:lnTo>
                      <a:pt x="573" y="1178"/>
                    </a:lnTo>
                    <a:lnTo>
                      <a:pt x="578" y="1185"/>
                    </a:lnTo>
                    <a:lnTo>
                      <a:pt x="578" y="1185"/>
                    </a:lnTo>
                    <a:lnTo>
                      <a:pt x="581" y="1189"/>
                    </a:lnTo>
                    <a:lnTo>
                      <a:pt x="585" y="1192"/>
                    </a:lnTo>
                    <a:lnTo>
                      <a:pt x="586" y="1196"/>
                    </a:lnTo>
                    <a:lnTo>
                      <a:pt x="586" y="1196"/>
                    </a:lnTo>
                    <a:lnTo>
                      <a:pt x="586" y="1196"/>
                    </a:lnTo>
                    <a:lnTo>
                      <a:pt x="594" y="1208"/>
                    </a:lnTo>
                    <a:lnTo>
                      <a:pt x="594" y="1208"/>
                    </a:lnTo>
                    <a:lnTo>
                      <a:pt x="599" y="1217"/>
                    </a:lnTo>
                    <a:lnTo>
                      <a:pt x="601" y="1222"/>
                    </a:lnTo>
                    <a:lnTo>
                      <a:pt x="601" y="1222"/>
                    </a:lnTo>
                    <a:lnTo>
                      <a:pt x="597" y="1229"/>
                    </a:lnTo>
                    <a:lnTo>
                      <a:pt x="594" y="1234"/>
                    </a:lnTo>
                    <a:lnTo>
                      <a:pt x="585" y="1244"/>
                    </a:lnTo>
                    <a:lnTo>
                      <a:pt x="585" y="1244"/>
                    </a:lnTo>
                    <a:lnTo>
                      <a:pt x="581" y="1249"/>
                    </a:lnTo>
                    <a:lnTo>
                      <a:pt x="578" y="1250"/>
                    </a:lnTo>
                    <a:lnTo>
                      <a:pt x="578" y="1250"/>
                    </a:lnTo>
                    <a:lnTo>
                      <a:pt x="574" y="1253"/>
                    </a:lnTo>
                    <a:lnTo>
                      <a:pt x="574" y="1253"/>
                    </a:lnTo>
                    <a:lnTo>
                      <a:pt x="572" y="1254"/>
                    </a:lnTo>
                    <a:lnTo>
                      <a:pt x="572" y="1254"/>
                    </a:lnTo>
                    <a:lnTo>
                      <a:pt x="574" y="1258"/>
                    </a:lnTo>
                    <a:lnTo>
                      <a:pt x="578" y="1261"/>
                    </a:lnTo>
                    <a:lnTo>
                      <a:pt x="578" y="1261"/>
                    </a:lnTo>
                    <a:lnTo>
                      <a:pt x="581" y="1263"/>
                    </a:lnTo>
                    <a:lnTo>
                      <a:pt x="583" y="1269"/>
                    </a:lnTo>
                    <a:lnTo>
                      <a:pt x="583" y="1269"/>
                    </a:lnTo>
                    <a:lnTo>
                      <a:pt x="581" y="1274"/>
                    </a:lnTo>
                    <a:lnTo>
                      <a:pt x="581" y="1274"/>
                    </a:lnTo>
                    <a:lnTo>
                      <a:pt x="575" y="1279"/>
                    </a:lnTo>
                    <a:lnTo>
                      <a:pt x="572" y="1285"/>
                    </a:lnTo>
                    <a:lnTo>
                      <a:pt x="572" y="1285"/>
                    </a:lnTo>
                    <a:lnTo>
                      <a:pt x="565" y="1291"/>
                    </a:lnTo>
                    <a:lnTo>
                      <a:pt x="564" y="1294"/>
                    </a:lnTo>
                    <a:lnTo>
                      <a:pt x="564" y="1294"/>
                    </a:lnTo>
                    <a:lnTo>
                      <a:pt x="561" y="1296"/>
                    </a:lnTo>
                    <a:lnTo>
                      <a:pt x="558" y="1299"/>
                    </a:lnTo>
                    <a:lnTo>
                      <a:pt x="558" y="1299"/>
                    </a:lnTo>
                    <a:lnTo>
                      <a:pt x="558" y="1299"/>
                    </a:lnTo>
                    <a:lnTo>
                      <a:pt x="558" y="1299"/>
                    </a:lnTo>
                    <a:lnTo>
                      <a:pt x="558" y="1299"/>
                    </a:lnTo>
                    <a:lnTo>
                      <a:pt x="558" y="1299"/>
                    </a:lnTo>
                    <a:lnTo>
                      <a:pt x="557" y="1299"/>
                    </a:lnTo>
                    <a:lnTo>
                      <a:pt x="557" y="1299"/>
                    </a:lnTo>
                    <a:lnTo>
                      <a:pt x="557" y="1299"/>
                    </a:lnTo>
                    <a:lnTo>
                      <a:pt x="557" y="1299"/>
                    </a:lnTo>
                    <a:lnTo>
                      <a:pt x="557" y="1299"/>
                    </a:lnTo>
                    <a:lnTo>
                      <a:pt x="557" y="1299"/>
                    </a:lnTo>
                    <a:lnTo>
                      <a:pt x="557" y="1300"/>
                    </a:lnTo>
                    <a:lnTo>
                      <a:pt x="556" y="1303"/>
                    </a:lnTo>
                    <a:lnTo>
                      <a:pt x="556" y="1303"/>
                    </a:lnTo>
                    <a:lnTo>
                      <a:pt x="557" y="1302"/>
                    </a:lnTo>
                    <a:lnTo>
                      <a:pt x="557" y="1300"/>
                    </a:lnTo>
                    <a:lnTo>
                      <a:pt x="560" y="1303"/>
                    </a:lnTo>
                    <a:lnTo>
                      <a:pt x="560" y="1303"/>
                    </a:lnTo>
                    <a:lnTo>
                      <a:pt x="560" y="1303"/>
                    </a:lnTo>
                    <a:lnTo>
                      <a:pt x="562" y="1306"/>
                    </a:lnTo>
                    <a:lnTo>
                      <a:pt x="562" y="1306"/>
                    </a:lnTo>
                    <a:lnTo>
                      <a:pt x="562" y="1307"/>
                    </a:lnTo>
                    <a:lnTo>
                      <a:pt x="562" y="1307"/>
                    </a:lnTo>
                    <a:lnTo>
                      <a:pt x="561" y="1306"/>
                    </a:lnTo>
                    <a:lnTo>
                      <a:pt x="561" y="1306"/>
                    </a:lnTo>
                    <a:lnTo>
                      <a:pt x="561" y="1306"/>
                    </a:lnTo>
                    <a:lnTo>
                      <a:pt x="564" y="1310"/>
                    </a:lnTo>
                    <a:lnTo>
                      <a:pt x="565" y="1310"/>
                    </a:lnTo>
                    <a:lnTo>
                      <a:pt x="565" y="1310"/>
                    </a:lnTo>
                    <a:lnTo>
                      <a:pt x="566" y="1312"/>
                    </a:lnTo>
                    <a:lnTo>
                      <a:pt x="566" y="1315"/>
                    </a:lnTo>
                    <a:lnTo>
                      <a:pt x="565" y="1320"/>
                    </a:lnTo>
                    <a:lnTo>
                      <a:pt x="562" y="1324"/>
                    </a:lnTo>
                    <a:lnTo>
                      <a:pt x="560" y="1327"/>
                    </a:lnTo>
                    <a:lnTo>
                      <a:pt x="560" y="1327"/>
                    </a:lnTo>
                    <a:lnTo>
                      <a:pt x="557" y="1328"/>
                    </a:lnTo>
                    <a:lnTo>
                      <a:pt x="557" y="1328"/>
                    </a:lnTo>
                    <a:lnTo>
                      <a:pt x="557" y="1331"/>
                    </a:lnTo>
                    <a:lnTo>
                      <a:pt x="556" y="1332"/>
                    </a:lnTo>
                    <a:lnTo>
                      <a:pt x="556" y="1332"/>
                    </a:lnTo>
                    <a:lnTo>
                      <a:pt x="556" y="1332"/>
                    </a:lnTo>
                    <a:lnTo>
                      <a:pt x="556" y="1332"/>
                    </a:lnTo>
                    <a:lnTo>
                      <a:pt x="556" y="1331"/>
                    </a:lnTo>
                    <a:lnTo>
                      <a:pt x="554" y="1335"/>
                    </a:lnTo>
                    <a:lnTo>
                      <a:pt x="554" y="1335"/>
                    </a:lnTo>
                    <a:lnTo>
                      <a:pt x="553" y="1339"/>
                    </a:lnTo>
                    <a:lnTo>
                      <a:pt x="553" y="1339"/>
                    </a:lnTo>
                    <a:lnTo>
                      <a:pt x="550" y="1344"/>
                    </a:lnTo>
                    <a:lnTo>
                      <a:pt x="550" y="1344"/>
                    </a:lnTo>
                    <a:lnTo>
                      <a:pt x="549" y="1347"/>
                    </a:lnTo>
                    <a:lnTo>
                      <a:pt x="549" y="1347"/>
                    </a:lnTo>
                    <a:lnTo>
                      <a:pt x="548" y="1351"/>
                    </a:lnTo>
                    <a:lnTo>
                      <a:pt x="546" y="1352"/>
                    </a:lnTo>
                    <a:lnTo>
                      <a:pt x="546" y="1352"/>
                    </a:lnTo>
                    <a:lnTo>
                      <a:pt x="546" y="1352"/>
                    </a:lnTo>
                    <a:lnTo>
                      <a:pt x="548" y="1351"/>
                    </a:lnTo>
                    <a:lnTo>
                      <a:pt x="544" y="1356"/>
                    </a:lnTo>
                    <a:lnTo>
                      <a:pt x="544" y="1356"/>
                    </a:lnTo>
                    <a:lnTo>
                      <a:pt x="545" y="1355"/>
                    </a:lnTo>
                    <a:lnTo>
                      <a:pt x="545" y="1355"/>
                    </a:lnTo>
                    <a:lnTo>
                      <a:pt x="545" y="1356"/>
                    </a:lnTo>
                    <a:lnTo>
                      <a:pt x="545" y="1357"/>
                    </a:lnTo>
                    <a:lnTo>
                      <a:pt x="545" y="1357"/>
                    </a:lnTo>
                    <a:lnTo>
                      <a:pt x="545" y="1357"/>
                    </a:lnTo>
                    <a:lnTo>
                      <a:pt x="545" y="1360"/>
                    </a:lnTo>
                    <a:lnTo>
                      <a:pt x="548" y="1363"/>
                    </a:lnTo>
                    <a:lnTo>
                      <a:pt x="554" y="1367"/>
                    </a:lnTo>
                    <a:lnTo>
                      <a:pt x="554" y="1367"/>
                    </a:lnTo>
                    <a:lnTo>
                      <a:pt x="562" y="1373"/>
                    </a:lnTo>
                    <a:lnTo>
                      <a:pt x="564" y="1373"/>
                    </a:lnTo>
                    <a:lnTo>
                      <a:pt x="564" y="1373"/>
                    </a:lnTo>
                    <a:lnTo>
                      <a:pt x="569" y="1376"/>
                    </a:lnTo>
                    <a:lnTo>
                      <a:pt x="569" y="1376"/>
                    </a:lnTo>
                    <a:lnTo>
                      <a:pt x="575" y="1378"/>
                    </a:lnTo>
                    <a:lnTo>
                      <a:pt x="577" y="1378"/>
                    </a:lnTo>
                    <a:lnTo>
                      <a:pt x="577" y="1378"/>
                    </a:lnTo>
                    <a:lnTo>
                      <a:pt x="581" y="1381"/>
                    </a:lnTo>
                    <a:lnTo>
                      <a:pt x="586" y="1382"/>
                    </a:lnTo>
                    <a:lnTo>
                      <a:pt x="586" y="1382"/>
                    </a:lnTo>
                    <a:lnTo>
                      <a:pt x="590" y="1384"/>
                    </a:lnTo>
                    <a:lnTo>
                      <a:pt x="590" y="1384"/>
                    </a:lnTo>
                    <a:lnTo>
                      <a:pt x="591" y="1384"/>
                    </a:lnTo>
                    <a:lnTo>
                      <a:pt x="591" y="1384"/>
                    </a:lnTo>
                    <a:lnTo>
                      <a:pt x="597" y="1385"/>
                    </a:lnTo>
                    <a:lnTo>
                      <a:pt x="601" y="1386"/>
                    </a:lnTo>
                    <a:lnTo>
                      <a:pt x="601" y="1386"/>
                    </a:lnTo>
                    <a:lnTo>
                      <a:pt x="602" y="1386"/>
                    </a:lnTo>
                    <a:lnTo>
                      <a:pt x="606" y="1390"/>
                    </a:lnTo>
                    <a:lnTo>
                      <a:pt x="606" y="1390"/>
                    </a:lnTo>
                    <a:lnTo>
                      <a:pt x="605" y="1389"/>
                    </a:lnTo>
                    <a:lnTo>
                      <a:pt x="603" y="1388"/>
                    </a:lnTo>
                    <a:lnTo>
                      <a:pt x="603" y="1388"/>
                    </a:lnTo>
                    <a:lnTo>
                      <a:pt x="605" y="1388"/>
                    </a:lnTo>
                    <a:lnTo>
                      <a:pt x="605" y="1388"/>
                    </a:lnTo>
                    <a:lnTo>
                      <a:pt x="607" y="1389"/>
                    </a:lnTo>
                    <a:lnTo>
                      <a:pt x="611" y="1392"/>
                    </a:lnTo>
                    <a:lnTo>
                      <a:pt x="611" y="1392"/>
                    </a:lnTo>
                    <a:lnTo>
                      <a:pt x="612" y="1394"/>
                    </a:lnTo>
                    <a:lnTo>
                      <a:pt x="612" y="1398"/>
                    </a:lnTo>
                    <a:lnTo>
                      <a:pt x="612" y="1402"/>
                    </a:lnTo>
                    <a:lnTo>
                      <a:pt x="610" y="1405"/>
                    </a:lnTo>
                    <a:lnTo>
                      <a:pt x="610" y="1405"/>
                    </a:lnTo>
                    <a:lnTo>
                      <a:pt x="609" y="1404"/>
                    </a:lnTo>
                    <a:lnTo>
                      <a:pt x="606" y="1404"/>
                    </a:lnTo>
                    <a:lnTo>
                      <a:pt x="606" y="1405"/>
                    </a:lnTo>
                    <a:lnTo>
                      <a:pt x="607" y="1406"/>
                    </a:lnTo>
                    <a:lnTo>
                      <a:pt x="606" y="1408"/>
                    </a:lnTo>
                    <a:lnTo>
                      <a:pt x="606" y="1409"/>
                    </a:lnTo>
                    <a:lnTo>
                      <a:pt x="606" y="1409"/>
                    </a:lnTo>
                    <a:lnTo>
                      <a:pt x="609" y="1408"/>
                    </a:lnTo>
                    <a:lnTo>
                      <a:pt x="612" y="1410"/>
                    </a:lnTo>
                    <a:lnTo>
                      <a:pt x="612" y="1410"/>
                    </a:lnTo>
                    <a:lnTo>
                      <a:pt x="611" y="1409"/>
                    </a:lnTo>
                    <a:lnTo>
                      <a:pt x="611" y="1409"/>
                    </a:lnTo>
                    <a:lnTo>
                      <a:pt x="612" y="1413"/>
                    </a:lnTo>
                    <a:lnTo>
                      <a:pt x="614" y="1417"/>
                    </a:lnTo>
                    <a:lnTo>
                      <a:pt x="614" y="1419"/>
                    </a:lnTo>
                    <a:lnTo>
                      <a:pt x="607" y="1425"/>
                    </a:lnTo>
                    <a:lnTo>
                      <a:pt x="607" y="1425"/>
                    </a:lnTo>
                    <a:lnTo>
                      <a:pt x="607" y="1425"/>
                    </a:lnTo>
                    <a:lnTo>
                      <a:pt x="603" y="1427"/>
                    </a:lnTo>
                    <a:lnTo>
                      <a:pt x="599" y="1427"/>
                    </a:lnTo>
                    <a:lnTo>
                      <a:pt x="599" y="1427"/>
                    </a:lnTo>
                    <a:lnTo>
                      <a:pt x="598" y="1427"/>
                    </a:lnTo>
                    <a:lnTo>
                      <a:pt x="598" y="1427"/>
                    </a:lnTo>
                    <a:lnTo>
                      <a:pt x="594" y="1427"/>
                    </a:lnTo>
                    <a:lnTo>
                      <a:pt x="591" y="1425"/>
                    </a:lnTo>
                    <a:lnTo>
                      <a:pt x="589" y="1421"/>
                    </a:lnTo>
                    <a:lnTo>
                      <a:pt x="589" y="1421"/>
                    </a:lnTo>
                    <a:lnTo>
                      <a:pt x="589" y="1421"/>
                    </a:lnTo>
                    <a:lnTo>
                      <a:pt x="586" y="1421"/>
                    </a:lnTo>
                    <a:lnTo>
                      <a:pt x="586" y="1421"/>
                    </a:lnTo>
                    <a:lnTo>
                      <a:pt x="587" y="1421"/>
                    </a:lnTo>
                    <a:lnTo>
                      <a:pt x="587" y="1421"/>
                    </a:lnTo>
                    <a:lnTo>
                      <a:pt x="585" y="1422"/>
                    </a:lnTo>
                    <a:lnTo>
                      <a:pt x="582" y="1425"/>
                    </a:lnTo>
                    <a:lnTo>
                      <a:pt x="581" y="1425"/>
                    </a:lnTo>
                    <a:lnTo>
                      <a:pt x="581" y="1425"/>
                    </a:lnTo>
                    <a:lnTo>
                      <a:pt x="577" y="1427"/>
                    </a:lnTo>
                    <a:lnTo>
                      <a:pt x="577" y="1427"/>
                    </a:lnTo>
                    <a:lnTo>
                      <a:pt x="577" y="1427"/>
                    </a:lnTo>
                    <a:lnTo>
                      <a:pt x="577" y="1427"/>
                    </a:lnTo>
                    <a:lnTo>
                      <a:pt x="578" y="1425"/>
                    </a:lnTo>
                    <a:lnTo>
                      <a:pt x="572" y="1430"/>
                    </a:lnTo>
                    <a:lnTo>
                      <a:pt x="565" y="1430"/>
                    </a:lnTo>
                    <a:lnTo>
                      <a:pt x="564" y="1430"/>
                    </a:lnTo>
                    <a:lnTo>
                      <a:pt x="564" y="1430"/>
                    </a:lnTo>
                    <a:lnTo>
                      <a:pt x="561" y="1429"/>
                    </a:lnTo>
                    <a:lnTo>
                      <a:pt x="561" y="1429"/>
                    </a:lnTo>
                    <a:lnTo>
                      <a:pt x="564" y="1429"/>
                    </a:lnTo>
                    <a:lnTo>
                      <a:pt x="557" y="1425"/>
                    </a:lnTo>
                    <a:lnTo>
                      <a:pt x="557" y="1425"/>
                    </a:lnTo>
                    <a:lnTo>
                      <a:pt x="558" y="1427"/>
                    </a:lnTo>
                    <a:lnTo>
                      <a:pt x="561" y="1427"/>
                    </a:lnTo>
                    <a:lnTo>
                      <a:pt x="560" y="1427"/>
                    </a:lnTo>
                    <a:lnTo>
                      <a:pt x="560" y="1427"/>
                    </a:lnTo>
                    <a:lnTo>
                      <a:pt x="557" y="1427"/>
                    </a:lnTo>
                    <a:lnTo>
                      <a:pt x="557" y="1427"/>
                    </a:lnTo>
                    <a:lnTo>
                      <a:pt x="554" y="1427"/>
                    </a:lnTo>
                    <a:lnTo>
                      <a:pt x="554" y="1427"/>
                    </a:lnTo>
                    <a:lnTo>
                      <a:pt x="544" y="1425"/>
                    </a:lnTo>
                    <a:lnTo>
                      <a:pt x="534" y="1423"/>
                    </a:lnTo>
                    <a:lnTo>
                      <a:pt x="534" y="1423"/>
                    </a:lnTo>
                    <a:lnTo>
                      <a:pt x="528" y="1425"/>
                    </a:lnTo>
                    <a:lnTo>
                      <a:pt x="521" y="1427"/>
                    </a:lnTo>
                    <a:lnTo>
                      <a:pt x="519" y="1427"/>
                    </a:lnTo>
                    <a:lnTo>
                      <a:pt x="513" y="1427"/>
                    </a:lnTo>
                    <a:lnTo>
                      <a:pt x="513" y="1427"/>
                    </a:lnTo>
                    <a:lnTo>
                      <a:pt x="511" y="1433"/>
                    </a:lnTo>
                    <a:lnTo>
                      <a:pt x="511" y="1433"/>
                    </a:lnTo>
                    <a:lnTo>
                      <a:pt x="508" y="1434"/>
                    </a:lnTo>
                    <a:lnTo>
                      <a:pt x="503" y="1435"/>
                    </a:lnTo>
                    <a:lnTo>
                      <a:pt x="500" y="1435"/>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37" name="Freeform 23">
                <a:extLst>
                  <a:ext uri="{FF2B5EF4-FFF2-40B4-BE49-F238E27FC236}">
                    <a16:creationId xmlns:a16="http://schemas.microsoft.com/office/drawing/2014/main" xmlns="" id="{39D3556C-A36F-48FF-8B06-858CA0F88C22}"/>
                  </a:ext>
                </a:extLst>
              </p:cNvPr>
              <p:cNvSpPr>
                <a:spLocks/>
              </p:cNvSpPr>
              <p:nvPr/>
            </p:nvSpPr>
            <p:spPr bwMode="auto">
              <a:xfrm>
                <a:off x="3299276" y="2380460"/>
                <a:ext cx="1015047" cy="966297"/>
              </a:xfrm>
              <a:custGeom>
                <a:avLst/>
                <a:gdLst>
                  <a:gd name="T0" fmla="*/ 235 w 583"/>
                  <a:gd name="T1" fmla="*/ 537 h 555"/>
                  <a:gd name="T2" fmla="*/ 255 w 583"/>
                  <a:gd name="T3" fmla="*/ 528 h 555"/>
                  <a:gd name="T4" fmla="*/ 260 w 583"/>
                  <a:gd name="T5" fmla="*/ 507 h 555"/>
                  <a:gd name="T6" fmla="*/ 233 w 583"/>
                  <a:gd name="T7" fmla="*/ 463 h 555"/>
                  <a:gd name="T8" fmla="*/ 237 w 583"/>
                  <a:gd name="T9" fmla="*/ 421 h 555"/>
                  <a:gd name="T10" fmla="*/ 226 w 583"/>
                  <a:gd name="T11" fmla="*/ 386 h 555"/>
                  <a:gd name="T12" fmla="*/ 226 w 583"/>
                  <a:gd name="T13" fmla="*/ 356 h 555"/>
                  <a:gd name="T14" fmla="*/ 203 w 583"/>
                  <a:gd name="T15" fmla="*/ 358 h 555"/>
                  <a:gd name="T16" fmla="*/ 155 w 583"/>
                  <a:gd name="T17" fmla="*/ 358 h 555"/>
                  <a:gd name="T18" fmla="*/ 140 w 583"/>
                  <a:gd name="T19" fmla="*/ 329 h 555"/>
                  <a:gd name="T20" fmla="*/ 135 w 583"/>
                  <a:gd name="T21" fmla="*/ 306 h 555"/>
                  <a:gd name="T22" fmla="*/ 119 w 583"/>
                  <a:gd name="T23" fmla="*/ 306 h 555"/>
                  <a:gd name="T24" fmla="*/ 87 w 583"/>
                  <a:gd name="T25" fmla="*/ 310 h 555"/>
                  <a:gd name="T26" fmla="*/ 58 w 583"/>
                  <a:gd name="T27" fmla="*/ 296 h 555"/>
                  <a:gd name="T28" fmla="*/ 45 w 583"/>
                  <a:gd name="T29" fmla="*/ 277 h 555"/>
                  <a:gd name="T30" fmla="*/ 28 w 583"/>
                  <a:gd name="T31" fmla="*/ 254 h 555"/>
                  <a:gd name="T32" fmla="*/ 21 w 583"/>
                  <a:gd name="T33" fmla="*/ 241 h 555"/>
                  <a:gd name="T34" fmla="*/ 6 w 583"/>
                  <a:gd name="T35" fmla="*/ 214 h 555"/>
                  <a:gd name="T36" fmla="*/ 24 w 583"/>
                  <a:gd name="T37" fmla="*/ 199 h 555"/>
                  <a:gd name="T38" fmla="*/ 30 w 583"/>
                  <a:gd name="T39" fmla="*/ 195 h 555"/>
                  <a:gd name="T40" fmla="*/ 70 w 583"/>
                  <a:gd name="T41" fmla="*/ 183 h 555"/>
                  <a:gd name="T42" fmla="*/ 94 w 583"/>
                  <a:gd name="T43" fmla="*/ 150 h 555"/>
                  <a:gd name="T44" fmla="*/ 108 w 583"/>
                  <a:gd name="T45" fmla="*/ 114 h 555"/>
                  <a:gd name="T46" fmla="*/ 136 w 583"/>
                  <a:gd name="T47" fmla="*/ 98 h 555"/>
                  <a:gd name="T48" fmla="*/ 153 w 583"/>
                  <a:gd name="T49" fmla="*/ 81 h 555"/>
                  <a:gd name="T50" fmla="*/ 177 w 583"/>
                  <a:gd name="T51" fmla="*/ 64 h 555"/>
                  <a:gd name="T52" fmla="*/ 203 w 583"/>
                  <a:gd name="T53" fmla="*/ 46 h 555"/>
                  <a:gd name="T54" fmla="*/ 233 w 583"/>
                  <a:gd name="T55" fmla="*/ 64 h 555"/>
                  <a:gd name="T56" fmla="*/ 246 w 583"/>
                  <a:gd name="T57" fmla="*/ 126 h 555"/>
                  <a:gd name="T58" fmla="*/ 262 w 583"/>
                  <a:gd name="T59" fmla="*/ 114 h 555"/>
                  <a:gd name="T60" fmla="*/ 278 w 583"/>
                  <a:gd name="T61" fmla="*/ 54 h 555"/>
                  <a:gd name="T62" fmla="*/ 301 w 583"/>
                  <a:gd name="T63" fmla="*/ 35 h 555"/>
                  <a:gd name="T64" fmla="*/ 311 w 583"/>
                  <a:gd name="T65" fmla="*/ 32 h 555"/>
                  <a:gd name="T66" fmla="*/ 322 w 583"/>
                  <a:gd name="T67" fmla="*/ 13 h 555"/>
                  <a:gd name="T68" fmla="*/ 371 w 583"/>
                  <a:gd name="T69" fmla="*/ 3 h 555"/>
                  <a:gd name="T70" fmla="*/ 399 w 583"/>
                  <a:gd name="T71" fmla="*/ 17 h 555"/>
                  <a:gd name="T72" fmla="*/ 362 w 583"/>
                  <a:gd name="T73" fmla="*/ 27 h 555"/>
                  <a:gd name="T74" fmla="*/ 373 w 583"/>
                  <a:gd name="T75" fmla="*/ 40 h 555"/>
                  <a:gd name="T76" fmla="*/ 365 w 583"/>
                  <a:gd name="T77" fmla="*/ 73 h 555"/>
                  <a:gd name="T78" fmla="*/ 375 w 583"/>
                  <a:gd name="T79" fmla="*/ 105 h 555"/>
                  <a:gd name="T80" fmla="*/ 371 w 583"/>
                  <a:gd name="T81" fmla="*/ 138 h 555"/>
                  <a:gd name="T82" fmla="*/ 441 w 583"/>
                  <a:gd name="T83" fmla="*/ 188 h 555"/>
                  <a:gd name="T84" fmla="*/ 455 w 583"/>
                  <a:gd name="T85" fmla="*/ 221 h 555"/>
                  <a:gd name="T86" fmla="*/ 497 w 583"/>
                  <a:gd name="T87" fmla="*/ 238 h 555"/>
                  <a:gd name="T88" fmla="*/ 514 w 583"/>
                  <a:gd name="T89" fmla="*/ 247 h 555"/>
                  <a:gd name="T90" fmla="*/ 550 w 583"/>
                  <a:gd name="T91" fmla="*/ 258 h 555"/>
                  <a:gd name="T92" fmla="*/ 562 w 583"/>
                  <a:gd name="T93" fmla="*/ 280 h 555"/>
                  <a:gd name="T94" fmla="*/ 551 w 583"/>
                  <a:gd name="T95" fmla="*/ 303 h 555"/>
                  <a:gd name="T96" fmla="*/ 535 w 583"/>
                  <a:gd name="T97" fmla="*/ 337 h 555"/>
                  <a:gd name="T98" fmla="*/ 538 w 583"/>
                  <a:gd name="T99" fmla="*/ 352 h 555"/>
                  <a:gd name="T100" fmla="*/ 572 w 583"/>
                  <a:gd name="T101" fmla="*/ 380 h 555"/>
                  <a:gd name="T102" fmla="*/ 567 w 583"/>
                  <a:gd name="T103" fmla="*/ 414 h 555"/>
                  <a:gd name="T104" fmla="*/ 570 w 583"/>
                  <a:gd name="T105" fmla="*/ 443 h 555"/>
                  <a:gd name="T106" fmla="*/ 579 w 583"/>
                  <a:gd name="T107" fmla="*/ 463 h 555"/>
                  <a:gd name="T108" fmla="*/ 578 w 583"/>
                  <a:gd name="T109" fmla="*/ 474 h 555"/>
                  <a:gd name="T110" fmla="*/ 546 w 583"/>
                  <a:gd name="T111" fmla="*/ 493 h 555"/>
                  <a:gd name="T112" fmla="*/ 484 w 583"/>
                  <a:gd name="T113" fmla="*/ 508 h 555"/>
                  <a:gd name="T114" fmla="*/ 434 w 583"/>
                  <a:gd name="T115" fmla="*/ 537 h 555"/>
                  <a:gd name="T116" fmla="*/ 399 w 583"/>
                  <a:gd name="T117" fmla="*/ 538 h 555"/>
                  <a:gd name="T118" fmla="*/ 367 w 583"/>
                  <a:gd name="T119" fmla="*/ 545 h 555"/>
                  <a:gd name="T120" fmla="*/ 356 w 583"/>
                  <a:gd name="T121" fmla="*/ 546 h 555"/>
                  <a:gd name="T122" fmla="*/ 332 w 583"/>
                  <a:gd name="T123" fmla="*/ 536 h 555"/>
                  <a:gd name="T124" fmla="*/ 308 w 583"/>
                  <a:gd name="T125" fmla="*/ 529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3" h="555">
                    <a:moveTo>
                      <a:pt x="240" y="555"/>
                    </a:moveTo>
                    <a:lnTo>
                      <a:pt x="240" y="555"/>
                    </a:lnTo>
                    <a:lnTo>
                      <a:pt x="231" y="555"/>
                    </a:lnTo>
                    <a:lnTo>
                      <a:pt x="226" y="554"/>
                    </a:lnTo>
                    <a:lnTo>
                      <a:pt x="222" y="552"/>
                    </a:lnTo>
                    <a:lnTo>
                      <a:pt x="221" y="546"/>
                    </a:lnTo>
                    <a:lnTo>
                      <a:pt x="221" y="546"/>
                    </a:lnTo>
                    <a:lnTo>
                      <a:pt x="221" y="546"/>
                    </a:lnTo>
                    <a:lnTo>
                      <a:pt x="221" y="542"/>
                    </a:lnTo>
                    <a:lnTo>
                      <a:pt x="222" y="541"/>
                    </a:lnTo>
                    <a:lnTo>
                      <a:pt x="222" y="541"/>
                    </a:lnTo>
                    <a:lnTo>
                      <a:pt x="223" y="540"/>
                    </a:lnTo>
                    <a:lnTo>
                      <a:pt x="227" y="538"/>
                    </a:lnTo>
                    <a:lnTo>
                      <a:pt x="227" y="538"/>
                    </a:lnTo>
                    <a:lnTo>
                      <a:pt x="230" y="538"/>
                    </a:lnTo>
                    <a:lnTo>
                      <a:pt x="230" y="538"/>
                    </a:lnTo>
                    <a:lnTo>
                      <a:pt x="231" y="537"/>
                    </a:lnTo>
                    <a:lnTo>
                      <a:pt x="234" y="537"/>
                    </a:lnTo>
                    <a:lnTo>
                      <a:pt x="234" y="537"/>
                    </a:lnTo>
                    <a:lnTo>
                      <a:pt x="235" y="537"/>
                    </a:lnTo>
                    <a:lnTo>
                      <a:pt x="235" y="537"/>
                    </a:lnTo>
                    <a:lnTo>
                      <a:pt x="238" y="537"/>
                    </a:lnTo>
                    <a:lnTo>
                      <a:pt x="238" y="537"/>
                    </a:lnTo>
                    <a:lnTo>
                      <a:pt x="239" y="537"/>
                    </a:lnTo>
                    <a:lnTo>
                      <a:pt x="239" y="537"/>
                    </a:lnTo>
                    <a:lnTo>
                      <a:pt x="238" y="537"/>
                    </a:lnTo>
                    <a:lnTo>
                      <a:pt x="235" y="538"/>
                    </a:lnTo>
                    <a:lnTo>
                      <a:pt x="235" y="538"/>
                    </a:lnTo>
                    <a:lnTo>
                      <a:pt x="234" y="542"/>
                    </a:lnTo>
                    <a:lnTo>
                      <a:pt x="240" y="536"/>
                    </a:lnTo>
                    <a:lnTo>
                      <a:pt x="247" y="536"/>
                    </a:lnTo>
                    <a:lnTo>
                      <a:pt x="250" y="537"/>
                    </a:lnTo>
                    <a:lnTo>
                      <a:pt x="250" y="537"/>
                    </a:lnTo>
                    <a:lnTo>
                      <a:pt x="251" y="537"/>
                    </a:lnTo>
                    <a:lnTo>
                      <a:pt x="251" y="537"/>
                    </a:lnTo>
                    <a:lnTo>
                      <a:pt x="254" y="534"/>
                    </a:lnTo>
                    <a:lnTo>
                      <a:pt x="256" y="532"/>
                    </a:lnTo>
                    <a:lnTo>
                      <a:pt x="256" y="530"/>
                    </a:lnTo>
                    <a:lnTo>
                      <a:pt x="256" y="530"/>
                    </a:lnTo>
                    <a:lnTo>
                      <a:pt x="255" y="528"/>
                    </a:lnTo>
                    <a:lnTo>
                      <a:pt x="255" y="528"/>
                    </a:lnTo>
                    <a:lnTo>
                      <a:pt x="252" y="526"/>
                    </a:lnTo>
                    <a:lnTo>
                      <a:pt x="250" y="522"/>
                    </a:lnTo>
                    <a:lnTo>
                      <a:pt x="250" y="518"/>
                    </a:lnTo>
                    <a:lnTo>
                      <a:pt x="251" y="515"/>
                    </a:lnTo>
                    <a:lnTo>
                      <a:pt x="255" y="512"/>
                    </a:lnTo>
                    <a:lnTo>
                      <a:pt x="256" y="512"/>
                    </a:lnTo>
                    <a:lnTo>
                      <a:pt x="256" y="512"/>
                    </a:lnTo>
                    <a:lnTo>
                      <a:pt x="258" y="512"/>
                    </a:lnTo>
                    <a:lnTo>
                      <a:pt x="258" y="512"/>
                    </a:lnTo>
                    <a:lnTo>
                      <a:pt x="256" y="512"/>
                    </a:lnTo>
                    <a:lnTo>
                      <a:pt x="260" y="509"/>
                    </a:lnTo>
                    <a:lnTo>
                      <a:pt x="260" y="509"/>
                    </a:lnTo>
                    <a:lnTo>
                      <a:pt x="259" y="511"/>
                    </a:lnTo>
                    <a:lnTo>
                      <a:pt x="259" y="511"/>
                    </a:lnTo>
                    <a:lnTo>
                      <a:pt x="262" y="509"/>
                    </a:lnTo>
                    <a:lnTo>
                      <a:pt x="262" y="509"/>
                    </a:lnTo>
                    <a:lnTo>
                      <a:pt x="262" y="508"/>
                    </a:lnTo>
                    <a:lnTo>
                      <a:pt x="262" y="508"/>
                    </a:lnTo>
                    <a:lnTo>
                      <a:pt x="260" y="507"/>
                    </a:lnTo>
                    <a:lnTo>
                      <a:pt x="259" y="505"/>
                    </a:lnTo>
                    <a:lnTo>
                      <a:pt x="259" y="505"/>
                    </a:lnTo>
                    <a:lnTo>
                      <a:pt x="259" y="504"/>
                    </a:lnTo>
                    <a:lnTo>
                      <a:pt x="258" y="500"/>
                    </a:lnTo>
                    <a:lnTo>
                      <a:pt x="258" y="500"/>
                    </a:lnTo>
                    <a:lnTo>
                      <a:pt x="248" y="489"/>
                    </a:lnTo>
                    <a:lnTo>
                      <a:pt x="237" y="477"/>
                    </a:lnTo>
                    <a:lnTo>
                      <a:pt x="235" y="475"/>
                    </a:lnTo>
                    <a:lnTo>
                      <a:pt x="235" y="475"/>
                    </a:lnTo>
                    <a:lnTo>
                      <a:pt x="235" y="475"/>
                    </a:lnTo>
                    <a:lnTo>
                      <a:pt x="235" y="474"/>
                    </a:lnTo>
                    <a:lnTo>
                      <a:pt x="235" y="474"/>
                    </a:lnTo>
                    <a:lnTo>
                      <a:pt x="235" y="475"/>
                    </a:lnTo>
                    <a:lnTo>
                      <a:pt x="234" y="474"/>
                    </a:lnTo>
                    <a:lnTo>
                      <a:pt x="234" y="474"/>
                    </a:lnTo>
                    <a:lnTo>
                      <a:pt x="233" y="471"/>
                    </a:lnTo>
                    <a:lnTo>
                      <a:pt x="233" y="471"/>
                    </a:lnTo>
                    <a:lnTo>
                      <a:pt x="233" y="467"/>
                    </a:lnTo>
                    <a:lnTo>
                      <a:pt x="234" y="464"/>
                    </a:lnTo>
                    <a:lnTo>
                      <a:pt x="233" y="463"/>
                    </a:lnTo>
                    <a:lnTo>
                      <a:pt x="233" y="460"/>
                    </a:lnTo>
                    <a:lnTo>
                      <a:pt x="238" y="455"/>
                    </a:lnTo>
                    <a:lnTo>
                      <a:pt x="237" y="455"/>
                    </a:lnTo>
                    <a:lnTo>
                      <a:pt x="237" y="455"/>
                    </a:lnTo>
                    <a:lnTo>
                      <a:pt x="234" y="458"/>
                    </a:lnTo>
                    <a:lnTo>
                      <a:pt x="234" y="458"/>
                    </a:lnTo>
                    <a:lnTo>
                      <a:pt x="234" y="458"/>
                    </a:lnTo>
                    <a:lnTo>
                      <a:pt x="234" y="458"/>
                    </a:lnTo>
                    <a:lnTo>
                      <a:pt x="234" y="455"/>
                    </a:lnTo>
                    <a:lnTo>
                      <a:pt x="234" y="452"/>
                    </a:lnTo>
                    <a:lnTo>
                      <a:pt x="235" y="450"/>
                    </a:lnTo>
                    <a:lnTo>
                      <a:pt x="235" y="450"/>
                    </a:lnTo>
                    <a:lnTo>
                      <a:pt x="237" y="446"/>
                    </a:lnTo>
                    <a:lnTo>
                      <a:pt x="235" y="439"/>
                    </a:lnTo>
                    <a:lnTo>
                      <a:pt x="235" y="439"/>
                    </a:lnTo>
                    <a:lnTo>
                      <a:pt x="235" y="429"/>
                    </a:lnTo>
                    <a:lnTo>
                      <a:pt x="235" y="423"/>
                    </a:lnTo>
                    <a:lnTo>
                      <a:pt x="238" y="419"/>
                    </a:lnTo>
                    <a:lnTo>
                      <a:pt x="238" y="419"/>
                    </a:lnTo>
                    <a:lnTo>
                      <a:pt x="237" y="421"/>
                    </a:lnTo>
                    <a:lnTo>
                      <a:pt x="237" y="421"/>
                    </a:lnTo>
                    <a:lnTo>
                      <a:pt x="238" y="417"/>
                    </a:lnTo>
                    <a:lnTo>
                      <a:pt x="237" y="411"/>
                    </a:lnTo>
                    <a:lnTo>
                      <a:pt x="237" y="411"/>
                    </a:lnTo>
                    <a:lnTo>
                      <a:pt x="238" y="413"/>
                    </a:lnTo>
                    <a:lnTo>
                      <a:pt x="237" y="411"/>
                    </a:lnTo>
                    <a:lnTo>
                      <a:pt x="234" y="411"/>
                    </a:lnTo>
                    <a:lnTo>
                      <a:pt x="229" y="406"/>
                    </a:lnTo>
                    <a:lnTo>
                      <a:pt x="229" y="406"/>
                    </a:lnTo>
                    <a:lnTo>
                      <a:pt x="230" y="409"/>
                    </a:lnTo>
                    <a:lnTo>
                      <a:pt x="231" y="410"/>
                    </a:lnTo>
                    <a:lnTo>
                      <a:pt x="231" y="410"/>
                    </a:lnTo>
                    <a:lnTo>
                      <a:pt x="231" y="410"/>
                    </a:lnTo>
                    <a:lnTo>
                      <a:pt x="230" y="410"/>
                    </a:lnTo>
                    <a:lnTo>
                      <a:pt x="225" y="403"/>
                    </a:lnTo>
                    <a:lnTo>
                      <a:pt x="225" y="388"/>
                    </a:lnTo>
                    <a:lnTo>
                      <a:pt x="229" y="384"/>
                    </a:lnTo>
                    <a:lnTo>
                      <a:pt x="227" y="384"/>
                    </a:lnTo>
                    <a:lnTo>
                      <a:pt x="227" y="384"/>
                    </a:lnTo>
                    <a:lnTo>
                      <a:pt x="226" y="386"/>
                    </a:lnTo>
                    <a:lnTo>
                      <a:pt x="226" y="386"/>
                    </a:lnTo>
                    <a:lnTo>
                      <a:pt x="226" y="385"/>
                    </a:lnTo>
                    <a:lnTo>
                      <a:pt x="226" y="385"/>
                    </a:lnTo>
                    <a:lnTo>
                      <a:pt x="226" y="382"/>
                    </a:lnTo>
                    <a:lnTo>
                      <a:pt x="226" y="382"/>
                    </a:lnTo>
                    <a:lnTo>
                      <a:pt x="226" y="381"/>
                    </a:lnTo>
                    <a:lnTo>
                      <a:pt x="225" y="381"/>
                    </a:lnTo>
                    <a:lnTo>
                      <a:pt x="219" y="377"/>
                    </a:lnTo>
                    <a:lnTo>
                      <a:pt x="219" y="377"/>
                    </a:lnTo>
                    <a:lnTo>
                      <a:pt x="219" y="372"/>
                    </a:lnTo>
                    <a:lnTo>
                      <a:pt x="221" y="369"/>
                    </a:lnTo>
                    <a:lnTo>
                      <a:pt x="225" y="365"/>
                    </a:lnTo>
                    <a:lnTo>
                      <a:pt x="225" y="365"/>
                    </a:lnTo>
                    <a:lnTo>
                      <a:pt x="225" y="365"/>
                    </a:lnTo>
                    <a:lnTo>
                      <a:pt x="225" y="362"/>
                    </a:lnTo>
                    <a:lnTo>
                      <a:pt x="226" y="358"/>
                    </a:lnTo>
                    <a:lnTo>
                      <a:pt x="226" y="358"/>
                    </a:lnTo>
                    <a:lnTo>
                      <a:pt x="227" y="357"/>
                    </a:lnTo>
                    <a:lnTo>
                      <a:pt x="227" y="357"/>
                    </a:lnTo>
                    <a:lnTo>
                      <a:pt x="226" y="356"/>
                    </a:lnTo>
                    <a:lnTo>
                      <a:pt x="221" y="352"/>
                    </a:lnTo>
                    <a:lnTo>
                      <a:pt x="221" y="352"/>
                    </a:lnTo>
                    <a:lnTo>
                      <a:pt x="219" y="353"/>
                    </a:lnTo>
                    <a:lnTo>
                      <a:pt x="219" y="353"/>
                    </a:lnTo>
                    <a:lnTo>
                      <a:pt x="217" y="357"/>
                    </a:lnTo>
                    <a:lnTo>
                      <a:pt x="213" y="358"/>
                    </a:lnTo>
                    <a:lnTo>
                      <a:pt x="213" y="358"/>
                    </a:lnTo>
                    <a:lnTo>
                      <a:pt x="210" y="358"/>
                    </a:lnTo>
                    <a:lnTo>
                      <a:pt x="210" y="358"/>
                    </a:lnTo>
                    <a:lnTo>
                      <a:pt x="209" y="358"/>
                    </a:lnTo>
                    <a:lnTo>
                      <a:pt x="209" y="358"/>
                    </a:lnTo>
                    <a:lnTo>
                      <a:pt x="210" y="357"/>
                    </a:lnTo>
                    <a:lnTo>
                      <a:pt x="213" y="355"/>
                    </a:lnTo>
                    <a:lnTo>
                      <a:pt x="206" y="360"/>
                    </a:lnTo>
                    <a:lnTo>
                      <a:pt x="206" y="360"/>
                    </a:lnTo>
                    <a:lnTo>
                      <a:pt x="203" y="360"/>
                    </a:lnTo>
                    <a:lnTo>
                      <a:pt x="203" y="360"/>
                    </a:lnTo>
                    <a:lnTo>
                      <a:pt x="201" y="360"/>
                    </a:lnTo>
                    <a:lnTo>
                      <a:pt x="201" y="360"/>
                    </a:lnTo>
                    <a:lnTo>
                      <a:pt x="203" y="358"/>
                    </a:lnTo>
                    <a:lnTo>
                      <a:pt x="205" y="356"/>
                    </a:lnTo>
                    <a:lnTo>
                      <a:pt x="198" y="361"/>
                    </a:lnTo>
                    <a:lnTo>
                      <a:pt x="198" y="361"/>
                    </a:lnTo>
                    <a:lnTo>
                      <a:pt x="198" y="361"/>
                    </a:lnTo>
                    <a:lnTo>
                      <a:pt x="196" y="362"/>
                    </a:lnTo>
                    <a:lnTo>
                      <a:pt x="190" y="362"/>
                    </a:lnTo>
                    <a:lnTo>
                      <a:pt x="190" y="362"/>
                    </a:lnTo>
                    <a:lnTo>
                      <a:pt x="190" y="362"/>
                    </a:lnTo>
                    <a:lnTo>
                      <a:pt x="186" y="362"/>
                    </a:lnTo>
                    <a:lnTo>
                      <a:pt x="186" y="362"/>
                    </a:lnTo>
                    <a:lnTo>
                      <a:pt x="180" y="362"/>
                    </a:lnTo>
                    <a:lnTo>
                      <a:pt x="180" y="362"/>
                    </a:lnTo>
                    <a:lnTo>
                      <a:pt x="172" y="362"/>
                    </a:lnTo>
                    <a:lnTo>
                      <a:pt x="172" y="362"/>
                    </a:lnTo>
                    <a:lnTo>
                      <a:pt x="164" y="362"/>
                    </a:lnTo>
                    <a:lnTo>
                      <a:pt x="160" y="361"/>
                    </a:lnTo>
                    <a:lnTo>
                      <a:pt x="156" y="360"/>
                    </a:lnTo>
                    <a:lnTo>
                      <a:pt x="153" y="358"/>
                    </a:lnTo>
                    <a:lnTo>
                      <a:pt x="153" y="358"/>
                    </a:lnTo>
                    <a:lnTo>
                      <a:pt x="155" y="358"/>
                    </a:lnTo>
                    <a:lnTo>
                      <a:pt x="155" y="358"/>
                    </a:lnTo>
                    <a:lnTo>
                      <a:pt x="153" y="358"/>
                    </a:lnTo>
                    <a:lnTo>
                      <a:pt x="153" y="358"/>
                    </a:lnTo>
                    <a:lnTo>
                      <a:pt x="148" y="357"/>
                    </a:lnTo>
                    <a:lnTo>
                      <a:pt x="144" y="356"/>
                    </a:lnTo>
                    <a:lnTo>
                      <a:pt x="143" y="353"/>
                    </a:lnTo>
                    <a:lnTo>
                      <a:pt x="141" y="349"/>
                    </a:lnTo>
                    <a:lnTo>
                      <a:pt x="141" y="347"/>
                    </a:lnTo>
                    <a:lnTo>
                      <a:pt x="141" y="347"/>
                    </a:lnTo>
                    <a:lnTo>
                      <a:pt x="141" y="341"/>
                    </a:lnTo>
                    <a:lnTo>
                      <a:pt x="141" y="341"/>
                    </a:lnTo>
                    <a:lnTo>
                      <a:pt x="141" y="339"/>
                    </a:lnTo>
                    <a:lnTo>
                      <a:pt x="141" y="339"/>
                    </a:lnTo>
                    <a:lnTo>
                      <a:pt x="143" y="340"/>
                    </a:lnTo>
                    <a:lnTo>
                      <a:pt x="144" y="341"/>
                    </a:lnTo>
                    <a:lnTo>
                      <a:pt x="140" y="336"/>
                    </a:lnTo>
                    <a:lnTo>
                      <a:pt x="140" y="335"/>
                    </a:lnTo>
                    <a:lnTo>
                      <a:pt x="140" y="335"/>
                    </a:lnTo>
                    <a:lnTo>
                      <a:pt x="140" y="329"/>
                    </a:lnTo>
                    <a:lnTo>
                      <a:pt x="140" y="329"/>
                    </a:lnTo>
                    <a:lnTo>
                      <a:pt x="141" y="327"/>
                    </a:lnTo>
                    <a:lnTo>
                      <a:pt x="141" y="327"/>
                    </a:lnTo>
                    <a:lnTo>
                      <a:pt x="141" y="328"/>
                    </a:lnTo>
                    <a:lnTo>
                      <a:pt x="144" y="329"/>
                    </a:lnTo>
                    <a:lnTo>
                      <a:pt x="139" y="324"/>
                    </a:lnTo>
                    <a:lnTo>
                      <a:pt x="139" y="321"/>
                    </a:lnTo>
                    <a:lnTo>
                      <a:pt x="139" y="321"/>
                    </a:lnTo>
                    <a:lnTo>
                      <a:pt x="139" y="316"/>
                    </a:lnTo>
                    <a:lnTo>
                      <a:pt x="139" y="316"/>
                    </a:lnTo>
                    <a:lnTo>
                      <a:pt x="140" y="314"/>
                    </a:lnTo>
                    <a:lnTo>
                      <a:pt x="140" y="314"/>
                    </a:lnTo>
                    <a:lnTo>
                      <a:pt x="140" y="315"/>
                    </a:lnTo>
                    <a:lnTo>
                      <a:pt x="143" y="316"/>
                    </a:lnTo>
                    <a:lnTo>
                      <a:pt x="137" y="311"/>
                    </a:lnTo>
                    <a:lnTo>
                      <a:pt x="137" y="308"/>
                    </a:lnTo>
                    <a:lnTo>
                      <a:pt x="137" y="308"/>
                    </a:lnTo>
                    <a:lnTo>
                      <a:pt x="137" y="308"/>
                    </a:lnTo>
                    <a:lnTo>
                      <a:pt x="135" y="306"/>
                    </a:lnTo>
                    <a:lnTo>
                      <a:pt x="135" y="306"/>
                    </a:lnTo>
                    <a:lnTo>
                      <a:pt x="135" y="306"/>
                    </a:lnTo>
                    <a:lnTo>
                      <a:pt x="135" y="306"/>
                    </a:lnTo>
                    <a:lnTo>
                      <a:pt x="136" y="307"/>
                    </a:lnTo>
                    <a:lnTo>
                      <a:pt x="131" y="303"/>
                    </a:lnTo>
                    <a:lnTo>
                      <a:pt x="131" y="303"/>
                    </a:lnTo>
                    <a:lnTo>
                      <a:pt x="131" y="303"/>
                    </a:lnTo>
                    <a:lnTo>
                      <a:pt x="131" y="303"/>
                    </a:lnTo>
                    <a:lnTo>
                      <a:pt x="129" y="303"/>
                    </a:lnTo>
                    <a:lnTo>
                      <a:pt x="129" y="303"/>
                    </a:lnTo>
                    <a:lnTo>
                      <a:pt x="125" y="300"/>
                    </a:lnTo>
                    <a:lnTo>
                      <a:pt x="125" y="300"/>
                    </a:lnTo>
                    <a:lnTo>
                      <a:pt x="123" y="299"/>
                    </a:lnTo>
                    <a:lnTo>
                      <a:pt x="123" y="299"/>
                    </a:lnTo>
                    <a:lnTo>
                      <a:pt x="121" y="300"/>
                    </a:lnTo>
                    <a:lnTo>
                      <a:pt x="121" y="300"/>
                    </a:lnTo>
                    <a:lnTo>
                      <a:pt x="116" y="307"/>
                    </a:lnTo>
                    <a:lnTo>
                      <a:pt x="116" y="307"/>
                    </a:lnTo>
                    <a:lnTo>
                      <a:pt x="119" y="306"/>
                    </a:lnTo>
                    <a:lnTo>
                      <a:pt x="119" y="306"/>
                    </a:lnTo>
                    <a:lnTo>
                      <a:pt x="119" y="306"/>
                    </a:lnTo>
                    <a:lnTo>
                      <a:pt x="119" y="306"/>
                    </a:lnTo>
                    <a:lnTo>
                      <a:pt x="118" y="310"/>
                    </a:lnTo>
                    <a:lnTo>
                      <a:pt x="111" y="312"/>
                    </a:lnTo>
                    <a:lnTo>
                      <a:pt x="111" y="312"/>
                    </a:lnTo>
                    <a:lnTo>
                      <a:pt x="107" y="310"/>
                    </a:lnTo>
                    <a:lnTo>
                      <a:pt x="107" y="310"/>
                    </a:lnTo>
                    <a:lnTo>
                      <a:pt x="110" y="311"/>
                    </a:lnTo>
                    <a:lnTo>
                      <a:pt x="106" y="307"/>
                    </a:lnTo>
                    <a:lnTo>
                      <a:pt x="106" y="307"/>
                    </a:lnTo>
                    <a:lnTo>
                      <a:pt x="106" y="307"/>
                    </a:lnTo>
                    <a:lnTo>
                      <a:pt x="102" y="302"/>
                    </a:lnTo>
                    <a:lnTo>
                      <a:pt x="102" y="302"/>
                    </a:lnTo>
                    <a:lnTo>
                      <a:pt x="96" y="296"/>
                    </a:lnTo>
                    <a:lnTo>
                      <a:pt x="96" y="296"/>
                    </a:lnTo>
                    <a:lnTo>
                      <a:pt x="96" y="298"/>
                    </a:lnTo>
                    <a:lnTo>
                      <a:pt x="96" y="302"/>
                    </a:lnTo>
                    <a:lnTo>
                      <a:pt x="96" y="302"/>
                    </a:lnTo>
                    <a:lnTo>
                      <a:pt x="94" y="304"/>
                    </a:lnTo>
                    <a:lnTo>
                      <a:pt x="92" y="307"/>
                    </a:lnTo>
                    <a:lnTo>
                      <a:pt x="87" y="310"/>
                    </a:lnTo>
                    <a:lnTo>
                      <a:pt x="87" y="310"/>
                    </a:lnTo>
                    <a:lnTo>
                      <a:pt x="84" y="311"/>
                    </a:lnTo>
                    <a:lnTo>
                      <a:pt x="82" y="312"/>
                    </a:lnTo>
                    <a:lnTo>
                      <a:pt x="82" y="312"/>
                    </a:lnTo>
                    <a:lnTo>
                      <a:pt x="78" y="314"/>
                    </a:lnTo>
                    <a:lnTo>
                      <a:pt x="74" y="314"/>
                    </a:lnTo>
                    <a:lnTo>
                      <a:pt x="74" y="314"/>
                    </a:lnTo>
                    <a:lnTo>
                      <a:pt x="71" y="315"/>
                    </a:lnTo>
                    <a:lnTo>
                      <a:pt x="71" y="315"/>
                    </a:lnTo>
                    <a:lnTo>
                      <a:pt x="73" y="314"/>
                    </a:lnTo>
                    <a:lnTo>
                      <a:pt x="67" y="316"/>
                    </a:lnTo>
                    <a:lnTo>
                      <a:pt x="66" y="316"/>
                    </a:lnTo>
                    <a:lnTo>
                      <a:pt x="66" y="316"/>
                    </a:lnTo>
                    <a:lnTo>
                      <a:pt x="63" y="315"/>
                    </a:lnTo>
                    <a:lnTo>
                      <a:pt x="59" y="312"/>
                    </a:lnTo>
                    <a:lnTo>
                      <a:pt x="59" y="312"/>
                    </a:lnTo>
                    <a:lnTo>
                      <a:pt x="58" y="310"/>
                    </a:lnTo>
                    <a:lnTo>
                      <a:pt x="58" y="307"/>
                    </a:lnTo>
                    <a:lnTo>
                      <a:pt x="58" y="300"/>
                    </a:lnTo>
                    <a:lnTo>
                      <a:pt x="58" y="300"/>
                    </a:lnTo>
                    <a:lnTo>
                      <a:pt x="58" y="296"/>
                    </a:lnTo>
                    <a:lnTo>
                      <a:pt x="57" y="296"/>
                    </a:lnTo>
                    <a:lnTo>
                      <a:pt x="57" y="296"/>
                    </a:lnTo>
                    <a:lnTo>
                      <a:pt x="57" y="295"/>
                    </a:lnTo>
                    <a:lnTo>
                      <a:pt x="57" y="295"/>
                    </a:lnTo>
                    <a:lnTo>
                      <a:pt x="59" y="296"/>
                    </a:lnTo>
                    <a:lnTo>
                      <a:pt x="53" y="290"/>
                    </a:lnTo>
                    <a:lnTo>
                      <a:pt x="53" y="290"/>
                    </a:lnTo>
                    <a:lnTo>
                      <a:pt x="53" y="291"/>
                    </a:lnTo>
                    <a:lnTo>
                      <a:pt x="53" y="291"/>
                    </a:lnTo>
                    <a:lnTo>
                      <a:pt x="53" y="290"/>
                    </a:lnTo>
                    <a:lnTo>
                      <a:pt x="53" y="290"/>
                    </a:lnTo>
                    <a:lnTo>
                      <a:pt x="51" y="287"/>
                    </a:lnTo>
                    <a:lnTo>
                      <a:pt x="50" y="283"/>
                    </a:lnTo>
                    <a:lnTo>
                      <a:pt x="50" y="283"/>
                    </a:lnTo>
                    <a:lnTo>
                      <a:pt x="49" y="279"/>
                    </a:lnTo>
                    <a:lnTo>
                      <a:pt x="49" y="279"/>
                    </a:lnTo>
                    <a:lnTo>
                      <a:pt x="46" y="275"/>
                    </a:lnTo>
                    <a:lnTo>
                      <a:pt x="46" y="275"/>
                    </a:lnTo>
                    <a:lnTo>
                      <a:pt x="46" y="275"/>
                    </a:lnTo>
                    <a:lnTo>
                      <a:pt x="45" y="277"/>
                    </a:lnTo>
                    <a:lnTo>
                      <a:pt x="45" y="277"/>
                    </a:lnTo>
                    <a:lnTo>
                      <a:pt x="45" y="277"/>
                    </a:lnTo>
                    <a:lnTo>
                      <a:pt x="43" y="277"/>
                    </a:lnTo>
                    <a:lnTo>
                      <a:pt x="43" y="277"/>
                    </a:lnTo>
                    <a:lnTo>
                      <a:pt x="40" y="275"/>
                    </a:lnTo>
                    <a:lnTo>
                      <a:pt x="37" y="274"/>
                    </a:lnTo>
                    <a:lnTo>
                      <a:pt x="36" y="271"/>
                    </a:lnTo>
                    <a:lnTo>
                      <a:pt x="34" y="271"/>
                    </a:lnTo>
                    <a:lnTo>
                      <a:pt x="34" y="271"/>
                    </a:lnTo>
                    <a:lnTo>
                      <a:pt x="33" y="269"/>
                    </a:lnTo>
                    <a:lnTo>
                      <a:pt x="33" y="265"/>
                    </a:lnTo>
                    <a:lnTo>
                      <a:pt x="33" y="265"/>
                    </a:lnTo>
                    <a:lnTo>
                      <a:pt x="32" y="261"/>
                    </a:lnTo>
                    <a:lnTo>
                      <a:pt x="29" y="258"/>
                    </a:lnTo>
                    <a:lnTo>
                      <a:pt x="28" y="255"/>
                    </a:lnTo>
                    <a:lnTo>
                      <a:pt x="28" y="255"/>
                    </a:lnTo>
                    <a:lnTo>
                      <a:pt x="28" y="255"/>
                    </a:lnTo>
                    <a:lnTo>
                      <a:pt x="28" y="255"/>
                    </a:lnTo>
                    <a:lnTo>
                      <a:pt x="28" y="254"/>
                    </a:lnTo>
                    <a:lnTo>
                      <a:pt x="28" y="254"/>
                    </a:lnTo>
                    <a:lnTo>
                      <a:pt x="26" y="253"/>
                    </a:lnTo>
                    <a:lnTo>
                      <a:pt x="25" y="249"/>
                    </a:lnTo>
                    <a:lnTo>
                      <a:pt x="25" y="249"/>
                    </a:lnTo>
                    <a:lnTo>
                      <a:pt x="25" y="247"/>
                    </a:lnTo>
                    <a:lnTo>
                      <a:pt x="25" y="247"/>
                    </a:lnTo>
                    <a:lnTo>
                      <a:pt x="24" y="246"/>
                    </a:lnTo>
                    <a:lnTo>
                      <a:pt x="24" y="246"/>
                    </a:lnTo>
                    <a:lnTo>
                      <a:pt x="25" y="247"/>
                    </a:lnTo>
                    <a:lnTo>
                      <a:pt x="25" y="247"/>
                    </a:lnTo>
                    <a:lnTo>
                      <a:pt x="25" y="247"/>
                    </a:lnTo>
                    <a:lnTo>
                      <a:pt x="25" y="247"/>
                    </a:lnTo>
                    <a:lnTo>
                      <a:pt x="22" y="245"/>
                    </a:lnTo>
                    <a:lnTo>
                      <a:pt x="22" y="245"/>
                    </a:lnTo>
                    <a:lnTo>
                      <a:pt x="22" y="245"/>
                    </a:lnTo>
                    <a:lnTo>
                      <a:pt x="21" y="241"/>
                    </a:lnTo>
                    <a:lnTo>
                      <a:pt x="21" y="241"/>
                    </a:lnTo>
                    <a:lnTo>
                      <a:pt x="20" y="241"/>
                    </a:lnTo>
                    <a:lnTo>
                      <a:pt x="20" y="241"/>
                    </a:lnTo>
                    <a:lnTo>
                      <a:pt x="21" y="241"/>
                    </a:lnTo>
                    <a:lnTo>
                      <a:pt x="21" y="241"/>
                    </a:lnTo>
                    <a:lnTo>
                      <a:pt x="22" y="241"/>
                    </a:lnTo>
                    <a:lnTo>
                      <a:pt x="18" y="238"/>
                    </a:lnTo>
                    <a:lnTo>
                      <a:pt x="18" y="238"/>
                    </a:lnTo>
                    <a:lnTo>
                      <a:pt x="18" y="238"/>
                    </a:lnTo>
                    <a:lnTo>
                      <a:pt x="16" y="234"/>
                    </a:lnTo>
                    <a:lnTo>
                      <a:pt x="16" y="234"/>
                    </a:lnTo>
                    <a:lnTo>
                      <a:pt x="13" y="230"/>
                    </a:lnTo>
                    <a:lnTo>
                      <a:pt x="12" y="228"/>
                    </a:lnTo>
                    <a:lnTo>
                      <a:pt x="12" y="228"/>
                    </a:lnTo>
                    <a:lnTo>
                      <a:pt x="9" y="228"/>
                    </a:lnTo>
                    <a:lnTo>
                      <a:pt x="6" y="226"/>
                    </a:lnTo>
                    <a:lnTo>
                      <a:pt x="5" y="225"/>
                    </a:lnTo>
                    <a:lnTo>
                      <a:pt x="4" y="221"/>
                    </a:lnTo>
                    <a:lnTo>
                      <a:pt x="4" y="221"/>
                    </a:lnTo>
                    <a:lnTo>
                      <a:pt x="4" y="214"/>
                    </a:lnTo>
                    <a:lnTo>
                      <a:pt x="4" y="214"/>
                    </a:lnTo>
                    <a:lnTo>
                      <a:pt x="4" y="212"/>
                    </a:lnTo>
                    <a:lnTo>
                      <a:pt x="4" y="212"/>
                    </a:lnTo>
                    <a:lnTo>
                      <a:pt x="4" y="213"/>
                    </a:lnTo>
                    <a:lnTo>
                      <a:pt x="6" y="214"/>
                    </a:lnTo>
                    <a:lnTo>
                      <a:pt x="4" y="210"/>
                    </a:lnTo>
                    <a:lnTo>
                      <a:pt x="4" y="210"/>
                    </a:lnTo>
                    <a:lnTo>
                      <a:pt x="1" y="209"/>
                    </a:lnTo>
                    <a:lnTo>
                      <a:pt x="0" y="206"/>
                    </a:lnTo>
                    <a:lnTo>
                      <a:pt x="0" y="201"/>
                    </a:lnTo>
                    <a:lnTo>
                      <a:pt x="1" y="199"/>
                    </a:lnTo>
                    <a:lnTo>
                      <a:pt x="1" y="199"/>
                    </a:lnTo>
                    <a:lnTo>
                      <a:pt x="4" y="197"/>
                    </a:lnTo>
                    <a:lnTo>
                      <a:pt x="5" y="196"/>
                    </a:lnTo>
                    <a:lnTo>
                      <a:pt x="5" y="196"/>
                    </a:lnTo>
                    <a:lnTo>
                      <a:pt x="4" y="197"/>
                    </a:lnTo>
                    <a:lnTo>
                      <a:pt x="4" y="200"/>
                    </a:lnTo>
                    <a:lnTo>
                      <a:pt x="9" y="195"/>
                    </a:lnTo>
                    <a:lnTo>
                      <a:pt x="10" y="195"/>
                    </a:lnTo>
                    <a:lnTo>
                      <a:pt x="10" y="195"/>
                    </a:lnTo>
                    <a:lnTo>
                      <a:pt x="12" y="193"/>
                    </a:lnTo>
                    <a:lnTo>
                      <a:pt x="16" y="192"/>
                    </a:lnTo>
                    <a:lnTo>
                      <a:pt x="17" y="192"/>
                    </a:lnTo>
                    <a:lnTo>
                      <a:pt x="24" y="199"/>
                    </a:lnTo>
                    <a:lnTo>
                      <a:pt x="24" y="199"/>
                    </a:lnTo>
                    <a:lnTo>
                      <a:pt x="22" y="195"/>
                    </a:lnTo>
                    <a:lnTo>
                      <a:pt x="22" y="195"/>
                    </a:lnTo>
                    <a:lnTo>
                      <a:pt x="20" y="193"/>
                    </a:lnTo>
                    <a:lnTo>
                      <a:pt x="18" y="193"/>
                    </a:lnTo>
                    <a:lnTo>
                      <a:pt x="18" y="193"/>
                    </a:lnTo>
                    <a:lnTo>
                      <a:pt x="20" y="193"/>
                    </a:lnTo>
                    <a:lnTo>
                      <a:pt x="20" y="193"/>
                    </a:lnTo>
                    <a:lnTo>
                      <a:pt x="22" y="193"/>
                    </a:lnTo>
                    <a:lnTo>
                      <a:pt x="22" y="193"/>
                    </a:lnTo>
                    <a:lnTo>
                      <a:pt x="24" y="193"/>
                    </a:lnTo>
                    <a:lnTo>
                      <a:pt x="25" y="193"/>
                    </a:lnTo>
                    <a:lnTo>
                      <a:pt x="25" y="193"/>
                    </a:lnTo>
                    <a:lnTo>
                      <a:pt x="25" y="193"/>
                    </a:lnTo>
                    <a:lnTo>
                      <a:pt x="25" y="193"/>
                    </a:lnTo>
                    <a:lnTo>
                      <a:pt x="25" y="193"/>
                    </a:lnTo>
                    <a:lnTo>
                      <a:pt x="30" y="197"/>
                    </a:lnTo>
                    <a:lnTo>
                      <a:pt x="30" y="197"/>
                    </a:lnTo>
                    <a:lnTo>
                      <a:pt x="28" y="195"/>
                    </a:lnTo>
                    <a:lnTo>
                      <a:pt x="28" y="195"/>
                    </a:lnTo>
                    <a:lnTo>
                      <a:pt x="30" y="195"/>
                    </a:lnTo>
                    <a:lnTo>
                      <a:pt x="30" y="195"/>
                    </a:lnTo>
                    <a:lnTo>
                      <a:pt x="33" y="195"/>
                    </a:lnTo>
                    <a:lnTo>
                      <a:pt x="33" y="195"/>
                    </a:lnTo>
                    <a:lnTo>
                      <a:pt x="30" y="197"/>
                    </a:lnTo>
                    <a:lnTo>
                      <a:pt x="36" y="193"/>
                    </a:lnTo>
                    <a:lnTo>
                      <a:pt x="46" y="193"/>
                    </a:lnTo>
                    <a:lnTo>
                      <a:pt x="46" y="193"/>
                    </a:lnTo>
                    <a:lnTo>
                      <a:pt x="49" y="192"/>
                    </a:lnTo>
                    <a:lnTo>
                      <a:pt x="51" y="189"/>
                    </a:lnTo>
                    <a:lnTo>
                      <a:pt x="51" y="189"/>
                    </a:lnTo>
                    <a:lnTo>
                      <a:pt x="54" y="188"/>
                    </a:lnTo>
                    <a:lnTo>
                      <a:pt x="58" y="187"/>
                    </a:lnTo>
                    <a:lnTo>
                      <a:pt x="59" y="187"/>
                    </a:lnTo>
                    <a:lnTo>
                      <a:pt x="59" y="187"/>
                    </a:lnTo>
                    <a:lnTo>
                      <a:pt x="59" y="185"/>
                    </a:lnTo>
                    <a:lnTo>
                      <a:pt x="59" y="185"/>
                    </a:lnTo>
                    <a:lnTo>
                      <a:pt x="62" y="184"/>
                    </a:lnTo>
                    <a:lnTo>
                      <a:pt x="65" y="183"/>
                    </a:lnTo>
                    <a:lnTo>
                      <a:pt x="70" y="183"/>
                    </a:lnTo>
                    <a:lnTo>
                      <a:pt x="70" y="183"/>
                    </a:lnTo>
                    <a:lnTo>
                      <a:pt x="71" y="181"/>
                    </a:lnTo>
                    <a:lnTo>
                      <a:pt x="71" y="181"/>
                    </a:lnTo>
                    <a:lnTo>
                      <a:pt x="71" y="177"/>
                    </a:lnTo>
                    <a:lnTo>
                      <a:pt x="71" y="177"/>
                    </a:lnTo>
                    <a:lnTo>
                      <a:pt x="73" y="173"/>
                    </a:lnTo>
                    <a:lnTo>
                      <a:pt x="74" y="172"/>
                    </a:lnTo>
                    <a:lnTo>
                      <a:pt x="74" y="172"/>
                    </a:lnTo>
                    <a:lnTo>
                      <a:pt x="74" y="172"/>
                    </a:lnTo>
                    <a:lnTo>
                      <a:pt x="73" y="173"/>
                    </a:lnTo>
                    <a:lnTo>
                      <a:pt x="77" y="168"/>
                    </a:lnTo>
                    <a:lnTo>
                      <a:pt x="77" y="168"/>
                    </a:lnTo>
                    <a:lnTo>
                      <a:pt x="80" y="167"/>
                    </a:lnTo>
                    <a:lnTo>
                      <a:pt x="80" y="164"/>
                    </a:lnTo>
                    <a:lnTo>
                      <a:pt x="87" y="159"/>
                    </a:lnTo>
                    <a:lnTo>
                      <a:pt x="87" y="159"/>
                    </a:lnTo>
                    <a:lnTo>
                      <a:pt x="87" y="156"/>
                    </a:lnTo>
                    <a:lnTo>
                      <a:pt x="94" y="150"/>
                    </a:lnTo>
                    <a:lnTo>
                      <a:pt x="94" y="150"/>
                    </a:lnTo>
                    <a:lnTo>
                      <a:pt x="94" y="150"/>
                    </a:lnTo>
                    <a:lnTo>
                      <a:pt x="94" y="150"/>
                    </a:lnTo>
                    <a:lnTo>
                      <a:pt x="92" y="150"/>
                    </a:lnTo>
                    <a:lnTo>
                      <a:pt x="92" y="150"/>
                    </a:lnTo>
                    <a:lnTo>
                      <a:pt x="95" y="150"/>
                    </a:lnTo>
                    <a:lnTo>
                      <a:pt x="95" y="150"/>
                    </a:lnTo>
                    <a:lnTo>
                      <a:pt x="96" y="144"/>
                    </a:lnTo>
                    <a:lnTo>
                      <a:pt x="96" y="144"/>
                    </a:lnTo>
                    <a:lnTo>
                      <a:pt x="99" y="138"/>
                    </a:lnTo>
                    <a:lnTo>
                      <a:pt x="99" y="138"/>
                    </a:lnTo>
                    <a:lnTo>
                      <a:pt x="99" y="135"/>
                    </a:lnTo>
                    <a:lnTo>
                      <a:pt x="99" y="135"/>
                    </a:lnTo>
                    <a:lnTo>
                      <a:pt x="99" y="131"/>
                    </a:lnTo>
                    <a:lnTo>
                      <a:pt x="100" y="128"/>
                    </a:lnTo>
                    <a:lnTo>
                      <a:pt x="104" y="126"/>
                    </a:lnTo>
                    <a:lnTo>
                      <a:pt x="104" y="126"/>
                    </a:lnTo>
                    <a:lnTo>
                      <a:pt x="103" y="124"/>
                    </a:lnTo>
                    <a:lnTo>
                      <a:pt x="103" y="124"/>
                    </a:lnTo>
                    <a:lnTo>
                      <a:pt x="103" y="122"/>
                    </a:lnTo>
                    <a:lnTo>
                      <a:pt x="104" y="118"/>
                    </a:lnTo>
                    <a:lnTo>
                      <a:pt x="106" y="115"/>
                    </a:lnTo>
                    <a:lnTo>
                      <a:pt x="108" y="114"/>
                    </a:lnTo>
                    <a:lnTo>
                      <a:pt x="110" y="114"/>
                    </a:lnTo>
                    <a:lnTo>
                      <a:pt x="110" y="114"/>
                    </a:lnTo>
                    <a:lnTo>
                      <a:pt x="112" y="111"/>
                    </a:lnTo>
                    <a:lnTo>
                      <a:pt x="112" y="111"/>
                    </a:lnTo>
                    <a:lnTo>
                      <a:pt x="112" y="109"/>
                    </a:lnTo>
                    <a:lnTo>
                      <a:pt x="115" y="106"/>
                    </a:lnTo>
                    <a:lnTo>
                      <a:pt x="115" y="106"/>
                    </a:lnTo>
                    <a:lnTo>
                      <a:pt x="118" y="103"/>
                    </a:lnTo>
                    <a:lnTo>
                      <a:pt x="120" y="103"/>
                    </a:lnTo>
                    <a:lnTo>
                      <a:pt x="121" y="103"/>
                    </a:lnTo>
                    <a:lnTo>
                      <a:pt x="121" y="103"/>
                    </a:lnTo>
                    <a:lnTo>
                      <a:pt x="121" y="103"/>
                    </a:lnTo>
                    <a:lnTo>
                      <a:pt x="124" y="102"/>
                    </a:lnTo>
                    <a:lnTo>
                      <a:pt x="127" y="102"/>
                    </a:lnTo>
                    <a:lnTo>
                      <a:pt x="127" y="102"/>
                    </a:lnTo>
                    <a:lnTo>
                      <a:pt x="129" y="102"/>
                    </a:lnTo>
                    <a:lnTo>
                      <a:pt x="131" y="102"/>
                    </a:lnTo>
                    <a:lnTo>
                      <a:pt x="131" y="102"/>
                    </a:lnTo>
                    <a:lnTo>
                      <a:pt x="133" y="99"/>
                    </a:lnTo>
                    <a:lnTo>
                      <a:pt x="136" y="98"/>
                    </a:lnTo>
                    <a:lnTo>
                      <a:pt x="141" y="98"/>
                    </a:lnTo>
                    <a:lnTo>
                      <a:pt x="141" y="98"/>
                    </a:lnTo>
                    <a:lnTo>
                      <a:pt x="144" y="98"/>
                    </a:lnTo>
                    <a:lnTo>
                      <a:pt x="144" y="98"/>
                    </a:lnTo>
                    <a:lnTo>
                      <a:pt x="144" y="97"/>
                    </a:lnTo>
                    <a:lnTo>
                      <a:pt x="144" y="95"/>
                    </a:lnTo>
                    <a:lnTo>
                      <a:pt x="144" y="95"/>
                    </a:lnTo>
                    <a:lnTo>
                      <a:pt x="145" y="91"/>
                    </a:lnTo>
                    <a:lnTo>
                      <a:pt x="147" y="89"/>
                    </a:lnTo>
                    <a:lnTo>
                      <a:pt x="147" y="89"/>
                    </a:lnTo>
                    <a:lnTo>
                      <a:pt x="147" y="89"/>
                    </a:lnTo>
                    <a:lnTo>
                      <a:pt x="147" y="89"/>
                    </a:lnTo>
                    <a:lnTo>
                      <a:pt x="145" y="91"/>
                    </a:lnTo>
                    <a:lnTo>
                      <a:pt x="151" y="86"/>
                    </a:lnTo>
                    <a:lnTo>
                      <a:pt x="149" y="86"/>
                    </a:lnTo>
                    <a:lnTo>
                      <a:pt x="149" y="86"/>
                    </a:lnTo>
                    <a:lnTo>
                      <a:pt x="152" y="85"/>
                    </a:lnTo>
                    <a:lnTo>
                      <a:pt x="152" y="85"/>
                    </a:lnTo>
                    <a:lnTo>
                      <a:pt x="153" y="85"/>
                    </a:lnTo>
                    <a:lnTo>
                      <a:pt x="153" y="81"/>
                    </a:lnTo>
                    <a:lnTo>
                      <a:pt x="153" y="81"/>
                    </a:lnTo>
                    <a:lnTo>
                      <a:pt x="153" y="77"/>
                    </a:lnTo>
                    <a:lnTo>
                      <a:pt x="155" y="74"/>
                    </a:lnTo>
                    <a:lnTo>
                      <a:pt x="155" y="74"/>
                    </a:lnTo>
                    <a:lnTo>
                      <a:pt x="157" y="73"/>
                    </a:lnTo>
                    <a:lnTo>
                      <a:pt x="160" y="72"/>
                    </a:lnTo>
                    <a:lnTo>
                      <a:pt x="164" y="70"/>
                    </a:lnTo>
                    <a:lnTo>
                      <a:pt x="164" y="70"/>
                    </a:lnTo>
                    <a:lnTo>
                      <a:pt x="166" y="70"/>
                    </a:lnTo>
                    <a:lnTo>
                      <a:pt x="166" y="70"/>
                    </a:lnTo>
                    <a:lnTo>
                      <a:pt x="165" y="70"/>
                    </a:lnTo>
                    <a:lnTo>
                      <a:pt x="166" y="70"/>
                    </a:lnTo>
                    <a:lnTo>
                      <a:pt x="166" y="70"/>
                    </a:lnTo>
                    <a:lnTo>
                      <a:pt x="166" y="69"/>
                    </a:lnTo>
                    <a:lnTo>
                      <a:pt x="166" y="69"/>
                    </a:lnTo>
                    <a:lnTo>
                      <a:pt x="168" y="66"/>
                    </a:lnTo>
                    <a:lnTo>
                      <a:pt x="173" y="64"/>
                    </a:lnTo>
                    <a:lnTo>
                      <a:pt x="173" y="64"/>
                    </a:lnTo>
                    <a:lnTo>
                      <a:pt x="173" y="64"/>
                    </a:lnTo>
                    <a:lnTo>
                      <a:pt x="177" y="64"/>
                    </a:lnTo>
                    <a:lnTo>
                      <a:pt x="178" y="65"/>
                    </a:lnTo>
                    <a:lnTo>
                      <a:pt x="180" y="65"/>
                    </a:lnTo>
                    <a:lnTo>
                      <a:pt x="184" y="66"/>
                    </a:lnTo>
                    <a:lnTo>
                      <a:pt x="184" y="66"/>
                    </a:lnTo>
                    <a:lnTo>
                      <a:pt x="185" y="68"/>
                    </a:lnTo>
                    <a:lnTo>
                      <a:pt x="185" y="68"/>
                    </a:lnTo>
                    <a:lnTo>
                      <a:pt x="186" y="69"/>
                    </a:lnTo>
                    <a:lnTo>
                      <a:pt x="192" y="69"/>
                    </a:lnTo>
                    <a:lnTo>
                      <a:pt x="192" y="69"/>
                    </a:lnTo>
                    <a:lnTo>
                      <a:pt x="193" y="66"/>
                    </a:lnTo>
                    <a:lnTo>
                      <a:pt x="193" y="66"/>
                    </a:lnTo>
                    <a:lnTo>
                      <a:pt x="196" y="62"/>
                    </a:lnTo>
                    <a:lnTo>
                      <a:pt x="196" y="62"/>
                    </a:lnTo>
                    <a:lnTo>
                      <a:pt x="196" y="58"/>
                    </a:lnTo>
                    <a:lnTo>
                      <a:pt x="197" y="54"/>
                    </a:lnTo>
                    <a:lnTo>
                      <a:pt x="201" y="50"/>
                    </a:lnTo>
                    <a:lnTo>
                      <a:pt x="201" y="50"/>
                    </a:lnTo>
                    <a:lnTo>
                      <a:pt x="202" y="48"/>
                    </a:lnTo>
                    <a:lnTo>
                      <a:pt x="203" y="46"/>
                    </a:lnTo>
                    <a:lnTo>
                      <a:pt x="203" y="46"/>
                    </a:lnTo>
                    <a:lnTo>
                      <a:pt x="205" y="44"/>
                    </a:lnTo>
                    <a:lnTo>
                      <a:pt x="207" y="41"/>
                    </a:lnTo>
                    <a:lnTo>
                      <a:pt x="211" y="41"/>
                    </a:lnTo>
                    <a:lnTo>
                      <a:pt x="211" y="41"/>
                    </a:lnTo>
                    <a:lnTo>
                      <a:pt x="213" y="41"/>
                    </a:lnTo>
                    <a:lnTo>
                      <a:pt x="213" y="41"/>
                    </a:lnTo>
                    <a:lnTo>
                      <a:pt x="210" y="43"/>
                    </a:lnTo>
                    <a:lnTo>
                      <a:pt x="209" y="45"/>
                    </a:lnTo>
                    <a:lnTo>
                      <a:pt x="215" y="40"/>
                    </a:lnTo>
                    <a:lnTo>
                      <a:pt x="225" y="40"/>
                    </a:lnTo>
                    <a:lnTo>
                      <a:pt x="231" y="44"/>
                    </a:lnTo>
                    <a:lnTo>
                      <a:pt x="231" y="44"/>
                    </a:lnTo>
                    <a:lnTo>
                      <a:pt x="231" y="50"/>
                    </a:lnTo>
                    <a:lnTo>
                      <a:pt x="231" y="50"/>
                    </a:lnTo>
                    <a:lnTo>
                      <a:pt x="231" y="54"/>
                    </a:lnTo>
                    <a:lnTo>
                      <a:pt x="231" y="54"/>
                    </a:lnTo>
                    <a:lnTo>
                      <a:pt x="230" y="53"/>
                    </a:lnTo>
                    <a:lnTo>
                      <a:pt x="229" y="52"/>
                    </a:lnTo>
                    <a:lnTo>
                      <a:pt x="233" y="57"/>
                    </a:lnTo>
                    <a:lnTo>
                      <a:pt x="233" y="64"/>
                    </a:lnTo>
                    <a:lnTo>
                      <a:pt x="233" y="64"/>
                    </a:lnTo>
                    <a:lnTo>
                      <a:pt x="233" y="76"/>
                    </a:lnTo>
                    <a:lnTo>
                      <a:pt x="233" y="76"/>
                    </a:lnTo>
                    <a:lnTo>
                      <a:pt x="233" y="85"/>
                    </a:lnTo>
                    <a:lnTo>
                      <a:pt x="234" y="91"/>
                    </a:lnTo>
                    <a:lnTo>
                      <a:pt x="234" y="94"/>
                    </a:lnTo>
                    <a:lnTo>
                      <a:pt x="234" y="101"/>
                    </a:lnTo>
                    <a:lnTo>
                      <a:pt x="234" y="101"/>
                    </a:lnTo>
                    <a:lnTo>
                      <a:pt x="234" y="109"/>
                    </a:lnTo>
                    <a:lnTo>
                      <a:pt x="234" y="109"/>
                    </a:lnTo>
                    <a:lnTo>
                      <a:pt x="234" y="115"/>
                    </a:lnTo>
                    <a:lnTo>
                      <a:pt x="234" y="121"/>
                    </a:lnTo>
                    <a:lnTo>
                      <a:pt x="234" y="121"/>
                    </a:lnTo>
                    <a:lnTo>
                      <a:pt x="234" y="121"/>
                    </a:lnTo>
                    <a:lnTo>
                      <a:pt x="235" y="121"/>
                    </a:lnTo>
                    <a:lnTo>
                      <a:pt x="237" y="121"/>
                    </a:lnTo>
                    <a:lnTo>
                      <a:pt x="240" y="123"/>
                    </a:lnTo>
                    <a:lnTo>
                      <a:pt x="240" y="123"/>
                    </a:lnTo>
                    <a:lnTo>
                      <a:pt x="246" y="126"/>
                    </a:lnTo>
                    <a:lnTo>
                      <a:pt x="246" y="126"/>
                    </a:lnTo>
                    <a:lnTo>
                      <a:pt x="250" y="127"/>
                    </a:lnTo>
                    <a:lnTo>
                      <a:pt x="250" y="127"/>
                    </a:lnTo>
                    <a:lnTo>
                      <a:pt x="252" y="127"/>
                    </a:lnTo>
                    <a:lnTo>
                      <a:pt x="255" y="128"/>
                    </a:lnTo>
                    <a:lnTo>
                      <a:pt x="255" y="128"/>
                    </a:lnTo>
                    <a:lnTo>
                      <a:pt x="255" y="128"/>
                    </a:lnTo>
                    <a:lnTo>
                      <a:pt x="255" y="128"/>
                    </a:lnTo>
                    <a:lnTo>
                      <a:pt x="255" y="128"/>
                    </a:lnTo>
                    <a:lnTo>
                      <a:pt x="255" y="128"/>
                    </a:lnTo>
                    <a:lnTo>
                      <a:pt x="255" y="128"/>
                    </a:lnTo>
                    <a:lnTo>
                      <a:pt x="255" y="128"/>
                    </a:lnTo>
                    <a:lnTo>
                      <a:pt x="256" y="126"/>
                    </a:lnTo>
                    <a:lnTo>
                      <a:pt x="256" y="126"/>
                    </a:lnTo>
                    <a:lnTo>
                      <a:pt x="258" y="123"/>
                    </a:lnTo>
                    <a:lnTo>
                      <a:pt x="258" y="123"/>
                    </a:lnTo>
                    <a:lnTo>
                      <a:pt x="260" y="119"/>
                    </a:lnTo>
                    <a:lnTo>
                      <a:pt x="260" y="119"/>
                    </a:lnTo>
                    <a:lnTo>
                      <a:pt x="260" y="117"/>
                    </a:lnTo>
                    <a:lnTo>
                      <a:pt x="262" y="114"/>
                    </a:lnTo>
                    <a:lnTo>
                      <a:pt x="262" y="114"/>
                    </a:lnTo>
                    <a:lnTo>
                      <a:pt x="263" y="114"/>
                    </a:lnTo>
                    <a:lnTo>
                      <a:pt x="264" y="111"/>
                    </a:lnTo>
                    <a:lnTo>
                      <a:pt x="264" y="111"/>
                    </a:lnTo>
                    <a:lnTo>
                      <a:pt x="264" y="110"/>
                    </a:lnTo>
                    <a:lnTo>
                      <a:pt x="264" y="107"/>
                    </a:lnTo>
                    <a:lnTo>
                      <a:pt x="266" y="106"/>
                    </a:lnTo>
                    <a:lnTo>
                      <a:pt x="266" y="106"/>
                    </a:lnTo>
                    <a:lnTo>
                      <a:pt x="270" y="86"/>
                    </a:lnTo>
                    <a:lnTo>
                      <a:pt x="275" y="66"/>
                    </a:lnTo>
                    <a:lnTo>
                      <a:pt x="276" y="65"/>
                    </a:lnTo>
                    <a:lnTo>
                      <a:pt x="276" y="65"/>
                    </a:lnTo>
                    <a:lnTo>
                      <a:pt x="276" y="65"/>
                    </a:lnTo>
                    <a:lnTo>
                      <a:pt x="276" y="65"/>
                    </a:lnTo>
                    <a:lnTo>
                      <a:pt x="276" y="60"/>
                    </a:lnTo>
                    <a:lnTo>
                      <a:pt x="276" y="57"/>
                    </a:lnTo>
                    <a:lnTo>
                      <a:pt x="281" y="50"/>
                    </a:lnTo>
                    <a:lnTo>
                      <a:pt x="281" y="50"/>
                    </a:lnTo>
                    <a:lnTo>
                      <a:pt x="279" y="53"/>
                    </a:lnTo>
                    <a:lnTo>
                      <a:pt x="278" y="54"/>
                    </a:lnTo>
                    <a:lnTo>
                      <a:pt x="278" y="54"/>
                    </a:lnTo>
                    <a:lnTo>
                      <a:pt x="278" y="54"/>
                    </a:lnTo>
                    <a:lnTo>
                      <a:pt x="278" y="52"/>
                    </a:lnTo>
                    <a:lnTo>
                      <a:pt x="283" y="48"/>
                    </a:lnTo>
                    <a:lnTo>
                      <a:pt x="283" y="48"/>
                    </a:lnTo>
                    <a:lnTo>
                      <a:pt x="287" y="46"/>
                    </a:lnTo>
                    <a:lnTo>
                      <a:pt x="287" y="46"/>
                    </a:lnTo>
                    <a:lnTo>
                      <a:pt x="291" y="48"/>
                    </a:lnTo>
                    <a:lnTo>
                      <a:pt x="291" y="48"/>
                    </a:lnTo>
                    <a:lnTo>
                      <a:pt x="295" y="48"/>
                    </a:lnTo>
                    <a:lnTo>
                      <a:pt x="295" y="48"/>
                    </a:lnTo>
                    <a:lnTo>
                      <a:pt x="297" y="48"/>
                    </a:lnTo>
                    <a:lnTo>
                      <a:pt x="297" y="48"/>
                    </a:lnTo>
                    <a:lnTo>
                      <a:pt x="296" y="46"/>
                    </a:lnTo>
                    <a:lnTo>
                      <a:pt x="296" y="46"/>
                    </a:lnTo>
                    <a:lnTo>
                      <a:pt x="296" y="43"/>
                    </a:lnTo>
                    <a:lnTo>
                      <a:pt x="296" y="40"/>
                    </a:lnTo>
                    <a:lnTo>
                      <a:pt x="303" y="35"/>
                    </a:lnTo>
                    <a:lnTo>
                      <a:pt x="303" y="35"/>
                    </a:lnTo>
                    <a:lnTo>
                      <a:pt x="303" y="35"/>
                    </a:lnTo>
                    <a:lnTo>
                      <a:pt x="301" y="35"/>
                    </a:lnTo>
                    <a:lnTo>
                      <a:pt x="300" y="36"/>
                    </a:lnTo>
                    <a:lnTo>
                      <a:pt x="297" y="39"/>
                    </a:lnTo>
                    <a:lnTo>
                      <a:pt x="297" y="39"/>
                    </a:lnTo>
                    <a:lnTo>
                      <a:pt x="299" y="36"/>
                    </a:lnTo>
                    <a:lnTo>
                      <a:pt x="300" y="32"/>
                    </a:lnTo>
                    <a:lnTo>
                      <a:pt x="300" y="32"/>
                    </a:lnTo>
                    <a:lnTo>
                      <a:pt x="303" y="31"/>
                    </a:lnTo>
                    <a:lnTo>
                      <a:pt x="305" y="31"/>
                    </a:lnTo>
                    <a:lnTo>
                      <a:pt x="305" y="31"/>
                    </a:lnTo>
                    <a:lnTo>
                      <a:pt x="308" y="31"/>
                    </a:lnTo>
                    <a:lnTo>
                      <a:pt x="308" y="31"/>
                    </a:lnTo>
                    <a:lnTo>
                      <a:pt x="308" y="31"/>
                    </a:lnTo>
                    <a:lnTo>
                      <a:pt x="308" y="31"/>
                    </a:lnTo>
                    <a:lnTo>
                      <a:pt x="309" y="31"/>
                    </a:lnTo>
                    <a:lnTo>
                      <a:pt x="309" y="32"/>
                    </a:lnTo>
                    <a:lnTo>
                      <a:pt x="313" y="36"/>
                    </a:lnTo>
                    <a:lnTo>
                      <a:pt x="313" y="36"/>
                    </a:lnTo>
                    <a:lnTo>
                      <a:pt x="312" y="33"/>
                    </a:lnTo>
                    <a:lnTo>
                      <a:pt x="311" y="32"/>
                    </a:lnTo>
                    <a:lnTo>
                      <a:pt x="311" y="32"/>
                    </a:lnTo>
                    <a:lnTo>
                      <a:pt x="311" y="32"/>
                    </a:lnTo>
                    <a:lnTo>
                      <a:pt x="311" y="32"/>
                    </a:lnTo>
                    <a:lnTo>
                      <a:pt x="312" y="32"/>
                    </a:lnTo>
                    <a:lnTo>
                      <a:pt x="312" y="32"/>
                    </a:lnTo>
                    <a:lnTo>
                      <a:pt x="315" y="32"/>
                    </a:lnTo>
                    <a:lnTo>
                      <a:pt x="315" y="32"/>
                    </a:lnTo>
                    <a:lnTo>
                      <a:pt x="317" y="31"/>
                    </a:lnTo>
                    <a:lnTo>
                      <a:pt x="317" y="31"/>
                    </a:lnTo>
                    <a:lnTo>
                      <a:pt x="317" y="31"/>
                    </a:lnTo>
                    <a:lnTo>
                      <a:pt x="317" y="31"/>
                    </a:lnTo>
                    <a:lnTo>
                      <a:pt x="318" y="27"/>
                    </a:lnTo>
                    <a:lnTo>
                      <a:pt x="318" y="27"/>
                    </a:lnTo>
                    <a:lnTo>
                      <a:pt x="318" y="29"/>
                    </a:lnTo>
                    <a:lnTo>
                      <a:pt x="320" y="24"/>
                    </a:lnTo>
                    <a:lnTo>
                      <a:pt x="320" y="24"/>
                    </a:lnTo>
                    <a:lnTo>
                      <a:pt x="321" y="23"/>
                    </a:lnTo>
                    <a:lnTo>
                      <a:pt x="322" y="19"/>
                    </a:lnTo>
                    <a:lnTo>
                      <a:pt x="322" y="16"/>
                    </a:lnTo>
                    <a:lnTo>
                      <a:pt x="322" y="16"/>
                    </a:lnTo>
                    <a:lnTo>
                      <a:pt x="322" y="13"/>
                    </a:lnTo>
                    <a:lnTo>
                      <a:pt x="322" y="13"/>
                    </a:lnTo>
                    <a:lnTo>
                      <a:pt x="322" y="7"/>
                    </a:lnTo>
                    <a:lnTo>
                      <a:pt x="324" y="4"/>
                    </a:lnTo>
                    <a:lnTo>
                      <a:pt x="325" y="2"/>
                    </a:lnTo>
                    <a:lnTo>
                      <a:pt x="329" y="0"/>
                    </a:lnTo>
                    <a:lnTo>
                      <a:pt x="333" y="0"/>
                    </a:lnTo>
                    <a:lnTo>
                      <a:pt x="336" y="0"/>
                    </a:lnTo>
                    <a:lnTo>
                      <a:pt x="336" y="0"/>
                    </a:lnTo>
                    <a:lnTo>
                      <a:pt x="342" y="2"/>
                    </a:lnTo>
                    <a:lnTo>
                      <a:pt x="342" y="2"/>
                    </a:lnTo>
                    <a:lnTo>
                      <a:pt x="348" y="2"/>
                    </a:lnTo>
                    <a:lnTo>
                      <a:pt x="348" y="2"/>
                    </a:lnTo>
                    <a:lnTo>
                      <a:pt x="354" y="2"/>
                    </a:lnTo>
                    <a:lnTo>
                      <a:pt x="354" y="2"/>
                    </a:lnTo>
                    <a:lnTo>
                      <a:pt x="358" y="2"/>
                    </a:lnTo>
                    <a:lnTo>
                      <a:pt x="367" y="2"/>
                    </a:lnTo>
                    <a:lnTo>
                      <a:pt x="371" y="3"/>
                    </a:lnTo>
                    <a:lnTo>
                      <a:pt x="371" y="3"/>
                    </a:lnTo>
                    <a:lnTo>
                      <a:pt x="371" y="3"/>
                    </a:lnTo>
                    <a:lnTo>
                      <a:pt x="371" y="3"/>
                    </a:lnTo>
                    <a:lnTo>
                      <a:pt x="373" y="3"/>
                    </a:lnTo>
                    <a:lnTo>
                      <a:pt x="373" y="3"/>
                    </a:lnTo>
                    <a:lnTo>
                      <a:pt x="377" y="3"/>
                    </a:lnTo>
                    <a:lnTo>
                      <a:pt x="377" y="3"/>
                    </a:lnTo>
                    <a:lnTo>
                      <a:pt x="381" y="3"/>
                    </a:lnTo>
                    <a:lnTo>
                      <a:pt x="381" y="3"/>
                    </a:lnTo>
                    <a:lnTo>
                      <a:pt x="385" y="3"/>
                    </a:lnTo>
                    <a:lnTo>
                      <a:pt x="385" y="3"/>
                    </a:lnTo>
                    <a:lnTo>
                      <a:pt x="390" y="7"/>
                    </a:lnTo>
                    <a:lnTo>
                      <a:pt x="390" y="5"/>
                    </a:lnTo>
                    <a:lnTo>
                      <a:pt x="390" y="5"/>
                    </a:lnTo>
                    <a:lnTo>
                      <a:pt x="387" y="4"/>
                    </a:lnTo>
                    <a:lnTo>
                      <a:pt x="389" y="4"/>
                    </a:lnTo>
                    <a:lnTo>
                      <a:pt x="389" y="4"/>
                    </a:lnTo>
                    <a:lnTo>
                      <a:pt x="390" y="4"/>
                    </a:lnTo>
                    <a:lnTo>
                      <a:pt x="394" y="4"/>
                    </a:lnTo>
                    <a:lnTo>
                      <a:pt x="400" y="9"/>
                    </a:lnTo>
                    <a:lnTo>
                      <a:pt x="400" y="13"/>
                    </a:lnTo>
                    <a:lnTo>
                      <a:pt x="399" y="17"/>
                    </a:lnTo>
                    <a:lnTo>
                      <a:pt x="399" y="17"/>
                    </a:lnTo>
                    <a:lnTo>
                      <a:pt x="399" y="19"/>
                    </a:lnTo>
                    <a:lnTo>
                      <a:pt x="399" y="19"/>
                    </a:lnTo>
                    <a:lnTo>
                      <a:pt x="398" y="21"/>
                    </a:lnTo>
                    <a:lnTo>
                      <a:pt x="396" y="24"/>
                    </a:lnTo>
                    <a:lnTo>
                      <a:pt x="395" y="24"/>
                    </a:lnTo>
                    <a:lnTo>
                      <a:pt x="395" y="24"/>
                    </a:lnTo>
                    <a:lnTo>
                      <a:pt x="393" y="29"/>
                    </a:lnTo>
                    <a:lnTo>
                      <a:pt x="390" y="31"/>
                    </a:lnTo>
                    <a:lnTo>
                      <a:pt x="386" y="31"/>
                    </a:lnTo>
                    <a:lnTo>
                      <a:pt x="386" y="31"/>
                    </a:lnTo>
                    <a:lnTo>
                      <a:pt x="381" y="31"/>
                    </a:lnTo>
                    <a:lnTo>
                      <a:pt x="381" y="31"/>
                    </a:lnTo>
                    <a:lnTo>
                      <a:pt x="378" y="29"/>
                    </a:lnTo>
                    <a:lnTo>
                      <a:pt x="377" y="29"/>
                    </a:lnTo>
                    <a:lnTo>
                      <a:pt x="377" y="29"/>
                    </a:lnTo>
                    <a:lnTo>
                      <a:pt x="370" y="27"/>
                    </a:lnTo>
                    <a:lnTo>
                      <a:pt x="363" y="27"/>
                    </a:lnTo>
                    <a:lnTo>
                      <a:pt x="362" y="25"/>
                    </a:lnTo>
                    <a:lnTo>
                      <a:pt x="362" y="25"/>
                    </a:lnTo>
                    <a:lnTo>
                      <a:pt x="362" y="27"/>
                    </a:lnTo>
                    <a:lnTo>
                      <a:pt x="358" y="31"/>
                    </a:lnTo>
                    <a:lnTo>
                      <a:pt x="361" y="31"/>
                    </a:lnTo>
                    <a:lnTo>
                      <a:pt x="361" y="31"/>
                    </a:lnTo>
                    <a:lnTo>
                      <a:pt x="361" y="29"/>
                    </a:lnTo>
                    <a:lnTo>
                      <a:pt x="361" y="29"/>
                    </a:lnTo>
                    <a:lnTo>
                      <a:pt x="361" y="29"/>
                    </a:lnTo>
                    <a:lnTo>
                      <a:pt x="361" y="29"/>
                    </a:lnTo>
                    <a:lnTo>
                      <a:pt x="361" y="31"/>
                    </a:lnTo>
                    <a:lnTo>
                      <a:pt x="361" y="31"/>
                    </a:lnTo>
                    <a:lnTo>
                      <a:pt x="361" y="36"/>
                    </a:lnTo>
                    <a:lnTo>
                      <a:pt x="361" y="36"/>
                    </a:lnTo>
                    <a:lnTo>
                      <a:pt x="361" y="36"/>
                    </a:lnTo>
                    <a:lnTo>
                      <a:pt x="361" y="36"/>
                    </a:lnTo>
                    <a:lnTo>
                      <a:pt x="363" y="36"/>
                    </a:lnTo>
                    <a:lnTo>
                      <a:pt x="363" y="36"/>
                    </a:lnTo>
                    <a:lnTo>
                      <a:pt x="365" y="36"/>
                    </a:lnTo>
                    <a:lnTo>
                      <a:pt x="370" y="39"/>
                    </a:lnTo>
                    <a:lnTo>
                      <a:pt x="370" y="39"/>
                    </a:lnTo>
                    <a:lnTo>
                      <a:pt x="373" y="40"/>
                    </a:lnTo>
                    <a:lnTo>
                      <a:pt x="373" y="40"/>
                    </a:lnTo>
                    <a:lnTo>
                      <a:pt x="377" y="41"/>
                    </a:lnTo>
                    <a:lnTo>
                      <a:pt x="379" y="48"/>
                    </a:lnTo>
                    <a:lnTo>
                      <a:pt x="379" y="48"/>
                    </a:lnTo>
                    <a:lnTo>
                      <a:pt x="378" y="54"/>
                    </a:lnTo>
                    <a:lnTo>
                      <a:pt x="374" y="58"/>
                    </a:lnTo>
                    <a:lnTo>
                      <a:pt x="374" y="58"/>
                    </a:lnTo>
                    <a:lnTo>
                      <a:pt x="373" y="62"/>
                    </a:lnTo>
                    <a:lnTo>
                      <a:pt x="373" y="62"/>
                    </a:lnTo>
                    <a:lnTo>
                      <a:pt x="371" y="62"/>
                    </a:lnTo>
                    <a:lnTo>
                      <a:pt x="371" y="62"/>
                    </a:lnTo>
                    <a:lnTo>
                      <a:pt x="371" y="62"/>
                    </a:lnTo>
                    <a:lnTo>
                      <a:pt x="371" y="62"/>
                    </a:lnTo>
                    <a:lnTo>
                      <a:pt x="367" y="68"/>
                    </a:lnTo>
                    <a:lnTo>
                      <a:pt x="367" y="68"/>
                    </a:lnTo>
                    <a:lnTo>
                      <a:pt x="369" y="68"/>
                    </a:lnTo>
                    <a:lnTo>
                      <a:pt x="369" y="68"/>
                    </a:lnTo>
                    <a:lnTo>
                      <a:pt x="369" y="69"/>
                    </a:lnTo>
                    <a:lnTo>
                      <a:pt x="369" y="69"/>
                    </a:lnTo>
                    <a:lnTo>
                      <a:pt x="366" y="73"/>
                    </a:lnTo>
                    <a:lnTo>
                      <a:pt x="365" y="73"/>
                    </a:lnTo>
                    <a:lnTo>
                      <a:pt x="363" y="77"/>
                    </a:lnTo>
                    <a:lnTo>
                      <a:pt x="363" y="77"/>
                    </a:lnTo>
                    <a:lnTo>
                      <a:pt x="363" y="76"/>
                    </a:lnTo>
                    <a:lnTo>
                      <a:pt x="363" y="76"/>
                    </a:lnTo>
                    <a:lnTo>
                      <a:pt x="363" y="78"/>
                    </a:lnTo>
                    <a:lnTo>
                      <a:pt x="363" y="78"/>
                    </a:lnTo>
                    <a:lnTo>
                      <a:pt x="362" y="81"/>
                    </a:lnTo>
                    <a:lnTo>
                      <a:pt x="362" y="81"/>
                    </a:lnTo>
                    <a:lnTo>
                      <a:pt x="362" y="81"/>
                    </a:lnTo>
                    <a:lnTo>
                      <a:pt x="362" y="81"/>
                    </a:lnTo>
                    <a:lnTo>
                      <a:pt x="362" y="81"/>
                    </a:lnTo>
                    <a:lnTo>
                      <a:pt x="362" y="81"/>
                    </a:lnTo>
                    <a:lnTo>
                      <a:pt x="361" y="81"/>
                    </a:lnTo>
                    <a:lnTo>
                      <a:pt x="365" y="85"/>
                    </a:lnTo>
                    <a:lnTo>
                      <a:pt x="365" y="85"/>
                    </a:lnTo>
                    <a:lnTo>
                      <a:pt x="366" y="86"/>
                    </a:lnTo>
                    <a:lnTo>
                      <a:pt x="366" y="86"/>
                    </a:lnTo>
                    <a:lnTo>
                      <a:pt x="374" y="98"/>
                    </a:lnTo>
                    <a:lnTo>
                      <a:pt x="375" y="102"/>
                    </a:lnTo>
                    <a:lnTo>
                      <a:pt x="375" y="105"/>
                    </a:lnTo>
                    <a:lnTo>
                      <a:pt x="373" y="110"/>
                    </a:lnTo>
                    <a:lnTo>
                      <a:pt x="373" y="110"/>
                    </a:lnTo>
                    <a:lnTo>
                      <a:pt x="374" y="109"/>
                    </a:lnTo>
                    <a:lnTo>
                      <a:pt x="374" y="109"/>
                    </a:lnTo>
                    <a:lnTo>
                      <a:pt x="374" y="113"/>
                    </a:lnTo>
                    <a:lnTo>
                      <a:pt x="374" y="113"/>
                    </a:lnTo>
                    <a:lnTo>
                      <a:pt x="374" y="118"/>
                    </a:lnTo>
                    <a:lnTo>
                      <a:pt x="374" y="121"/>
                    </a:lnTo>
                    <a:lnTo>
                      <a:pt x="371" y="126"/>
                    </a:lnTo>
                    <a:lnTo>
                      <a:pt x="371" y="126"/>
                    </a:lnTo>
                    <a:lnTo>
                      <a:pt x="373" y="124"/>
                    </a:lnTo>
                    <a:lnTo>
                      <a:pt x="373" y="123"/>
                    </a:lnTo>
                    <a:lnTo>
                      <a:pt x="373" y="123"/>
                    </a:lnTo>
                    <a:lnTo>
                      <a:pt x="373" y="127"/>
                    </a:lnTo>
                    <a:lnTo>
                      <a:pt x="373" y="127"/>
                    </a:lnTo>
                    <a:lnTo>
                      <a:pt x="373" y="132"/>
                    </a:lnTo>
                    <a:lnTo>
                      <a:pt x="373" y="134"/>
                    </a:lnTo>
                    <a:lnTo>
                      <a:pt x="371" y="138"/>
                    </a:lnTo>
                    <a:lnTo>
                      <a:pt x="371" y="138"/>
                    </a:lnTo>
                    <a:lnTo>
                      <a:pt x="371" y="138"/>
                    </a:lnTo>
                    <a:lnTo>
                      <a:pt x="371" y="138"/>
                    </a:lnTo>
                    <a:lnTo>
                      <a:pt x="371" y="138"/>
                    </a:lnTo>
                    <a:lnTo>
                      <a:pt x="371" y="138"/>
                    </a:lnTo>
                    <a:lnTo>
                      <a:pt x="371" y="138"/>
                    </a:lnTo>
                    <a:lnTo>
                      <a:pt x="371" y="138"/>
                    </a:lnTo>
                    <a:lnTo>
                      <a:pt x="391" y="142"/>
                    </a:lnTo>
                    <a:lnTo>
                      <a:pt x="411" y="147"/>
                    </a:lnTo>
                    <a:lnTo>
                      <a:pt x="418" y="148"/>
                    </a:lnTo>
                    <a:lnTo>
                      <a:pt x="419" y="150"/>
                    </a:lnTo>
                    <a:lnTo>
                      <a:pt x="419" y="150"/>
                    </a:lnTo>
                    <a:lnTo>
                      <a:pt x="445" y="171"/>
                    </a:lnTo>
                    <a:lnTo>
                      <a:pt x="447" y="172"/>
                    </a:lnTo>
                    <a:lnTo>
                      <a:pt x="449" y="176"/>
                    </a:lnTo>
                    <a:lnTo>
                      <a:pt x="449" y="177"/>
                    </a:lnTo>
                    <a:lnTo>
                      <a:pt x="445" y="183"/>
                    </a:lnTo>
                    <a:lnTo>
                      <a:pt x="445" y="183"/>
                    </a:lnTo>
                    <a:lnTo>
                      <a:pt x="444" y="184"/>
                    </a:lnTo>
                    <a:lnTo>
                      <a:pt x="443" y="187"/>
                    </a:lnTo>
                    <a:lnTo>
                      <a:pt x="443" y="187"/>
                    </a:lnTo>
                    <a:lnTo>
                      <a:pt x="441" y="188"/>
                    </a:lnTo>
                    <a:lnTo>
                      <a:pt x="441" y="188"/>
                    </a:lnTo>
                    <a:lnTo>
                      <a:pt x="441" y="191"/>
                    </a:lnTo>
                    <a:lnTo>
                      <a:pt x="439" y="195"/>
                    </a:lnTo>
                    <a:lnTo>
                      <a:pt x="439" y="195"/>
                    </a:lnTo>
                    <a:lnTo>
                      <a:pt x="439" y="195"/>
                    </a:lnTo>
                    <a:lnTo>
                      <a:pt x="435" y="200"/>
                    </a:lnTo>
                    <a:lnTo>
                      <a:pt x="435" y="200"/>
                    </a:lnTo>
                    <a:lnTo>
                      <a:pt x="431" y="204"/>
                    </a:lnTo>
                    <a:lnTo>
                      <a:pt x="428" y="208"/>
                    </a:lnTo>
                    <a:lnTo>
                      <a:pt x="428" y="208"/>
                    </a:lnTo>
                    <a:lnTo>
                      <a:pt x="434" y="210"/>
                    </a:lnTo>
                    <a:lnTo>
                      <a:pt x="434" y="210"/>
                    </a:lnTo>
                    <a:lnTo>
                      <a:pt x="439" y="213"/>
                    </a:lnTo>
                    <a:lnTo>
                      <a:pt x="440" y="214"/>
                    </a:lnTo>
                    <a:lnTo>
                      <a:pt x="440" y="214"/>
                    </a:lnTo>
                    <a:lnTo>
                      <a:pt x="444" y="216"/>
                    </a:lnTo>
                    <a:lnTo>
                      <a:pt x="444" y="216"/>
                    </a:lnTo>
                    <a:lnTo>
                      <a:pt x="447" y="217"/>
                    </a:lnTo>
                    <a:lnTo>
                      <a:pt x="447" y="217"/>
                    </a:lnTo>
                    <a:lnTo>
                      <a:pt x="455" y="221"/>
                    </a:lnTo>
                    <a:lnTo>
                      <a:pt x="455" y="221"/>
                    </a:lnTo>
                    <a:lnTo>
                      <a:pt x="461" y="224"/>
                    </a:lnTo>
                    <a:lnTo>
                      <a:pt x="468" y="226"/>
                    </a:lnTo>
                    <a:lnTo>
                      <a:pt x="468" y="226"/>
                    </a:lnTo>
                    <a:lnTo>
                      <a:pt x="469" y="226"/>
                    </a:lnTo>
                    <a:lnTo>
                      <a:pt x="469" y="226"/>
                    </a:lnTo>
                    <a:lnTo>
                      <a:pt x="472" y="226"/>
                    </a:lnTo>
                    <a:lnTo>
                      <a:pt x="475" y="228"/>
                    </a:lnTo>
                    <a:lnTo>
                      <a:pt x="476" y="228"/>
                    </a:lnTo>
                    <a:lnTo>
                      <a:pt x="476" y="228"/>
                    </a:lnTo>
                    <a:lnTo>
                      <a:pt x="481" y="230"/>
                    </a:lnTo>
                    <a:lnTo>
                      <a:pt x="488" y="233"/>
                    </a:lnTo>
                    <a:lnTo>
                      <a:pt x="488" y="233"/>
                    </a:lnTo>
                    <a:lnTo>
                      <a:pt x="492" y="234"/>
                    </a:lnTo>
                    <a:lnTo>
                      <a:pt x="492" y="234"/>
                    </a:lnTo>
                    <a:lnTo>
                      <a:pt x="492" y="234"/>
                    </a:lnTo>
                    <a:lnTo>
                      <a:pt x="492" y="234"/>
                    </a:lnTo>
                    <a:lnTo>
                      <a:pt x="492" y="234"/>
                    </a:lnTo>
                    <a:lnTo>
                      <a:pt x="492" y="234"/>
                    </a:lnTo>
                    <a:lnTo>
                      <a:pt x="497" y="238"/>
                    </a:lnTo>
                    <a:lnTo>
                      <a:pt x="497" y="238"/>
                    </a:lnTo>
                    <a:lnTo>
                      <a:pt x="497" y="238"/>
                    </a:lnTo>
                    <a:lnTo>
                      <a:pt x="497" y="238"/>
                    </a:lnTo>
                    <a:lnTo>
                      <a:pt x="496" y="237"/>
                    </a:lnTo>
                    <a:lnTo>
                      <a:pt x="496" y="237"/>
                    </a:lnTo>
                    <a:lnTo>
                      <a:pt x="497" y="237"/>
                    </a:lnTo>
                    <a:lnTo>
                      <a:pt x="497" y="237"/>
                    </a:lnTo>
                    <a:lnTo>
                      <a:pt x="501" y="238"/>
                    </a:lnTo>
                    <a:lnTo>
                      <a:pt x="500" y="240"/>
                    </a:lnTo>
                    <a:lnTo>
                      <a:pt x="504" y="242"/>
                    </a:lnTo>
                    <a:lnTo>
                      <a:pt x="504" y="242"/>
                    </a:lnTo>
                    <a:lnTo>
                      <a:pt x="504" y="241"/>
                    </a:lnTo>
                    <a:lnTo>
                      <a:pt x="504" y="241"/>
                    </a:lnTo>
                    <a:lnTo>
                      <a:pt x="505" y="242"/>
                    </a:lnTo>
                    <a:lnTo>
                      <a:pt x="505" y="242"/>
                    </a:lnTo>
                    <a:lnTo>
                      <a:pt x="509" y="243"/>
                    </a:lnTo>
                    <a:lnTo>
                      <a:pt x="509" y="243"/>
                    </a:lnTo>
                    <a:lnTo>
                      <a:pt x="513" y="246"/>
                    </a:lnTo>
                    <a:lnTo>
                      <a:pt x="513" y="246"/>
                    </a:lnTo>
                    <a:lnTo>
                      <a:pt x="514" y="247"/>
                    </a:lnTo>
                    <a:lnTo>
                      <a:pt x="514" y="247"/>
                    </a:lnTo>
                    <a:lnTo>
                      <a:pt x="514" y="247"/>
                    </a:lnTo>
                    <a:lnTo>
                      <a:pt x="514" y="246"/>
                    </a:lnTo>
                    <a:lnTo>
                      <a:pt x="514" y="245"/>
                    </a:lnTo>
                    <a:lnTo>
                      <a:pt x="514" y="245"/>
                    </a:lnTo>
                    <a:lnTo>
                      <a:pt x="518" y="242"/>
                    </a:lnTo>
                    <a:lnTo>
                      <a:pt x="521" y="240"/>
                    </a:lnTo>
                    <a:lnTo>
                      <a:pt x="526" y="238"/>
                    </a:lnTo>
                    <a:lnTo>
                      <a:pt x="526" y="238"/>
                    </a:lnTo>
                    <a:lnTo>
                      <a:pt x="530" y="240"/>
                    </a:lnTo>
                    <a:lnTo>
                      <a:pt x="533" y="241"/>
                    </a:lnTo>
                    <a:lnTo>
                      <a:pt x="539" y="246"/>
                    </a:lnTo>
                    <a:lnTo>
                      <a:pt x="539" y="246"/>
                    </a:lnTo>
                    <a:lnTo>
                      <a:pt x="543" y="250"/>
                    </a:lnTo>
                    <a:lnTo>
                      <a:pt x="543" y="250"/>
                    </a:lnTo>
                    <a:lnTo>
                      <a:pt x="547" y="251"/>
                    </a:lnTo>
                    <a:lnTo>
                      <a:pt x="547" y="251"/>
                    </a:lnTo>
                    <a:lnTo>
                      <a:pt x="550" y="255"/>
                    </a:lnTo>
                    <a:lnTo>
                      <a:pt x="550" y="255"/>
                    </a:lnTo>
                    <a:lnTo>
                      <a:pt x="550" y="258"/>
                    </a:lnTo>
                    <a:lnTo>
                      <a:pt x="550" y="258"/>
                    </a:lnTo>
                    <a:lnTo>
                      <a:pt x="550" y="257"/>
                    </a:lnTo>
                    <a:lnTo>
                      <a:pt x="553" y="259"/>
                    </a:lnTo>
                    <a:lnTo>
                      <a:pt x="553" y="259"/>
                    </a:lnTo>
                    <a:lnTo>
                      <a:pt x="554" y="261"/>
                    </a:lnTo>
                    <a:lnTo>
                      <a:pt x="554" y="261"/>
                    </a:lnTo>
                    <a:lnTo>
                      <a:pt x="551" y="259"/>
                    </a:lnTo>
                    <a:lnTo>
                      <a:pt x="556" y="265"/>
                    </a:lnTo>
                    <a:lnTo>
                      <a:pt x="556" y="269"/>
                    </a:lnTo>
                    <a:lnTo>
                      <a:pt x="556" y="269"/>
                    </a:lnTo>
                    <a:lnTo>
                      <a:pt x="556" y="270"/>
                    </a:lnTo>
                    <a:lnTo>
                      <a:pt x="556" y="270"/>
                    </a:lnTo>
                    <a:lnTo>
                      <a:pt x="555" y="269"/>
                    </a:lnTo>
                    <a:lnTo>
                      <a:pt x="559" y="274"/>
                    </a:lnTo>
                    <a:lnTo>
                      <a:pt x="559" y="275"/>
                    </a:lnTo>
                    <a:lnTo>
                      <a:pt x="559" y="275"/>
                    </a:lnTo>
                    <a:lnTo>
                      <a:pt x="559" y="277"/>
                    </a:lnTo>
                    <a:lnTo>
                      <a:pt x="559" y="277"/>
                    </a:lnTo>
                    <a:lnTo>
                      <a:pt x="558" y="275"/>
                    </a:lnTo>
                    <a:lnTo>
                      <a:pt x="562" y="280"/>
                    </a:lnTo>
                    <a:lnTo>
                      <a:pt x="562" y="282"/>
                    </a:lnTo>
                    <a:lnTo>
                      <a:pt x="562" y="282"/>
                    </a:lnTo>
                    <a:lnTo>
                      <a:pt x="562" y="283"/>
                    </a:lnTo>
                    <a:lnTo>
                      <a:pt x="562" y="283"/>
                    </a:lnTo>
                    <a:lnTo>
                      <a:pt x="562" y="284"/>
                    </a:lnTo>
                    <a:lnTo>
                      <a:pt x="562" y="284"/>
                    </a:lnTo>
                    <a:lnTo>
                      <a:pt x="560" y="282"/>
                    </a:lnTo>
                    <a:lnTo>
                      <a:pt x="558" y="280"/>
                    </a:lnTo>
                    <a:lnTo>
                      <a:pt x="563" y="287"/>
                    </a:lnTo>
                    <a:lnTo>
                      <a:pt x="563" y="292"/>
                    </a:lnTo>
                    <a:lnTo>
                      <a:pt x="560" y="298"/>
                    </a:lnTo>
                    <a:lnTo>
                      <a:pt x="560" y="298"/>
                    </a:lnTo>
                    <a:lnTo>
                      <a:pt x="556" y="300"/>
                    </a:lnTo>
                    <a:lnTo>
                      <a:pt x="556" y="300"/>
                    </a:lnTo>
                    <a:lnTo>
                      <a:pt x="555" y="300"/>
                    </a:lnTo>
                    <a:lnTo>
                      <a:pt x="555" y="300"/>
                    </a:lnTo>
                    <a:lnTo>
                      <a:pt x="555" y="299"/>
                    </a:lnTo>
                    <a:lnTo>
                      <a:pt x="554" y="302"/>
                    </a:lnTo>
                    <a:lnTo>
                      <a:pt x="554" y="302"/>
                    </a:lnTo>
                    <a:lnTo>
                      <a:pt x="551" y="303"/>
                    </a:lnTo>
                    <a:lnTo>
                      <a:pt x="549" y="304"/>
                    </a:lnTo>
                    <a:lnTo>
                      <a:pt x="549" y="304"/>
                    </a:lnTo>
                    <a:lnTo>
                      <a:pt x="549" y="306"/>
                    </a:lnTo>
                    <a:lnTo>
                      <a:pt x="545" y="311"/>
                    </a:lnTo>
                    <a:lnTo>
                      <a:pt x="545" y="311"/>
                    </a:lnTo>
                    <a:lnTo>
                      <a:pt x="546" y="310"/>
                    </a:lnTo>
                    <a:lnTo>
                      <a:pt x="546" y="310"/>
                    </a:lnTo>
                    <a:lnTo>
                      <a:pt x="546" y="311"/>
                    </a:lnTo>
                    <a:lnTo>
                      <a:pt x="546" y="312"/>
                    </a:lnTo>
                    <a:lnTo>
                      <a:pt x="545" y="316"/>
                    </a:lnTo>
                    <a:lnTo>
                      <a:pt x="545" y="316"/>
                    </a:lnTo>
                    <a:lnTo>
                      <a:pt x="542" y="319"/>
                    </a:lnTo>
                    <a:lnTo>
                      <a:pt x="541" y="323"/>
                    </a:lnTo>
                    <a:lnTo>
                      <a:pt x="541" y="324"/>
                    </a:lnTo>
                    <a:lnTo>
                      <a:pt x="539" y="328"/>
                    </a:lnTo>
                    <a:lnTo>
                      <a:pt x="539" y="328"/>
                    </a:lnTo>
                    <a:lnTo>
                      <a:pt x="537" y="332"/>
                    </a:lnTo>
                    <a:lnTo>
                      <a:pt x="537" y="332"/>
                    </a:lnTo>
                    <a:lnTo>
                      <a:pt x="535" y="337"/>
                    </a:lnTo>
                    <a:lnTo>
                      <a:pt x="535" y="337"/>
                    </a:lnTo>
                    <a:lnTo>
                      <a:pt x="533" y="340"/>
                    </a:lnTo>
                    <a:lnTo>
                      <a:pt x="533" y="340"/>
                    </a:lnTo>
                    <a:lnTo>
                      <a:pt x="530" y="347"/>
                    </a:lnTo>
                    <a:lnTo>
                      <a:pt x="529" y="348"/>
                    </a:lnTo>
                    <a:lnTo>
                      <a:pt x="529" y="348"/>
                    </a:lnTo>
                    <a:lnTo>
                      <a:pt x="529" y="348"/>
                    </a:lnTo>
                    <a:lnTo>
                      <a:pt x="529" y="348"/>
                    </a:lnTo>
                    <a:lnTo>
                      <a:pt x="529" y="348"/>
                    </a:lnTo>
                    <a:lnTo>
                      <a:pt x="530" y="349"/>
                    </a:lnTo>
                    <a:lnTo>
                      <a:pt x="533" y="352"/>
                    </a:lnTo>
                    <a:lnTo>
                      <a:pt x="533" y="352"/>
                    </a:lnTo>
                    <a:lnTo>
                      <a:pt x="534" y="352"/>
                    </a:lnTo>
                    <a:lnTo>
                      <a:pt x="534" y="352"/>
                    </a:lnTo>
                    <a:lnTo>
                      <a:pt x="533" y="351"/>
                    </a:lnTo>
                    <a:lnTo>
                      <a:pt x="533" y="351"/>
                    </a:lnTo>
                    <a:lnTo>
                      <a:pt x="534" y="351"/>
                    </a:lnTo>
                    <a:lnTo>
                      <a:pt x="534" y="351"/>
                    </a:lnTo>
                    <a:lnTo>
                      <a:pt x="535" y="352"/>
                    </a:lnTo>
                    <a:lnTo>
                      <a:pt x="535" y="352"/>
                    </a:lnTo>
                    <a:lnTo>
                      <a:pt x="538" y="352"/>
                    </a:lnTo>
                    <a:lnTo>
                      <a:pt x="539" y="353"/>
                    </a:lnTo>
                    <a:lnTo>
                      <a:pt x="542" y="356"/>
                    </a:lnTo>
                    <a:lnTo>
                      <a:pt x="542" y="356"/>
                    </a:lnTo>
                    <a:lnTo>
                      <a:pt x="541" y="355"/>
                    </a:lnTo>
                    <a:lnTo>
                      <a:pt x="539" y="355"/>
                    </a:lnTo>
                    <a:lnTo>
                      <a:pt x="545" y="358"/>
                    </a:lnTo>
                    <a:lnTo>
                      <a:pt x="545" y="358"/>
                    </a:lnTo>
                    <a:lnTo>
                      <a:pt x="543" y="357"/>
                    </a:lnTo>
                    <a:lnTo>
                      <a:pt x="543" y="357"/>
                    </a:lnTo>
                    <a:lnTo>
                      <a:pt x="545" y="358"/>
                    </a:lnTo>
                    <a:lnTo>
                      <a:pt x="545" y="358"/>
                    </a:lnTo>
                    <a:lnTo>
                      <a:pt x="549" y="361"/>
                    </a:lnTo>
                    <a:lnTo>
                      <a:pt x="551" y="362"/>
                    </a:lnTo>
                    <a:lnTo>
                      <a:pt x="551" y="362"/>
                    </a:lnTo>
                    <a:lnTo>
                      <a:pt x="555" y="365"/>
                    </a:lnTo>
                    <a:lnTo>
                      <a:pt x="560" y="369"/>
                    </a:lnTo>
                    <a:lnTo>
                      <a:pt x="560" y="369"/>
                    </a:lnTo>
                    <a:lnTo>
                      <a:pt x="567" y="373"/>
                    </a:lnTo>
                    <a:lnTo>
                      <a:pt x="570" y="377"/>
                    </a:lnTo>
                    <a:lnTo>
                      <a:pt x="572" y="380"/>
                    </a:lnTo>
                    <a:lnTo>
                      <a:pt x="574" y="384"/>
                    </a:lnTo>
                    <a:lnTo>
                      <a:pt x="574" y="384"/>
                    </a:lnTo>
                    <a:lnTo>
                      <a:pt x="574" y="389"/>
                    </a:lnTo>
                    <a:lnTo>
                      <a:pt x="571" y="393"/>
                    </a:lnTo>
                    <a:lnTo>
                      <a:pt x="571" y="393"/>
                    </a:lnTo>
                    <a:lnTo>
                      <a:pt x="571" y="396"/>
                    </a:lnTo>
                    <a:lnTo>
                      <a:pt x="570" y="399"/>
                    </a:lnTo>
                    <a:lnTo>
                      <a:pt x="564" y="406"/>
                    </a:lnTo>
                    <a:lnTo>
                      <a:pt x="564" y="406"/>
                    </a:lnTo>
                    <a:lnTo>
                      <a:pt x="567" y="405"/>
                    </a:lnTo>
                    <a:lnTo>
                      <a:pt x="568" y="402"/>
                    </a:lnTo>
                    <a:lnTo>
                      <a:pt x="568" y="402"/>
                    </a:lnTo>
                    <a:lnTo>
                      <a:pt x="568" y="403"/>
                    </a:lnTo>
                    <a:lnTo>
                      <a:pt x="567" y="406"/>
                    </a:lnTo>
                    <a:lnTo>
                      <a:pt x="567" y="406"/>
                    </a:lnTo>
                    <a:lnTo>
                      <a:pt x="567" y="406"/>
                    </a:lnTo>
                    <a:lnTo>
                      <a:pt x="567" y="406"/>
                    </a:lnTo>
                    <a:lnTo>
                      <a:pt x="567" y="410"/>
                    </a:lnTo>
                    <a:lnTo>
                      <a:pt x="567" y="414"/>
                    </a:lnTo>
                    <a:lnTo>
                      <a:pt x="567" y="414"/>
                    </a:lnTo>
                    <a:lnTo>
                      <a:pt x="567" y="413"/>
                    </a:lnTo>
                    <a:lnTo>
                      <a:pt x="568" y="418"/>
                    </a:lnTo>
                    <a:lnTo>
                      <a:pt x="568" y="421"/>
                    </a:lnTo>
                    <a:lnTo>
                      <a:pt x="564" y="427"/>
                    </a:lnTo>
                    <a:lnTo>
                      <a:pt x="564" y="427"/>
                    </a:lnTo>
                    <a:lnTo>
                      <a:pt x="567" y="426"/>
                    </a:lnTo>
                    <a:lnTo>
                      <a:pt x="567" y="423"/>
                    </a:lnTo>
                    <a:lnTo>
                      <a:pt x="567" y="423"/>
                    </a:lnTo>
                    <a:lnTo>
                      <a:pt x="567" y="426"/>
                    </a:lnTo>
                    <a:lnTo>
                      <a:pt x="567" y="426"/>
                    </a:lnTo>
                    <a:lnTo>
                      <a:pt x="567" y="430"/>
                    </a:lnTo>
                    <a:lnTo>
                      <a:pt x="567" y="430"/>
                    </a:lnTo>
                    <a:lnTo>
                      <a:pt x="567" y="437"/>
                    </a:lnTo>
                    <a:lnTo>
                      <a:pt x="567" y="437"/>
                    </a:lnTo>
                    <a:lnTo>
                      <a:pt x="567" y="440"/>
                    </a:lnTo>
                    <a:lnTo>
                      <a:pt x="567" y="440"/>
                    </a:lnTo>
                    <a:lnTo>
                      <a:pt x="566" y="439"/>
                    </a:lnTo>
                    <a:lnTo>
                      <a:pt x="568" y="443"/>
                    </a:lnTo>
                    <a:lnTo>
                      <a:pt x="568" y="443"/>
                    </a:lnTo>
                    <a:lnTo>
                      <a:pt x="570" y="443"/>
                    </a:lnTo>
                    <a:lnTo>
                      <a:pt x="570" y="443"/>
                    </a:lnTo>
                    <a:lnTo>
                      <a:pt x="572" y="446"/>
                    </a:lnTo>
                    <a:lnTo>
                      <a:pt x="572" y="446"/>
                    </a:lnTo>
                    <a:lnTo>
                      <a:pt x="571" y="444"/>
                    </a:lnTo>
                    <a:lnTo>
                      <a:pt x="575" y="447"/>
                    </a:lnTo>
                    <a:lnTo>
                      <a:pt x="575" y="447"/>
                    </a:lnTo>
                    <a:lnTo>
                      <a:pt x="575" y="446"/>
                    </a:lnTo>
                    <a:lnTo>
                      <a:pt x="575" y="446"/>
                    </a:lnTo>
                    <a:lnTo>
                      <a:pt x="576" y="447"/>
                    </a:lnTo>
                    <a:lnTo>
                      <a:pt x="576" y="447"/>
                    </a:lnTo>
                    <a:lnTo>
                      <a:pt x="579" y="447"/>
                    </a:lnTo>
                    <a:lnTo>
                      <a:pt x="583" y="452"/>
                    </a:lnTo>
                    <a:lnTo>
                      <a:pt x="583" y="455"/>
                    </a:lnTo>
                    <a:lnTo>
                      <a:pt x="583" y="456"/>
                    </a:lnTo>
                    <a:lnTo>
                      <a:pt x="583" y="456"/>
                    </a:lnTo>
                    <a:lnTo>
                      <a:pt x="580" y="460"/>
                    </a:lnTo>
                    <a:lnTo>
                      <a:pt x="580" y="460"/>
                    </a:lnTo>
                    <a:lnTo>
                      <a:pt x="582" y="458"/>
                    </a:lnTo>
                    <a:lnTo>
                      <a:pt x="578" y="463"/>
                    </a:lnTo>
                    <a:lnTo>
                      <a:pt x="579" y="463"/>
                    </a:lnTo>
                    <a:lnTo>
                      <a:pt x="579" y="463"/>
                    </a:lnTo>
                    <a:lnTo>
                      <a:pt x="580" y="460"/>
                    </a:lnTo>
                    <a:lnTo>
                      <a:pt x="580" y="460"/>
                    </a:lnTo>
                    <a:lnTo>
                      <a:pt x="580" y="462"/>
                    </a:lnTo>
                    <a:lnTo>
                      <a:pt x="580" y="462"/>
                    </a:lnTo>
                    <a:lnTo>
                      <a:pt x="580" y="463"/>
                    </a:lnTo>
                    <a:lnTo>
                      <a:pt x="580" y="464"/>
                    </a:lnTo>
                    <a:lnTo>
                      <a:pt x="576" y="470"/>
                    </a:lnTo>
                    <a:lnTo>
                      <a:pt x="578" y="470"/>
                    </a:lnTo>
                    <a:lnTo>
                      <a:pt x="578" y="470"/>
                    </a:lnTo>
                    <a:lnTo>
                      <a:pt x="579" y="467"/>
                    </a:lnTo>
                    <a:lnTo>
                      <a:pt x="579" y="467"/>
                    </a:lnTo>
                    <a:lnTo>
                      <a:pt x="579" y="468"/>
                    </a:lnTo>
                    <a:lnTo>
                      <a:pt x="579" y="468"/>
                    </a:lnTo>
                    <a:lnTo>
                      <a:pt x="579" y="470"/>
                    </a:lnTo>
                    <a:lnTo>
                      <a:pt x="579" y="471"/>
                    </a:lnTo>
                    <a:lnTo>
                      <a:pt x="578" y="474"/>
                    </a:lnTo>
                    <a:lnTo>
                      <a:pt x="578" y="474"/>
                    </a:lnTo>
                    <a:lnTo>
                      <a:pt x="578" y="474"/>
                    </a:lnTo>
                    <a:lnTo>
                      <a:pt x="578" y="474"/>
                    </a:lnTo>
                    <a:lnTo>
                      <a:pt x="580" y="477"/>
                    </a:lnTo>
                    <a:lnTo>
                      <a:pt x="580" y="481"/>
                    </a:lnTo>
                    <a:lnTo>
                      <a:pt x="576" y="487"/>
                    </a:lnTo>
                    <a:lnTo>
                      <a:pt x="576" y="487"/>
                    </a:lnTo>
                    <a:lnTo>
                      <a:pt x="576" y="487"/>
                    </a:lnTo>
                    <a:lnTo>
                      <a:pt x="570" y="488"/>
                    </a:lnTo>
                    <a:lnTo>
                      <a:pt x="563" y="489"/>
                    </a:lnTo>
                    <a:lnTo>
                      <a:pt x="563" y="489"/>
                    </a:lnTo>
                    <a:lnTo>
                      <a:pt x="562" y="489"/>
                    </a:lnTo>
                    <a:lnTo>
                      <a:pt x="562" y="489"/>
                    </a:lnTo>
                    <a:lnTo>
                      <a:pt x="562" y="489"/>
                    </a:lnTo>
                    <a:lnTo>
                      <a:pt x="558" y="492"/>
                    </a:lnTo>
                    <a:lnTo>
                      <a:pt x="553" y="492"/>
                    </a:lnTo>
                    <a:lnTo>
                      <a:pt x="553" y="492"/>
                    </a:lnTo>
                    <a:lnTo>
                      <a:pt x="551" y="492"/>
                    </a:lnTo>
                    <a:lnTo>
                      <a:pt x="551" y="492"/>
                    </a:lnTo>
                    <a:lnTo>
                      <a:pt x="550" y="492"/>
                    </a:lnTo>
                    <a:lnTo>
                      <a:pt x="550" y="492"/>
                    </a:lnTo>
                    <a:lnTo>
                      <a:pt x="550" y="492"/>
                    </a:lnTo>
                    <a:lnTo>
                      <a:pt x="546" y="493"/>
                    </a:lnTo>
                    <a:lnTo>
                      <a:pt x="542" y="495"/>
                    </a:lnTo>
                    <a:lnTo>
                      <a:pt x="542" y="495"/>
                    </a:lnTo>
                    <a:lnTo>
                      <a:pt x="539" y="495"/>
                    </a:lnTo>
                    <a:lnTo>
                      <a:pt x="538" y="495"/>
                    </a:lnTo>
                    <a:lnTo>
                      <a:pt x="538" y="495"/>
                    </a:lnTo>
                    <a:lnTo>
                      <a:pt x="539" y="493"/>
                    </a:lnTo>
                    <a:lnTo>
                      <a:pt x="539" y="492"/>
                    </a:lnTo>
                    <a:lnTo>
                      <a:pt x="537" y="496"/>
                    </a:lnTo>
                    <a:lnTo>
                      <a:pt x="537" y="496"/>
                    </a:lnTo>
                    <a:lnTo>
                      <a:pt x="530" y="497"/>
                    </a:lnTo>
                    <a:lnTo>
                      <a:pt x="530" y="497"/>
                    </a:lnTo>
                    <a:lnTo>
                      <a:pt x="522" y="499"/>
                    </a:lnTo>
                    <a:lnTo>
                      <a:pt x="513" y="501"/>
                    </a:lnTo>
                    <a:lnTo>
                      <a:pt x="512" y="501"/>
                    </a:lnTo>
                    <a:lnTo>
                      <a:pt x="512" y="501"/>
                    </a:lnTo>
                    <a:lnTo>
                      <a:pt x="510" y="501"/>
                    </a:lnTo>
                    <a:lnTo>
                      <a:pt x="509" y="501"/>
                    </a:lnTo>
                    <a:lnTo>
                      <a:pt x="509" y="501"/>
                    </a:lnTo>
                    <a:lnTo>
                      <a:pt x="484" y="508"/>
                    </a:lnTo>
                    <a:lnTo>
                      <a:pt x="484" y="508"/>
                    </a:lnTo>
                    <a:lnTo>
                      <a:pt x="469" y="512"/>
                    </a:lnTo>
                    <a:lnTo>
                      <a:pt x="468" y="512"/>
                    </a:lnTo>
                    <a:lnTo>
                      <a:pt x="468" y="512"/>
                    </a:lnTo>
                    <a:lnTo>
                      <a:pt x="465" y="513"/>
                    </a:lnTo>
                    <a:lnTo>
                      <a:pt x="465" y="513"/>
                    </a:lnTo>
                    <a:lnTo>
                      <a:pt x="460" y="517"/>
                    </a:lnTo>
                    <a:lnTo>
                      <a:pt x="460" y="517"/>
                    </a:lnTo>
                    <a:lnTo>
                      <a:pt x="444" y="530"/>
                    </a:lnTo>
                    <a:lnTo>
                      <a:pt x="441" y="532"/>
                    </a:lnTo>
                    <a:lnTo>
                      <a:pt x="441" y="532"/>
                    </a:lnTo>
                    <a:lnTo>
                      <a:pt x="439" y="533"/>
                    </a:lnTo>
                    <a:lnTo>
                      <a:pt x="439" y="533"/>
                    </a:lnTo>
                    <a:lnTo>
                      <a:pt x="437" y="533"/>
                    </a:lnTo>
                    <a:lnTo>
                      <a:pt x="437" y="533"/>
                    </a:lnTo>
                    <a:lnTo>
                      <a:pt x="439" y="533"/>
                    </a:lnTo>
                    <a:lnTo>
                      <a:pt x="439" y="533"/>
                    </a:lnTo>
                    <a:lnTo>
                      <a:pt x="439" y="532"/>
                    </a:lnTo>
                    <a:lnTo>
                      <a:pt x="434" y="537"/>
                    </a:lnTo>
                    <a:lnTo>
                      <a:pt x="434" y="537"/>
                    </a:lnTo>
                    <a:lnTo>
                      <a:pt x="434" y="537"/>
                    </a:lnTo>
                    <a:lnTo>
                      <a:pt x="430" y="538"/>
                    </a:lnTo>
                    <a:lnTo>
                      <a:pt x="430" y="538"/>
                    </a:lnTo>
                    <a:lnTo>
                      <a:pt x="424" y="542"/>
                    </a:lnTo>
                    <a:lnTo>
                      <a:pt x="419" y="544"/>
                    </a:lnTo>
                    <a:lnTo>
                      <a:pt x="419" y="544"/>
                    </a:lnTo>
                    <a:lnTo>
                      <a:pt x="414" y="542"/>
                    </a:lnTo>
                    <a:lnTo>
                      <a:pt x="412" y="538"/>
                    </a:lnTo>
                    <a:lnTo>
                      <a:pt x="412" y="540"/>
                    </a:lnTo>
                    <a:lnTo>
                      <a:pt x="412" y="540"/>
                    </a:lnTo>
                    <a:lnTo>
                      <a:pt x="410" y="536"/>
                    </a:lnTo>
                    <a:lnTo>
                      <a:pt x="410" y="536"/>
                    </a:lnTo>
                    <a:lnTo>
                      <a:pt x="410" y="536"/>
                    </a:lnTo>
                    <a:lnTo>
                      <a:pt x="410" y="536"/>
                    </a:lnTo>
                    <a:lnTo>
                      <a:pt x="408" y="536"/>
                    </a:lnTo>
                    <a:lnTo>
                      <a:pt x="408" y="536"/>
                    </a:lnTo>
                    <a:lnTo>
                      <a:pt x="403" y="538"/>
                    </a:lnTo>
                    <a:lnTo>
                      <a:pt x="403" y="538"/>
                    </a:lnTo>
                    <a:lnTo>
                      <a:pt x="402" y="538"/>
                    </a:lnTo>
                    <a:lnTo>
                      <a:pt x="402" y="538"/>
                    </a:lnTo>
                    <a:lnTo>
                      <a:pt x="399" y="538"/>
                    </a:lnTo>
                    <a:lnTo>
                      <a:pt x="396" y="537"/>
                    </a:lnTo>
                    <a:lnTo>
                      <a:pt x="395" y="536"/>
                    </a:lnTo>
                    <a:lnTo>
                      <a:pt x="393" y="533"/>
                    </a:lnTo>
                    <a:lnTo>
                      <a:pt x="393" y="533"/>
                    </a:lnTo>
                    <a:lnTo>
                      <a:pt x="389" y="537"/>
                    </a:lnTo>
                    <a:lnTo>
                      <a:pt x="386" y="538"/>
                    </a:lnTo>
                    <a:lnTo>
                      <a:pt x="386" y="538"/>
                    </a:lnTo>
                    <a:lnTo>
                      <a:pt x="386" y="538"/>
                    </a:lnTo>
                    <a:lnTo>
                      <a:pt x="383" y="541"/>
                    </a:lnTo>
                    <a:lnTo>
                      <a:pt x="379" y="542"/>
                    </a:lnTo>
                    <a:lnTo>
                      <a:pt x="379" y="542"/>
                    </a:lnTo>
                    <a:lnTo>
                      <a:pt x="378" y="542"/>
                    </a:lnTo>
                    <a:lnTo>
                      <a:pt x="378" y="542"/>
                    </a:lnTo>
                    <a:lnTo>
                      <a:pt x="378" y="541"/>
                    </a:lnTo>
                    <a:lnTo>
                      <a:pt x="374" y="544"/>
                    </a:lnTo>
                    <a:lnTo>
                      <a:pt x="370" y="544"/>
                    </a:lnTo>
                    <a:lnTo>
                      <a:pt x="370" y="544"/>
                    </a:lnTo>
                    <a:lnTo>
                      <a:pt x="371" y="542"/>
                    </a:lnTo>
                    <a:lnTo>
                      <a:pt x="373" y="540"/>
                    </a:lnTo>
                    <a:lnTo>
                      <a:pt x="367" y="545"/>
                    </a:lnTo>
                    <a:lnTo>
                      <a:pt x="369" y="545"/>
                    </a:lnTo>
                    <a:lnTo>
                      <a:pt x="369" y="545"/>
                    </a:lnTo>
                    <a:lnTo>
                      <a:pt x="367" y="545"/>
                    </a:lnTo>
                    <a:lnTo>
                      <a:pt x="367" y="545"/>
                    </a:lnTo>
                    <a:lnTo>
                      <a:pt x="367" y="545"/>
                    </a:lnTo>
                    <a:lnTo>
                      <a:pt x="367" y="545"/>
                    </a:lnTo>
                    <a:lnTo>
                      <a:pt x="365" y="545"/>
                    </a:lnTo>
                    <a:lnTo>
                      <a:pt x="365" y="545"/>
                    </a:lnTo>
                    <a:lnTo>
                      <a:pt x="362" y="545"/>
                    </a:lnTo>
                    <a:lnTo>
                      <a:pt x="362" y="545"/>
                    </a:lnTo>
                    <a:lnTo>
                      <a:pt x="361" y="545"/>
                    </a:lnTo>
                    <a:lnTo>
                      <a:pt x="361" y="545"/>
                    </a:lnTo>
                    <a:lnTo>
                      <a:pt x="362" y="545"/>
                    </a:lnTo>
                    <a:lnTo>
                      <a:pt x="365" y="544"/>
                    </a:lnTo>
                    <a:lnTo>
                      <a:pt x="365" y="544"/>
                    </a:lnTo>
                    <a:lnTo>
                      <a:pt x="366" y="540"/>
                    </a:lnTo>
                    <a:lnTo>
                      <a:pt x="359" y="546"/>
                    </a:lnTo>
                    <a:lnTo>
                      <a:pt x="358" y="546"/>
                    </a:lnTo>
                    <a:lnTo>
                      <a:pt x="358" y="546"/>
                    </a:lnTo>
                    <a:lnTo>
                      <a:pt x="356" y="546"/>
                    </a:lnTo>
                    <a:lnTo>
                      <a:pt x="356" y="546"/>
                    </a:lnTo>
                    <a:lnTo>
                      <a:pt x="353" y="546"/>
                    </a:lnTo>
                    <a:lnTo>
                      <a:pt x="353" y="546"/>
                    </a:lnTo>
                    <a:lnTo>
                      <a:pt x="352" y="546"/>
                    </a:lnTo>
                    <a:lnTo>
                      <a:pt x="352" y="546"/>
                    </a:lnTo>
                    <a:lnTo>
                      <a:pt x="353" y="545"/>
                    </a:lnTo>
                    <a:lnTo>
                      <a:pt x="354" y="544"/>
                    </a:lnTo>
                    <a:lnTo>
                      <a:pt x="349" y="548"/>
                    </a:lnTo>
                    <a:lnTo>
                      <a:pt x="340" y="548"/>
                    </a:lnTo>
                    <a:lnTo>
                      <a:pt x="333" y="542"/>
                    </a:lnTo>
                    <a:lnTo>
                      <a:pt x="333" y="542"/>
                    </a:lnTo>
                    <a:lnTo>
                      <a:pt x="333" y="540"/>
                    </a:lnTo>
                    <a:lnTo>
                      <a:pt x="333" y="540"/>
                    </a:lnTo>
                    <a:lnTo>
                      <a:pt x="333" y="540"/>
                    </a:lnTo>
                    <a:lnTo>
                      <a:pt x="333" y="540"/>
                    </a:lnTo>
                    <a:lnTo>
                      <a:pt x="334" y="541"/>
                    </a:lnTo>
                    <a:lnTo>
                      <a:pt x="337" y="542"/>
                    </a:lnTo>
                    <a:lnTo>
                      <a:pt x="332" y="537"/>
                    </a:lnTo>
                    <a:lnTo>
                      <a:pt x="332" y="536"/>
                    </a:lnTo>
                    <a:lnTo>
                      <a:pt x="332" y="536"/>
                    </a:lnTo>
                    <a:lnTo>
                      <a:pt x="332" y="533"/>
                    </a:lnTo>
                    <a:lnTo>
                      <a:pt x="332" y="533"/>
                    </a:lnTo>
                    <a:lnTo>
                      <a:pt x="332" y="533"/>
                    </a:lnTo>
                    <a:lnTo>
                      <a:pt x="332" y="533"/>
                    </a:lnTo>
                    <a:lnTo>
                      <a:pt x="333" y="534"/>
                    </a:lnTo>
                    <a:lnTo>
                      <a:pt x="336" y="537"/>
                    </a:lnTo>
                    <a:lnTo>
                      <a:pt x="330" y="530"/>
                    </a:lnTo>
                    <a:lnTo>
                      <a:pt x="330" y="529"/>
                    </a:lnTo>
                    <a:lnTo>
                      <a:pt x="330" y="529"/>
                    </a:lnTo>
                    <a:lnTo>
                      <a:pt x="328" y="528"/>
                    </a:lnTo>
                    <a:lnTo>
                      <a:pt x="328" y="528"/>
                    </a:lnTo>
                    <a:lnTo>
                      <a:pt x="325" y="526"/>
                    </a:lnTo>
                    <a:lnTo>
                      <a:pt x="325" y="526"/>
                    </a:lnTo>
                    <a:lnTo>
                      <a:pt x="320" y="525"/>
                    </a:lnTo>
                    <a:lnTo>
                      <a:pt x="315" y="522"/>
                    </a:lnTo>
                    <a:lnTo>
                      <a:pt x="315" y="522"/>
                    </a:lnTo>
                    <a:lnTo>
                      <a:pt x="313" y="522"/>
                    </a:lnTo>
                    <a:lnTo>
                      <a:pt x="313" y="522"/>
                    </a:lnTo>
                    <a:lnTo>
                      <a:pt x="312" y="526"/>
                    </a:lnTo>
                    <a:lnTo>
                      <a:pt x="308" y="529"/>
                    </a:lnTo>
                    <a:lnTo>
                      <a:pt x="304" y="530"/>
                    </a:lnTo>
                    <a:lnTo>
                      <a:pt x="304" y="530"/>
                    </a:lnTo>
                    <a:lnTo>
                      <a:pt x="297" y="529"/>
                    </a:lnTo>
                    <a:lnTo>
                      <a:pt x="297" y="529"/>
                    </a:lnTo>
                    <a:lnTo>
                      <a:pt x="291" y="530"/>
                    </a:lnTo>
                    <a:lnTo>
                      <a:pt x="287" y="532"/>
                    </a:lnTo>
                    <a:lnTo>
                      <a:pt x="278" y="540"/>
                    </a:lnTo>
                    <a:lnTo>
                      <a:pt x="275" y="541"/>
                    </a:lnTo>
                    <a:lnTo>
                      <a:pt x="275" y="541"/>
                    </a:lnTo>
                    <a:lnTo>
                      <a:pt x="268" y="548"/>
                    </a:lnTo>
                    <a:lnTo>
                      <a:pt x="268" y="548"/>
                    </a:lnTo>
                    <a:lnTo>
                      <a:pt x="262" y="552"/>
                    </a:lnTo>
                    <a:lnTo>
                      <a:pt x="259" y="553"/>
                    </a:lnTo>
                    <a:lnTo>
                      <a:pt x="259" y="553"/>
                    </a:lnTo>
                    <a:lnTo>
                      <a:pt x="250" y="555"/>
                    </a:lnTo>
                    <a:lnTo>
                      <a:pt x="240" y="555"/>
                    </a:lnTo>
                    <a:lnTo>
                      <a:pt x="240" y="555"/>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38" name="Freeform 35">
                <a:extLst>
                  <a:ext uri="{FF2B5EF4-FFF2-40B4-BE49-F238E27FC236}">
                    <a16:creationId xmlns:a16="http://schemas.microsoft.com/office/drawing/2014/main" xmlns="" id="{F0D6AB37-4D8B-4E09-B44F-3DDDC8F9B557}"/>
                  </a:ext>
                </a:extLst>
              </p:cNvPr>
              <p:cNvSpPr>
                <a:spLocks/>
              </p:cNvSpPr>
              <p:nvPr/>
            </p:nvSpPr>
            <p:spPr bwMode="auto">
              <a:xfrm>
                <a:off x="1075924" y="3458183"/>
                <a:ext cx="2451432" cy="2282547"/>
              </a:xfrm>
              <a:custGeom>
                <a:avLst/>
                <a:gdLst>
                  <a:gd name="T0" fmla="*/ 933 w 1408"/>
                  <a:gd name="T1" fmla="*/ 1227 h 1311"/>
                  <a:gd name="T2" fmla="*/ 937 w 1408"/>
                  <a:gd name="T3" fmla="*/ 1149 h 1311"/>
                  <a:gd name="T4" fmla="*/ 949 w 1408"/>
                  <a:gd name="T5" fmla="*/ 1116 h 1311"/>
                  <a:gd name="T6" fmla="*/ 879 w 1408"/>
                  <a:gd name="T7" fmla="*/ 1161 h 1311"/>
                  <a:gd name="T8" fmla="*/ 817 w 1408"/>
                  <a:gd name="T9" fmla="*/ 1196 h 1311"/>
                  <a:gd name="T10" fmla="*/ 764 w 1408"/>
                  <a:gd name="T11" fmla="*/ 1152 h 1311"/>
                  <a:gd name="T12" fmla="*/ 776 w 1408"/>
                  <a:gd name="T13" fmla="*/ 1081 h 1311"/>
                  <a:gd name="T14" fmla="*/ 724 w 1408"/>
                  <a:gd name="T15" fmla="*/ 1036 h 1311"/>
                  <a:gd name="T16" fmla="*/ 678 w 1408"/>
                  <a:gd name="T17" fmla="*/ 992 h 1311"/>
                  <a:gd name="T18" fmla="*/ 669 w 1408"/>
                  <a:gd name="T19" fmla="*/ 933 h 1311"/>
                  <a:gd name="T20" fmla="*/ 637 w 1408"/>
                  <a:gd name="T21" fmla="*/ 830 h 1311"/>
                  <a:gd name="T22" fmla="*/ 634 w 1408"/>
                  <a:gd name="T23" fmla="*/ 731 h 1311"/>
                  <a:gd name="T24" fmla="*/ 568 w 1408"/>
                  <a:gd name="T25" fmla="*/ 674 h 1311"/>
                  <a:gd name="T26" fmla="*/ 525 w 1408"/>
                  <a:gd name="T27" fmla="*/ 660 h 1311"/>
                  <a:gd name="T28" fmla="*/ 460 w 1408"/>
                  <a:gd name="T29" fmla="*/ 750 h 1311"/>
                  <a:gd name="T30" fmla="*/ 411 w 1408"/>
                  <a:gd name="T31" fmla="*/ 776 h 1311"/>
                  <a:gd name="T32" fmla="*/ 353 w 1408"/>
                  <a:gd name="T33" fmla="*/ 842 h 1311"/>
                  <a:gd name="T34" fmla="*/ 302 w 1408"/>
                  <a:gd name="T35" fmla="*/ 755 h 1311"/>
                  <a:gd name="T36" fmla="*/ 243 w 1408"/>
                  <a:gd name="T37" fmla="*/ 653 h 1311"/>
                  <a:gd name="T38" fmla="*/ 206 w 1408"/>
                  <a:gd name="T39" fmla="*/ 574 h 1311"/>
                  <a:gd name="T40" fmla="*/ 178 w 1408"/>
                  <a:gd name="T41" fmla="*/ 501 h 1311"/>
                  <a:gd name="T42" fmla="*/ 149 w 1408"/>
                  <a:gd name="T43" fmla="*/ 418 h 1311"/>
                  <a:gd name="T44" fmla="*/ 103 w 1408"/>
                  <a:gd name="T45" fmla="*/ 313 h 1311"/>
                  <a:gd name="T46" fmla="*/ 38 w 1408"/>
                  <a:gd name="T47" fmla="*/ 223 h 1311"/>
                  <a:gd name="T48" fmla="*/ 13 w 1408"/>
                  <a:gd name="T49" fmla="*/ 152 h 1311"/>
                  <a:gd name="T50" fmla="*/ 80 w 1408"/>
                  <a:gd name="T51" fmla="*/ 98 h 1311"/>
                  <a:gd name="T52" fmla="*/ 100 w 1408"/>
                  <a:gd name="T53" fmla="*/ 32 h 1311"/>
                  <a:gd name="T54" fmla="*/ 154 w 1408"/>
                  <a:gd name="T55" fmla="*/ 3 h 1311"/>
                  <a:gd name="T56" fmla="*/ 232 w 1408"/>
                  <a:gd name="T57" fmla="*/ 100 h 1311"/>
                  <a:gd name="T58" fmla="*/ 242 w 1408"/>
                  <a:gd name="T59" fmla="*/ 165 h 1311"/>
                  <a:gd name="T60" fmla="*/ 239 w 1408"/>
                  <a:gd name="T61" fmla="*/ 181 h 1311"/>
                  <a:gd name="T62" fmla="*/ 287 w 1408"/>
                  <a:gd name="T63" fmla="*/ 188 h 1311"/>
                  <a:gd name="T64" fmla="*/ 366 w 1408"/>
                  <a:gd name="T65" fmla="*/ 192 h 1311"/>
                  <a:gd name="T66" fmla="*/ 484 w 1408"/>
                  <a:gd name="T67" fmla="*/ 217 h 1311"/>
                  <a:gd name="T68" fmla="*/ 551 w 1408"/>
                  <a:gd name="T69" fmla="*/ 196 h 1311"/>
                  <a:gd name="T70" fmla="*/ 642 w 1408"/>
                  <a:gd name="T71" fmla="*/ 225 h 1311"/>
                  <a:gd name="T72" fmla="*/ 681 w 1408"/>
                  <a:gd name="T73" fmla="*/ 196 h 1311"/>
                  <a:gd name="T74" fmla="*/ 732 w 1408"/>
                  <a:gd name="T75" fmla="*/ 152 h 1311"/>
                  <a:gd name="T76" fmla="*/ 807 w 1408"/>
                  <a:gd name="T77" fmla="*/ 209 h 1311"/>
                  <a:gd name="T78" fmla="*/ 770 w 1408"/>
                  <a:gd name="T79" fmla="*/ 284 h 1311"/>
                  <a:gd name="T80" fmla="*/ 801 w 1408"/>
                  <a:gd name="T81" fmla="*/ 342 h 1311"/>
                  <a:gd name="T82" fmla="*/ 776 w 1408"/>
                  <a:gd name="T83" fmla="*/ 431 h 1311"/>
                  <a:gd name="T84" fmla="*/ 831 w 1408"/>
                  <a:gd name="T85" fmla="*/ 448 h 1311"/>
                  <a:gd name="T86" fmla="*/ 909 w 1408"/>
                  <a:gd name="T87" fmla="*/ 418 h 1311"/>
                  <a:gd name="T88" fmla="*/ 967 w 1408"/>
                  <a:gd name="T89" fmla="*/ 390 h 1311"/>
                  <a:gd name="T90" fmla="*/ 1031 w 1408"/>
                  <a:gd name="T91" fmla="*/ 420 h 1311"/>
                  <a:gd name="T92" fmla="*/ 1051 w 1408"/>
                  <a:gd name="T93" fmla="*/ 492 h 1311"/>
                  <a:gd name="T94" fmla="*/ 1145 w 1408"/>
                  <a:gd name="T95" fmla="*/ 405 h 1311"/>
                  <a:gd name="T96" fmla="*/ 1163 w 1408"/>
                  <a:gd name="T97" fmla="*/ 517 h 1311"/>
                  <a:gd name="T98" fmla="*/ 1182 w 1408"/>
                  <a:gd name="T99" fmla="*/ 612 h 1311"/>
                  <a:gd name="T100" fmla="*/ 1232 w 1408"/>
                  <a:gd name="T101" fmla="*/ 706 h 1311"/>
                  <a:gd name="T102" fmla="*/ 1245 w 1408"/>
                  <a:gd name="T103" fmla="*/ 784 h 1311"/>
                  <a:gd name="T104" fmla="*/ 1272 w 1408"/>
                  <a:gd name="T105" fmla="*/ 813 h 1311"/>
                  <a:gd name="T106" fmla="*/ 1322 w 1408"/>
                  <a:gd name="T107" fmla="*/ 871 h 1311"/>
                  <a:gd name="T108" fmla="*/ 1346 w 1408"/>
                  <a:gd name="T109" fmla="*/ 896 h 1311"/>
                  <a:gd name="T110" fmla="*/ 1376 w 1408"/>
                  <a:gd name="T111" fmla="*/ 973 h 1311"/>
                  <a:gd name="T112" fmla="*/ 1387 w 1408"/>
                  <a:gd name="T113" fmla="*/ 1001 h 1311"/>
                  <a:gd name="T114" fmla="*/ 1372 w 1408"/>
                  <a:gd name="T115" fmla="*/ 1075 h 1311"/>
                  <a:gd name="T116" fmla="*/ 1309 w 1408"/>
                  <a:gd name="T117" fmla="*/ 1104 h 1311"/>
                  <a:gd name="T118" fmla="*/ 1240 w 1408"/>
                  <a:gd name="T119" fmla="*/ 1141 h 1311"/>
                  <a:gd name="T120" fmla="*/ 1170 w 1408"/>
                  <a:gd name="T121" fmla="*/ 1222 h 1311"/>
                  <a:gd name="T122" fmla="*/ 1096 w 1408"/>
                  <a:gd name="T123" fmla="*/ 1256 h 1311"/>
                  <a:gd name="T124" fmla="*/ 1036 w 1408"/>
                  <a:gd name="T125" fmla="*/ 1296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8" h="1311">
                    <a:moveTo>
                      <a:pt x="1010" y="1311"/>
                    </a:moveTo>
                    <a:lnTo>
                      <a:pt x="1004" y="1309"/>
                    </a:lnTo>
                    <a:lnTo>
                      <a:pt x="1004" y="1309"/>
                    </a:lnTo>
                    <a:lnTo>
                      <a:pt x="1003" y="1308"/>
                    </a:lnTo>
                    <a:lnTo>
                      <a:pt x="1003" y="1308"/>
                    </a:lnTo>
                    <a:lnTo>
                      <a:pt x="1001" y="1306"/>
                    </a:lnTo>
                    <a:lnTo>
                      <a:pt x="1001" y="1306"/>
                    </a:lnTo>
                    <a:lnTo>
                      <a:pt x="998" y="1305"/>
                    </a:lnTo>
                    <a:lnTo>
                      <a:pt x="998" y="1305"/>
                    </a:lnTo>
                    <a:lnTo>
                      <a:pt x="995" y="1301"/>
                    </a:lnTo>
                    <a:lnTo>
                      <a:pt x="995" y="1301"/>
                    </a:lnTo>
                    <a:lnTo>
                      <a:pt x="990" y="1297"/>
                    </a:lnTo>
                    <a:lnTo>
                      <a:pt x="987" y="1294"/>
                    </a:lnTo>
                    <a:lnTo>
                      <a:pt x="986" y="1290"/>
                    </a:lnTo>
                    <a:lnTo>
                      <a:pt x="986" y="1290"/>
                    </a:lnTo>
                    <a:lnTo>
                      <a:pt x="978" y="1281"/>
                    </a:lnTo>
                    <a:lnTo>
                      <a:pt x="978" y="1281"/>
                    </a:lnTo>
                    <a:lnTo>
                      <a:pt x="973" y="1274"/>
                    </a:lnTo>
                    <a:lnTo>
                      <a:pt x="973" y="1274"/>
                    </a:lnTo>
                    <a:lnTo>
                      <a:pt x="973" y="1274"/>
                    </a:lnTo>
                    <a:lnTo>
                      <a:pt x="973" y="1274"/>
                    </a:lnTo>
                    <a:lnTo>
                      <a:pt x="970" y="1274"/>
                    </a:lnTo>
                    <a:lnTo>
                      <a:pt x="970" y="1274"/>
                    </a:lnTo>
                    <a:lnTo>
                      <a:pt x="969" y="1274"/>
                    </a:lnTo>
                    <a:lnTo>
                      <a:pt x="969" y="1274"/>
                    </a:lnTo>
                    <a:lnTo>
                      <a:pt x="967" y="1274"/>
                    </a:lnTo>
                    <a:lnTo>
                      <a:pt x="967" y="1274"/>
                    </a:lnTo>
                    <a:lnTo>
                      <a:pt x="963" y="1273"/>
                    </a:lnTo>
                    <a:lnTo>
                      <a:pt x="960" y="1272"/>
                    </a:lnTo>
                    <a:lnTo>
                      <a:pt x="960" y="1272"/>
                    </a:lnTo>
                    <a:lnTo>
                      <a:pt x="952" y="1267"/>
                    </a:lnTo>
                    <a:lnTo>
                      <a:pt x="946" y="1260"/>
                    </a:lnTo>
                    <a:lnTo>
                      <a:pt x="945" y="1257"/>
                    </a:lnTo>
                    <a:lnTo>
                      <a:pt x="945" y="1256"/>
                    </a:lnTo>
                    <a:lnTo>
                      <a:pt x="948" y="1251"/>
                    </a:lnTo>
                    <a:lnTo>
                      <a:pt x="948" y="1251"/>
                    </a:lnTo>
                    <a:lnTo>
                      <a:pt x="946" y="1252"/>
                    </a:lnTo>
                    <a:lnTo>
                      <a:pt x="946" y="1252"/>
                    </a:lnTo>
                    <a:lnTo>
                      <a:pt x="946" y="1248"/>
                    </a:lnTo>
                    <a:lnTo>
                      <a:pt x="946" y="1244"/>
                    </a:lnTo>
                    <a:lnTo>
                      <a:pt x="946" y="1244"/>
                    </a:lnTo>
                    <a:lnTo>
                      <a:pt x="948" y="1244"/>
                    </a:lnTo>
                    <a:lnTo>
                      <a:pt x="945" y="1240"/>
                    </a:lnTo>
                    <a:lnTo>
                      <a:pt x="945" y="1239"/>
                    </a:lnTo>
                    <a:lnTo>
                      <a:pt x="945" y="1239"/>
                    </a:lnTo>
                    <a:lnTo>
                      <a:pt x="945" y="1237"/>
                    </a:lnTo>
                    <a:lnTo>
                      <a:pt x="944" y="1237"/>
                    </a:lnTo>
                    <a:lnTo>
                      <a:pt x="944" y="1236"/>
                    </a:lnTo>
                    <a:lnTo>
                      <a:pt x="940" y="1235"/>
                    </a:lnTo>
                    <a:lnTo>
                      <a:pt x="940" y="1235"/>
                    </a:lnTo>
                    <a:lnTo>
                      <a:pt x="938" y="1233"/>
                    </a:lnTo>
                    <a:lnTo>
                      <a:pt x="938" y="1233"/>
                    </a:lnTo>
                    <a:lnTo>
                      <a:pt x="936" y="1231"/>
                    </a:lnTo>
                    <a:lnTo>
                      <a:pt x="933" y="1227"/>
                    </a:lnTo>
                    <a:lnTo>
                      <a:pt x="933" y="1227"/>
                    </a:lnTo>
                    <a:lnTo>
                      <a:pt x="932" y="1224"/>
                    </a:lnTo>
                    <a:lnTo>
                      <a:pt x="932" y="1220"/>
                    </a:lnTo>
                    <a:lnTo>
                      <a:pt x="932" y="1220"/>
                    </a:lnTo>
                    <a:lnTo>
                      <a:pt x="930" y="1216"/>
                    </a:lnTo>
                    <a:lnTo>
                      <a:pt x="928" y="1214"/>
                    </a:lnTo>
                    <a:lnTo>
                      <a:pt x="926" y="1210"/>
                    </a:lnTo>
                    <a:lnTo>
                      <a:pt x="926" y="1208"/>
                    </a:lnTo>
                    <a:lnTo>
                      <a:pt x="930" y="1203"/>
                    </a:lnTo>
                    <a:lnTo>
                      <a:pt x="930" y="1203"/>
                    </a:lnTo>
                    <a:lnTo>
                      <a:pt x="928" y="1204"/>
                    </a:lnTo>
                    <a:lnTo>
                      <a:pt x="928" y="1206"/>
                    </a:lnTo>
                    <a:lnTo>
                      <a:pt x="928" y="1206"/>
                    </a:lnTo>
                    <a:lnTo>
                      <a:pt x="928" y="1204"/>
                    </a:lnTo>
                    <a:lnTo>
                      <a:pt x="928" y="1204"/>
                    </a:lnTo>
                    <a:lnTo>
                      <a:pt x="926" y="1202"/>
                    </a:lnTo>
                    <a:lnTo>
                      <a:pt x="926" y="1202"/>
                    </a:lnTo>
                    <a:lnTo>
                      <a:pt x="923" y="1189"/>
                    </a:lnTo>
                    <a:lnTo>
                      <a:pt x="923" y="1189"/>
                    </a:lnTo>
                    <a:lnTo>
                      <a:pt x="921" y="1185"/>
                    </a:lnTo>
                    <a:lnTo>
                      <a:pt x="921" y="1185"/>
                    </a:lnTo>
                    <a:lnTo>
                      <a:pt x="921" y="1185"/>
                    </a:lnTo>
                    <a:lnTo>
                      <a:pt x="923" y="1186"/>
                    </a:lnTo>
                    <a:lnTo>
                      <a:pt x="923" y="1186"/>
                    </a:lnTo>
                    <a:lnTo>
                      <a:pt x="924" y="1187"/>
                    </a:lnTo>
                    <a:lnTo>
                      <a:pt x="925" y="1187"/>
                    </a:lnTo>
                    <a:lnTo>
                      <a:pt x="921" y="1183"/>
                    </a:lnTo>
                    <a:lnTo>
                      <a:pt x="921" y="1182"/>
                    </a:lnTo>
                    <a:lnTo>
                      <a:pt x="921" y="1182"/>
                    </a:lnTo>
                    <a:lnTo>
                      <a:pt x="921" y="1183"/>
                    </a:lnTo>
                    <a:lnTo>
                      <a:pt x="920" y="1182"/>
                    </a:lnTo>
                    <a:lnTo>
                      <a:pt x="920" y="1177"/>
                    </a:lnTo>
                    <a:lnTo>
                      <a:pt x="920" y="1177"/>
                    </a:lnTo>
                    <a:lnTo>
                      <a:pt x="920" y="1175"/>
                    </a:lnTo>
                    <a:lnTo>
                      <a:pt x="920" y="1175"/>
                    </a:lnTo>
                    <a:lnTo>
                      <a:pt x="920" y="1174"/>
                    </a:lnTo>
                    <a:lnTo>
                      <a:pt x="920" y="1174"/>
                    </a:lnTo>
                    <a:lnTo>
                      <a:pt x="921" y="1177"/>
                    </a:lnTo>
                    <a:lnTo>
                      <a:pt x="924" y="1178"/>
                    </a:lnTo>
                    <a:lnTo>
                      <a:pt x="919" y="1171"/>
                    </a:lnTo>
                    <a:lnTo>
                      <a:pt x="919" y="1169"/>
                    </a:lnTo>
                    <a:lnTo>
                      <a:pt x="923" y="1163"/>
                    </a:lnTo>
                    <a:lnTo>
                      <a:pt x="923" y="1163"/>
                    </a:lnTo>
                    <a:lnTo>
                      <a:pt x="925" y="1163"/>
                    </a:lnTo>
                    <a:lnTo>
                      <a:pt x="925" y="1163"/>
                    </a:lnTo>
                    <a:lnTo>
                      <a:pt x="929" y="1163"/>
                    </a:lnTo>
                    <a:lnTo>
                      <a:pt x="930" y="1165"/>
                    </a:lnTo>
                    <a:lnTo>
                      <a:pt x="930" y="1165"/>
                    </a:lnTo>
                    <a:lnTo>
                      <a:pt x="930" y="1165"/>
                    </a:lnTo>
                    <a:lnTo>
                      <a:pt x="937" y="1158"/>
                    </a:lnTo>
                    <a:lnTo>
                      <a:pt x="937" y="1157"/>
                    </a:lnTo>
                    <a:lnTo>
                      <a:pt x="937" y="1154"/>
                    </a:lnTo>
                    <a:lnTo>
                      <a:pt x="937" y="1152"/>
                    </a:lnTo>
                    <a:lnTo>
                      <a:pt x="937" y="1149"/>
                    </a:lnTo>
                    <a:lnTo>
                      <a:pt x="940" y="1144"/>
                    </a:lnTo>
                    <a:lnTo>
                      <a:pt x="940" y="1144"/>
                    </a:lnTo>
                    <a:lnTo>
                      <a:pt x="941" y="1142"/>
                    </a:lnTo>
                    <a:lnTo>
                      <a:pt x="944" y="1140"/>
                    </a:lnTo>
                    <a:lnTo>
                      <a:pt x="944" y="1140"/>
                    </a:lnTo>
                    <a:lnTo>
                      <a:pt x="946" y="1134"/>
                    </a:lnTo>
                    <a:lnTo>
                      <a:pt x="952" y="1133"/>
                    </a:lnTo>
                    <a:lnTo>
                      <a:pt x="954" y="1133"/>
                    </a:lnTo>
                    <a:lnTo>
                      <a:pt x="957" y="1134"/>
                    </a:lnTo>
                    <a:lnTo>
                      <a:pt x="957" y="1134"/>
                    </a:lnTo>
                    <a:lnTo>
                      <a:pt x="957" y="1134"/>
                    </a:lnTo>
                    <a:lnTo>
                      <a:pt x="957" y="1134"/>
                    </a:lnTo>
                    <a:lnTo>
                      <a:pt x="957" y="1134"/>
                    </a:lnTo>
                    <a:lnTo>
                      <a:pt x="957" y="1134"/>
                    </a:lnTo>
                    <a:lnTo>
                      <a:pt x="957" y="1134"/>
                    </a:lnTo>
                    <a:lnTo>
                      <a:pt x="957" y="1134"/>
                    </a:lnTo>
                    <a:lnTo>
                      <a:pt x="957" y="1134"/>
                    </a:lnTo>
                    <a:lnTo>
                      <a:pt x="957" y="1134"/>
                    </a:lnTo>
                    <a:lnTo>
                      <a:pt x="957" y="1133"/>
                    </a:lnTo>
                    <a:lnTo>
                      <a:pt x="957" y="1133"/>
                    </a:lnTo>
                    <a:lnTo>
                      <a:pt x="957" y="1134"/>
                    </a:lnTo>
                    <a:lnTo>
                      <a:pt x="957" y="1134"/>
                    </a:lnTo>
                    <a:lnTo>
                      <a:pt x="958" y="1133"/>
                    </a:lnTo>
                    <a:lnTo>
                      <a:pt x="956" y="1132"/>
                    </a:lnTo>
                    <a:lnTo>
                      <a:pt x="956" y="1129"/>
                    </a:lnTo>
                    <a:lnTo>
                      <a:pt x="956" y="1129"/>
                    </a:lnTo>
                    <a:lnTo>
                      <a:pt x="956" y="1125"/>
                    </a:lnTo>
                    <a:lnTo>
                      <a:pt x="956" y="1125"/>
                    </a:lnTo>
                    <a:lnTo>
                      <a:pt x="956" y="1124"/>
                    </a:lnTo>
                    <a:lnTo>
                      <a:pt x="956" y="1124"/>
                    </a:lnTo>
                    <a:lnTo>
                      <a:pt x="957" y="1126"/>
                    </a:lnTo>
                    <a:lnTo>
                      <a:pt x="957" y="1126"/>
                    </a:lnTo>
                    <a:lnTo>
                      <a:pt x="961" y="1128"/>
                    </a:lnTo>
                    <a:lnTo>
                      <a:pt x="954" y="1122"/>
                    </a:lnTo>
                    <a:lnTo>
                      <a:pt x="954" y="1120"/>
                    </a:lnTo>
                    <a:lnTo>
                      <a:pt x="954" y="1120"/>
                    </a:lnTo>
                    <a:lnTo>
                      <a:pt x="954" y="1118"/>
                    </a:lnTo>
                    <a:lnTo>
                      <a:pt x="954" y="1118"/>
                    </a:lnTo>
                    <a:lnTo>
                      <a:pt x="954" y="1117"/>
                    </a:lnTo>
                    <a:lnTo>
                      <a:pt x="954" y="1117"/>
                    </a:lnTo>
                    <a:lnTo>
                      <a:pt x="956" y="1118"/>
                    </a:lnTo>
                    <a:lnTo>
                      <a:pt x="958" y="1121"/>
                    </a:lnTo>
                    <a:lnTo>
                      <a:pt x="954" y="1116"/>
                    </a:lnTo>
                    <a:lnTo>
                      <a:pt x="954" y="1116"/>
                    </a:lnTo>
                    <a:lnTo>
                      <a:pt x="953" y="1116"/>
                    </a:lnTo>
                    <a:lnTo>
                      <a:pt x="953" y="1116"/>
                    </a:lnTo>
                    <a:lnTo>
                      <a:pt x="954" y="1116"/>
                    </a:lnTo>
                    <a:lnTo>
                      <a:pt x="954" y="1116"/>
                    </a:lnTo>
                    <a:lnTo>
                      <a:pt x="953" y="1116"/>
                    </a:lnTo>
                    <a:lnTo>
                      <a:pt x="953" y="1116"/>
                    </a:lnTo>
                    <a:lnTo>
                      <a:pt x="952" y="1116"/>
                    </a:lnTo>
                    <a:lnTo>
                      <a:pt x="952" y="1116"/>
                    </a:lnTo>
                    <a:lnTo>
                      <a:pt x="949" y="1116"/>
                    </a:lnTo>
                    <a:lnTo>
                      <a:pt x="949" y="1116"/>
                    </a:lnTo>
                    <a:lnTo>
                      <a:pt x="950" y="1113"/>
                    </a:lnTo>
                    <a:lnTo>
                      <a:pt x="945" y="1117"/>
                    </a:lnTo>
                    <a:lnTo>
                      <a:pt x="944" y="1117"/>
                    </a:lnTo>
                    <a:lnTo>
                      <a:pt x="937" y="1111"/>
                    </a:lnTo>
                    <a:lnTo>
                      <a:pt x="937" y="1105"/>
                    </a:lnTo>
                    <a:lnTo>
                      <a:pt x="937" y="1105"/>
                    </a:lnTo>
                    <a:lnTo>
                      <a:pt x="934" y="1105"/>
                    </a:lnTo>
                    <a:lnTo>
                      <a:pt x="932" y="1108"/>
                    </a:lnTo>
                    <a:lnTo>
                      <a:pt x="929" y="1109"/>
                    </a:lnTo>
                    <a:lnTo>
                      <a:pt x="928" y="1113"/>
                    </a:lnTo>
                    <a:lnTo>
                      <a:pt x="926" y="1113"/>
                    </a:lnTo>
                    <a:lnTo>
                      <a:pt x="923" y="1118"/>
                    </a:lnTo>
                    <a:lnTo>
                      <a:pt x="923" y="1118"/>
                    </a:lnTo>
                    <a:lnTo>
                      <a:pt x="925" y="1117"/>
                    </a:lnTo>
                    <a:lnTo>
                      <a:pt x="926" y="1114"/>
                    </a:lnTo>
                    <a:lnTo>
                      <a:pt x="926" y="1116"/>
                    </a:lnTo>
                    <a:lnTo>
                      <a:pt x="926" y="1116"/>
                    </a:lnTo>
                    <a:lnTo>
                      <a:pt x="925" y="1118"/>
                    </a:lnTo>
                    <a:lnTo>
                      <a:pt x="924" y="1121"/>
                    </a:lnTo>
                    <a:lnTo>
                      <a:pt x="923" y="1122"/>
                    </a:lnTo>
                    <a:lnTo>
                      <a:pt x="920" y="1124"/>
                    </a:lnTo>
                    <a:lnTo>
                      <a:pt x="920" y="1124"/>
                    </a:lnTo>
                    <a:lnTo>
                      <a:pt x="919" y="1124"/>
                    </a:lnTo>
                    <a:lnTo>
                      <a:pt x="919" y="1124"/>
                    </a:lnTo>
                    <a:lnTo>
                      <a:pt x="920" y="1122"/>
                    </a:lnTo>
                    <a:lnTo>
                      <a:pt x="921" y="1120"/>
                    </a:lnTo>
                    <a:lnTo>
                      <a:pt x="916" y="1125"/>
                    </a:lnTo>
                    <a:lnTo>
                      <a:pt x="915" y="1125"/>
                    </a:lnTo>
                    <a:lnTo>
                      <a:pt x="915" y="1125"/>
                    </a:lnTo>
                    <a:lnTo>
                      <a:pt x="915" y="1128"/>
                    </a:lnTo>
                    <a:lnTo>
                      <a:pt x="913" y="1130"/>
                    </a:lnTo>
                    <a:lnTo>
                      <a:pt x="913" y="1130"/>
                    </a:lnTo>
                    <a:lnTo>
                      <a:pt x="913" y="1132"/>
                    </a:lnTo>
                    <a:lnTo>
                      <a:pt x="907" y="1137"/>
                    </a:lnTo>
                    <a:lnTo>
                      <a:pt x="907" y="1138"/>
                    </a:lnTo>
                    <a:lnTo>
                      <a:pt x="907" y="1138"/>
                    </a:lnTo>
                    <a:lnTo>
                      <a:pt x="909" y="1138"/>
                    </a:lnTo>
                    <a:lnTo>
                      <a:pt x="911" y="1137"/>
                    </a:lnTo>
                    <a:lnTo>
                      <a:pt x="909" y="1138"/>
                    </a:lnTo>
                    <a:lnTo>
                      <a:pt x="909" y="1138"/>
                    </a:lnTo>
                    <a:lnTo>
                      <a:pt x="903" y="1145"/>
                    </a:lnTo>
                    <a:lnTo>
                      <a:pt x="903" y="1145"/>
                    </a:lnTo>
                    <a:lnTo>
                      <a:pt x="897" y="1150"/>
                    </a:lnTo>
                    <a:lnTo>
                      <a:pt x="896" y="1152"/>
                    </a:lnTo>
                    <a:lnTo>
                      <a:pt x="896" y="1152"/>
                    </a:lnTo>
                    <a:lnTo>
                      <a:pt x="893" y="1154"/>
                    </a:lnTo>
                    <a:lnTo>
                      <a:pt x="892" y="1155"/>
                    </a:lnTo>
                    <a:lnTo>
                      <a:pt x="892" y="1155"/>
                    </a:lnTo>
                    <a:lnTo>
                      <a:pt x="889" y="1158"/>
                    </a:lnTo>
                    <a:lnTo>
                      <a:pt x="887" y="1159"/>
                    </a:lnTo>
                    <a:lnTo>
                      <a:pt x="887" y="1159"/>
                    </a:lnTo>
                    <a:lnTo>
                      <a:pt x="885" y="1159"/>
                    </a:lnTo>
                    <a:lnTo>
                      <a:pt x="882" y="1161"/>
                    </a:lnTo>
                    <a:lnTo>
                      <a:pt x="879" y="1161"/>
                    </a:lnTo>
                    <a:lnTo>
                      <a:pt x="879" y="1161"/>
                    </a:lnTo>
                    <a:lnTo>
                      <a:pt x="876" y="1161"/>
                    </a:lnTo>
                    <a:lnTo>
                      <a:pt x="876" y="1161"/>
                    </a:lnTo>
                    <a:lnTo>
                      <a:pt x="876" y="1161"/>
                    </a:lnTo>
                    <a:lnTo>
                      <a:pt x="876" y="1161"/>
                    </a:lnTo>
                    <a:lnTo>
                      <a:pt x="871" y="1161"/>
                    </a:lnTo>
                    <a:lnTo>
                      <a:pt x="868" y="1161"/>
                    </a:lnTo>
                    <a:lnTo>
                      <a:pt x="866" y="1158"/>
                    </a:lnTo>
                    <a:lnTo>
                      <a:pt x="863" y="1158"/>
                    </a:lnTo>
                    <a:lnTo>
                      <a:pt x="859" y="1155"/>
                    </a:lnTo>
                    <a:lnTo>
                      <a:pt x="859" y="1157"/>
                    </a:lnTo>
                    <a:lnTo>
                      <a:pt x="859" y="1157"/>
                    </a:lnTo>
                    <a:lnTo>
                      <a:pt x="859" y="1157"/>
                    </a:lnTo>
                    <a:lnTo>
                      <a:pt x="859" y="1157"/>
                    </a:lnTo>
                    <a:lnTo>
                      <a:pt x="860" y="1158"/>
                    </a:lnTo>
                    <a:lnTo>
                      <a:pt x="859" y="1157"/>
                    </a:lnTo>
                    <a:lnTo>
                      <a:pt x="859" y="1157"/>
                    </a:lnTo>
                    <a:lnTo>
                      <a:pt x="858" y="1159"/>
                    </a:lnTo>
                    <a:lnTo>
                      <a:pt x="858" y="1159"/>
                    </a:lnTo>
                    <a:lnTo>
                      <a:pt x="856" y="1163"/>
                    </a:lnTo>
                    <a:lnTo>
                      <a:pt x="854" y="1167"/>
                    </a:lnTo>
                    <a:lnTo>
                      <a:pt x="850" y="1169"/>
                    </a:lnTo>
                    <a:lnTo>
                      <a:pt x="850" y="1169"/>
                    </a:lnTo>
                    <a:lnTo>
                      <a:pt x="848" y="1169"/>
                    </a:lnTo>
                    <a:lnTo>
                      <a:pt x="848" y="1169"/>
                    </a:lnTo>
                    <a:lnTo>
                      <a:pt x="843" y="1167"/>
                    </a:lnTo>
                    <a:lnTo>
                      <a:pt x="841" y="1166"/>
                    </a:lnTo>
                    <a:lnTo>
                      <a:pt x="841" y="1166"/>
                    </a:lnTo>
                    <a:lnTo>
                      <a:pt x="841" y="1166"/>
                    </a:lnTo>
                    <a:lnTo>
                      <a:pt x="841" y="1166"/>
                    </a:lnTo>
                    <a:lnTo>
                      <a:pt x="841" y="1166"/>
                    </a:lnTo>
                    <a:lnTo>
                      <a:pt x="839" y="1169"/>
                    </a:lnTo>
                    <a:lnTo>
                      <a:pt x="838" y="1171"/>
                    </a:lnTo>
                    <a:lnTo>
                      <a:pt x="837" y="1173"/>
                    </a:lnTo>
                    <a:lnTo>
                      <a:pt x="837" y="1173"/>
                    </a:lnTo>
                    <a:lnTo>
                      <a:pt x="838" y="1175"/>
                    </a:lnTo>
                    <a:lnTo>
                      <a:pt x="837" y="1179"/>
                    </a:lnTo>
                    <a:lnTo>
                      <a:pt x="837" y="1179"/>
                    </a:lnTo>
                    <a:lnTo>
                      <a:pt x="837" y="1181"/>
                    </a:lnTo>
                    <a:lnTo>
                      <a:pt x="834" y="1182"/>
                    </a:lnTo>
                    <a:lnTo>
                      <a:pt x="834" y="1182"/>
                    </a:lnTo>
                    <a:lnTo>
                      <a:pt x="831" y="1183"/>
                    </a:lnTo>
                    <a:lnTo>
                      <a:pt x="829" y="1185"/>
                    </a:lnTo>
                    <a:lnTo>
                      <a:pt x="829" y="1185"/>
                    </a:lnTo>
                    <a:lnTo>
                      <a:pt x="823" y="1183"/>
                    </a:lnTo>
                    <a:lnTo>
                      <a:pt x="821" y="1181"/>
                    </a:lnTo>
                    <a:lnTo>
                      <a:pt x="821" y="1181"/>
                    </a:lnTo>
                    <a:lnTo>
                      <a:pt x="821" y="1181"/>
                    </a:lnTo>
                    <a:lnTo>
                      <a:pt x="821" y="1181"/>
                    </a:lnTo>
                    <a:lnTo>
                      <a:pt x="818" y="1183"/>
                    </a:lnTo>
                    <a:lnTo>
                      <a:pt x="817" y="1187"/>
                    </a:lnTo>
                    <a:lnTo>
                      <a:pt x="817" y="1189"/>
                    </a:lnTo>
                    <a:lnTo>
                      <a:pt x="817" y="1196"/>
                    </a:lnTo>
                    <a:lnTo>
                      <a:pt x="817" y="1196"/>
                    </a:lnTo>
                    <a:lnTo>
                      <a:pt x="817" y="1202"/>
                    </a:lnTo>
                    <a:lnTo>
                      <a:pt x="815" y="1204"/>
                    </a:lnTo>
                    <a:lnTo>
                      <a:pt x="815" y="1204"/>
                    </a:lnTo>
                    <a:lnTo>
                      <a:pt x="815" y="1204"/>
                    </a:lnTo>
                    <a:lnTo>
                      <a:pt x="815" y="1204"/>
                    </a:lnTo>
                    <a:lnTo>
                      <a:pt x="815" y="1203"/>
                    </a:lnTo>
                    <a:lnTo>
                      <a:pt x="811" y="1210"/>
                    </a:lnTo>
                    <a:lnTo>
                      <a:pt x="813" y="1210"/>
                    </a:lnTo>
                    <a:lnTo>
                      <a:pt x="813" y="1210"/>
                    </a:lnTo>
                    <a:lnTo>
                      <a:pt x="814" y="1207"/>
                    </a:lnTo>
                    <a:lnTo>
                      <a:pt x="814" y="1207"/>
                    </a:lnTo>
                    <a:lnTo>
                      <a:pt x="814" y="1208"/>
                    </a:lnTo>
                    <a:lnTo>
                      <a:pt x="814" y="1208"/>
                    </a:lnTo>
                    <a:lnTo>
                      <a:pt x="814" y="1210"/>
                    </a:lnTo>
                    <a:lnTo>
                      <a:pt x="814" y="1228"/>
                    </a:lnTo>
                    <a:lnTo>
                      <a:pt x="813" y="1232"/>
                    </a:lnTo>
                    <a:lnTo>
                      <a:pt x="813" y="1232"/>
                    </a:lnTo>
                    <a:lnTo>
                      <a:pt x="810" y="1235"/>
                    </a:lnTo>
                    <a:lnTo>
                      <a:pt x="806" y="1237"/>
                    </a:lnTo>
                    <a:lnTo>
                      <a:pt x="806" y="1237"/>
                    </a:lnTo>
                    <a:lnTo>
                      <a:pt x="804" y="1240"/>
                    </a:lnTo>
                    <a:lnTo>
                      <a:pt x="800" y="1243"/>
                    </a:lnTo>
                    <a:lnTo>
                      <a:pt x="796" y="1243"/>
                    </a:lnTo>
                    <a:lnTo>
                      <a:pt x="790" y="1240"/>
                    </a:lnTo>
                    <a:lnTo>
                      <a:pt x="790" y="1240"/>
                    </a:lnTo>
                    <a:lnTo>
                      <a:pt x="788" y="1236"/>
                    </a:lnTo>
                    <a:lnTo>
                      <a:pt x="788" y="1236"/>
                    </a:lnTo>
                    <a:lnTo>
                      <a:pt x="788" y="1235"/>
                    </a:lnTo>
                    <a:lnTo>
                      <a:pt x="788" y="1235"/>
                    </a:lnTo>
                    <a:lnTo>
                      <a:pt x="788" y="1235"/>
                    </a:lnTo>
                    <a:lnTo>
                      <a:pt x="785" y="1232"/>
                    </a:lnTo>
                    <a:lnTo>
                      <a:pt x="785" y="1231"/>
                    </a:lnTo>
                    <a:lnTo>
                      <a:pt x="785" y="1231"/>
                    </a:lnTo>
                    <a:lnTo>
                      <a:pt x="786" y="1231"/>
                    </a:lnTo>
                    <a:lnTo>
                      <a:pt x="788" y="1232"/>
                    </a:lnTo>
                    <a:lnTo>
                      <a:pt x="782" y="1227"/>
                    </a:lnTo>
                    <a:lnTo>
                      <a:pt x="782" y="1227"/>
                    </a:lnTo>
                    <a:lnTo>
                      <a:pt x="781" y="1219"/>
                    </a:lnTo>
                    <a:lnTo>
                      <a:pt x="780" y="1216"/>
                    </a:lnTo>
                    <a:lnTo>
                      <a:pt x="780" y="1210"/>
                    </a:lnTo>
                    <a:lnTo>
                      <a:pt x="781" y="1208"/>
                    </a:lnTo>
                    <a:lnTo>
                      <a:pt x="781" y="1208"/>
                    </a:lnTo>
                    <a:lnTo>
                      <a:pt x="782" y="1202"/>
                    </a:lnTo>
                    <a:lnTo>
                      <a:pt x="782" y="1202"/>
                    </a:lnTo>
                    <a:lnTo>
                      <a:pt x="782" y="1196"/>
                    </a:lnTo>
                    <a:lnTo>
                      <a:pt x="785" y="1191"/>
                    </a:lnTo>
                    <a:lnTo>
                      <a:pt x="782" y="1189"/>
                    </a:lnTo>
                    <a:lnTo>
                      <a:pt x="782" y="1189"/>
                    </a:lnTo>
                    <a:lnTo>
                      <a:pt x="774" y="1174"/>
                    </a:lnTo>
                    <a:lnTo>
                      <a:pt x="765" y="1159"/>
                    </a:lnTo>
                    <a:lnTo>
                      <a:pt x="764" y="1157"/>
                    </a:lnTo>
                    <a:lnTo>
                      <a:pt x="764" y="1155"/>
                    </a:lnTo>
                    <a:lnTo>
                      <a:pt x="764" y="1155"/>
                    </a:lnTo>
                    <a:lnTo>
                      <a:pt x="764" y="1152"/>
                    </a:lnTo>
                    <a:lnTo>
                      <a:pt x="761" y="1148"/>
                    </a:lnTo>
                    <a:lnTo>
                      <a:pt x="761" y="1146"/>
                    </a:lnTo>
                    <a:lnTo>
                      <a:pt x="761" y="1145"/>
                    </a:lnTo>
                    <a:lnTo>
                      <a:pt x="761" y="1145"/>
                    </a:lnTo>
                    <a:lnTo>
                      <a:pt x="761" y="1145"/>
                    </a:lnTo>
                    <a:lnTo>
                      <a:pt x="761" y="1145"/>
                    </a:lnTo>
                    <a:lnTo>
                      <a:pt x="760" y="1141"/>
                    </a:lnTo>
                    <a:lnTo>
                      <a:pt x="761" y="1138"/>
                    </a:lnTo>
                    <a:lnTo>
                      <a:pt x="763" y="1134"/>
                    </a:lnTo>
                    <a:lnTo>
                      <a:pt x="766" y="1133"/>
                    </a:lnTo>
                    <a:lnTo>
                      <a:pt x="766" y="1133"/>
                    </a:lnTo>
                    <a:lnTo>
                      <a:pt x="768" y="1132"/>
                    </a:lnTo>
                    <a:lnTo>
                      <a:pt x="768" y="1132"/>
                    </a:lnTo>
                    <a:lnTo>
                      <a:pt x="769" y="1132"/>
                    </a:lnTo>
                    <a:lnTo>
                      <a:pt x="769" y="1132"/>
                    </a:lnTo>
                    <a:lnTo>
                      <a:pt x="768" y="1133"/>
                    </a:lnTo>
                    <a:lnTo>
                      <a:pt x="769" y="1133"/>
                    </a:lnTo>
                    <a:lnTo>
                      <a:pt x="769" y="1133"/>
                    </a:lnTo>
                    <a:lnTo>
                      <a:pt x="772" y="1130"/>
                    </a:lnTo>
                    <a:lnTo>
                      <a:pt x="772" y="1130"/>
                    </a:lnTo>
                    <a:lnTo>
                      <a:pt x="772" y="1130"/>
                    </a:lnTo>
                    <a:lnTo>
                      <a:pt x="774" y="1128"/>
                    </a:lnTo>
                    <a:lnTo>
                      <a:pt x="774" y="1128"/>
                    </a:lnTo>
                    <a:lnTo>
                      <a:pt x="776" y="1128"/>
                    </a:lnTo>
                    <a:lnTo>
                      <a:pt x="776" y="1128"/>
                    </a:lnTo>
                    <a:lnTo>
                      <a:pt x="774" y="1129"/>
                    </a:lnTo>
                    <a:lnTo>
                      <a:pt x="774" y="1129"/>
                    </a:lnTo>
                    <a:lnTo>
                      <a:pt x="774" y="1129"/>
                    </a:lnTo>
                    <a:lnTo>
                      <a:pt x="778" y="1126"/>
                    </a:lnTo>
                    <a:lnTo>
                      <a:pt x="778" y="1125"/>
                    </a:lnTo>
                    <a:lnTo>
                      <a:pt x="778" y="1125"/>
                    </a:lnTo>
                    <a:lnTo>
                      <a:pt x="777" y="1126"/>
                    </a:lnTo>
                    <a:lnTo>
                      <a:pt x="777" y="1126"/>
                    </a:lnTo>
                    <a:lnTo>
                      <a:pt x="778" y="1125"/>
                    </a:lnTo>
                    <a:lnTo>
                      <a:pt x="778" y="1125"/>
                    </a:lnTo>
                    <a:lnTo>
                      <a:pt x="778" y="1124"/>
                    </a:lnTo>
                    <a:lnTo>
                      <a:pt x="778" y="1124"/>
                    </a:lnTo>
                    <a:lnTo>
                      <a:pt x="780" y="1111"/>
                    </a:lnTo>
                    <a:lnTo>
                      <a:pt x="778" y="1107"/>
                    </a:lnTo>
                    <a:lnTo>
                      <a:pt x="774" y="1101"/>
                    </a:lnTo>
                    <a:lnTo>
                      <a:pt x="774" y="1099"/>
                    </a:lnTo>
                    <a:lnTo>
                      <a:pt x="778" y="1092"/>
                    </a:lnTo>
                    <a:lnTo>
                      <a:pt x="778" y="1092"/>
                    </a:lnTo>
                    <a:lnTo>
                      <a:pt x="781" y="1091"/>
                    </a:lnTo>
                    <a:lnTo>
                      <a:pt x="782" y="1089"/>
                    </a:lnTo>
                    <a:lnTo>
                      <a:pt x="781" y="1087"/>
                    </a:lnTo>
                    <a:lnTo>
                      <a:pt x="781" y="1087"/>
                    </a:lnTo>
                    <a:lnTo>
                      <a:pt x="781" y="1088"/>
                    </a:lnTo>
                    <a:lnTo>
                      <a:pt x="781" y="1088"/>
                    </a:lnTo>
                    <a:lnTo>
                      <a:pt x="780" y="1087"/>
                    </a:lnTo>
                    <a:lnTo>
                      <a:pt x="780" y="1084"/>
                    </a:lnTo>
                    <a:lnTo>
                      <a:pt x="778" y="1084"/>
                    </a:lnTo>
                    <a:lnTo>
                      <a:pt x="778" y="1084"/>
                    </a:lnTo>
                    <a:lnTo>
                      <a:pt x="776" y="1081"/>
                    </a:lnTo>
                    <a:lnTo>
                      <a:pt x="773" y="1080"/>
                    </a:lnTo>
                    <a:lnTo>
                      <a:pt x="773" y="1080"/>
                    </a:lnTo>
                    <a:lnTo>
                      <a:pt x="765" y="1074"/>
                    </a:lnTo>
                    <a:lnTo>
                      <a:pt x="765" y="1074"/>
                    </a:lnTo>
                    <a:lnTo>
                      <a:pt x="760" y="1068"/>
                    </a:lnTo>
                    <a:lnTo>
                      <a:pt x="760" y="1068"/>
                    </a:lnTo>
                    <a:lnTo>
                      <a:pt x="757" y="1066"/>
                    </a:lnTo>
                    <a:lnTo>
                      <a:pt x="757" y="1066"/>
                    </a:lnTo>
                    <a:lnTo>
                      <a:pt x="757" y="1066"/>
                    </a:lnTo>
                    <a:lnTo>
                      <a:pt x="757" y="1066"/>
                    </a:lnTo>
                    <a:lnTo>
                      <a:pt x="757" y="1067"/>
                    </a:lnTo>
                    <a:lnTo>
                      <a:pt x="757" y="1067"/>
                    </a:lnTo>
                    <a:lnTo>
                      <a:pt x="757" y="1066"/>
                    </a:lnTo>
                    <a:lnTo>
                      <a:pt x="757" y="1066"/>
                    </a:lnTo>
                    <a:lnTo>
                      <a:pt x="756" y="1068"/>
                    </a:lnTo>
                    <a:lnTo>
                      <a:pt x="755" y="1071"/>
                    </a:lnTo>
                    <a:lnTo>
                      <a:pt x="755" y="1071"/>
                    </a:lnTo>
                    <a:lnTo>
                      <a:pt x="752" y="1072"/>
                    </a:lnTo>
                    <a:lnTo>
                      <a:pt x="749" y="1072"/>
                    </a:lnTo>
                    <a:lnTo>
                      <a:pt x="749" y="1072"/>
                    </a:lnTo>
                    <a:lnTo>
                      <a:pt x="747" y="1071"/>
                    </a:lnTo>
                    <a:lnTo>
                      <a:pt x="744" y="1070"/>
                    </a:lnTo>
                    <a:lnTo>
                      <a:pt x="744" y="1070"/>
                    </a:lnTo>
                    <a:lnTo>
                      <a:pt x="743" y="1070"/>
                    </a:lnTo>
                    <a:lnTo>
                      <a:pt x="743" y="1070"/>
                    </a:lnTo>
                    <a:lnTo>
                      <a:pt x="744" y="1070"/>
                    </a:lnTo>
                    <a:lnTo>
                      <a:pt x="741" y="1067"/>
                    </a:lnTo>
                    <a:lnTo>
                      <a:pt x="741" y="1067"/>
                    </a:lnTo>
                    <a:lnTo>
                      <a:pt x="739" y="1066"/>
                    </a:lnTo>
                    <a:lnTo>
                      <a:pt x="739" y="1066"/>
                    </a:lnTo>
                    <a:lnTo>
                      <a:pt x="739" y="1064"/>
                    </a:lnTo>
                    <a:lnTo>
                      <a:pt x="737" y="1063"/>
                    </a:lnTo>
                    <a:lnTo>
                      <a:pt x="737" y="1063"/>
                    </a:lnTo>
                    <a:lnTo>
                      <a:pt x="736" y="1060"/>
                    </a:lnTo>
                    <a:lnTo>
                      <a:pt x="735" y="1056"/>
                    </a:lnTo>
                    <a:lnTo>
                      <a:pt x="735" y="1056"/>
                    </a:lnTo>
                    <a:lnTo>
                      <a:pt x="732" y="1055"/>
                    </a:lnTo>
                    <a:lnTo>
                      <a:pt x="732" y="1054"/>
                    </a:lnTo>
                    <a:lnTo>
                      <a:pt x="728" y="1048"/>
                    </a:lnTo>
                    <a:lnTo>
                      <a:pt x="728" y="1048"/>
                    </a:lnTo>
                    <a:lnTo>
                      <a:pt x="729" y="1052"/>
                    </a:lnTo>
                    <a:lnTo>
                      <a:pt x="731" y="1054"/>
                    </a:lnTo>
                    <a:lnTo>
                      <a:pt x="731" y="1054"/>
                    </a:lnTo>
                    <a:lnTo>
                      <a:pt x="728" y="1052"/>
                    </a:lnTo>
                    <a:lnTo>
                      <a:pt x="726" y="1051"/>
                    </a:lnTo>
                    <a:lnTo>
                      <a:pt x="724" y="1048"/>
                    </a:lnTo>
                    <a:lnTo>
                      <a:pt x="723" y="1047"/>
                    </a:lnTo>
                    <a:lnTo>
                      <a:pt x="723" y="1046"/>
                    </a:lnTo>
                    <a:lnTo>
                      <a:pt x="723" y="1038"/>
                    </a:lnTo>
                    <a:lnTo>
                      <a:pt x="729" y="1033"/>
                    </a:lnTo>
                    <a:lnTo>
                      <a:pt x="729" y="1033"/>
                    </a:lnTo>
                    <a:lnTo>
                      <a:pt x="726" y="1034"/>
                    </a:lnTo>
                    <a:lnTo>
                      <a:pt x="724" y="1036"/>
                    </a:lnTo>
                    <a:lnTo>
                      <a:pt x="724" y="1036"/>
                    </a:lnTo>
                    <a:lnTo>
                      <a:pt x="724" y="1034"/>
                    </a:lnTo>
                    <a:lnTo>
                      <a:pt x="726" y="1031"/>
                    </a:lnTo>
                    <a:lnTo>
                      <a:pt x="726" y="1031"/>
                    </a:lnTo>
                    <a:lnTo>
                      <a:pt x="726" y="1033"/>
                    </a:lnTo>
                    <a:lnTo>
                      <a:pt x="726" y="1033"/>
                    </a:lnTo>
                    <a:lnTo>
                      <a:pt x="726" y="1030"/>
                    </a:lnTo>
                    <a:lnTo>
                      <a:pt x="726" y="1030"/>
                    </a:lnTo>
                    <a:lnTo>
                      <a:pt x="724" y="1033"/>
                    </a:lnTo>
                    <a:lnTo>
                      <a:pt x="724" y="1033"/>
                    </a:lnTo>
                    <a:lnTo>
                      <a:pt x="722" y="1036"/>
                    </a:lnTo>
                    <a:lnTo>
                      <a:pt x="720" y="1036"/>
                    </a:lnTo>
                    <a:lnTo>
                      <a:pt x="718" y="1040"/>
                    </a:lnTo>
                    <a:lnTo>
                      <a:pt x="718" y="1040"/>
                    </a:lnTo>
                    <a:lnTo>
                      <a:pt x="719" y="1040"/>
                    </a:lnTo>
                    <a:lnTo>
                      <a:pt x="719" y="1040"/>
                    </a:lnTo>
                    <a:lnTo>
                      <a:pt x="716" y="1042"/>
                    </a:lnTo>
                    <a:lnTo>
                      <a:pt x="714" y="1043"/>
                    </a:lnTo>
                    <a:lnTo>
                      <a:pt x="714" y="1043"/>
                    </a:lnTo>
                    <a:lnTo>
                      <a:pt x="710" y="1042"/>
                    </a:lnTo>
                    <a:lnTo>
                      <a:pt x="707" y="1040"/>
                    </a:lnTo>
                    <a:lnTo>
                      <a:pt x="706" y="1038"/>
                    </a:lnTo>
                    <a:lnTo>
                      <a:pt x="706" y="1038"/>
                    </a:lnTo>
                    <a:lnTo>
                      <a:pt x="706" y="1038"/>
                    </a:lnTo>
                    <a:lnTo>
                      <a:pt x="703" y="1038"/>
                    </a:lnTo>
                    <a:lnTo>
                      <a:pt x="703" y="1038"/>
                    </a:lnTo>
                    <a:lnTo>
                      <a:pt x="700" y="1038"/>
                    </a:lnTo>
                    <a:lnTo>
                      <a:pt x="699" y="1036"/>
                    </a:lnTo>
                    <a:lnTo>
                      <a:pt x="699" y="1036"/>
                    </a:lnTo>
                    <a:lnTo>
                      <a:pt x="699" y="1036"/>
                    </a:lnTo>
                    <a:lnTo>
                      <a:pt x="692" y="1038"/>
                    </a:lnTo>
                    <a:lnTo>
                      <a:pt x="692" y="1038"/>
                    </a:lnTo>
                    <a:lnTo>
                      <a:pt x="686" y="1036"/>
                    </a:lnTo>
                    <a:lnTo>
                      <a:pt x="686" y="1036"/>
                    </a:lnTo>
                    <a:lnTo>
                      <a:pt x="682" y="1035"/>
                    </a:lnTo>
                    <a:lnTo>
                      <a:pt x="682" y="1035"/>
                    </a:lnTo>
                    <a:lnTo>
                      <a:pt x="677" y="1033"/>
                    </a:lnTo>
                    <a:lnTo>
                      <a:pt x="675" y="1033"/>
                    </a:lnTo>
                    <a:lnTo>
                      <a:pt x="670" y="1029"/>
                    </a:lnTo>
                    <a:lnTo>
                      <a:pt x="670" y="1029"/>
                    </a:lnTo>
                    <a:lnTo>
                      <a:pt x="671" y="1031"/>
                    </a:lnTo>
                    <a:lnTo>
                      <a:pt x="674" y="1031"/>
                    </a:lnTo>
                    <a:lnTo>
                      <a:pt x="674" y="1031"/>
                    </a:lnTo>
                    <a:lnTo>
                      <a:pt x="670" y="1030"/>
                    </a:lnTo>
                    <a:lnTo>
                      <a:pt x="667" y="1029"/>
                    </a:lnTo>
                    <a:lnTo>
                      <a:pt x="666" y="1025"/>
                    </a:lnTo>
                    <a:lnTo>
                      <a:pt x="666" y="1023"/>
                    </a:lnTo>
                    <a:lnTo>
                      <a:pt x="666" y="1023"/>
                    </a:lnTo>
                    <a:lnTo>
                      <a:pt x="670" y="1015"/>
                    </a:lnTo>
                    <a:lnTo>
                      <a:pt x="674" y="1009"/>
                    </a:lnTo>
                    <a:lnTo>
                      <a:pt x="674" y="1009"/>
                    </a:lnTo>
                    <a:lnTo>
                      <a:pt x="678" y="1001"/>
                    </a:lnTo>
                    <a:lnTo>
                      <a:pt x="678" y="997"/>
                    </a:lnTo>
                    <a:lnTo>
                      <a:pt x="678" y="993"/>
                    </a:lnTo>
                    <a:lnTo>
                      <a:pt x="678" y="992"/>
                    </a:lnTo>
                    <a:lnTo>
                      <a:pt x="678" y="992"/>
                    </a:lnTo>
                    <a:lnTo>
                      <a:pt x="678" y="992"/>
                    </a:lnTo>
                    <a:lnTo>
                      <a:pt x="675" y="986"/>
                    </a:lnTo>
                    <a:lnTo>
                      <a:pt x="675" y="986"/>
                    </a:lnTo>
                    <a:lnTo>
                      <a:pt x="671" y="981"/>
                    </a:lnTo>
                    <a:lnTo>
                      <a:pt x="670" y="974"/>
                    </a:lnTo>
                    <a:lnTo>
                      <a:pt x="675" y="968"/>
                    </a:lnTo>
                    <a:lnTo>
                      <a:pt x="675" y="968"/>
                    </a:lnTo>
                    <a:lnTo>
                      <a:pt x="675" y="968"/>
                    </a:lnTo>
                    <a:lnTo>
                      <a:pt x="674" y="969"/>
                    </a:lnTo>
                    <a:lnTo>
                      <a:pt x="674" y="969"/>
                    </a:lnTo>
                    <a:lnTo>
                      <a:pt x="674" y="965"/>
                    </a:lnTo>
                    <a:lnTo>
                      <a:pt x="674" y="965"/>
                    </a:lnTo>
                    <a:lnTo>
                      <a:pt x="674" y="965"/>
                    </a:lnTo>
                    <a:lnTo>
                      <a:pt x="673" y="961"/>
                    </a:lnTo>
                    <a:lnTo>
                      <a:pt x="673" y="960"/>
                    </a:lnTo>
                    <a:lnTo>
                      <a:pt x="673" y="958"/>
                    </a:lnTo>
                    <a:lnTo>
                      <a:pt x="673" y="958"/>
                    </a:lnTo>
                    <a:lnTo>
                      <a:pt x="675" y="953"/>
                    </a:lnTo>
                    <a:lnTo>
                      <a:pt x="675" y="953"/>
                    </a:lnTo>
                    <a:lnTo>
                      <a:pt x="677" y="951"/>
                    </a:lnTo>
                    <a:lnTo>
                      <a:pt x="675" y="948"/>
                    </a:lnTo>
                    <a:lnTo>
                      <a:pt x="675" y="947"/>
                    </a:lnTo>
                    <a:lnTo>
                      <a:pt x="675" y="947"/>
                    </a:lnTo>
                    <a:lnTo>
                      <a:pt x="673" y="945"/>
                    </a:lnTo>
                    <a:lnTo>
                      <a:pt x="670" y="940"/>
                    </a:lnTo>
                    <a:lnTo>
                      <a:pt x="670" y="940"/>
                    </a:lnTo>
                    <a:lnTo>
                      <a:pt x="671" y="936"/>
                    </a:lnTo>
                    <a:lnTo>
                      <a:pt x="671" y="936"/>
                    </a:lnTo>
                    <a:lnTo>
                      <a:pt x="671" y="937"/>
                    </a:lnTo>
                    <a:lnTo>
                      <a:pt x="674" y="935"/>
                    </a:lnTo>
                    <a:lnTo>
                      <a:pt x="674" y="935"/>
                    </a:lnTo>
                    <a:lnTo>
                      <a:pt x="675" y="937"/>
                    </a:lnTo>
                    <a:lnTo>
                      <a:pt x="678" y="937"/>
                    </a:lnTo>
                    <a:lnTo>
                      <a:pt x="674" y="935"/>
                    </a:lnTo>
                    <a:lnTo>
                      <a:pt x="678" y="932"/>
                    </a:lnTo>
                    <a:lnTo>
                      <a:pt x="678" y="931"/>
                    </a:lnTo>
                    <a:lnTo>
                      <a:pt x="678" y="931"/>
                    </a:lnTo>
                    <a:lnTo>
                      <a:pt x="678" y="931"/>
                    </a:lnTo>
                    <a:lnTo>
                      <a:pt x="675" y="932"/>
                    </a:lnTo>
                    <a:lnTo>
                      <a:pt x="675" y="932"/>
                    </a:lnTo>
                    <a:lnTo>
                      <a:pt x="674" y="933"/>
                    </a:lnTo>
                    <a:lnTo>
                      <a:pt x="674" y="933"/>
                    </a:lnTo>
                    <a:lnTo>
                      <a:pt x="674" y="933"/>
                    </a:lnTo>
                    <a:lnTo>
                      <a:pt x="673" y="932"/>
                    </a:lnTo>
                    <a:lnTo>
                      <a:pt x="673" y="932"/>
                    </a:lnTo>
                    <a:lnTo>
                      <a:pt x="673" y="932"/>
                    </a:lnTo>
                    <a:lnTo>
                      <a:pt x="673" y="933"/>
                    </a:lnTo>
                    <a:lnTo>
                      <a:pt x="673" y="933"/>
                    </a:lnTo>
                    <a:lnTo>
                      <a:pt x="671" y="933"/>
                    </a:lnTo>
                    <a:lnTo>
                      <a:pt x="671" y="933"/>
                    </a:lnTo>
                    <a:lnTo>
                      <a:pt x="671" y="933"/>
                    </a:lnTo>
                    <a:lnTo>
                      <a:pt x="669" y="933"/>
                    </a:lnTo>
                    <a:lnTo>
                      <a:pt x="669" y="933"/>
                    </a:lnTo>
                    <a:lnTo>
                      <a:pt x="665" y="932"/>
                    </a:lnTo>
                    <a:lnTo>
                      <a:pt x="662" y="929"/>
                    </a:lnTo>
                    <a:lnTo>
                      <a:pt x="662" y="929"/>
                    </a:lnTo>
                    <a:lnTo>
                      <a:pt x="662" y="929"/>
                    </a:lnTo>
                    <a:lnTo>
                      <a:pt x="662" y="929"/>
                    </a:lnTo>
                    <a:lnTo>
                      <a:pt x="663" y="931"/>
                    </a:lnTo>
                    <a:lnTo>
                      <a:pt x="658" y="925"/>
                    </a:lnTo>
                    <a:lnTo>
                      <a:pt x="658" y="925"/>
                    </a:lnTo>
                    <a:lnTo>
                      <a:pt x="658" y="921"/>
                    </a:lnTo>
                    <a:lnTo>
                      <a:pt x="659" y="919"/>
                    </a:lnTo>
                    <a:lnTo>
                      <a:pt x="661" y="916"/>
                    </a:lnTo>
                    <a:lnTo>
                      <a:pt x="661" y="916"/>
                    </a:lnTo>
                    <a:lnTo>
                      <a:pt x="661" y="915"/>
                    </a:lnTo>
                    <a:lnTo>
                      <a:pt x="662" y="914"/>
                    </a:lnTo>
                    <a:lnTo>
                      <a:pt x="662" y="914"/>
                    </a:lnTo>
                    <a:lnTo>
                      <a:pt x="662" y="912"/>
                    </a:lnTo>
                    <a:lnTo>
                      <a:pt x="662" y="912"/>
                    </a:lnTo>
                    <a:lnTo>
                      <a:pt x="662" y="907"/>
                    </a:lnTo>
                    <a:lnTo>
                      <a:pt x="662" y="907"/>
                    </a:lnTo>
                    <a:lnTo>
                      <a:pt x="662" y="906"/>
                    </a:lnTo>
                    <a:lnTo>
                      <a:pt x="662" y="906"/>
                    </a:lnTo>
                    <a:lnTo>
                      <a:pt x="662" y="907"/>
                    </a:lnTo>
                    <a:lnTo>
                      <a:pt x="662" y="907"/>
                    </a:lnTo>
                    <a:lnTo>
                      <a:pt x="662" y="906"/>
                    </a:lnTo>
                    <a:lnTo>
                      <a:pt x="663" y="906"/>
                    </a:lnTo>
                    <a:lnTo>
                      <a:pt x="659" y="903"/>
                    </a:lnTo>
                    <a:lnTo>
                      <a:pt x="659" y="896"/>
                    </a:lnTo>
                    <a:lnTo>
                      <a:pt x="659" y="896"/>
                    </a:lnTo>
                    <a:lnTo>
                      <a:pt x="659" y="895"/>
                    </a:lnTo>
                    <a:lnTo>
                      <a:pt x="657" y="892"/>
                    </a:lnTo>
                    <a:lnTo>
                      <a:pt x="657" y="892"/>
                    </a:lnTo>
                    <a:lnTo>
                      <a:pt x="653" y="890"/>
                    </a:lnTo>
                    <a:lnTo>
                      <a:pt x="651" y="887"/>
                    </a:lnTo>
                    <a:lnTo>
                      <a:pt x="650" y="884"/>
                    </a:lnTo>
                    <a:lnTo>
                      <a:pt x="650" y="883"/>
                    </a:lnTo>
                    <a:lnTo>
                      <a:pt x="650" y="883"/>
                    </a:lnTo>
                    <a:lnTo>
                      <a:pt x="650" y="880"/>
                    </a:lnTo>
                    <a:lnTo>
                      <a:pt x="650" y="878"/>
                    </a:lnTo>
                    <a:lnTo>
                      <a:pt x="653" y="874"/>
                    </a:lnTo>
                    <a:lnTo>
                      <a:pt x="653" y="874"/>
                    </a:lnTo>
                    <a:lnTo>
                      <a:pt x="653" y="874"/>
                    </a:lnTo>
                    <a:lnTo>
                      <a:pt x="653" y="874"/>
                    </a:lnTo>
                    <a:lnTo>
                      <a:pt x="645" y="869"/>
                    </a:lnTo>
                    <a:lnTo>
                      <a:pt x="640" y="861"/>
                    </a:lnTo>
                    <a:lnTo>
                      <a:pt x="640" y="861"/>
                    </a:lnTo>
                    <a:lnTo>
                      <a:pt x="637" y="857"/>
                    </a:lnTo>
                    <a:lnTo>
                      <a:pt x="637" y="851"/>
                    </a:lnTo>
                    <a:lnTo>
                      <a:pt x="638" y="849"/>
                    </a:lnTo>
                    <a:lnTo>
                      <a:pt x="638" y="849"/>
                    </a:lnTo>
                    <a:lnTo>
                      <a:pt x="638" y="843"/>
                    </a:lnTo>
                    <a:lnTo>
                      <a:pt x="638" y="837"/>
                    </a:lnTo>
                    <a:lnTo>
                      <a:pt x="637" y="834"/>
                    </a:lnTo>
                    <a:lnTo>
                      <a:pt x="637" y="830"/>
                    </a:lnTo>
                    <a:lnTo>
                      <a:pt x="637" y="830"/>
                    </a:lnTo>
                    <a:lnTo>
                      <a:pt x="637" y="830"/>
                    </a:lnTo>
                    <a:lnTo>
                      <a:pt x="637" y="824"/>
                    </a:lnTo>
                    <a:lnTo>
                      <a:pt x="636" y="820"/>
                    </a:lnTo>
                    <a:lnTo>
                      <a:pt x="634" y="817"/>
                    </a:lnTo>
                    <a:lnTo>
                      <a:pt x="633" y="816"/>
                    </a:lnTo>
                    <a:lnTo>
                      <a:pt x="632" y="813"/>
                    </a:lnTo>
                    <a:lnTo>
                      <a:pt x="632" y="813"/>
                    </a:lnTo>
                    <a:lnTo>
                      <a:pt x="632" y="813"/>
                    </a:lnTo>
                    <a:lnTo>
                      <a:pt x="630" y="810"/>
                    </a:lnTo>
                    <a:lnTo>
                      <a:pt x="630" y="810"/>
                    </a:lnTo>
                    <a:lnTo>
                      <a:pt x="626" y="804"/>
                    </a:lnTo>
                    <a:lnTo>
                      <a:pt x="625" y="799"/>
                    </a:lnTo>
                    <a:lnTo>
                      <a:pt x="625" y="792"/>
                    </a:lnTo>
                    <a:lnTo>
                      <a:pt x="625" y="788"/>
                    </a:lnTo>
                    <a:lnTo>
                      <a:pt x="626" y="787"/>
                    </a:lnTo>
                    <a:lnTo>
                      <a:pt x="626" y="787"/>
                    </a:lnTo>
                    <a:lnTo>
                      <a:pt x="628" y="783"/>
                    </a:lnTo>
                    <a:lnTo>
                      <a:pt x="629" y="781"/>
                    </a:lnTo>
                    <a:lnTo>
                      <a:pt x="634" y="779"/>
                    </a:lnTo>
                    <a:lnTo>
                      <a:pt x="634" y="779"/>
                    </a:lnTo>
                    <a:lnTo>
                      <a:pt x="637" y="776"/>
                    </a:lnTo>
                    <a:lnTo>
                      <a:pt x="640" y="775"/>
                    </a:lnTo>
                    <a:lnTo>
                      <a:pt x="640" y="775"/>
                    </a:lnTo>
                    <a:lnTo>
                      <a:pt x="640" y="775"/>
                    </a:lnTo>
                    <a:lnTo>
                      <a:pt x="640" y="775"/>
                    </a:lnTo>
                    <a:lnTo>
                      <a:pt x="638" y="773"/>
                    </a:lnTo>
                    <a:lnTo>
                      <a:pt x="634" y="771"/>
                    </a:lnTo>
                    <a:lnTo>
                      <a:pt x="634" y="771"/>
                    </a:lnTo>
                    <a:lnTo>
                      <a:pt x="632" y="769"/>
                    </a:lnTo>
                    <a:lnTo>
                      <a:pt x="632" y="769"/>
                    </a:lnTo>
                    <a:lnTo>
                      <a:pt x="626" y="767"/>
                    </a:lnTo>
                    <a:lnTo>
                      <a:pt x="626" y="767"/>
                    </a:lnTo>
                    <a:lnTo>
                      <a:pt x="624" y="763"/>
                    </a:lnTo>
                    <a:lnTo>
                      <a:pt x="624" y="763"/>
                    </a:lnTo>
                    <a:lnTo>
                      <a:pt x="624" y="759"/>
                    </a:lnTo>
                    <a:lnTo>
                      <a:pt x="624" y="756"/>
                    </a:lnTo>
                    <a:lnTo>
                      <a:pt x="628" y="755"/>
                    </a:lnTo>
                    <a:lnTo>
                      <a:pt x="628" y="754"/>
                    </a:lnTo>
                    <a:lnTo>
                      <a:pt x="628" y="754"/>
                    </a:lnTo>
                    <a:lnTo>
                      <a:pt x="632" y="751"/>
                    </a:lnTo>
                    <a:lnTo>
                      <a:pt x="636" y="751"/>
                    </a:lnTo>
                    <a:lnTo>
                      <a:pt x="636" y="748"/>
                    </a:lnTo>
                    <a:lnTo>
                      <a:pt x="636" y="748"/>
                    </a:lnTo>
                    <a:lnTo>
                      <a:pt x="636" y="743"/>
                    </a:lnTo>
                    <a:lnTo>
                      <a:pt x="636" y="743"/>
                    </a:lnTo>
                    <a:lnTo>
                      <a:pt x="636" y="740"/>
                    </a:lnTo>
                    <a:lnTo>
                      <a:pt x="636" y="740"/>
                    </a:lnTo>
                    <a:lnTo>
                      <a:pt x="637" y="742"/>
                    </a:lnTo>
                    <a:lnTo>
                      <a:pt x="638" y="743"/>
                    </a:lnTo>
                    <a:lnTo>
                      <a:pt x="634" y="738"/>
                    </a:lnTo>
                    <a:lnTo>
                      <a:pt x="634" y="736"/>
                    </a:lnTo>
                    <a:lnTo>
                      <a:pt x="634" y="736"/>
                    </a:lnTo>
                    <a:lnTo>
                      <a:pt x="634" y="731"/>
                    </a:lnTo>
                    <a:lnTo>
                      <a:pt x="634" y="731"/>
                    </a:lnTo>
                    <a:lnTo>
                      <a:pt x="634" y="730"/>
                    </a:lnTo>
                    <a:lnTo>
                      <a:pt x="634" y="730"/>
                    </a:lnTo>
                    <a:lnTo>
                      <a:pt x="636" y="731"/>
                    </a:lnTo>
                    <a:lnTo>
                      <a:pt x="637" y="732"/>
                    </a:lnTo>
                    <a:lnTo>
                      <a:pt x="633" y="726"/>
                    </a:lnTo>
                    <a:lnTo>
                      <a:pt x="633" y="723"/>
                    </a:lnTo>
                    <a:lnTo>
                      <a:pt x="633" y="723"/>
                    </a:lnTo>
                    <a:lnTo>
                      <a:pt x="633" y="722"/>
                    </a:lnTo>
                    <a:lnTo>
                      <a:pt x="633" y="722"/>
                    </a:lnTo>
                    <a:lnTo>
                      <a:pt x="633" y="722"/>
                    </a:lnTo>
                    <a:lnTo>
                      <a:pt x="630" y="720"/>
                    </a:lnTo>
                    <a:lnTo>
                      <a:pt x="630" y="720"/>
                    </a:lnTo>
                    <a:lnTo>
                      <a:pt x="629" y="720"/>
                    </a:lnTo>
                    <a:lnTo>
                      <a:pt x="629" y="720"/>
                    </a:lnTo>
                    <a:lnTo>
                      <a:pt x="626" y="719"/>
                    </a:lnTo>
                    <a:lnTo>
                      <a:pt x="624" y="718"/>
                    </a:lnTo>
                    <a:lnTo>
                      <a:pt x="624" y="718"/>
                    </a:lnTo>
                    <a:lnTo>
                      <a:pt x="618" y="717"/>
                    </a:lnTo>
                    <a:lnTo>
                      <a:pt x="618" y="717"/>
                    </a:lnTo>
                    <a:lnTo>
                      <a:pt x="613" y="714"/>
                    </a:lnTo>
                    <a:lnTo>
                      <a:pt x="609" y="711"/>
                    </a:lnTo>
                    <a:lnTo>
                      <a:pt x="609" y="711"/>
                    </a:lnTo>
                    <a:lnTo>
                      <a:pt x="604" y="710"/>
                    </a:lnTo>
                    <a:lnTo>
                      <a:pt x="603" y="707"/>
                    </a:lnTo>
                    <a:lnTo>
                      <a:pt x="603" y="707"/>
                    </a:lnTo>
                    <a:lnTo>
                      <a:pt x="603" y="707"/>
                    </a:lnTo>
                    <a:lnTo>
                      <a:pt x="603" y="707"/>
                    </a:lnTo>
                    <a:lnTo>
                      <a:pt x="604" y="709"/>
                    </a:lnTo>
                    <a:lnTo>
                      <a:pt x="600" y="706"/>
                    </a:lnTo>
                    <a:lnTo>
                      <a:pt x="600" y="706"/>
                    </a:lnTo>
                    <a:lnTo>
                      <a:pt x="595" y="698"/>
                    </a:lnTo>
                    <a:lnTo>
                      <a:pt x="595" y="698"/>
                    </a:lnTo>
                    <a:lnTo>
                      <a:pt x="593" y="694"/>
                    </a:lnTo>
                    <a:lnTo>
                      <a:pt x="593" y="689"/>
                    </a:lnTo>
                    <a:lnTo>
                      <a:pt x="593" y="689"/>
                    </a:lnTo>
                    <a:lnTo>
                      <a:pt x="592" y="685"/>
                    </a:lnTo>
                    <a:lnTo>
                      <a:pt x="588" y="681"/>
                    </a:lnTo>
                    <a:lnTo>
                      <a:pt x="588" y="680"/>
                    </a:lnTo>
                    <a:lnTo>
                      <a:pt x="587" y="676"/>
                    </a:lnTo>
                    <a:lnTo>
                      <a:pt x="587" y="676"/>
                    </a:lnTo>
                    <a:lnTo>
                      <a:pt x="587" y="676"/>
                    </a:lnTo>
                    <a:lnTo>
                      <a:pt x="585" y="676"/>
                    </a:lnTo>
                    <a:lnTo>
                      <a:pt x="581" y="676"/>
                    </a:lnTo>
                    <a:lnTo>
                      <a:pt x="577" y="673"/>
                    </a:lnTo>
                    <a:lnTo>
                      <a:pt x="577" y="673"/>
                    </a:lnTo>
                    <a:lnTo>
                      <a:pt x="579" y="674"/>
                    </a:lnTo>
                    <a:lnTo>
                      <a:pt x="579" y="674"/>
                    </a:lnTo>
                    <a:lnTo>
                      <a:pt x="577" y="674"/>
                    </a:lnTo>
                    <a:lnTo>
                      <a:pt x="577" y="674"/>
                    </a:lnTo>
                    <a:lnTo>
                      <a:pt x="575" y="674"/>
                    </a:lnTo>
                    <a:lnTo>
                      <a:pt x="575" y="674"/>
                    </a:lnTo>
                    <a:lnTo>
                      <a:pt x="571" y="674"/>
                    </a:lnTo>
                    <a:lnTo>
                      <a:pt x="571" y="674"/>
                    </a:lnTo>
                    <a:lnTo>
                      <a:pt x="568" y="674"/>
                    </a:lnTo>
                    <a:lnTo>
                      <a:pt x="563" y="674"/>
                    </a:lnTo>
                    <a:lnTo>
                      <a:pt x="556" y="668"/>
                    </a:lnTo>
                    <a:lnTo>
                      <a:pt x="556" y="666"/>
                    </a:lnTo>
                    <a:lnTo>
                      <a:pt x="556" y="666"/>
                    </a:lnTo>
                    <a:lnTo>
                      <a:pt x="556" y="665"/>
                    </a:lnTo>
                    <a:lnTo>
                      <a:pt x="556" y="665"/>
                    </a:lnTo>
                    <a:lnTo>
                      <a:pt x="554" y="661"/>
                    </a:lnTo>
                    <a:lnTo>
                      <a:pt x="550" y="657"/>
                    </a:lnTo>
                    <a:lnTo>
                      <a:pt x="550" y="656"/>
                    </a:lnTo>
                    <a:lnTo>
                      <a:pt x="550" y="656"/>
                    </a:lnTo>
                    <a:lnTo>
                      <a:pt x="546" y="652"/>
                    </a:lnTo>
                    <a:lnTo>
                      <a:pt x="546" y="649"/>
                    </a:lnTo>
                    <a:lnTo>
                      <a:pt x="546" y="649"/>
                    </a:lnTo>
                    <a:lnTo>
                      <a:pt x="544" y="648"/>
                    </a:lnTo>
                    <a:lnTo>
                      <a:pt x="544" y="648"/>
                    </a:lnTo>
                    <a:lnTo>
                      <a:pt x="540" y="641"/>
                    </a:lnTo>
                    <a:lnTo>
                      <a:pt x="540" y="641"/>
                    </a:lnTo>
                    <a:lnTo>
                      <a:pt x="535" y="641"/>
                    </a:lnTo>
                    <a:lnTo>
                      <a:pt x="535" y="641"/>
                    </a:lnTo>
                    <a:lnTo>
                      <a:pt x="532" y="642"/>
                    </a:lnTo>
                    <a:lnTo>
                      <a:pt x="527" y="644"/>
                    </a:lnTo>
                    <a:lnTo>
                      <a:pt x="527" y="644"/>
                    </a:lnTo>
                    <a:lnTo>
                      <a:pt x="527" y="644"/>
                    </a:lnTo>
                    <a:lnTo>
                      <a:pt x="526" y="644"/>
                    </a:lnTo>
                    <a:lnTo>
                      <a:pt x="526" y="644"/>
                    </a:lnTo>
                    <a:lnTo>
                      <a:pt x="521" y="648"/>
                    </a:lnTo>
                    <a:lnTo>
                      <a:pt x="521" y="648"/>
                    </a:lnTo>
                    <a:lnTo>
                      <a:pt x="521" y="648"/>
                    </a:lnTo>
                    <a:lnTo>
                      <a:pt x="521" y="648"/>
                    </a:lnTo>
                    <a:lnTo>
                      <a:pt x="523" y="648"/>
                    </a:lnTo>
                    <a:lnTo>
                      <a:pt x="525" y="646"/>
                    </a:lnTo>
                    <a:lnTo>
                      <a:pt x="525" y="646"/>
                    </a:lnTo>
                    <a:lnTo>
                      <a:pt x="526" y="644"/>
                    </a:lnTo>
                    <a:lnTo>
                      <a:pt x="526" y="644"/>
                    </a:lnTo>
                    <a:lnTo>
                      <a:pt x="526" y="645"/>
                    </a:lnTo>
                    <a:lnTo>
                      <a:pt x="526" y="645"/>
                    </a:lnTo>
                    <a:lnTo>
                      <a:pt x="526" y="649"/>
                    </a:lnTo>
                    <a:lnTo>
                      <a:pt x="526" y="652"/>
                    </a:lnTo>
                    <a:lnTo>
                      <a:pt x="519" y="657"/>
                    </a:lnTo>
                    <a:lnTo>
                      <a:pt x="519" y="657"/>
                    </a:lnTo>
                    <a:lnTo>
                      <a:pt x="519" y="657"/>
                    </a:lnTo>
                    <a:lnTo>
                      <a:pt x="519" y="657"/>
                    </a:lnTo>
                    <a:lnTo>
                      <a:pt x="522" y="657"/>
                    </a:lnTo>
                    <a:lnTo>
                      <a:pt x="523" y="656"/>
                    </a:lnTo>
                    <a:lnTo>
                      <a:pt x="523" y="656"/>
                    </a:lnTo>
                    <a:lnTo>
                      <a:pt x="525" y="653"/>
                    </a:lnTo>
                    <a:lnTo>
                      <a:pt x="525" y="653"/>
                    </a:lnTo>
                    <a:lnTo>
                      <a:pt x="525" y="654"/>
                    </a:lnTo>
                    <a:lnTo>
                      <a:pt x="525" y="654"/>
                    </a:lnTo>
                    <a:lnTo>
                      <a:pt x="525" y="658"/>
                    </a:lnTo>
                    <a:lnTo>
                      <a:pt x="525" y="658"/>
                    </a:lnTo>
                    <a:lnTo>
                      <a:pt x="525" y="660"/>
                    </a:lnTo>
                    <a:lnTo>
                      <a:pt x="525" y="660"/>
                    </a:lnTo>
                    <a:lnTo>
                      <a:pt x="525" y="660"/>
                    </a:lnTo>
                    <a:lnTo>
                      <a:pt x="525" y="660"/>
                    </a:lnTo>
                    <a:lnTo>
                      <a:pt x="522" y="664"/>
                    </a:lnTo>
                    <a:lnTo>
                      <a:pt x="522" y="664"/>
                    </a:lnTo>
                    <a:lnTo>
                      <a:pt x="519" y="665"/>
                    </a:lnTo>
                    <a:lnTo>
                      <a:pt x="517" y="666"/>
                    </a:lnTo>
                    <a:lnTo>
                      <a:pt x="517" y="666"/>
                    </a:lnTo>
                    <a:lnTo>
                      <a:pt x="513" y="665"/>
                    </a:lnTo>
                    <a:lnTo>
                      <a:pt x="510" y="664"/>
                    </a:lnTo>
                    <a:lnTo>
                      <a:pt x="503" y="657"/>
                    </a:lnTo>
                    <a:lnTo>
                      <a:pt x="503" y="657"/>
                    </a:lnTo>
                    <a:lnTo>
                      <a:pt x="502" y="656"/>
                    </a:lnTo>
                    <a:lnTo>
                      <a:pt x="502" y="656"/>
                    </a:lnTo>
                    <a:lnTo>
                      <a:pt x="505" y="662"/>
                    </a:lnTo>
                    <a:lnTo>
                      <a:pt x="505" y="666"/>
                    </a:lnTo>
                    <a:lnTo>
                      <a:pt x="505" y="672"/>
                    </a:lnTo>
                    <a:lnTo>
                      <a:pt x="505" y="672"/>
                    </a:lnTo>
                    <a:lnTo>
                      <a:pt x="503" y="676"/>
                    </a:lnTo>
                    <a:lnTo>
                      <a:pt x="502" y="678"/>
                    </a:lnTo>
                    <a:lnTo>
                      <a:pt x="502" y="678"/>
                    </a:lnTo>
                    <a:lnTo>
                      <a:pt x="501" y="678"/>
                    </a:lnTo>
                    <a:lnTo>
                      <a:pt x="498" y="682"/>
                    </a:lnTo>
                    <a:lnTo>
                      <a:pt x="498" y="682"/>
                    </a:lnTo>
                    <a:lnTo>
                      <a:pt x="498" y="682"/>
                    </a:lnTo>
                    <a:lnTo>
                      <a:pt x="498" y="682"/>
                    </a:lnTo>
                    <a:lnTo>
                      <a:pt x="498" y="685"/>
                    </a:lnTo>
                    <a:lnTo>
                      <a:pt x="498" y="686"/>
                    </a:lnTo>
                    <a:lnTo>
                      <a:pt x="498" y="686"/>
                    </a:lnTo>
                    <a:lnTo>
                      <a:pt x="498" y="694"/>
                    </a:lnTo>
                    <a:lnTo>
                      <a:pt x="497" y="702"/>
                    </a:lnTo>
                    <a:lnTo>
                      <a:pt x="495" y="709"/>
                    </a:lnTo>
                    <a:lnTo>
                      <a:pt x="493" y="715"/>
                    </a:lnTo>
                    <a:lnTo>
                      <a:pt x="493" y="715"/>
                    </a:lnTo>
                    <a:lnTo>
                      <a:pt x="491" y="718"/>
                    </a:lnTo>
                    <a:lnTo>
                      <a:pt x="490" y="720"/>
                    </a:lnTo>
                    <a:lnTo>
                      <a:pt x="490" y="720"/>
                    </a:lnTo>
                    <a:lnTo>
                      <a:pt x="489" y="723"/>
                    </a:lnTo>
                    <a:lnTo>
                      <a:pt x="486" y="726"/>
                    </a:lnTo>
                    <a:lnTo>
                      <a:pt x="486" y="726"/>
                    </a:lnTo>
                    <a:lnTo>
                      <a:pt x="484" y="730"/>
                    </a:lnTo>
                    <a:lnTo>
                      <a:pt x="481" y="735"/>
                    </a:lnTo>
                    <a:lnTo>
                      <a:pt x="481" y="735"/>
                    </a:lnTo>
                    <a:lnTo>
                      <a:pt x="477" y="743"/>
                    </a:lnTo>
                    <a:lnTo>
                      <a:pt x="474" y="747"/>
                    </a:lnTo>
                    <a:lnTo>
                      <a:pt x="472" y="751"/>
                    </a:lnTo>
                    <a:lnTo>
                      <a:pt x="468" y="751"/>
                    </a:lnTo>
                    <a:lnTo>
                      <a:pt x="468" y="751"/>
                    </a:lnTo>
                    <a:lnTo>
                      <a:pt x="468" y="751"/>
                    </a:lnTo>
                    <a:lnTo>
                      <a:pt x="464" y="751"/>
                    </a:lnTo>
                    <a:lnTo>
                      <a:pt x="462" y="750"/>
                    </a:lnTo>
                    <a:lnTo>
                      <a:pt x="461" y="750"/>
                    </a:lnTo>
                    <a:lnTo>
                      <a:pt x="461" y="750"/>
                    </a:lnTo>
                    <a:lnTo>
                      <a:pt x="460" y="750"/>
                    </a:lnTo>
                    <a:lnTo>
                      <a:pt x="460" y="750"/>
                    </a:lnTo>
                    <a:lnTo>
                      <a:pt x="460" y="750"/>
                    </a:lnTo>
                    <a:lnTo>
                      <a:pt x="460" y="750"/>
                    </a:lnTo>
                    <a:lnTo>
                      <a:pt x="457" y="755"/>
                    </a:lnTo>
                    <a:lnTo>
                      <a:pt x="454" y="758"/>
                    </a:lnTo>
                    <a:lnTo>
                      <a:pt x="454" y="758"/>
                    </a:lnTo>
                    <a:lnTo>
                      <a:pt x="456" y="756"/>
                    </a:lnTo>
                    <a:lnTo>
                      <a:pt x="456" y="756"/>
                    </a:lnTo>
                    <a:lnTo>
                      <a:pt x="453" y="758"/>
                    </a:lnTo>
                    <a:lnTo>
                      <a:pt x="450" y="759"/>
                    </a:lnTo>
                    <a:lnTo>
                      <a:pt x="445" y="756"/>
                    </a:lnTo>
                    <a:lnTo>
                      <a:pt x="445" y="756"/>
                    </a:lnTo>
                    <a:lnTo>
                      <a:pt x="444" y="755"/>
                    </a:lnTo>
                    <a:lnTo>
                      <a:pt x="443" y="755"/>
                    </a:lnTo>
                    <a:lnTo>
                      <a:pt x="443" y="755"/>
                    </a:lnTo>
                    <a:lnTo>
                      <a:pt x="436" y="747"/>
                    </a:lnTo>
                    <a:lnTo>
                      <a:pt x="432" y="744"/>
                    </a:lnTo>
                    <a:lnTo>
                      <a:pt x="427" y="743"/>
                    </a:lnTo>
                    <a:lnTo>
                      <a:pt x="427" y="743"/>
                    </a:lnTo>
                    <a:lnTo>
                      <a:pt x="427" y="742"/>
                    </a:lnTo>
                    <a:lnTo>
                      <a:pt x="427" y="742"/>
                    </a:lnTo>
                    <a:lnTo>
                      <a:pt x="427" y="742"/>
                    </a:lnTo>
                    <a:lnTo>
                      <a:pt x="427" y="742"/>
                    </a:lnTo>
                    <a:lnTo>
                      <a:pt x="425" y="740"/>
                    </a:lnTo>
                    <a:lnTo>
                      <a:pt x="425" y="740"/>
                    </a:lnTo>
                    <a:lnTo>
                      <a:pt x="425" y="739"/>
                    </a:lnTo>
                    <a:lnTo>
                      <a:pt x="425" y="739"/>
                    </a:lnTo>
                    <a:lnTo>
                      <a:pt x="427" y="736"/>
                    </a:lnTo>
                    <a:lnTo>
                      <a:pt x="427" y="735"/>
                    </a:lnTo>
                    <a:lnTo>
                      <a:pt x="424" y="739"/>
                    </a:lnTo>
                    <a:lnTo>
                      <a:pt x="421" y="735"/>
                    </a:lnTo>
                    <a:lnTo>
                      <a:pt x="421" y="735"/>
                    </a:lnTo>
                    <a:lnTo>
                      <a:pt x="421" y="736"/>
                    </a:lnTo>
                    <a:lnTo>
                      <a:pt x="421" y="739"/>
                    </a:lnTo>
                    <a:lnTo>
                      <a:pt x="421" y="739"/>
                    </a:lnTo>
                    <a:lnTo>
                      <a:pt x="423" y="740"/>
                    </a:lnTo>
                    <a:lnTo>
                      <a:pt x="423" y="742"/>
                    </a:lnTo>
                    <a:lnTo>
                      <a:pt x="423" y="742"/>
                    </a:lnTo>
                    <a:lnTo>
                      <a:pt x="424" y="742"/>
                    </a:lnTo>
                    <a:lnTo>
                      <a:pt x="424" y="742"/>
                    </a:lnTo>
                    <a:lnTo>
                      <a:pt x="421" y="743"/>
                    </a:lnTo>
                    <a:lnTo>
                      <a:pt x="419" y="744"/>
                    </a:lnTo>
                    <a:lnTo>
                      <a:pt x="416" y="744"/>
                    </a:lnTo>
                    <a:lnTo>
                      <a:pt x="416" y="744"/>
                    </a:lnTo>
                    <a:lnTo>
                      <a:pt x="415" y="744"/>
                    </a:lnTo>
                    <a:lnTo>
                      <a:pt x="413" y="744"/>
                    </a:lnTo>
                    <a:lnTo>
                      <a:pt x="412" y="748"/>
                    </a:lnTo>
                    <a:lnTo>
                      <a:pt x="412" y="748"/>
                    </a:lnTo>
                    <a:lnTo>
                      <a:pt x="411" y="755"/>
                    </a:lnTo>
                    <a:lnTo>
                      <a:pt x="411" y="760"/>
                    </a:lnTo>
                    <a:lnTo>
                      <a:pt x="412" y="763"/>
                    </a:lnTo>
                    <a:lnTo>
                      <a:pt x="412" y="765"/>
                    </a:lnTo>
                    <a:lnTo>
                      <a:pt x="412" y="771"/>
                    </a:lnTo>
                    <a:lnTo>
                      <a:pt x="412" y="771"/>
                    </a:lnTo>
                    <a:lnTo>
                      <a:pt x="412" y="775"/>
                    </a:lnTo>
                    <a:lnTo>
                      <a:pt x="411" y="776"/>
                    </a:lnTo>
                    <a:lnTo>
                      <a:pt x="411" y="776"/>
                    </a:lnTo>
                    <a:lnTo>
                      <a:pt x="410" y="779"/>
                    </a:lnTo>
                    <a:lnTo>
                      <a:pt x="406" y="780"/>
                    </a:lnTo>
                    <a:lnTo>
                      <a:pt x="406" y="780"/>
                    </a:lnTo>
                    <a:lnTo>
                      <a:pt x="403" y="779"/>
                    </a:lnTo>
                    <a:lnTo>
                      <a:pt x="403" y="779"/>
                    </a:lnTo>
                    <a:lnTo>
                      <a:pt x="402" y="780"/>
                    </a:lnTo>
                    <a:lnTo>
                      <a:pt x="402" y="780"/>
                    </a:lnTo>
                    <a:lnTo>
                      <a:pt x="399" y="780"/>
                    </a:lnTo>
                    <a:lnTo>
                      <a:pt x="399" y="781"/>
                    </a:lnTo>
                    <a:lnTo>
                      <a:pt x="399" y="781"/>
                    </a:lnTo>
                    <a:lnTo>
                      <a:pt x="396" y="783"/>
                    </a:lnTo>
                    <a:lnTo>
                      <a:pt x="392" y="783"/>
                    </a:lnTo>
                    <a:lnTo>
                      <a:pt x="392" y="783"/>
                    </a:lnTo>
                    <a:lnTo>
                      <a:pt x="388" y="783"/>
                    </a:lnTo>
                    <a:lnTo>
                      <a:pt x="388" y="783"/>
                    </a:lnTo>
                    <a:lnTo>
                      <a:pt x="386" y="783"/>
                    </a:lnTo>
                    <a:lnTo>
                      <a:pt x="386" y="784"/>
                    </a:lnTo>
                    <a:lnTo>
                      <a:pt x="386" y="787"/>
                    </a:lnTo>
                    <a:lnTo>
                      <a:pt x="386" y="787"/>
                    </a:lnTo>
                    <a:lnTo>
                      <a:pt x="387" y="789"/>
                    </a:lnTo>
                    <a:lnTo>
                      <a:pt x="390" y="792"/>
                    </a:lnTo>
                    <a:lnTo>
                      <a:pt x="390" y="792"/>
                    </a:lnTo>
                    <a:lnTo>
                      <a:pt x="392" y="795"/>
                    </a:lnTo>
                    <a:lnTo>
                      <a:pt x="395" y="799"/>
                    </a:lnTo>
                    <a:lnTo>
                      <a:pt x="396" y="802"/>
                    </a:lnTo>
                    <a:lnTo>
                      <a:pt x="395" y="809"/>
                    </a:lnTo>
                    <a:lnTo>
                      <a:pt x="392" y="810"/>
                    </a:lnTo>
                    <a:lnTo>
                      <a:pt x="392" y="810"/>
                    </a:lnTo>
                    <a:lnTo>
                      <a:pt x="392" y="810"/>
                    </a:lnTo>
                    <a:lnTo>
                      <a:pt x="386" y="816"/>
                    </a:lnTo>
                    <a:lnTo>
                      <a:pt x="386" y="816"/>
                    </a:lnTo>
                    <a:lnTo>
                      <a:pt x="378" y="822"/>
                    </a:lnTo>
                    <a:lnTo>
                      <a:pt x="372" y="829"/>
                    </a:lnTo>
                    <a:lnTo>
                      <a:pt x="374" y="830"/>
                    </a:lnTo>
                    <a:lnTo>
                      <a:pt x="374" y="832"/>
                    </a:lnTo>
                    <a:lnTo>
                      <a:pt x="374" y="832"/>
                    </a:lnTo>
                    <a:lnTo>
                      <a:pt x="374" y="834"/>
                    </a:lnTo>
                    <a:lnTo>
                      <a:pt x="375" y="836"/>
                    </a:lnTo>
                    <a:lnTo>
                      <a:pt x="375" y="836"/>
                    </a:lnTo>
                    <a:lnTo>
                      <a:pt x="376" y="839"/>
                    </a:lnTo>
                    <a:lnTo>
                      <a:pt x="378" y="845"/>
                    </a:lnTo>
                    <a:lnTo>
                      <a:pt x="371" y="850"/>
                    </a:lnTo>
                    <a:lnTo>
                      <a:pt x="369" y="850"/>
                    </a:lnTo>
                    <a:lnTo>
                      <a:pt x="369" y="850"/>
                    </a:lnTo>
                    <a:lnTo>
                      <a:pt x="366" y="850"/>
                    </a:lnTo>
                    <a:lnTo>
                      <a:pt x="366" y="850"/>
                    </a:lnTo>
                    <a:lnTo>
                      <a:pt x="363" y="850"/>
                    </a:lnTo>
                    <a:lnTo>
                      <a:pt x="361" y="849"/>
                    </a:lnTo>
                    <a:lnTo>
                      <a:pt x="359" y="849"/>
                    </a:lnTo>
                    <a:lnTo>
                      <a:pt x="359" y="849"/>
                    </a:lnTo>
                    <a:lnTo>
                      <a:pt x="355" y="845"/>
                    </a:lnTo>
                    <a:lnTo>
                      <a:pt x="353" y="842"/>
                    </a:lnTo>
                    <a:lnTo>
                      <a:pt x="353" y="842"/>
                    </a:lnTo>
                    <a:lnTo>
                      <a:pt x="351" y="839"/>
                    </a:lnTo>
                    <a:lnTo>
                      <a:pt x="350" y="837"/>
                    </a:lnTo>
                    <a:lnTo>
                      <a:pt x="350" y="837"/>
                    </a:lnTo>
                    <a:lnTo>
                      <a:pt x="351" y="838"/>
                    </a:lnTo>
                    <a:lnTo>
                      <a:pt x="351" y="838"/>
                    </a:lnTo>
                    <a:lnTo>
                      <a:pt x="349" y="836"/>
                    </a:lnTo>
                    <a:lnTo>
                      <a:pt x="349" y="836"/>
                    </a:lnTo>
                    <a:lnTo>
                      <a:pt x="347" y="830"/>
                    </a:lnTo>
                    <a:lnTo>
                      <a:pt x="347" y="830"/>
                    </a:lnTo>
                    <a:lnTo>
                      <a:pt x="342" y="822"/>
                    </a:lnTo>
                    <a:lnTo>
                      <a:pt x="342" y="822"/>
                    </a:lnTo>
                    <a:lnTo>
                      <a:pt x="342" y="822"/>
                    </a:lnTo>
                    <a:lnTo>
                      <a:pt x="339" y="817"/>
                    </a:lnTo>
                    <a:lnTo>
                      <a:pt x="339" y="817"/>
                    </a:lnTo>
                    <a:lnTo>
                      <a:pt x="338" y="814"/>
                    </a:lnTo>
                    <a:lnTo>
                      <a:pt x="335" y="810"/>
                    </a:lnTo>
                    <a:lnTo>
                      <a:pt x="335" y="809"/>
                    </a:lnTo>
                    <a:lnTo>
                      <a:pt x="335" y="809"/>
                    </a:lnTo>
                    <a:lnTo>
                      <a:pt x="335" y="808"/>
                    </a:lnTo>
                    <a:lnTo>
                      <a:pt x="335" y="808"/>
                    </a:lnTo>
                    <a:lnTo>
                      <a:pt x="337" y="808"/>
                    </a:lnTo>
                    <a:lnTo>
                      <a:pt x="333" y="802"/>
                    </a:lnTo>
                    <a:lnTo>
                      <a:pt x="333" y="801"/>
                    </a:lnTo>
                    <a:lnTo>
                      <a:pt x="333" y="801"/>
                    </a:lnTo>
                    <a:lnTo>
                      <a:pt x="329" y="797"/>
                    </a:lnTo>
                    <a:lnTo>
                      <a:pt x="325" y="793"/>
                    </a:lnTo>
                    <a:lnTo>
                      <a:pt x="324" y="791"/>
                    </a:lnTo>
                    <a:lnTo>
                      <a:pt x="324" y="791"/>
                    </a:lnTo>
                    <a:lnTo>
                      <a:pt x="324" y="791"/>
                    </a:lnTo>
                    <a:lnTo>
                      <a:pt x="321" y="787"/>
                    </a:lnTo>
                    <a:lnTo>
                      <a:pt x="317" y="784"/>
                    </a:lnTo>
                    <a:lnTo>
                      <a:pt x="314" y="781"/>
                    </a:lnTo>
                    <a:lnTo>
                      <a:pt x="314" y="781"/>
                    </a:lnTo>
                    <a:lnTo>
                      <a:pt x="314" y="781"/>
                    </a:lnTo>
                    <a:lnTo>
                      <a:pt x="314" y="781"/>
                    </a:lnTo>
                    <a:lnTo>
                      <a:pt x="314" y="780"/>
                    </a:lnTo>
                    <a:lnTo>
                      <a:pt x="314" y="780"/>
                    </a:lnTo>
                    <a:lnTo>
                      <a:pt x="313" y="779"/>
                    </a:lnTo>
                    <a:lnTo>
                      <a:pt x="312" y="776"/>
                    </a:lnTo>
                    <a:lnTo>
                      <a:pt x="312" y="776"/>
                    </a:lnTo>
                    <a:lnTo>
                      <a:pt x="309" y="769"/>
                    </a:lnTo>
                    <a:lnTo>
                      <a:pt x="309" y="769"/>
                    </a:lnTo>
                    <a:lnTo>
                      <a:pt x="308" y="765"/>
                    </a:lnTo>
                    <a:lnTo>
                      <a:pt x="306" y="763"/>
                    </a:lnTo>
                    <a:lnTo>
                      <a:pt x="306" y="763"/>
                    </a:lnTo>
                    <a:lnTo>
                      <a:pt x="306" y="763"/>
                    </a:lnTo>
                    <a:lnTo>
                      <a:pt x="305" y="759"/>
                    </a:lnTo>
                    <a:lnTo>
                      <a:pt x="305" y="759"/>
                    </a:lnTo>
                    <a:lnTo>
                      <a:pt x="305" y="759"/>
                    </a:lnTo>
                    <a:lnTo>
                      <a:pt x="305" y="759"/>
                    </a:lnTo>
                    <a:lnTo>
                      <a:pt x="305" y="760"/>
                    </a:lnTo>
                    <a:lnTo>
                      <a:pt x="305" y="759"/>
                    </a:lnTo>
                    <a:lnTo>
                      <a:pt x="306" y="759"/>
                    </a:lnTo>
                    <a:lnTo>
                      <a:pt x="302" y="755"/>
                    </a:lnTo>
                    <a:lnTo>
                      <a:pt x="302" y="755"/>
                    </a:lnTo>
                    <a:lnTo>
                      <a:pt x="302" y="758"/>
                    </a:lnTo>
                    <a:lnTo>
                      <a:pt x="302" y="758"/>
                    </a:lnTo>
                    <a:lnTo>
                      <a:pt x="301" y="755"/>
                    </a:lnTo>
                    <a:lnTo>
                      <a:pt x="301" y="752"/>
                    </a:lnTo>
                    <a:lnTo>
                      <a:pt x="301" y="752"/>
                    </a:lnTo>
                    <a:lnTo>
                      <a:pt x="300" y="752"/>
                    </a:lnTo>
                    <a:lnTo>
                      <a:pt x="300" y="752"/>
                    </a:lnTo>
                    <a:lnTo>
                      <a:pt x="297" y="748"/>
                    </a:lnTo>
                    <a:lnTo>
                      <a:pt x="297" y="746"/>
                    </a:lnTo>
                    <a:lnTo>
                      <a:pt x="297" y="743"/>
                    </a:lnTo>
                    <a:lnTo>
                      <a:pt x="297" y="743"/>
                    </a:lnTo>
                    <a:lnTo>
                      <a:pt x="296" y="739"/>
                    </a:lnTo>
                    <a:lnTo>
                      <a:pt x="294" y="736"/>
                    </a:lnTo>
                    <a:lnTo>
                      <a:pt x="293" y="734"/>
                    </a:lnTo>
                    <a:lnTo>
                      <a:pt x="293" y="734"/>
                    </a:lnTo>
                    <a:lnTo>
                      <a:pt x="293" y="734"/>
                    </a:lnTo>
                    <a:lnTo>
                      <a:pt x="288" y="728"/>
                    </a:lnTo>
                    <a:lnTo>
                      <a:pt x="283" y="723"/>
                    </a:lnTo>
                    <a:lnTo>
                      <a:pt x="280" y="719"/>
                    </a:lnTo>
                    <a:lnTo>
                      <a:pt x="280" y="718"/>
                    </a:lnTo>
                    <a:lnTo>
                      <a:pt x="280" y="718"/>
                    </a:lnTo>
                    <a:lnTo>
                      <a:pt x="277" y="713"/>
                    </a:lnTo>
                    <a:lnTo>
                      <a:pt x="273" y="709"/>
                    </a:lnTo>
                    <a:lnTo>
                      <a:pt x="271" y="703"/>
                    </a:lnTo>
                    <a:lnTo>
                      <a:pt x="271" y="701"/>
                    </a:lnTo>
                    <a:lnTo>
                      <a:pt x="273" y="699"/>
                    </a:lnTo>
                    <a:lnTo>
                      <a:pt x="273" y="699"/>
                    </a:lnTo>
                    <a:lnTo>
                      <a:pt x="275" y="701"/>
                    </a:lnTo>
                    <a:lnTo>
                      <a:pt x="277" y="702"/>
                    </a:lnTo>
                    <a:lnTo>
                      <a:pt x="277" y="701"/>
                    </a:lnTo>
                    <a:lnTo>
                      <a:pt x="277" y="701"/>
                    </a:lnTo>
                    <a:lnTo>
                      <a:pt x="277" y="699"/>
                    </a:lnTo>
                    <a:lnTo>
                      <a:pt x="275" y="698"/>
                    </a:lnTo>
                    <a:lnTo>
                      <a:pt x="277" y="697"/>
                    </a:lnTo>
                    <a:lnTo>
                      <a:pt x="277" y="695"/>
                    </a:lnTo>
                    <a:lnTo>
                      <a:pt x="277" y="695"/>
                    </a:lnTo>
                    <a:lnTo>
                      <a:pt x="277" y="695"/>
                    </a:lnTo>
                    <a:lnTo>
                      <a:pt x="275" y="698"/>
                    </a:lnTo>
                    <a:lnTo>
                      <a:pt x="273" y="697"/>
                    </a:lnTo>
                    <a:lnTo>
                      <a:pt x="273" y="697"/>
                    </a:lnTo>
                    <a:lnTo>
                      <a:pt x="273" y="698"/>
                    </a:lnTo>
                    <a:lnTo>
                      <a:pt x="273" y="698"/>
                    </a:lnTo>
                    <a:lnTo>
                      <a:pt x="273" y="698"/>
                    </a:lnTo>
                    <a:lnTo>
                      <a:pt x="273" y="698"/>
                    </a:lnTo>
                    <a:lnTo>
                      <a:pt x="268" y="691"/>
                    </a:lnTo>
                    <a:lnTo>
                      <a:pt x="268" y="691"/>
                    </a:lnTo>
                    <a:lnTo>
                      <a:pt x="264" y="687"/>
                    </a:lnTo>
                    <a:lnTo>
                      <a:pt x="263" y="685"/>
                    </a:lnTo>
                    <a:lnTo>
                      <a:pt x="263" y="685"/>
                    </a:lnTo>
                    <a:lnTo>
                      <a:pt x="246" y="657"/>
                    </a:lnTo>
                    <a:lnTo>
                      <a:pt x="246" y="657"/>
                    </a:lnTo>
                    <a:lnTo>
                      <a:pt x="246" y="657"/>
                    </a:lnTo>
                    <a:lnTo>
                      <a:pt x="243" y="653"/>
                    </a:lnTo>
                    <a:lnTo>
                      <a:pt x="242" y="650"/>
                    </a:lnTo>
                    <a:lnTo>
                      <a:pt x="242" y="650"/>
                    </a:lnTo>
                    <a:lnTo>
                      <a:pt x="239" y="645"/>
                    </a:lnTo>
                    <a:lnTo>
                      <a:pt x="239" y="645"/>
                    </a:lnTo>
                    <a:lnTo>
                      <a:pt x="236" y="640"/>
                    </a:lnTo>
                    <a:lnTo>
                      <a:pt x="234" y="637"/>
                    </a:lnTo>
                    <a:lnTo>
                      <a:pt x="232" y="636"/>
                    </a:lnTo>
                    <a:lnTo>
                      <a:pt x="232" y="636"/>
                    </a:lnTo>
                    <a:lnTo>
                      <a:pt x="232" y="636"/>
                    </a:lnTo>
                    <a:lnTo>
                      <a:pt x="230" y="632"/>
                    </a:lnTo>
                    <a:lnTo>
                      <a:pt x="228" y="628"/>
                    </a:lnTo>
                    <a:lnTo>
                      <a:pt x="228" y="628"/>
                    </a:lnTo>
                    <a:lnTo>
                      <a:pt x="228" y="627"/>
                    </a:lnTo>
                    <a:lnTo>
                      <a:pt x="227" y="623"/>
                    </a:lnTo>
                    <a:lnTo>
                      <a:pt x="227" y="621"/>
                    </a:lnTo>
                    <a:lnTo>
                      <a:pt x="227" y="621"/>
                    </a:lnTo>
                    <a:lnTo>
                      <a:pt x="227" y="616"/>
                    </a:lnTo>
                    <a:lnTo>
                      <a:pt x="226" y="615"/>
                    </a:lnTo>
                    <a:lnTo>
                      <a:pt x="226" y="615"/>
                    </a:lnTo>
                    <a:lnTo>
                      <a:pt x="224" y="612"/>
                    </a:lnTo>
                    <a:lnTo>
                      <a:pt x="223" y="608"/>
                    </a:lnTo>
                    <a:lnTo>
                      <a:pt x="223" y="608"/>
                    </a:lnTo>
                    <a:lnTo>
                      <a:pt x="223" y="608"/>
                    </a:lnTo>
                    <a:lnTo>
                      <a:pt x="223" y="607"/>
                    </a:lnTo>
                    <a:lnTo>
                      <a:pt x="219" y="603"/>
                    </a:lnTo>
                    <a:lnTo>
                      <a:pt x="219" y="603"/>
                    </a:lnTo>
                    <a:lnTo>
                      <a:pt x="220" y="604"/>
                    </a:lnTo>
                    <a:lnTo>
                      <a:pt x="220" y="604"/>
                    </a:lnTo>
                    <a:lnTo>
                      <a:pt x="218" y="603"/>
                    </a:lnTo>
                    <a:lnTo>
                      <a:pt x="216" y="599"/>
                    </a:lnTo>
                    <a:lnTo>
                      <a:pt x="216" y="598"/>
                    </a:lnTo>
                    <a:lnTo>
                      <a:pt x="216" y="598"/>
                    </a:lnTo>
                    <a:lnTo>
                      <a:pt x="216" y="598"/>
                    </a:lnTo>
                    <a:lnTo>
                      <a:pt x="216" y="598"/>
                    </a:lnTo>
                    <a:lnTo>
                      <a:pt x="215" y="595"/>
                    </a:lnTo>
                    <a:lnTo>
                      <a:pt x="215" y="590"/>
                    </a:lnTo>
                    <a:lnTo>
                      <a:pt x="215" y="590"/>
                    </a:lnTo>
                    <a:lnTo>
                      <a:pt x="215" y="590"/>
                    </a:lnTo>
                    <a:lnTo>
                      <a:pt x="215" y="590"/>
                    </a:lnTo>
                    <a:lnTo>
                      <a:pt x="215" y="590"/>
                    </a:lnTo>
                    <a:lnTo>
                      <a:pt x="215" y="590"/>
                    </a:lnTo>
                    <a:lnTo>
                      <a:pt x="215" y="590"/>
                    </a:lnTo>
                    <a:lnTo>
                      <a:pt x="213" y="586"/>
                    </a:lnTo>
                    <a:lnTo>
                      <a:pt x="213" y="583"/>
                    </a:lnTo>
                    <a:lnTo>
                      <a:pt x="213" y="583"/>
                    </a:lnTo>
                    <a:lnTo>
                      <a:pt x="213" y="582"/>
                    </a:lnTo>
                    <a:lnTo>
                      <a:pt x="211" y="580"/>
                    </a:lnTo>
                    <a:lnTo>
                      <a:pt x="211" y="580"/>
                    </a:lnTo>
                    <a:lnTo>
                      <a:pt x="209" y="578"/>
                    </a:lnTo>
                    <a:lnTo>
                      <a:pt x="206" y="574"/>
                    </a:lnTo>
                    <a:lnTo>
                      <a:pt x="206" y="572"/>
                    </a:lnTo>
                    <a:lnTo>
                      <a:pt x="206" y="572"/>
                    </a:lnTo>
                    <a:lnTo>
                      <a:pt x="206" y="574"/>
                    </a:lnTo>
                    <a:lnTo>
                      <a:pt x="206" y="574"/>
                    </a:lnTo>
                    <a:lnTo>
                      <a:pt x="209" y="575"/>
                    </a:lnTo>
                    <a:lnTo>
                      <a:pt x="210" y="576"/>
                    </a:lnTo>
                    <a:lnTo>
                      <a:pt x="206" y="572"/>
                    </a:lnTo>
                    <a:lnTo>
                      <a:pt x="206" y="570"/>
                    </a:lnTo>
                    <a:lnTo>
                      <a:pt x="206" y="570"/>
                    </a:lnTo>
                    <a:lnTo>
                      <a:pt x="206" y="571"/>
                    </a:lnTo>
                    <a:lnTo>
                      <a:pt x="205" y="570"/>
                    </a:lnTo>
                    <a:lnTo>
                      <a:pt x="205" y="568"/>
                    </a:lnTo>
                    <a:lnTo>
                      <a:pt x="205" y="568"/>
                    </a:lnTo>
                    <a:lnTo>
                      <a:pt x="205" y="567"/>
                    </a:lnTo>
                    <a:lnTo>
                      <a:pt x="205" y="567"/>
                    </a:lnTo>
                    <a:lnTo>
                      <a:pt x="205" y="567"/>
                    </a:lnTo>
                    <a:lnTo>
                      <a:pt x="202" y="562"/>
                    </a:lnTo>
                    <a:lnTo>
                      <a:pt x="202" y="558"/>
                    </a:lnTo>
                    <a:lnTo>
                      <a:pt x="202" y="558"/>
                    </a:lnTo>
                    <a:lnTo>
                      <a:pt x="202" y="555"/>
                    </a:lnTo>
                    <a:lnTo>
                      <a:pt x="202" y="555"/>
                    </a:lnTo>
                    <a:lnTo>
                      <a:pt x="202" y="555"/>
                    </a:lnTo>
                    <a:lnTo>
                      <a:pt x="202" y="555"/>
                    </a:lnTo>
                    <a:lnTo>
                      <a:pt x="203" y="557"/>
                    </a:lnTo>
                    <a:lnTo>
                      <a:pt x="206" y="558"/>
                    </a:lnTo>
                    <a:lnTo>
                      <a:pt x="201" y="553"/>
                    </a:lnTo>
                    <a:lnTo>
                      <a:pt x="201" y="553"/>
                    </a:lnTo>
                    <a:lnTo>
                      <a:pt x="201" y="553"/>
                    </a:lnTo>
                    <a:lnTo>
                      <a:pt x="201" y="553"/>
                    </a:lnTo>
                    <a:lnTo>
                      <a:pt x="201" y="553"/>
                    </a:lnTo>
                    <a:lnTo>
                      <a:pt x="201" y="553"/>
                    </a:lnTo>
                    <a:lnTo>
                      <a:pt x="201" y="553"/>
                    </a:lnTo>
                    <a:lnTo>
                      <a:pt x="197" y="545"/>
                    </a:lnTo>
                    <a:lnTo>
                      <a:pt x="197" y="545"/>
                    </a:lnTo>
                    <a:lnTo>
                      <a:pt x="195" y="541"/>
                    </a:lnTo>
                    <a:lnTo>
                      <a:pt x="195" y="538"/>
                    </a:lnTo>
                    <a:lnTo>
                      <a:pt x="195" y="537"/>
                    </a:lnTo>
                    <a:lnTo>
                      <a:pt x="195" y="537"/>
                    </a:lnTo>
                    <a:lnTo>
                      <a:pt x="195" y="535"/>
                    </a:lnTo>
                    <a:lnTo>
                      <a:pt x="195" y="535"/>
                    </a:lnTo>
                    <a:lnTo>
                      <a:pt x="195" y="534"/>
                    </a:lnTo>
                    <a:lnTo>
                      <a:pt x="195" y="534"/>
                    </a:lnTo>
                    <a:lnTo>
                      <a:pt x="197" y="537"/>
                    </a:lnTo>
                    <a:lnTo>
                      <a:pt x="199" y="538"/>
                    </a:lnTo>
                    <a:lnTo>
                      <a:pt x="195" y="533"/>
                    </a:lnTo>
                    <a:lnTo>
                      <a:pt x="194" y="534"/>
                    </a:lnTo>
                    <a:lnTo>
                      <a:pt x="194" y="534"/>
                    </a:lnTo>
                    <a:lnTo>
                      <a:pt x="187" y="524"/>
                    </a:lnTo>
                    <a:lnTo>
                      <a:pt x="187" y="524"/>
                    </a:lnTo>
                    <a:lnTo>
                      <a:pt x="183" y="518"/>
                    </a:lnTo>
                    <a:lnTo>
                      <a:pt x="182" y="514"/>
                    </a:lnTo>
                    <a:lnTo>
                      <a:pt x="182" y="514"/>
                    </a:lnTo>
                    <a:lnTo>
                      <a:pt x="182" y="514"/>
                    </a:lnTo>
                    <a:lnTo>
                      <a:pt x="181" y="509"/>
                    </a:lnTo>
                    <a:lnTo>
                      <a:pt x="181" y="509"/>
                    </a:lnTo>
                    <a:lnTo>
                      <a:pt x="179" y="504"/>
                    </a:lnTo>
                    <a:lnTo>
                      <a:pt x="178" y="501"/>
                    </a:lnTo>
                    <a:lnTo>
                      <a:pt x="178" y="501"/>
                    </a:lnTo>
                    <a:lnTo>
                      <a:pt x="175" y="497"/>
                    </a:lnTo>
                    <a:lnTo>
                      <a:pt x="174" y="492"/>
                    </a:lnTo>
                    <a:lnTo>
                      <a:pt x="174" y="492"/>
                    </a:lnTo>
                    <a:lnTo>
                      <a:pt x="173" y="488"/>
                    </a:lnTo>
                    <a:lnTo>
                      <a:pt x="173" y="488"/>
                    </a:lnTo>
                    <a:lnTo>
                      <a:pt x="172" y="485"/>
                    </a:lnTo>
                    <a:lnTo>
                      <a:pt x="172" y="481"/>
                    </a:lnTo>
                    <a:lnTo>
                      <a:pt x="172" y="481"/>
                    </a:lnTo>
                    <a:lnTo>
                      <a:pt x="169" y="476"/>
                    </a:lnTo>
                    <a:lnTo>
                      <a:pt x="168" y="469"/>
                    </a:lnTo>
                    <a:lnTo>
                      <a:pt x="168" y="469"/>
                    </a:lnTo>
                    <a:lnTo>
                      <a:pt x="166" y="463"/>
                    </a:lnTo>
                    <a:lnTo>
                      <a:pt x="166" y="461"/>
                    </a:lnTo>
                    <a:lnTo>
                      <a:pt x="166" y="460"/>
                    </a:lnTo>
                    <a:lnTo>
                      <a:pt x="166" y="460"/>
                    </a:lnTo>
                    <a:lnTo>
                      <a:pt x="166" y="457"/>
                    </a:lnTo>
                    <a:lnTo>
                      <a:pt x="166" y="457"/>
                    </a:lnTo>
                    <a:lnTo>
                      <a:pt x="166" y="457"/>
                    </a:lnTo>
                    <a:lnTo>
                      <a:pt x="166" y="457"/>
                    </a:lnTo>
                    <a:lnTo>
                      <a:pt x="166" y="457"/>
                    </a:lnTo>
                    <a:lnTo>
                      <a:pt x="166" y="457"/>
                    </a:lnTo>
                    <a:lnTo>
                      <a:pt x="168" y="460"/>
                    </a:lnTo>
                    <a:lnTo>
                      <a:pt x="170" y="460"/>
                    </a:lnTo>
                    <a:lnTo>
                      <a:pt x="165" y="453"/>
                    </a:lnTo>
                    <a:lnTo>
                      <a:pt x="165" y="453"/>
                    </a:lnTo>
                    <a:lnTo>
                      <a:pt x="165" y="455"/>
                    </a:lnTo>
                    <a:lnTo>
                      <a:pt x="164" y="453"/>
                    </a:lnTo>
                    <a:lnTo>
                      <a:pt x="164" y="453"/>
                    </a:lnTo>
                    <a:lnTo>
                      <a:pt x="164" y="452"/>
                    </a:lnTo>
                    <a:lnTo>
                      <a:pt x="164" y="452"/>
                    </a:lnTo>
                    <a:lnTo>
                      <a:pt x="162" y="451"/>
                    </a:lnTo>
                    <a:lnTo>
                      <a:pt x="162" y="451"/>
                    </a:lnTo>
                    <a:lnTo>
                      <a:pt x="161" y="449"/>
                    </a:lnTo>
                    <a:lnTo>
                      <a:pt x="160" y="446"/>
                    </a:lnTo>
                    <a:lnTo>
                      <a:pt x="160" y="443"/>
                    </a:lnTo>
                    <a:lnTo>
                      <a:pt x="160" y="443"/>
                    </a:lnTo>
                    <a:lnTo>
                      <a:pt x="160" y="439"/>
                    </a:lnTo>
                    <a:lnTo>
                      <a:pt x="160" y="439"/>
                    </a:lnTo>
                    <a:lnTo>
                      <a:pt x="160" y="438"/>
                    </a:lnTo>
                    <a:lnTo>
                      <a:pt x="160" y="438"/>
                    </a:lnTo>
                    <a:lnTo>
                      <a:pt x="161" y="440"/>
                    </a:lnTo>
                    <a:lnTo>
                      <a:pt x="161" y="440"/>
                    </a:lnTo>
                    <a:lnTo>
                      <a:pt x="165" y="442"/>
                    </a:lnTo>
                    <a:lnTo>
                      <a:pt x="158" y="435"/>
                    </a:lnTo>
                    <a:lnTo>
                      <a:pt x="158" y="435"/>
                    </a:lnTo>
                    <a:lnTo>
                      <a:pt x="158" y="435"/>
                    </a:lnTo>
                    <a:lnTo>
                      <a:pt x="157" y="432"/>
                    </a:lnTo>
                    <a:lnTo>
                      <a:pt x="157" y="432"/>
                    </a:lnTo>
                    <a:lnTo>
                      <a:pt x="153" y="428"/>
                    </a:lnTo>
                    <a:lnTo>
                      <a:pt x="152" y="424"/>
                    </a:lnTo>
                    <a:lnTo>
                      <a:pt x="150" y="420"/>
                    </a:lnTo>
                    <a:lnTo>
                      <a:pt x="150" y="420"/>
                    </a:lnTo>
                    <a:lnTo>
                      <a:pt x="149" y="418"/>
                    </a:lnTo>
                    <a:lnTo>
                      <a:pt x="149" y="418"/>
                    </a:lnTo>
                    <a:lnTo>
                      <a:pt x="149" y="414"/>
                    </a:lnTo>
                    <a:lnTo>
                      <a:pt x="149" y="414"/>
                    </a:lnTo>
                    <a:lnTo>
                      <a:pt x="149" y="412"/>
                    </a:lnTo>
                    <a:lnTo>
                      <a:pt x="149" y="412"/>
                    </a:lnTo>
                    <a:lnTo>
                      <a:pt x="150" y="414"/>
                    </a:lnTo>
                    <a:lnTo>
                      <a:pt x="146" y="408"/>
                    </a:lnTo>
                    <a:lnTo>
                      <a:pt x="146" y="408"/>
                    </a:lnTo>
                    <a:lnTo>
                      <a:pt x="146" y="408"/>
                    </a:lnTo>
                    <a:lnTo>
                      <a:pt x="145" y="406"/>
                    </a:lnTo>
                    <a:lnTo>
                      <a:pt x="144" y="401"/>
                    </a:lnTo>
                    <a:lnTo>
                      <a:pt x="144" y="401"/>
                    </a:lnTo>
                    <a:lnTo>
                      <a:pt x="142" y="395"/>
                    </a:lnTo>
                    <a:lnTo>
                      <a:pt x="142" y="395"/>
                    </a:lnTo>
                    <a:lnTo>
                      <a:pt x="141" y="389"/>
                    </a:lnTo>
                    <a:lnTo>
                      <a:pt x="140" y="386"/>
                    </a:lnTo>
                    <a:lnTo>
                      <a:pt x="138" y="385"/>
                    </a:lnTo>
                    <a:lnTo>
                      <a:pt x="136" y="379"/>
                    </a:lnTo>
                    <a:lnTo>
                      <a:pt x="136" y="379"/>
                    </a:lnTo>
                    <a:lnTo>
                      <a:pt x="136" y="382"/>
                    </a:lnTo>
                    <a:lnTo>
                      <a:pt x="137" y="383"/>
                    </a:lnTo>
                    <a:lnTo>
                      <a:pt x="137" y="383"/>
                    </a:lnTo>
                    <a:lnTo>
                      <a:pt x="135" y="381"/>
                    </a:lnTo>
                    <a:lnTo>
                      <a:pt x="133" y="378"/>
                    </a:lnTo>
                    <a:lnTo>
                      <a:pt x="133" y="374"/>
                    </a:lnTo>
                    <a:lnTo>
                      <a:pt x="133" y="374"/>
                    </a:lnTo>
                    <a:lnTo>
                      <a:pt x="133" y="373"/>
                    </a:lnTo>
                    <a:lnTo>
                      <a:pt x="133" y="373"/>
                    </a:lnTo>
                    <a:lnTo>
                      <a:pt x="133" y="371"/>
                    </a:lnTo>
                    <a:lnTo>
                      <a:pt x="133" y="371"/>
                    </a:lnTo>
                    <a:lnTo>
                      <a:pt x="133" y="373"/>
                    </a:lnTo>
                    <a:lnTo>
                      <a:pt x="136" y="374"/>
                    </a:lnTo>
                    <a:lnTo>
                      <a:pt x="133" y="370"/>
                    </a:lnTo>
                    <a:lnTo>
                      <a:pt x="132" y="371"/>
                    </a:lnTo>
                    <a:lnTo>
                      <a:pt x="132" y="371"/>
                    </a:lnTo>
                    <a:lnTo>
                      <a:pt x="128" y="365"/>
                    </a:lnTo>
                    <a:lnTo>
                      <a:pt x="124" y="358"/>
                    </a:lnTo>
                    <a:lnTo>
                      <a:pt x="124" y="358"/>
                    </a:lnTo>
                    <a:lnTo>
                      <a:pt x="119" y="350"/>
                    </a:lnTo>
                    <a:lnTo>
                      <a:pt x="113" y="341"/>
                    </a:lnTo>
                    <a:lnTo>
                      <a:pt x="112" y="340"/>
                    </a:lnTo>
                    <a:lnTo>
                      <a:pt x="112" y="338"/>
                    </a:lnTo>
                    <a:lnTo>
                      <a:pt x="112" y="338"/>
                    </a:lnTo>
                    <a:lnTo>
                      <a:pt x="112" y="337"/>
                    </a:lnTo>
                    <a:lnTo>
                      <a:pt x="111" y="334"/>
                    </a:lnTo>
                    <a:lnTo>
                      <a:pt x="111" y="334"/>
                    </a:lnTo>
                    <a:lnTo>
                      <a:pt x="108" y="333"/>
                    </a:lnTo>
                    <a:lnTo>
                      <a:pt x="105" y="329"/>
                    </a:lnTo>
                    <a:lnTo>
                      <a:pt x="105" y="327"/>
                    </a:lnTo>
                    <a:lnTo>
                      <a:pt x="105" y="319"/>
                    </a:lnTo>
                    <a:lnTo>
                      <a:pt x="105" y="319"/>
                    </a:lnTo>
                    <a:lnTo>
                      <a:pt x="105" y="319"/>
                    </a:lnTo>
                    <a:lnTo>
                      <a:pt x="105" y="319"/>
                    </a:lnTo>
                    <a:lnTo>
                      <a:pt x="105" y="319"/>
                    </a:lnTo>
                    <a:lnTo>
                      <a:pt x="103" y="313"/>
                    </a:lnTo>
                    <a:lnTo>
                      <a:pt x="103" y="311"/>
                    </a:lnTo>
                    <a:lnTo>
                      <a:pt x="103" y="311"/>
                    </a:lnTo>
                    <a:lnTo>
                      <a:pt x="103" y="311"/>
                    </a:lnTo>
                    <a:lnTo>
                      <a:pt x="103" y="311"/>
                    </a:lnTo>
                    <a:lnTo>
                      <a:pt x="103" y="312"/>
                    </a:lnTo>
                    <a:lnTo>
                      <a:pt x="100" y="307"/>
                    </a:lnTo>
                    <a:lnTo>
                      <a:pt x="100" y="305"/>
                    </a:lnTo>
                    <a:lnTo>
                      <a:pt x="100" y="305"/>
                    </a:lnTo>
                    <a:lnTo>
                      <a:pt x="100" y="304"/>
                    </a:lnTo>
                    <a:lnTo>
                      <a:pt x="100" y="304"/>
                    </a:lnTo>
                    <a:lnTo>
                      <a:pt x="100" y="304"/>
                    </a:lnTo>
                    <a:lnTo>
                      <a:pt x="100" y="304"/>
                    </a:lnTo>
                    <a:lnTo>
                      <a:pt x="103" y="305"/>
                    </a:lnTo>
                    <a:lnTo>
                      <a:pt x="97" y="299"/>
                    </a:lnTo>
                    <a:lnTo>
                      <a:pt x="97" y="299"/>
                    </a:lnTo>
                    <a:lnTo>
                      <a:pt x="97" y="301"/>
                    </a:lnTo>
                    <a:lnTo>
                      <a:pt x="96" y="300"/>
                    </a:lnTo>
                    <a:lnTo>
                      <a:pt x="96" y="300"/>
                    </a:lnTo>
                    <a:lnTo>
                      <a:pt x="96" y="297"/>
                    </a:lnTo>
                    <a:lnTo>
                      <a:pt x="96" y="295"/>
                    </a:lnTo>
                    <a:lnTo>
                      <a:pt x="96" y="295"/>
                    </a:lnTo>
                    <a:lnTo>
                      <a:pt x="92" y="291"/>
                    </a:lnTo>
                    <a:lnTo>
                      <a:pt x="87" y="287"/>
                    </a:lnTo>
                    <a:lnTo>
                      <a:pt x="87" y="287"/>
                    </a:lnTo>
                    <a:lnTo>
                      <a:pt x="79" y="280"/>
                    </a:lnTo>
                    <a:lnTo>
                      <a:pt x="75" y="276"/>
                    </a:lnTo>
                    <a:lnTo>
                      <a:pt x="72" y="272"/>
                    </a:lnTo>
                    <a:lnTo>
                      <a:pt x="72" y="270"/>
                    </a:lnTo>
                    <a:lnTo>
                      <a:pt x="72" y="266"/>
                    </a:lnTo>
                    <a:lnTo>
                      <a:pt x="72" y="266"/>
                    </a:lnTo>
                    <a:lnTo>
                      <a:pt x="71" y="264"/>
                    </a:lnTo>
                    <a:lnTo>
                      <a:pt x="71" y="264"/>
                    </a:lnTo>
                    <a:lnTo>
                      <a:pt x="68" y="262"/>
                    </a:lnTo>
                    <a:lnTo>
                      <a:pt x="66" y="258"/>
                    </a:lnTo>
                    <a:lnTo>
                      <a:pt x="66" y="258"/>
                    </a:lnTo>
                    <a:lnTo>
                      <a:pt x="67" y="259"/>
                    </a:lnTo>
                    <a:lnTo>
                      <a:pt x="67" y="259"/>
                    </a:lnTo>
                    <a:lnTo>
                      <a:pt x="66" y="258"/>
                    </a:lnTo>
                    <a:lnTo>
                      <a:pt x="64" y="254"/>
                    </a:lnTo>
                    <a:lnTo>
                      <a:pt x="64" y="254"/>
                    </a:lnTo>
                    <a:lnTo>
                      <a:pt x="63" y="251"/>
                    </a:lnTo>
                    <a:lnTo>
                      <a:pt x="63" y="251"/>
                    </a:lnTo>
                    <a:lnTo>
                      <a:pt x="60" y="249"/>
                    </a:lnTo>
                    <a:lnTo>
                      <a:pt x="60" y="249"/>
                    </a:lnTo>
                    <a:lnTo>
                      <a:pt x="58" y="247"/>
                    </a:lnTo>
                    <a:lnTo>
                      <a:pt x="58" y="247"/>
                    </a:lnTo>
                    <a:lnTo>
                      <a:pt x="55" y="246"/>
                    </a:lnTo>
                    <a:lnTo>
                      <a:pt x="54" y="246"/>
                    </a:lnTo>
                    <a:lnTo>
                      <a:pt x="54" y="246"/>
                    </a:lnTo>
                    <a:lnTo>
                      <a:pt x="47" y="242"/>
                    </a:lnTo>
                    <a:lnTo>
                      <a:pt x="43" y="237"/>
                    </a:lnTo>
                    <a:lnTo>
                      <a:pt x="39" y="230"/>
                    </a:lnTo>
                    <a:lnTo>
                      <a:pt x="38" y="223"/>
                    </a:lnTo>
                    <a:lnTo>
                      <a:pt x="38" y="223"/>
                    </a:lnTo>
                    <a:lnTo>
                      <a:pt x="34" y="214"/>
                    </a:lnTo>
                    <a:lnTo>
                      <a:pt x="33" y="211"/>
                    </a:lnTo>
                    <a:lnTo>
                      <a:pt x="33" y="211"/>
                    </a:lnTo>
                    <a:lnTo>
                      <a:pt x="31" y="209"/>
                    </a:lnTo>
                    <a:lnTo>
                      <a:pt x="31" y="205"/>
                    </a:lnTo>
                    <a:lnTo>
                      <a:pt x="31" y="205"/>
                    </a:lnTo>
                    <a:lnTo>
                      <a:pt x="31" y="202"/>
                    </a:lnTo>
                    <a:lnTo>
                      <a:pt x="31" y="202"/>
                    </a:lnTo>
                    <a:lnTo>
                      <a:pt x="31" y="202"/>
                    </a:lnTo>
                    <a:lnTo>
                      <a:pt x="31" y="202"/>
                    </a:lnTo>
                    <a:lnTo>
                      <a:pt x="33" y="205"/>
                    </a:lnTo>
                    <a:lnTo>
                      <a:pt x="34" y="205"/>
                    </a:lnTo>
                    <a:lnTo>
                      <a:pt x="30" y="200"/>
                    </a:lnTo>
                    <a:lnTo>
                      <a:pt x="30" y="198"/>
                    </a:lnTo>
                    <a:lnTo>
                      <a:pt x="30" y="198"/>
                    </a:lnTo>
                    <a:lnTo>
                      <a:pt x="30" y="198"/>
                    </a:lnTo>
                    <a:lnTo>
                      <a:pt x="30" y="198"/>
                    </a:lnTo>
                    <a:lnTo>
                      <a:pt x="29" y="198"/>
                    </a:lnTo>
                    <a:lnTo>
                      <a:pt x="29" y="198"/>
                    </a:lnTo>
                    <a:lnTo>
                      <a:pt x="27" y="197"/>
                    </a:lnTo>
                    <a:lnTo>
                      <a:pt x="27" y="197"/>
                    </a:lnTo>
                    <a:lnTo>
                      <a:pt x="14" y="184"/>
                    </a:lnTo>
                    <a:lnTo>
                      <a:pt x="14" y="182"/>
                    </a:lnTo>
                    <a:lnTo>
                      <a:pt x="12" y="181"/>
                    </a:lnTo>
                    <a:lnTo>
                      <a:pt x="12" y="181"/>
                    </a:lnTo>
                    <a:lnTo>
                      <a:pt x="10" y="180"/>
                    </a:lnTo>
                    <a:lnTo>
                      <a:pt x="10" y="180"/>
                    </a:lnTo>
                    <a:lnTo>
                      <a:pt x="10" y="180"/>
                    </a:lnTo>
                    <a:lnTo>
                      <a:pt x="10" y="180"/>
                    </a:lnTo>
                    <a:lnTo>
                      <a:pt x="5" y="180"/>
                    </a:lnTo>
                    <a:lnTo>
                      <a:pt x="4" y="177"/>
                    </a:lnTo>
                    <a:lnTo>
                      <a:pt x="2" y="174"/>
                    </a:lnTo>
                    <a:lnTo>
                      <a:pt x="2" y="174"/>
                    </a:lnTo>
                    <a:lnTo>
                      <a:pt x="2" y="176"/>
                    </a:lnTo>
                    <a:lnTo>
                      <a:pt x="5" y="176"/>
                    </a:lnTo>
                    <a:lnTo>
                      <a:pt x="0" y="171"/>
                    </a:lnTo>
                    <a:lnTo>
                      <a:pt x="0" y="167"/>
                    </a:lnTo>
                    <a:lnTo>
                      <a:pt x="5" y="160"/>
                    </a:lnTo>
                    <a:lnTo>
                      <a:pt x="5" y="160"/>
                    </a:lnTo>
                    <a:lnTo>
                      <a:pt x="2" y="161"/>
                    </a:lnTo>
                    <a:lnTo>
                      <a:pt x="1" y="164"/>
                    </a:lnTo>
                    <a:lnTo>
                      <a:pt x="1" y="164"/>
                    </a:lnTo>
                    <a:lnTo>
                      <a:pt x="1" y="163"/>
                    </a:lnTo>
                    <a:lnTo>
                      <a:pt x="5" y="159"/>
                    </a:lnTo>
                    <a:lnTo>
                      <a:pt x="5" y="159"/>
                    </a:lnTo>
                    <a:lnTo>
                      <a:pt x="5" y="159"/>
                    </a:lnTo>
                    <a:lnTo>
                      <a:pt x="5" y="159"/>
                    </a:lnTo>
                    <a:lnTo>
                      <a:pt x="5" y="157"/>
                    </a:lnTo>
                    <a:lnTo>
                      <a:pt x="5" y="157"/>
                    </a:lnTo>
                    <a:lnTo>
                      <a:pt x="8" y="153"/>
                    </a:lnTo>
                    <a:lnTo>
                      <a:pt x="9" y="153"/>
                    </a:lnTo>
                    <a:lnTo>
                      <a:pt x="9" y="153"/>
                    </a:lnTo>
                    <a:lnTo>
                      <a:pt x="8" y="156"/>
                    </a:lnTo>
                    <a:lnTo>
                      <a:pt x="13" y="152"/>
                    </a:lnTo>
                    <a:lnTo>
                      <a:pt x="13" y="152"/>
                    </a:lnTo>
                    <a:lnTo>
                      <a:pt x="13" y="152"/>
                    </a:lnTo>
                    <a:lnTo>
                      <a:pt x="14" y="151"/>
                    </a:lnTo>
                    <a:lnTo>
                      <a:pt x="14" y="151"/>
                    </a:lnTo>
                    <a:lnTo>
                      <a:pt x="14" y="151"/>
                    </a:lnTo>
                    <a:lnTo>
                      <a:pt x="14" y="151"/>
                    </a:lnTo>
                    <a:lnTo>
                      <a:pt x="16" y="149"/>
                    </a:lnTo>
                    <a:lnTo>
                      <a:pt x="19" y="149"/>
                    </a:lnTo>
                    <a:lnTo>
                      <a:pt x="19" y="149"/>
                    </a:lnTo>
                    <a:lnTo>
                      <a:pt x="21" y="149"/>
                    </a:lnTo>
                    <a:lnTo>
                      <a:pt x="21" y="149"/>
                    </a:lnTo>
                    <a:lnTo>
                      <a:pt x="25" y="148"/>
                    </a:lnTo>
                    <a:lnTo>
                      <a:pt x="27" y="145"/>
                    </a:lnTo>
                    <a:lnTo>
                      <a:pt x="27" y="145"/>
                    </a:lnTo>
                    <a:lnTo>
                      <a:pt x="31" y="144"/>
                    </a:lnTo>
                    <a:lnTo>
                      <a:pt x="35" y="143"/>
                    </a:lnTo>
                    <a:lnTo>
                      <a:pt x="35" y="143"/>
                    </a:lnTo>
                    <a:lnTo>
                      <a:pt x="37" y="141"/>
                    </a:lnTo>
                    <a:lnTo>
                      <a:pt x="38" y="140"/>
                    </a:lnTo>
                    <a:lnTo>
                      <a:pt x="38" y="140"/>
                    </a:lnTo>
                    <a:lnTo>
                      <a:pt x="38" y="137"/>
                    </a:lnTo>
                    <a:lnTo>
                      <a:pt x="38" y="137"/>
                    </a:lnTo>
                    <a:lnTo>
                      <a:pt x="41" y="133"/>
                    </a:lnTo>
                    <a:lnTo>
                      <a:pt x="45" y="131"/>
                    </a:lnTo>
                    <a:lnTo>
                      <a:pt x="45" y="131"/>
                    </a:lnTo>
                    <a:lnTo>
                      <a:pt x="46" y="130"/>
                    </a:lnTo>
                    <a:lnTo>
                      <a:pt x="50" y="127"/>
                    </a:lnTo>
                    <a:lnTo>
                      <a:pt x="50" y="127"/>
                    </a:lnTo>
                    <a:lnTo>
                      <a:pt x="49" y="127"/>
                    </a:lnTo>
                    <a:lnTo>
                      <a:pt x="49" y="127"/>
                    </a:lnTo>
                    <a:lnTo>
                      <a:pt x="51" y="124"/>
                    </a:lnTo>
                    <a:lnTo>
                      <a:pt x="56" y="123"/>
                    </a:lnTo>
                    <a:lnTo>
                      <a:pt x="56" y="123"/>
                    </a:lnTo>
                    <a:lnTo>
                      <a:pt x="59" y="124"/>
                    </a:lnTo>
                    <a:lnTo>
                      <a:pt x="63" y="130"/>
                    </a:lnTo>
                    <a:lnTo>
                      <a:pt x="63" y="132"/>
                    </a:lnTo>
                    <a:lnTo>
                      <a:pt x="63" y="132"/>
                    </a:lnTo>
                    <a:lnTo>
                      <a:pt x="64" y="132"/>
                    </a:lnTo>
                    <a:lnTo>
                      <a:pt x="66" y="131"/>
                    </a:lnTo>
                    <a:lnTo>
                      <a:pt x="66" y="131"/>
                    </a:lnTo>
                    <a:lnTo>
                      <a:pt x="67" y="128"/>
                    </a:lnTo>
                    <a:lnTo>
                      <a:pt x="67" y="128"/>
                    </a:lnTo>
                    <a:lnTo>
                      <a:pt x="75" y="119"/>
                    </a:lnTo>
                    <a:lnTo>
                      <a:pt x="75" y="118"/>
                    </a:lnTo>
                    <a:lnTo>
                      <a:pt x="75" y="116"/>
                    </a:lnTo>
                    <a:lnTo>
                      <a:pt x="75" y="116"/>
                    </a:lnTo>
                    <a:lnTo>
                      <a:pt x="76" y="115"/>
                    </a:lnTo>
                    <a:lnTo>
                      <a:pt x="76" y="115"/>
                    </a:lnTo>
                    <a:lnTo>
                      <a:pt x="75" y="112"/>
                    </a:lnTo>
                    <a:lnTo>
                      <a:pt x="74" y="108"/>
                    </a:lnTo>
                    <a:lnTo>
                      <a:pt x="74" y="106"/>
                    </a:lnTo>
                    <a:lnTo>
                      <a:pt x="76" y="100"/>
                    </a:lnTo>
                    <a:lnTo>
                      <a:pt x="76" y="100"/>
                    </a:lnTo>
                    <a:lnTo>
                      <a:pt x="80" y="98"/>
                    </a:lnTo>
                    <a:lnTo>
                      <a:pt x="82" y="94"/>
                    </a:lnTo>
                    <a:lnTo>
                      <a:pt x="82" y="94"/>
                    </a:lnTo>
                    <a:lnTo>
                      <a:pt x="82" y="94"/>
                    </a:lnTo>
                    <a:lnTo>
                      <a:pt x="82" y="94"/>
                    </a:lnTo>
                    <a:lnTo>
                      <a:pt x="82" y="94"/>
                    </a:lnTo>
                    <a:lnTo>
                      <a:pt x="82" y="94"/>
                    </a:lnTo>
                    <a:lnTo>
                      <a:pt x="78" y="90"/>
                    </a:lnTo>
                    <a:lnTo>
                      <a:pt x="78" y="90"/>
                    </a:lnTo>
                    <a:lnTo>
                      <a:pt x="78" y="90"/>
                    </a:lnTo>
                    <a:lnTo>
                      <a:pt x="76" y="86"/>
                    </a:lnTo>
                    <a:lnTo>
                      <a:pt x="72" y="85"/>
                    </a:lnTo>
                    <a:lnTo>
                      <a:pt x="72" y="85"/>
                    </a:lnTo>
                    <a:lnTo>
                      <a:pt x="68" y="79"/>
                    </a:lnTo>
                    <a:lnTo>
                      <a:pt x="68" y="75"/>
                    </a:lnTo>
                    <a:lnTo>
                      <a:pt x="68" y="70"/>
                    </a:lnTo>
                    <a:lnTo>
                      <a:pt x="72" y="66"/>
                    </a:lnTo>
                    <a:lnTo>
                      <a:pt x="72" y="66"/>
                    </a:lnTo>
                    <a:lnTo>
                      <a:pt x="75" y="65"/>
                    </a:lnTo>
                    <a:lnTo>
                      <a:pt x="75" y="65"/>
                    </a:lnTo>
                    <a:lnTo>
                      <a:pt x="79" y="66"/>
                    </a:lnTo>
                    <a:lnTo>
                      <a:pt x="82" y="67"/>
                    </a:lnTo>
                    <a:lnTo>
                      <a:pt x="82" y="67"/>
                    </a:lnTo>
                    <a:lnTo>
                      <a:pt x="87" y="70"/>
                    </a:lnTo>
                    <a:lnTo>
                      <a:pt x="87" y="70"/>
                    </a:lnTo>
                    <a:lnTo>
                      <a:pt x="84" y="69"/>
                    </a:lnTo>
                    <a:lnTo>
                      <a:pt x="84" y="69"/>
                    </a:lnTo>
                    <a:lnTo>
                      <a:pt x="84" y="69"/>
                    </a:lnTo>
                    <a:lnTo>
                      <a:pt x="84" y="69"/>
                    </a:lnTo>
                    <a:lnTo>
                      <a:pt x="84" y="69"/>
                    </a:lnTo>
                    <a:lnTo>
                      <a:pt x="84" y="62"/>
                    </a:lnTo>
                    <a:lnTo>
                      <a:pt x="84" y="62"/>
                    </a:lnTo>
                    <a:lnTo>
                      <a:pt x="84" y="61"/>
                    </a:lnTo>
                    <a:lnTo>
                      <a:pt x="83" y="57"/>
                    </a:lnTo>
                    <a:lnTo>
                      <a:pt x="90" y="52"/>
                    </a:lnTo>
                    <a:lnTo>
                      <a:pt x="91" y="52"/>
                    </a:lnTo>
                    <a:lnTo>
                      <a:pt x="91" y="48"/>
                    </a:lnTo>
                    <a:lnTo>
                      <a:pt x="97" y="41"/>
                    </a:lnTo>
                    <a:lnTo>
                      <a:pt x="99" y="41"/>
                    </a:lnTo>
                    <a:lnTo>
                      <a:pt x="99" y="41"/>
                    </a:lnTo>
                    <a:lnTo>
                      <a:pt x="99" y="41"/>
                    </a:lnTo>
                    <a:lnTo>
                      <a:pt x="99" y="41"/>
                    </a:lnTo>
                    <a:lnTo>
                      <a:pt x="99" y="41"/>
                    </a:lnTo>
                    <a:lnTo>
                      <a:pt x="99" y="41"/>
                    </a:lnTo>
                    <a:lnTo>
                      <a:pt x="99" y="42"/>
                    </a:lnTo>
                    <a:lnTo>
                      <a:pt x="99" y="42"/>
                    </a:lnTo>
                    <a:lnTo>
                      <a:pt x="99" y="42"/>
                    </a:lnTo>
                    <a:lnTo>
                      <a:pt x="101" y="44"/>
                    </a:lnTo>
                    <a:lnTo>
                      <a:pt x="99" y="40"/>
                    </a:lnTo>
                    <a:lnTo>
                      <a:pt x="97" y="37"/>
                    </a:lnTo>
                    <a:lnTo>
                      <a:pt x="97" y="37"/>
                    </a:lnTo>
                    <a:lnTo>
                      <a:pt x="97" y="38"/>
                    </a:lnTo>
                    <a:lnTo>
                      <a:pt x="96" y="37"/>
                    </a:lnTo>
                    <a:lnTo>
                      <a:pt x="96" y="36"/>
                    </a:lnTo>
                    <a:lnTo>
                      <a:pt x="100" y="32"/>
                    </a:lnTo>
                    <a:lnTo>
                      <a:pt x="100" y="32"/>
                    </a:lnTo>
                    <a:lnTo>
                      <a:pt x="103" y="33"/>
                    </a:lnTo>
                    <a:lnTo>
                      <a:pt x="103" y="32"/>
                    </a:lnTo>
                    <a:lnTo>
                      <a:pt x="101" y="32"/>
                    </a:lnTo>
                    <a:lnTo>
                      <a:pt x="103" y="30"/>
                    </a:lnTo>
                    <a:lnTo>
                      <a:pt x="103" y="30"/>
                    </a:lnTo>
                    <a:lnTo>
                      <a:pt x="103" y="30"/>
                    </a:lnTo>
                    <a:lnTo>
                      <a:pt x="103" y="30"/>
                    </a:lnTo>
                    <a:lnTo>
                      <a:pt x="104" y="29"/>
                    </a:lnTo>
                    <a:lnTo>
                      <a:pt x="104" y="29"/>
                    </a:lnTo>
                    <a:lnTo>
                      <a:pt x="104" y="29"/>
                    </a:lnTo>
                    <a:lnTo>
                      <a:pt x="104" y="29"/>
                    </a:lnTo>
                    <a:lnTo>
                      <a:pt x="100" y="29"/>
                    </a:lnTo>
                    <a:lnTo>
                      <a:pt x="97" y="26"/>
                    </a:lnTo>
                    <a:lnTo>
                      <a:pt x="97" y="25"/>
                    </a:lnTo>
                    <a:lnTo>
                      <a:pt x="97" y="25"/>
                    </a:lnTo>
                    <a:lnTo>
                      <a:pt x="96" y="22"/>
                    </a:lnTo>
                    <a:lnTo>
                      <a:pt x="96" y="17"/>
                    </a:lnTo>
                    <a:lnTo>
                      <a:pt x="99" y="14"/>
                    </a:lnTo>
                    <a:lnTo>
                      <a:pt x="99" y="14"/>
                    </a:lnTo>
                    <a:lnTo>
                      <a:pt x="103" y="12"/>
                    </a:lnTo>
                    <a:lnTo>
                      <a:pt x="105" y="11"/>
                    </a:lnTo>
                    <a:lnTo>
                      <a:pt x="109" y="11"/>
                    </a:lnTo>
                    <a:lnTo>
                      <a:pt x="109" y="11"/>
                    </a:lnTo>
                    <a:lnTo>
                      <a:pt x="112" y="11"/>
                    </a:lnTo>
                    <a:lnTo>
                      <a:pt x="112" y="11"/>
                    </a:lnTo>
                    <a:lnTo>
                      <a:pt x="115" y="12"/>
                    </a:lnTo>
                    <a:lnTo>
                      <a:pt x="115" y="12"/>
                    </a:lnTo>
                    <a:lnTo>
                      <a:pt x="115" y="12"/>
                    </a:lnTo>
                    <a:lnTo>
                      <a:pt x="115" y="12"/>
                    </a:lnTo>
                    <a:lnTo>
                      <a:pt x="117" y="9"/>
                    </a:lnTo>
                    <a:lnTo>
                      <a:pt x="121" y="8"/>
                    </a:lnTo>
                    <a:lnTo>
                      <a:pt x="121" y="8"/>
                    </a:lnTo>
                    <a:lnTo>
                      <a:pt x="124" y="9"/>
                    </a:lnTo>
                    <a:lnTo>
                      <a:pt x="127" y="11"/>
                    </a:lnTo>
                    <a:lnTo>
                      <a:pt x="127" y="11"/>
                    </a:lnTo>
                    <a:lnTo>
                      <a:pt x="127" y="11"/>
                    </a:lnTo>
                    <a:lnTo>
                      <a:pt x="127" y="11"/>
                    </a:lnTo>
                    <a:lnTo>
                      <a:pt x="128" y="7"/>
                    </a:lnTo>
                    <a:lnTo>
                      <a:pt x="132" y="4"/>
                    </a:lnTo>
                    <a:lnTo>
                      <a:pt x="132" y="4"/>
                    </a:lnTo>
                    <a:lnTo>
                      <a:pt x="131" y="5"/>
                    </a:lnTo>
                    <a:lnTo>
                      <a:pt x="129" y="8"/>
                    </a:lnTo>
                    <a:lnTo>
                      <a:pt x="135" y="1"/>
                    </a:lnTo>
                    <a:lnTo>
                      <a:pt x="137" y="1"/>
                    </a:lnTo>
                    <a:lnTo>
                      <a:pt x="137" y="1"/>
                    </a:lnTo>
                    <a:lnTo>
                      <a:pt x="140" y="1"/>
                    </a:lnTo>
                    <a:lnTo>
                      <a:pt x="140" y="1"/>
                    </a:lnTo>
                    <a:lnTo>
                      <a:pt x="144" y="0"/>
                    </a:lnTo>
                    <a:lnTo>
                      <a:pt x="145" y="0"/>
                    </a:lnTo>
                    <a:lnTo>
                      <a:pt x="145" y="0"/>
                    </a:lnTo>
                    <a:lnTo>
                      <a:pt x="150" y="1"/>
                    </a:lnTo>
                    <a:lnTo>
                      <a:pt x="154" y="3"/>
                    </a:lnTo>
                    <a:lnTo>
                      <a:pt x="154" y="3"/>
                    </a:lnTo>
                    <a:lnTo>
                      <a:pt x="157" y="5"/>
                    </a:lnTo>
                    <a:lnTo>
                      <a:pt x="157" y="5"/>
                    </a:lnTo>
                    <a:lnTo>
                      <a:pt x="158" y="9"/>
                    </a:lnTo>
                    <a:lnTo>
                      <a:pt x="158" y="9"/>
                    </a:lnTo>
                    <a:lnTo>
                      <a:pt x="161" y="13"/>
                    </a:lnTo>
                    <a:lnTo>
                      <a:pt x="162" y="13"/>
                    </a:lnTo>
                    <a:lnTo>
                      <a:pt x="164" y="14"/>
                    </a:lnTo>
                    <a:lnTo>
                      <a:pt x="164" y="14"/>
                    </a:lnTo>
                    <a:lnTo>
                      <a:pt x="164" y="14"/>
                    </a:lnTo>
                    <a:lnTo>
                      <a:pt x="165" y="14"/>
                    </a:lnTo>
                    <a:lnTo>
                      <a:pt x="165" y="14"/>
                    </a:lnTo>
                    <a:lnTo>
                      <a:pt x="168" y="14"/>
                    </a:lnTo>
                    <a:lnTo>
                      <a:pt x="168" y="14"/>
                    </a:lnTo>
                    <a:lnTo>
                      <a:pt x="172" y="14"/>
                    </a:lnTo>
                    <a:lnTo>
                      <a:pt x="174" y="16"/>
                    </a:lnTo>
                    <a:lnTo>
                      <a:pt x="175" y="18"/>
                    </a:lnTo>
                    <a:lnTo>
                      <a:pt x="177" y="21"/>
                    </a:lnTo>
                    <a:lnTo>
                      <a:pt x="177" y="22"/>
                    </a:lnTo>
                    <a:lnTo>
                      <a:pt x="177" y="22"/>
                    </a:lnTo>
                    <a:lnTo>
                      <a:pt x="175" y="32"/>
                    </a:lnTo>
                    <a:lnTo>
                      <a:pt x="175" y="40"/>
                    </a:lnTo>
                    <a:lnTo>
                      <a:pt x="177" y="46"/>
                    </a:lnTo>
                    <a:lnTo>
                      <a:pt x="179" y="52"/>
                    </a:lnTo>
                    <a:lnTo>
                      <a:pt x="179" y="52"/>
                    </a:lnTo>
                    <a:lnTo>
                      <a:pt x="182" y="54"/>
                    </a:lnTo>
                    <a:lnTo>
                      <a:pt x="186" y="55"/>
                    </a:lnTo>
                    <a:lnTo>
                      <a:pt x="186" y="55"/>
                    </a:lnTo>
                    <a:lnTo>
                      <a:pt x="194" y="53"/>
                    </a:lnTo>
                    <a:lnTo>
                      <a:pt x="197" y="53"/>
                    </a:lnTo>
                    <a:lnTo>
                      <a:pt x="197" y="53"/>
                    </a:lnTo>
                    <a:lnTo>
                      <a:pt x="197" y="53"/>
                    </a:lnTo>
                    <a:lnTo>
                      <a:pt x="198" y="52"/>
                    </a:lnTo>
                    <a:lnTo>
                      <a:pt x="198" y="52"/>
                    </a:lnTo>
                    <a:lnTo>
                      <a:pt x="201" y="49"/>
                    </a:lnTo>
                    <a:lnTo>
                      <a:pt x="203" y="48"/>
                    </a:lnTo>
                    <a:lnTo>
                      <a:pt x="207" y="48"/>
                    </a:lnTo>
                    <a:lnTo>
                      <a:pt x="207" y="48"/>
                    </a:lnTo>
                    <a:lnTo>
                      <a:pt x="210" y="48"/>
                    </a:lnTo>
                    <a:lnTo>
                      <a:pt x="214" y="50"/>
                    </a:lnTo>
                    <a:lnTo>
                      <a:pt x="214" y="50"/>
                    </a:lnTo>
                    <a:lnTo>
                      <a:pt x="216" y="55"/>
                    </a:lnTo>
                    <a:lnTo>
                      <a:pt x="216" y="55"/>
                    </a:lnTo>
                    <a:lnTo>
                      <a:pt x="222" y="62"/>
                    </a:lnTo>
                    <a:lnTo>
                      <a:pt x="224" y="70"/>
                    </a:lnTo>
                    <a:lnTo>
                      <a:pt x="224" y="71"/>
                    </a:lnTo>
                    <a:lnTo>
                      <a:pt x="224" y="75"/>
                    </a:lnTo>
                    <a:lnTo>
                      <a:pt x="224" y="75"/>
                    </a:lnTo>
                    <a:lnTo>
                      <a:pt x="228" y="79"/>
                    </a:lnTo>
                    <a:lnTo>
                      <a:pt x="228" y="79"/>
                    </a:lnTo>
                    <a:lnTo>
                      <a:pt x="232" y="85"/>
                    </a:lnTo>
                    <a:lnTo>
                      <a:pt x="234" y="87"/>
                    </a:lnTo>
                    <a:lnTo>
                      <a:pt x="234" y="96"/>
                    </a:lnTo>
                    <a:lnTo>
                      <a:pt x="232" y="100"/>
                    </a:lnTo>
                    <a:lnTo>
                      <a:pt x="232" y="100"/>
                    </a:lnTo>
                    <a:lnTo>
                      <a:pt x="231" y="102"/>
                    </a:lnTo>
                    <a:lnTo>
                      <a:pt x="231" y="102"/>
                    </a:lnTo>
                    <a:lnTo>
                      <a:pt x="227" y="107"/>
                    </a:lnTo>
                    <a:lnTo>
                      <a:pt x="224" y="108"/>
                    </a:lnTo>
                    <a:lnTo>
                      <a:pt x="219" y="110"/>
                    </a:lnTo>
                    <a:lnTo>
                      <a:pt x="219" y="110"/>
                    </a:lnTo>
                    <a:lnTo>
                      <a:pt x="219" y="110"/>
                    </a:lnTo>
                    <a:lnTo>
                      <a:pt x="219" y="110"/>
                    </a:lnTo>
                    <a:lnTo>
                      <a:pt x="219" y="110"/>
                    </a:lnTo>
                    <a:lnTo>
                      <a:pt x="219" y="110"/>
                    </a:lnTo>
                    <a:lnTo>
                      <a:pt x="218" y="111"/>
                    </a:lnTo>
                    <a:lnTo>
                      <a:pt x="218" y="112"/>
                    </a:lnTo>
                    <a:lnTo>
                      <a:pt x="218" y="114"/>
                    </a:lnTo>
                    <a:lnTo>
                      <a:pt x="218" y="115"/>
                    </a:lnTo>
                    <a:lnTo>
                      <a:pt x="216" y="116"/>
                    </a:lnTo>
                    <a:lnTo>
                      <a:pt x="216" y="116"/>
                    </a:lnTo>
                    <a:lnTo>
                      <a:pt x="216" y="118"/>
                    </a:lnTo>
                    <a:lnTo>
                      <a:pt x="216" y="118"/>
                    </a:lnTo>
                    <a:lnTo>
                      <a:pt x="215" y="116"/>
                    </a:lnTo>
                    <a:lnTo>
                      <a:pt x="218" y="120"/>
                    </a:lnTo>
                    <a:lnTo>
                      <a:pt x="218" y="120"/>
                    </a:lnTo>
                    <a:lnTo>
                      <a:pt x="222" y="124"/>
                    </a:lnTo>
                    <a:lnTo>
                      <a:pt x="224" y="128"/>
                    </a:lnTo>
                    <a:lnTo>
                      <a:pt x="227" y="133"/>
                    </a:lnTo>
                    <a:lnTo>
                      <a:pt x="228" y="139"/>
                    </a:lnTo>
                    <a:lnTo>
                      <a:pt x="228" y="140"/>
                    </a:lnTo>
                    <a:lnTo>
                      <a:pt x="228" y="140"/>
                    </a:lnTo>
                    <a:lnTo>
                      <a:pt x="230" y="140"/>
                    </a:lnTo>
                    <a:lnTo>
                      <a:pt x="230" y="140"/>
                    </a:lnTo>
                    <a:lnTo>
                      <a:pt x="230" y="140"/>
                    </a:lnTo>
                    <a:lnTo>
                      <a:pt x="230" y="140"/>
                    </a:lnTo>
                    <a:lnTo>
                      <a:pt x="228" y="141"/>
                    </a:lnTo>
                    <a:lnTo>
                      <a:pt x="232" y="137"/>
                    </a:lnTo>
                    <a:lnTo>
                      <a:pt x="232" y="137"/>
                    </a:lnTo>
                    <a:lnTo>
                      <a:pt x="235" y="137"/>
                    </a:lnTo>
                    <a:lnTo>
                      <a:pt x="235" y="137"/>
                    </a:lnTo>
                    <a:lnTo>
                      <a:pt x="236" y="137"/>
                    </a:lnTo>
                    <a:lnTo>
                      <a:pt x="239" y="139"/>
                    </a:lnTo>
                    <a:lnTo>
                      <a:pt x="242" y="141"/>
                    </a:lnTo>
                    <a:lnTo>
                      <a:pt x="243" y="145"/>
                    </a:lnTo>
                    <a:lnTo>
                      <a:pt x="243" y="147"/>
                    </a:lnTo>
                    <a:lnTo>
                      <a:pt x="243" y="148"/>
                    </a:lnTo>
                    <a:lnTo>
                      <a:pt x="242" y="149"/>
                    </a:lnTo>
                    <a:lnTo>
                      <a:pt x="242" y="149"/>
                    </a:lnTo>
                    <a:lnTo>
                      <a:pt x="242" y="149"/>
                    </a:lnTo>
                    <a:lnTo>
                      <a:pt x="242" y="149"/>
                    </a:lnTo>
                    <a:lnTo>
                      <a:pt x="243" y="153"/>
                    </a:lnTo>
                    <a:lnTo>
                      <a:pt x="243" y="159"/>
                    </a:lnTo>
                    <a:lnTo>
                      <a:pt x="242" y="159"/>
                    </a:lnTo>
                    <a:lnTo>
                      <a:pt x="242" y="159"/>
                    </a:lnTo>
                    <a:lnTo>
                      <a:pt x="242" y="161"/>
                    </a:lnTo>
                    <a:lnTo>
                      <a:pt x="242" y="161"/>
                    </a:lnTo>
                    <a:lnTo>
                      <a:pt x="242" y="165"/>
                    </a:lnTo>
                    <a:lnTo>
                      <a:pt x="242" y="165"/>
                    </a:lnTo>
                    <a:lnTo>
                      <a:pt x="240" y="169"/>
                    </a:lnTo>
                    <a:lnTo>
                      <a:pt x="240" y="171"/>
                    </a:lnTo>
                    <a:lnTo>
                      <a:pt x="240" y="171"/>
                    </a:lnTo>
                    <a:lnTo>
                      <a:pt x="240" y="171"/>
                    </a:lnTo>
                    <a:lnTo>
                      <a:pt x="240" y="171"/>
                    </a:lnTo>
                    <a:lnTo>
                      <a:pt x="240" y="169"/>
                    </a:lnTo>
                    <a:lnTo>
                      <a:pt x="238" y="171"/>
                    </a:lnTo>
                    <a:lnTo>
                      <a:pt x="238" y="171"/>
                    </a:lnTo>
                    <a:lnTo>
                      <a:pt x="238" y="171"/>
                    </a:lnTo>
                    <a:lnTo>
                      <a:pt x="238" y="171"/>
                    </a:lnTo>
                    <a:lnTo>
                      <a:pt x="236" y="169"/>
                    </a:lnTo>
                    <a:lnTo>
                      <a:pt x="234" y="168"/>
                    </a:lnTo>
                    <a:lnTo>
                      <a:pt x="234" y="171"/>
                    </a:lnTo>
                    <a:lnTo>
                      <a:pt x="234" y="169"/>
                    </a:lnTo>
                    <a:lnTo>
                      <a:pt x="234" y="171"/>
                    </a:lnTo>
                    <a:lnTo>
                      <a:pt x="236" y="172"/>
                    </a:lnTo>
                    <a:lnTo>
                      <a:pt x="234" y="173"/>
                    </a:lnTo>
                    <a:lnTo>
                      <a:pt x="234" y="174"/>
                    </a:lnTo>
                    <a:lnTo>
                      <a:pt x="234" y="174"/>
                    </a:lnTo>
                    <a:lnTo>
                      <a:pt x="236" y="174"/>
                    </a:lnTo>
                    <a:lnTo>
                      <a:pt x="238" y="173"/>
                    </a:lnTo>
                    <a:lnTo>
                      <a:pt x="240" y="176"/>
                    </a:lnTo>
                    <a:lnTo>
                      <a:pt x="240" y="176"/>
                    </a:lnTo>
                    <a:lnTo>
                      <a:pt x="240" y="174"/>
                    </a:lnTo>
                    <a:lnTo>
                      <a:pt x="242" y="176"/>
                    </a:lnTo>
                    <a:lnTo>
                      <a:pt x="242" y="178"/>
                    </a:lnTo>
                    <a:lnTo>
                      <a:pt x="239" y="180"/>
                    </a:lnTo>
                    <a:lnTo>
                      <a:pt x="239" y="180"/>
                    </a:lnTo>
                    <a:lnTo>
                      <a:pt x="238" y="178"/>
                    </a:lnTo>
                    <a:lnTo>
                      <a:pt x="235" y="178"/>
                    </a:lnTo>
                    <a:lnTo>
                      <a:pt x="235" y="180"/>
                    </a:lnTo>
                    <a:lnTo>
                      <a:pt x="238" y="181"/>
                    </a:lnTo>
                    <a:lnTo>
                      <a:pt x="235" y="182"/>
                    </a:lnTo>
                    <a:lnTo>
                      <a:pt x="235" y="184"/>
                    </a:lnTo>
                    <a:lnTo>
                      <a:pt x="235" y="184"/>
                    </a:lnTo>
                    <a:lnTo>
                      <a:pt x="236" y="184"/>
                    </a:lnTo>
                    <a:lnTo>
                      <a:pt x="235" y="185"/>
                    </a:lnTo>
                    <a:lnTo>
                      <a:pt x="235" y="185"/>
                    </a:lnTo>
                    <a:lnTo>
                      <a:pt x="236" y="185"/>
                    </a:lnTo>
                    <a:lnTo>
                      <a:pt x="236" y="185"/>
                    </a:lnTo>
                    <a:lnTo>
                      <a:pt x="236" y="185"/>
                    </a:lnTo>
                    <a:lnTo>
                      <a:pt x="239" y="182"/>
                    </a:lnTo>
                    <a:lnTo>
                      <a:pt x="242" y="184"/>
                    </a:lnTo>
                    <a:lnTo>
                      <a:pt x="242" y="184"/>
                    </a:lnTo>
                    <a:lnTo>
                      <a:pt x="242" y="184"/>
                    </a:lnTo>
                    <a:lnTo>
                      <a:pt x="240" y="182"/>
                    </a:lnTo>
                    <a:lnTo>
                      <a:pt x="240" y="182"/>
                    </a:lnTo>
                    <a:lnTo>
                      <a:pt x="240" y="182"/>
                    </a:lnTo>
                    <a:lnTo>
                      <a:pt x="240" y="182"/>
                    </a:lnTo>
                    <a:lnTo>
                      <a:pt x="239" y="182"/>
                    </a:lnTo>
                    <a:lnTo>
                      <a:pt x="242" y="181"/>
                    </a:lnTo>
                    <a:lnTo>
                      <a:pt x="242" y="181"/>
                    </a:lnTo>
                    <a:lnTo>
                      <a:pt x="239" y="181"/>
                    </a:lnTo>
                    <a:lnTo>
                      <a:pt x="239" y="181"/>
                    </a:lnTo>
                    <a:lnTo>
                      <a:pt x="240" y="181"/>
                    </a:lnTo>
                    <a:lnTo>
                      <a:pt x="240" y="181"/>
                    </a:lnTo>
                    <a:lnTo>
                      <a:pt x="243" y="178"/>
                    </a:lnTo>
                    <a:lnTo>
                      <a:pt x="244" y="177"/>
                    </a:lnTo>
                    <a:lnTo>
                      <a:pt x="247" y="177"/>
                    </a:lnTo>
                    <a:lnTo>
                      <a:pt x="247" y="177"/>
                    </a:lnTo>
                    <a:lnTo>
                      <a:pt x="248" y="177"/>
                    </a:lnTo>
                    <a:lnTo>
                      <a:pt x="248" y="177"/>
                    </a:lnTo>
                    <a:lnTo>
                      <a:pt x="251" y="176"/>
                    </a:lnTo>
                    <a:lnTo>
                      <a:pt x="251" y="176"/>
                    </a:lnTo>
                    <a:lnTo>
                      <a:pt x="255" y="174"/>
                    </a:lnTo>
                    <a:lnTo>
                      <a:pt x="260" y="173"/>
                    </a:lnTo>
                    <a:lnTo>
                      <a:pt x="260" y="173"/>
                    </a:lnTo>
                    <a:lnTo>
                      <a:pt x="261" y="173"/>
                    </a:lnTo>
                    <a:lnTo>
                      <a:pt x="263" y="173"/>
                    </a:lnTo>
                    <a:lnTo>
                      <a:pt x="268" y="174"/>
                    </a:lnTo>
                    <a:lnTo>
                      <a:pt x="268" y="174"/>
                    </a:lnTo>
                    <a:lnTo>
                      <a:pt x="267" y="174"/>
                    </a:lnTo>
                    <a:lnTo>
                      <a:pt x="267" y="174"/>
                    </a:lnTo>
                    <a:lnTo>
                      <a:pt x="269" y="173"/>
                    </a:lnTo>
                    <a:lnTo>
                      <a:pt x="275" y="169"/>
                    </a:lnTo>
                    <a:lnTo>
                      <a:pt x="276" y="169"/>
                    </a:lnTo>
                    <a:lnTo>
                      <a:pt x="283" y="174"/>
                    </a:lnTo>
                    <a:lnTo>
                      <a:pt x="283" y="174"/>
                    </a:lnTo>
                    <a:lnTo>
                      <a:pt x="280" y="172"/>
                    </a:lnTo>
                    <a:lnTo>
                      <a:pt x="279" y="171"/>
                    </a:lnTo>
                    <a:lnTo>
                      <a:pt x="279" y="171"/>
                    </a:lnTo>
                    <a:lnTo>
                      <a:pt x="279" y="171"/>
                    </a:lnTo>
                    <a:lnTo>
                      <a:pt x="281" y="171"/>
                    </a:lnTo>
                    <a:lnTo>
                      <a:pt x="285" y="174"/>
                    </a:lnTo>
                    <a:lnTo>
                      <a:pt x="285" y="174"/>
                    </a:lnTo>
                    <a:lnTo>
                      <a:pt x="287" y="177"/>
                    </a:lnTo>
                    <a:lnTo>
                      <a:pt x="287" y="177"/>
                    </a:lnTo>
                    <a:lnTo>
                      <a:pt x="287" y="178"/>
                    </a:lnTo>
                    <a:lnTo>
                      <a:pt x="287" y="178"/>
                    </a:lnTo>
                    <a:lnTo>
                      <a:pt x="285" y="178"/>
                    </a:lnTo>
                    <a:lnTo>
                      <a:pt x="288" y="182"/>
                    </a:lnTo>
                    <a:lnTo>
                      <a:pt x="288" y="184"/>
                    </a:lnTo>
                    <a:lnTo>
                      <a:pt x="287" y="185"/>
                    </a:lnTo>
                    <a:lnTo>
                      <a:pt x="287" y="185"/>
                    </a:lnTo>
                    <a:lnTo>
                      <a:pt x="285" y="184"/>
                    </a:lnTo>
                    <a:lnTo>
                      <a:pt x="283" y="184"/>
                    </a:lnTo>
                    <a:lnTo>
                      <a:pt x="283" y="185"/>
                    </a:lnTo>
                    <a:lnTo>
                      <a:pt x="283" y="184"/>
                    </a:lnTo>
                    <a:lnTo>
                      <a:pt x="283" y="185"/>
                    </a:lnTo>
                    <a:lnTo>
                      <a:pt x="284" y="186"/>
                    </a:lnTo>
                    <a:lnTo>
                      <a:pt x="283" y="188"/>
                    </a:lnTo>
                    <a:lnTo>
                      <a:pt x="283" y="190"/>
                    </a:lnTo>
                    <a:lnTo>
                      <a:pt x="283" y="190"/>
                    </a:lnTo>
                    <a:lnTo>
                      <a:pt x="283" y="190"/>
                    </a:lnTo>
                    <a:lnTo>
                      <a:pt x="287" y="188"/>
                    </a:lnTo>
                    <a:lnTo>
                      <a:pt x="287" y="188"/>
                    </a:lnTo>
                    <a:lnTo>
                      <a:pt x="287" y="188"/>
                    </a:lnTo>
                    <a:lnTo>
                      <a:pt x="287" y="188"/>
                    </a:lnTo>
                    <a:lnTo>
                      <a:pt x="287" y="186"/>
                    </a:lnTo>
                    <a:lnTo>
                      <a:pt x="287" y="186"/>
                    </a:lnTo>
                    <a:lnTo>
                      <a:pt x="289" y="190"/>
                    </a:lnTo>
                    <a:lnTo>
                      <a:pt x="289" y="190"/>
                    </a:lnTo>
                    <a:lnTo>
                      <a:pt x="294" y="194"/>
                    </a:lnTo>
                    <a:lnTo>
                      <a:pt x="294" y="194"/>
                    </a:lnTo>
                    <a:lnTo>
                      <a:pt x="293" y="192"/>
                    </a:lnTo>
                    <a:lnTo>
                      <a:pt x="293" y="192"/>
                    </a:lnTo>
                    <a:lnTo>
                      <a:pt x="296" y="193"/>
                    </a:lnTo>
                    <a:lnTo>
                      <a:pt x="296" y="193"/>
                    </a:lnTo>
                    <a:lnTo>
                      <a:pt x="297" y="193"/>
                    </a:lnTo>
                    <a:lnTo>
                      <a:pt x="297" y="192"/>
                    </a:lnTo>
                    <a:lnTo>
                      <a:pt x="298" y="190"/>
                    </a:lnTo>
                    <a:lnTo>
                      <a:pt x="298" y="190"/>
                    </a:lnTo>
                    <a:lnTo>
                      <a:pt x="301" y="190"/>
                    </a:lnTo>
                    <a:lnTo>
                      <a:pt x="302" y="188"/>
                    </a:lnTo>
                    <a:lnTo>
                      <a:pt x="302" y="188"/>
                    </a:lnTo>
                    <a:lnTo>
                      <a:pt x="304" y="186"/>
                    </a:lnTo>
                    <a:lnTo>
                      <a:pt x="308" y="185"/>
                    </a:lnTo>
                    <a:lnTo>
                      <a:pt x="308" y="185"/>
                    </a:lnTo>
                    <a:lnTo>
                      <a:pt x="312" y="185"/>
                    </a:lnTo>
                    <a:lnTo>
                      <a:pt x="313" y="186"/>
                    </a:lnTo>
                    <a:lnTo>
                      <a:pt x="313" y="186"/>
                    </a:lnTo>
                    <a:lnTo>
                      <a:pt x="316" y="185"/>
                    </a:lnTo>
                    <a:lnTo>
                      <a:pt x="320" y="185"/>
                    </a:lnTo>
                    <a:lnTo>
                      <a:pt x="320" y="185"/>
                    </a:lnTo>
                    <a:lnTo>
                      <a:pt x="325" y="185"/>
                    </a:lnTo>
                    <a:lnTo>
                      <a:pt x="325" y="185"/>
                    </a:lnTo>
                    <a:lnTo>
                      <a:pt x="329" y="186"/>
                    </a:lnTo>
                    <a:lnTo>
                      <a:pt x="329" y="186"/>
                    </a:lnTo>
                    <a:lnTo>
                      <a:pt x="330" y="185"/>
                    </a:lnTo>
                    <a:lnTo>
                      <a:pt x="332" y="185"/>
                    </a:lnTo>
                    <a:lnTo>
                      <a:pt x="332" y="185"/>
                    </a:lnTo>
                    <a:lnTo>
                      <a:pt x="334" y="185"/>
                    </a:lnTo>
                    <a:lnTo>
                      <a:pt x="334" y="185"/>
                    </a:lnTo>
                    <a:lnTo>
                      <a:pt x="338" y="185"/>
                    </a:lnTo>
                    <a:lnTo>
                      <a:pt x="339" y="186"/>
                    </a:lnTo>
                    <a:lnTo>
                      <a:pt x="342" y="188"/>
                    </a:lnTo>
                    <a:lnTo>
                      <a:pt x="342" y="188"/>
                    </a:lnTo>
                    <a:lnTo>
                      <a:pt x="342" y="188"/>
                    </a:lnTo>
                    <a:lnTo>
                      <a:pt x="342" y="188"/>
                    </a:lnTo>
                    <a:lnTo>
                      <a:pt x="343" y="188"/>
                    </a:lnTo>
                    <a:lnTo>
                      <a:pt x="343" y="188"/>
                    </a:lnTo>
                    <a:lnTo>
                      <a:pt x="347" y="188"/>
                    </a:lnTo>
                    <a:lnTo>
                      <a:pt x="347" y="188"/>
                    </a:lnTo>
                    <a:lnTo>
                      <a:pt x="351" y="186"/>
                    </a:lnTo>
                    <a:lnTo>
                      <a:pt x="351" y="186"/>
                    </a:lnTo>
                    <a:lnTo>
                      <a:pt x="354" y="188"/>
                    </a:lnTo>
                    <a:lnTo>
                      <a:pt x="355" y="188"/>
                    </a:lnTo>
                    <a:lnTo>
                      <a:pt x="357" y="188"/>
                    </a:lnTo>
                    <a:lnTo>
                      <a:pt x="357" y="188"/>
                    </a:lnTo>
                    <a:lnTo>
                      <a:pt x="363" y="190"/>
                    </a:lnTo>
                    <a:lnTo>
                      <a:pt x="363" y="190"/>
                    </a:lnTo>
                    <a:lnTo>
                      <a:pt x="366" y="192"/>
                    </a:lnTo>
                    <a:lnTo>
                      <a:pt x="367" y="192"/>
                    </a:lnTo>
                    <a:lnTo>
                      <a:pt x="369" y="193"/>
                    </a:lnTo>
                    <a:lnTo>
                      <a:pt x="369" y="193"/>
                    </a:lnTo>
                    <a:lnTo>
                      <a:pt x="375" y="194"/>
                    </a:lnTo>
                    <a:lnTo>
                      <a:pt x="380" y="198"/>
                    </a:lnTo>
                    <a:lnTo>
                      <a:pt x="387" y="208"/>
                    </a:lnTo>
                    <a:lnTo>
                      <a:pt x="387" y="208"/>
                    </a:lnTo>
                    <a:lnTo>
                      <a:pt x="391" y="211"/>
                    </a:lnTo>
                    <a:lnTo>
                      <a:pt x="394" y="214"/>
                    </a:lnTo>
                    <a:lnTo>
                      <a:pt x="394" y="214"/>
                    </a:lnTo>
                    <a:lnTo>
                      <a:pt x="399" y="214"/>
                    </a:lnTo>
                    <a:lnTo>
                      <a:pt x="399" y="214"/>
                    </a:lnTo>
                    <a:lnTo>
                      <a:pt x="406" y="215"/>
                    </a:lnTo>
                    <a:lnTo>
                      <a:pt x="410" y="217"/>
                    </a:lnTo>
                    <a:lnTo>
                      <a:pt x="410" y="217"/>
                    </a:lnTo>
                    <a:lnTo>
                      <a:pt x="413" y="219"/>
                    </a:lnTo>
                    <a:lnTo>
                      <a:pt x="415" y="219"/>
                    </a:lnTo>
                    <a:lnTo>
                      <a:pt x="415" y="219"/>
                    </a:lnTo>
                    <a:lnTo>
                      <a:pt x="417" y="219"/>
                    </a:lnTo>
                    <a:lnTo>
                      <a:pt x="417" y="219"/>
                    </a:lnTo>
                    <a:lnTo>
                      <a:pt x="420" y="219"/>
                    </a:lnTo>
                    <a:lnTo>
                      <a:pt x="423" y="221"/>
                    </a:lnTo>
                    <a:lnTo>
                      <a:pt x="427" y="223"/>
                    </a:lnTo>
                    <a:lnTo>
                      <a:pt x="427" y="223"/>
                    </a:lnTo>
                    <a:lnTo>
                      <a:pt x="427" y="223"/>
                    </a:lnTo>
                    <a:lnTo>
                      <a:pt x="427" y="223"/>
                    </a:lnTo>
                    <a:lnTo>
                      <a:pt x="431" y="222"/>
                    </a:lnTo>
                    <a:lnTo>
                      <a:pt x="431" y="222"/>
                    </a:lnTo>
                    <a:lnTo>
                      <a:pt x="436" y="219"/>
                    </a:lnTo>
                    <a:lnTo>
                      <a:pt x="441" y="218"/>
                    </a:lnTo>
                    <a:lnTo>
                      <a:pt x="441" y="218"/>
                    </a:lnTo>
                    <a:lnTo>
                      <a:pt x="444" y="215"/>
                    </a:lnTo>
                    <a:lnTo>
                      <a:pt x="447" y="214"/>
                    </a:lnTo>
                    <a:lnTo>
                      <a:pt x="449" y="214"/>
                    </a:lnTo>
                    <a:lnTo>
                      <a:pt x="449" y="214"/>
                    </a:lnTo>
                    <a:lnTo>
                      <a:pt x="452" y="214"/>
                    </a:lnTo>
                    <a:lnTo>
                      <a:pt x="456" y="214"/>
                    </a:lnTo>
                    <a:lnTo>
                      <a:pt x="456" y="214"/>
                    </a:lnTo>
                    <a:lnTo>
                      <a:pt x="460" y="214"/>
                    </a:lnTo>
                    <a:lnTo>
                      <a:pt x="460" y="214"/>
                    </a:lnTo>
                    <a:lnTo>
                      <a:pt x="465" y="214"/>
                    </a:lnTo>
                    <a:lnTo>
                      <a:pt x="470" y="215"/>
                    </a:lnTo>
                    <a:lnTo>
                      <a:pt x="470" y="215"/>
                    </a:lnTo>
                    <a:lnTo>
                      <a:pt x="477" y="217"/>
                    </a:lnTo>
                    <a:lnTo>
                      <a:pt x="477" y="217"/>
                    </a:lnTo>
                    <a:lnTo>
                      <a:pt x="480" y="217"/>
                    </a:lnTo>
                    <a:lnTo>
                      <a:pt x="480" y="217"/>
                    </a:lnTo>
                    <a:lnTo>
                      <a:pt x="481" y="217"/>
                    </a:lnTo>
                    <a:lnTo>
                      <a:pt x="481" y="217"/>
                    </a:lnTo>
                    <a:lnTo>
                      <a:pt x="484" y="217"/>
                    </a:lnTo>
                    <a:lnTo>
                      <a:pt x="484" y="217"/>
                    </a:lnTo>
                    <a:lnTo>
                      <a:pt x="485" y="217"/>
                    </a:lnTo>
                    <a:lnTo>
                      <a:pt x="485" y="217"/>
                    </a:lnTo>
                    <a:lnTo>
                      <a:pt x="484" y="217"/>
                    </a:lnTo>
                    <a:lnTo>
                      <a:pt x="482" y="218"/>
                    </a:lnTo>
                    <a:lnTo>
                      <a:pt x="482" y="218"/>
                    </a:lnTo>
                    <a:lnTo>
                      <a:pt x="481" y="222"/>
                    </a:lnTo>
                    <a:lnTo>
                      <a:pt x="486" y="215"/>
                    </a:lnTo>
                    <a:lnTo>
                      <a:pt x="488" y="215"/>
                    </a:lnTo>
                    <a:lnTo>
                      <a:pt x="488" y="215"/>
                    </a:lnTo>
                    <a:lnTo>
                      <a:pt x="491" y="214"/>
                    </a:lnTo>
                    <a:lnTo>
                      <a:pt x="491" y="214"/>
                    </a:lnTo>
                    <a:lnTo>
                      <a:pt x="495" y="213"/>
                    </a:lnTo>
                    <a:lnTo>
                      <a:pt x="498" y="213"/>
                    </a:lnTo>
                    <a:lnTo>
                      <a:pt x="498" y="213"/>
                    </a:lnTo>
                    <a:lnTo>
                      <a:pt x="501" y="213"/>
                    </a:lnTo>
                    <a:lnTo>
                      <a:pt x="502" y="213"/>
                    </a:lnTo>
                    <a:lnTo>
                      <a:pt x="505" y="214"/>
                    </a:lnTo>
                    <a:lnTo>
                      <a:pt x="505" y="214"/>
                    </a:lnTo>
                    <a:lnTo>
                      <a:pt x="505" y="213"/>
                    </a:lnTo>
                    <a:lnTo>
                      <a:pt x="506" y="213"/>
                    </a:lnTo>
                    <a:lnTo>
                      <a:pt x="507" y="209"/>
                    </a:lnTo>
                    <a:lnTo>
                      <a:pt x="507" y="209"/>
                    </a:lnTo>
                    <a:lnTo>
                      <a:pt x="511" y="206"/>
                    </a:lnTo>
                    <a:lnTo>
                      <a:pt x="511" y="206"/>
                    </a:lnTo>
                    <a:lnTo>
                      <a:pt x="513" y="206"/>
                    </a:lnTo>
                    <a:lnTo>
                      <a:pt x="513" y="206"/>
                    </a:lnTo>
                    <a:lnTo>
                      <a:pt x="511" y="208"/>
                    </a:lnTo>
                    <a:lnTo>
                      <a:pt x="517" y="204"/>
                    </a:lnTo>
                    <a:lnTo>
                      <a:pt x="517" y="204"/>
                    </a:lnTo>
                    <a:lnTo>
                      <a:pt x="517" y="204"/>
                    </a:lnTo>
                    <a:lnTo>
                      <a:pt x="517" y="204"/>
                    </a:lnTo>
                    <a:lnTo>
                      <a:pt x="517" y="204"/>
                    </a:lnTo>
                    <a:lnTo>
                      <a:pt x="518" y="204"/>
                    </a:lnTo>
                    <a:lnTo>
                      <a:pt x="518" y="204"/>
                    </a:lnTo>
                    <a:lnTo>
                      <a:pt x="519" y="204"/>
                    </a:lnTo>
                    <a:lnTo>
                      <a:pt x="519" y="204"/>
                    </a:lnTo>
                    <a:lnTo>
                      <a:pt x="522" y="204"/>
                    </a:lnTo>
                    <a:lnTo>
                      <a:pt x="522" y="204"/>
                    </a:lnTo>
                    <a:lnTo>
                      <a:pt x="523" y="204"/>
                    </a:lnTo>
                    <a:lnTo>
                      <a:pt x="523" y="204"/>
                    </a:lnTo>
                    <a:lnTo>
                      <a:pt x="527" y="201"/>
                    </a:lnTo>
                    <a:lnTo>
                      <a:pt x="531" y="200"/>
                    </a:lnTo>
                    <a:lnTo>
                      <a:pt x="539" y="198"/>
                    </a:lnTo>
                    <a:lnTo>
                      <a:pt x="539" y="198"/>
                    </a:lnTo>
                    <a:lnTo>
                      <a:pt x="546" y="198"/>
                    </a:lnTo>
                    <a:lnTo>
                      <a:pt x="547" y="198"/>
                    </a:lnTo>
                    <a:lnTo>
                      <a:pt x="547" y="198"/>
                    </a:lnTo>
                    <a:lnTo>
                      <a:pt x="544" y="200"/>
                    </a:lnTo>
                    <a:lnTo>
                      <a:pt x="543" y="201"/>
                    </a:lnTo>
                    <a:lnTo>
                      <a:pt x="547" y="197"/>
                    </a:lnTo>
                    <a:lnTo>
                      <a:pt x="548" y="197"/>
                    </a:lnTo>
                    <a:lnTo>
                      <a:pt x="548" y="197"/>
                    </a:lnTo>
                    <a:lnTo>
                      <a:pt x="548" y="197"/>
                    </a:lnTo>
                    <a:lnTo>
                      <a:pt x="547" y="197"/>
                    </a:lnTo>
                    <a:lnTo>
                      <a:pt x="548" y="196"/>
                    </a:lnTo>
                    <a:lnTo>
                      <a:pt x="551" y="196"/>
                    </a:lnTo>
                    <a:lnTo>
                      <a:pt x="551" y="196"/>
                    </a:lnTo>
                    <a:lnTo>
                      <a:pt x="554" y="196"/>
                    </a:lnTo>
                    <a:lnTo>
                      <a:pt x="556" y="194"/>
                    </a:lnTo>
                    <a:lnTo>
                      <a:pt x="556" y="194"/>
                    </a:lnTo>
                    <a:lnTo>
                      <a:pt x="556" y="194"/>
                    </a:lnTo>
                    <a:lnTo>
                      <a:pt x="559" y="194"/>
                    </a:lnTo>
                    <a:lnTo>
                      <a:pt x="559" y="194"/>
                    </a:lnTo>
                    <a:lnTo>
                      <a:pt x="562" y="196"/>
                    </a:lnTo>
                    <a:lnTo>
                      <a:pt x="564" y="196"/>
                    </a:lnTo>
                    <a:lnTo>
                      <a:pt x="564" y="196"/>
                    </a:lnTo>
                    <a:lnTo>
                      <a:pt x="564" y="196"/>
                    </a:lnTo>
                    <a:lnTo>
                      <a:pt x="566" y="196"/>
                    </a:lnTo>
                    <a:lnTo>
                      <a:pt x="569" y="198"/>
                    </a:lnTo>
                    <a:lnTo>
                      <a:pt x="569" y="198"/>
                    </a:lnTo>
                    <a:lnTo>
                      <a:pt x="569" y="197"/>
                    </a:lnTo>
                    <a:lnTo>
                      <a:pt x="569" y="197"/>
                    </a:lnTo>
                    <a:lnTo>
                      <a:pt x="571" y="197"/>
                    </a:lnTo>
                    <a:lnTo>
                      <a:pt x="571" y="197"/>
                    </a:lnTo>
                    <a:lnTo>
                      <a:pt x="575" y="197"/>
                    </a:lnTo>
                    <a:lnTo>
                      <a:pt x="575" y="197"/>
                    </a:lnTo>
                    <a:lnTo>
                      <a:pt x="579" y="197"/>
                    </a:lnTo>
                    <a:lnTo>
                      <a:pt x="579" y="197"/>
                    </a:lnTo>
                    <a:lnTo>
                      <a:pt x="583" y="197"/>
                    </a:lnTo>
                    <a:lnTo>
                      <a:pt x="599" y="197"/>
                    </a:lnTo>
                    <a:lnTo>
                      <a:pt x="604" y="201"/>
                    </a:lnTo>
                    <a:lnTo>
                      <a:pt x="604" y="201"/>
                    </a:lnTo>
                    <a:lnTo>
                      <a:pt x="603" y="200"/>
                    </a:lnTo>
                    <a:lnTo>
                      <a:pt x="601" y="198"/>
                    </a:lnTo>
                    <a:lnTo>
                      <a:pt x="601" y="198"/>
                    </a:lnTo>
                    <a:lnTo>
                      <a:pt x="601" y="198"/>
                    </a:lnTo>
                    <a:lnTo>
                      <a:pt x="601" y="198"/>
                    </a:lnTo>
                    <a:lnTo>
                      <a:pt x="604" y="198"/>
                    </a:lnTo>
                    <a:lnTo>
                      <a:pt x="604" y="198"/>
                    </a:lnTo>
                    <a:lnTo>
                      <a:pt x="605" y="198"/>
                    </a:lnTo>
                    <a:lnTo>
                      <a:pt x="605" y="198"/>
                    </a:lnTo>
                    <a:lnTo>
                      <a:pt x="610" y="200"/>
                    </a:lnTo>
                    <a:lnTo>
                      <a:pt x="613" y="201"/>
                    </a:lnTo>
                    <a:lnTo>
                      <a:pt x="613" y="201"/>
                    </a:lnTo>
                    <a:lnTo>
                      <a:pt x="616" y="204"/>
                    </a:lnTo>
                    <a:lnTo>
                      <a:pt x="616" y="204"/>
                    </a:lnTo>
                    <a:lnTo>
                      <a:pt x="620" y="206"/>
                    </a:lnTo>
                    <a:lnTo>
                      <a:pt x="625" y="209"/>
                    </a:lnTo>
                    <a:lnTo>
                      <a:pt x="625" y="209"/>
                    </a:lnTo>
                    <a:lnTo>
                      <a:pt x="626" y="213"/>
                    </a:lnTo>
                    <a:lnTo>
                      <a:pt x="628" y="218"/>
                    </a:lnTo>
                    <a:lnTo>
                      <a:pt x="628" y="218"/>
                    </a:lnTo>
                    <a:lnTo>
                      <a:pt x="629" y="219"/>
                    </a:lnTo>
                    <a:lnTo>
                      <a:pt x="630" y="218"/>
                    </a:lnTo>
                    <a:lnTo>
                      <a:pt x="632" y="218"/>
                    </a:lnTo>
                    <a:lnTo>
                      <a:pt x="634" y="218"/>
                    </a:lnTo>
                    <a:lnTo>
                      <a:pt x="634" y="218"/>
                    </a:lnTo>
                    <a:lnTo>
                      <a:pt x="637" y="221"/>
                    </a:lnTo>
                    <a:lnTo>
                      <a:pt x="640" y="223"/>
                    </a:lnTo>
                    <a:lnTo>
                      <a:pt x="640" y="223"/>
                    </a:lnTo>
                    <a:lnTo>
                      <a:pt x="642" y="225"/>
                    </a:lnTo>
                    <a:lnTo>
                      <a:pt x="642" y="225"/>
                    </a:lnTo>
                    <a:lnTo>
                      <a:pt x="642" y="225"/>
                    </a:lnTo>
                    <a:lnTo>
                      <a:pt x="642" y="225"/>
                    </a:lnTo>
                    <a:lnTo>
                      <a:pt x="646" y="226"/>
                    </a:lnTo>
                    <a:lnTo>
                      <a:pt x="648" y="226"/>
                    </a:lnTo>
                    <a:lnTo>
                      <a:pt x="651" y="229"/>
                    </a:lnTo>
                    <a:lnTo>
                      <a:pt x="651" y="229"/>
                    </a:lnTo>
                    <a:lnTo>
                      <a:pt x="650" y="227"/>
                    </a:lnTo>
                    <a:lnTo>
                      <a:pt x="650" y="227"/>
                    </a:lnTo>
                    <a:lnTo>
                      <a:pt x="651" y="227"/>
                    </a:lnTo>
                    <a:lnTo>
                      <a:pt x="651" y="227"/>
                    </a:lnTo>
                    <a:lnTo>
                      <a:pt x="655" y="227"/>
                    </a:lnTo>
                    <a:lnTo>
                      <a:pt x="657" y="226"/>
                    </a:lnTo>
                    <a:lnTo>
                      <a:pt x="658" y="226"/>
                    </a:lnTo>
                    <a:lnTo>
                      <a:pt x="658" y="226"/>
                    </a:lnTo>
                    <a:lnTo>
                      <a:pt x="657" y="227"/>
                    </a:lnTo>
                    <a:lnTo>
                      <a:pt x="655" y="230"/>
                    </a:lnTo>
                    <a:lnTo>
                      <a:pt x="659" y="226"/>
                    </a:lnTo>
                    <a:lnTo>
                      <a:pt x="661" y="226"/>
                    </a:lnTo>
                    <a:lnTo>
                      <a:pt x="661" y="225"/>
                    </a:lnTo>
                    <a:lnTo>
                      <a:pt x="661" y="225"/>
                    </a:lnTo>
                    <a:lnTo>
                      <a:pt x="661" y="225"/>
                    </a:lnTo>
                    <a:lnTo>
                      <a:pt x="662" y="223"/>
                    </a:lnTo>
                    <a:lnTo>
                      <a:pt x="665" y="223"/>
                    </a:lnTo>
                    <a:lnTo>
                      <a:pt x="665" y="223"/>
                    </a:lnTo>
                    <a:lnTo>
                      <a:pt x="669" y="222"/>
                    </a:lnTo>
                    <a:lnTo>
                      <a:pt x="673" y="219"/>
                    </a:lnTo>
                    <a:lnTo>
                      <a:pt x="675" y="217"/>
                    </a:lnTo>
                    <a:lnTo>
                      <a:pt x="677" y="213"/>
                    </a:lnTo>
                    <a:lnTo>
                      <a:pt x="682" y="209"/>
                    </a:lnTo>
                    <a:lnTo>
                      <a:pt x="681" y="209"/>
                    </a:lnTo>
                    <a:lnTo>
                      <a:pt x="681" y="209"/>
                    </a:lnTo>
                    <a:lnTo>
                      <a:pt x="682" y="209"/>
                    </a:lnTo>
                    <a:lnTo>
                      <a:pt x="682" y="209"/>
                    </a:lnTo>
                    <a:lnTo>
                      <a:pt x="683" y="209"/>
                    </a:lnTo>
                    <a:lnTo>
                      <a:pt x="683" y="209"/>
                    </a:lnTo>
                    <a:lnTo>
                      <a:pt x="685" y="209"/>
                    </a:lnTo>
                    <a:lnTo>
                      <a:pt x="685" y="209"/>
                    </a:lnTo>
                    <a:lnTo>
                      <a:pt x="688" y="209"/>
                    </a:lnTo>
                    <a:lnTo>
                      <a:pt x="691" y="210"/>
                    </a:lnTo>
                    <a:lnTo>
                      <a:pt x="691" y="210"/>
                    </a:lnTo>
                    <a:lnTo>
                      <a:pt x="691" y="210"/>
                    </a:lnTo>
                    <a:lnTo>
                      <a:pt x="691" y="210"/>
                    </a:lnTo>
                    <a:lnTo>
                      <a:pt x="691" y="209"/>
                    </a:lnTo>
                    <a:lnTo>
                      <a:pt x="691" y="209"/>
                    </a:lnTo>
                    <a:lnTo>
                      <a:pt x="691" y="209"/>
                    </a:lnTo>
                    <a:lnTo>
                      <a:pt x="691" y="206"/>
                    </a:lnTo>
                    <a:lnTo>
                      <a:pt x="690" y="205"/>
                    </a:lnTo>
                    <a:lnTo>
                      <a:pt x="690" y="205"/>
                    </a:lnTo>
                    <a:lnTo>
                      <a:pt x="686" y="202"/>
                    </a:lnTo>
                    <a:lnTo>
                      <a:pt x="683" y="198"/>
                    </a:lnTo>
                    <a:lnTo>
                      <a:pt x="683" y="198"/>
                    </a:lnTo>
                    <a:lnTo>
                      <a:pt x="682" y="197"/>
                    </a:lnTo>
                    <a:lnTo>
                      <a:pt x="681" y="196"/>
                    </a:lnTo>
                    <a:lnTo>
                      <a:pt x="681" y="196"/>
                    </a:lnTo>
                    <a:lnTo>
                      <a:pt x="679" y="192"/>
                    </a:lnTo>
                    <a:lnTo>
                      <a:pt x="679" y="190"/>
                    </a:lnTo>
                    <a:lnTo>
                      <a:pt x="679" y="189"/>
                    </a:lnTo>
                    <a:lnTo>
                      <a:pt x="679" y="189"/>
                    </a:lnTo>
                    <a:lnTo>
                      <a:pt x="681" y="192"/>
                    </a:lnTo>
                    <a:lnTo>
                      <a:pt x="682" y="192"/>
                    </a:lnTo>
                    <a:lnTo>
                      <a:pt x="678" y="186"/>
                    </a:lnTo>
                    <a:lnTo>
                      <a:pt x="678" y="181"/>
                    </a:lnTo>
                    <a:lnTo>
                      <a:pt x="678" y="180"/>
                    </a:lnTo>
                    <a:lnTo>
                      <a:pt x="678" y="180"/>
                    </a:lnTo>
                    <a:lnTo>
                      <a:pt x="679" y="177"/>
                    </a:lnTo>
                    <a:lnTo>
                      <a:pt x="679" y="177"/>
                    </a:lnTo>
                    <a:lnTo>
                      <a:pt x="679" y="180"/>
                    </a:lnTo>
                    <a:lnTo>
                      <a:pt x="682" y="174"/>
                    </a:lnTo>
                    <a:lnTo>
                      <a:pt x="682" y="174"/>
                    </a:lnTo>
                    <a:lnTo>
                      <a:pt x="681" y="174"/>
                    </a:lnTo>
                    <a:lnTo>
                      <a:pt x="681" y="174"/>
                    </a:lnTo>
                    <a:lnTo>
                      <a:pt x="682" y="172"/>
                    </a:lnTo>
                    <a:lnTo>
                      <a:pt x="682" y="172"/>
                    </a:lnTo>
                    <a:lnTo>
                      <a:pt x="683" y="167"/>
                    </a:lnTo>
                    <a:lnTo>
                      <a:pt x="687" y="163"/>
                    </a:lnTo>
                    <a:lnTo>
                      <a:pt x="687" y="163"/>
                    </a:lnTo>
                    <a:lnTo>
                      <a:pt x="690" y="163"/>
                    </a:lnTo>
                    <a:lnTo>
                      <a:pt x="690" y="163"/>
                    </a:lnTo>
                    <a:lnTo>
                      <a:pt x="695" y="161"/>
                    </a:lnTo>
                    <a:lnTo>
                      <a:pt x="695" y="161"/>
                    </a:lnTo>
                    <a:lnTo>
                      <a:pt x="696" y="161"/>
                    </a:lnTo>
                    <a:lnTo>
                      <a:pt x="696" y="161"/>
                    </a:lnTo>
                    <a:lnTo>
                      <a:pt x="700" y="161"/>
                    </a:lnTo>
                    <a:lnTo>
                      <a:pt x="700" y="161"/>
                    </a:lnTo>
                    <a:lnTo>
                      <a:pt x="704" y="161"/>
                    </a:lnTo>
                    <a:lnTo>
                      <a:pt x="704" y="161"/>
                    </a:lnTo>
                    <a:lnTo>
                      <a:pt x="707" y="163"/>
                    </a:lnTo>
                    <a:lnTo>
                      <a:pt x="707" y="163"/>
                    </a:lnTo>
                    <a:lnTo>
                      <a:pt x="710" y="161"/>
                    </a:lnTo>
                    <a:lnTo>
                      <a:pt x="712" y="160"/>
                    </a:lnTo>
                    <a:lnTo>
                      <a:pt x="720" y="160"/>
                    </a:lnTo>
                    <a:lnTo>
                      <a:pt x="720" y="160"/>
                    </a:lnTo>
                    <a:lnTo>
                      <a:pt x="722" y="160"/>
                    </a:lnTo>
                    <a:lnTo>
                      <a:pt x="722" y="160"/>
                    </a:lnTo>
                    <a:lnTo>
                      <a:pt x="726" y="156"/>
                    </a:lnTo>
                    <a:lnTo>
                      <a:pt x="727" y="156"/>
                    </a:lnTo>
                    <a:lnTo>
                      <a:pt x="727" y="156"/>
                    </a:lnTo>
                    <a:lnTo>
                      <a:pt x="729" y="155"/>
                    </a:lnTo>
                    <a:lnTo>
                      <a:pt x="729" y="155"/>
                    </a:lnTo>
                    <a:lnTo>
                      <a:pt x="729" y="155"/>
                    </a:lnTo>
                    <a:lnTo>
                      <a:pt x="729" y="155"/>
                    </a:lnTo>
                    <a:lnTo>
                      <a:pt x="729" y="156"/>
                    </a:lnTo>
                    <a:lnTo>
                      <a:pt x="729" y="156"/>
                    </a:lnTo>
                    <a:lnTo>
                      <a:pt x="729" y="156"/>
                    </a:lnTo>
                    <a:lnTo>
                      <a:pt x="732" y="152"/>
                    </a:lnTo>
                    <a:lnTo>
                      <a:pt x="732" y="152"/>
                    </a:lnTo>
                    <a:lnTo>
                      <a:pt x="732" y="152"/>
                    </a:lnTo>
                    <a:lnTo>
                      <a:pt x="732" y="151"/>
                    </a:lnTo>
                    <a:lnTo>
                      <a:pt x="732" y="151"/>
                    </a:lnTo>
                    <a:lnTo>
                      <a:pt x="735" y="149"/>
                    </a:lnTo>
                    <a:lnTo>
                      <a:pt x="735" y="149"/>
                    </a:lnTo>
                    <a:lnTo>
                      <a:pt x="737" y="147"/>
                    </a:lnTo>
                    <a:lnTo>
                      <a:pt x="737" y="143"/>
                    </a:lnTo>
                    <a:lnTo>
                      <a:pt x="737" y="143"/>
                    </a:lnTo>
                    <a:lnTo>
                      <a:pt x="737" y="135"/>
                    </a:lnTo>
                    <a:lnTo>
                      <a:pt x="737" y="133"/>
                    </a:lnTo>
                    <a:lnTo>
                      <a:pt x="737" y="133"/>
                    </a:lnTo>
                    <a:lnTo>
                      <a:pt x="739" y="130"/>
                    </a:lnTo>
                    <a:lnTo>
                      <a:pt x="739" y="130"/>
                    </a:lnTo>
                    <a:lnTo>
                      <a:pt x="739" y="132"/>
                    </a:lnTo>
                    <a:lnTo>
                      <a:pt x="747" y="127"/>
                    </a:lnTo>
                    <a:lnTo>
                      <a:pt x="747" y="127"/>
                    </a:lnTo>
                    <a:lnTo>
                      <a:pt x="755" y="132"/>
                    </a:lnTo>
                    <a:lnTo>
                      <a:pt x="761" y="137"/>
                    </a:lnTo>
                    <a:lnTo>
                      <a:pt x="761" y="137"/>
                    </a:lnTo>
                    <a:lnTo>
                      <a:pt x="766" y="143"/>
                    </a:lnTo>
                    <a:lnTo>
                      <a:pt x="769" y="144"/>
                    </a:lnTo>
                    <a:lnTo>
                      <a:pt x="769" y="144"/>
                    </a:lnTo>
                    <a:lnTo>
                      <a:pt x="770" y="147"/>
                    </a:lnTo>
                    <a:lnTo>
                      <a:pt x="770" y="147"/>
                    </a:lnTo>
                    <a:lnTo>
                      <a:pt x="772" y="148"/>
                    </a:lnTo>
                    <a:lnTo>
                      <a:pt x="774" y="151"/>
                    </a:lnTo>
                    <a:lnTo>
                      <a:pt x="774" y="151"/>
                    </a:lnTo>
                    <a:lnTo>
                      <a:pt x="776" y="153"/>
                    </a:lnTo>
                    <a:lnTo>
                      <a:pt x="776" y="153"/>
                    </a:lnTo>
                    <a:lnTo>
                      <a:pt x="777" y="159"/>
                    </a:lnTo>
                    <a:lnTo>
                      <a:pt x="778" y="164"/>
                    </a:lnTo>
                    <a:lnTo>
                      <a:pt x="778" y="164"/>
                    </a:lnTo>
                    <a:lnTo>
                      <a:pt x="781" y="172"/>
                    </a:lnTo>
                    <a:lnTo>
                      <a:pt x="781" y="172"/>
                    </a:lnTo>
                    <a:lnTo>
                      <a:pt x="782" y="178"/>
                    </a:lnTo>
                    <a:lnTo>
                      <a:pt x="785" y="182"/>
                    </a:lnTo>
                    <a:lnTo>
                      <a:pt x="788" y="186"/>
                    </a:lnTo>
                    <a:lnTo>
                      <a:pt x="790" y="188"/>
                    </a:lnTo>
                    <a:lnTo>
                      <a:pt x="792" y="188"/>
                    </a:lnTo>
                    <a:lnTo>
                      <a:pt x="797" y="190"/>
                    </a:lnTo>
                    <a:lnTo>
                      <a:pt x="797" y="190"/>
                    </a:lnTo>
                    <a:lnTo>
                      <a:pt x="796" y="189"/>
                    </a:lnTo>
                    <a:lnTo>
                      <a:pt x="796" y="189"/>
                    </a:lnTo>
                    <a:lnTo>
                      <a:pt x="797" y="190"/>
                    </a:lnTo>
                    <a:lnTo>
                      <a:pt x="798" y="190"/>
                    </a:lnTo>
                    <a:lnTo>
                      <a:pt x="802" y="192"/>
                    </a:lnTo>
                    <a:lnTo>
                      <a:pt x="802" y="192"/>
                    </a:lnTo>
                    <a:lnTo>
                      <a:pt x="806" y="193"/>
                    </a:lnTo>
                    <a:lnTo>
                      <a:pt x="811" y="201"/>
                    </a:lnTo>
                    <a:lnTo>
                      <a:pt x="811" y="201"/>
                    </a:lnTo>
                    <a:lnTo>
                      <a:pt x="810" y="205"/>
                    </a:lnTo>
                    <a:lnTo>
                      <a:pt x="807" y="208"/>
                    </a:lnTo>
                    <a:lnTo>
                      <a:pt x="807" y="208"/>
                    </a:lnTo>
                    <a:lnTo>
                      <a:pt x="807" y="209"/>
                    </a:lnTo>
                    <a:lnTo>
                      <a:pt x="807" y="209"/>
                    </a:lnTo>
                    <a:lnTo>
                      <a:pt x="805" y="211"/>
                    </a:lnTo>
                    <a:lnTo>
                      <a:pt x="805" y="211"/>
                    </a:lnTo>
                    <a:lnTo>
                      <a:pt x="801" y="217"/>
                    </a:lnTo>
                    <a:lnTo>
                      <a:pt x="798" y="222"/>
                    </a:lnTo>
                    <a:lnTo>
                      <a:pt x="798" y="222"/>
                    </a:lnTo>
                    <a:lnTo>
                      <a:pt x="793" y="229"/>
                    </a:lnTo>
                    <a:lnTo>
                      <a:pt x="793" y="229"/>
                    </a:lnTo>
                    <a:lnTo>
                      <a:pt x="793" y="231"/>
                    </a:lnTo>
                    <a:lnTo>
                      <a:pt x="792" y="233"/>
                    </a:lnTo>
                    <a:lnTo>
                      <a:pt x="789" y="235"/>
                    </a:lnTo>
                    <a:lnTo>
                      <a:pt x="789" y="235"/>
                    </a:lnTo>
                    <a:lnTo>
                      <a:pt x="789" y="235"/>
                    </a:lnTo>
                    <a:lnTo>
                      <a:pt x="790" y="233"/>
                    </a:lnTo>
                    <a:lnTo>
                      <a:pt x="788" y="237"/>
                    </a:lnTo>
                    <a:lnTo>
                      <a:pt x="788" y="237"/>
                    </a:lnTo>
                    <a:lnTo>
                      <a:pt x="777" y="247"/>
                    </a:lnTo>
                    <a:lnTo>
                      <a:pt x="768" y="260"/>
                    </a:lnTo>
                    <a:lnTo>
                      <a:pt x="766" y="262"/>
                    </a:lnTo>
                    <a:lnTo>
                      <a:pt x="766" y="262"/>
                    </a:lnTo>
                    <a:lnTo>
                      <a:pt x="766" y="262"/>
                    </a:lnTo>
                    <a:lnTo>
                      <a:pt x="766" y="260"/>
                    </a:lnTo>
                    <a:lnTo>
                      <a:pt x="766" y="260"/>
                    </a:lnTo>
                    <a:lnTo>
                      <a:pt x="763" y="258"/>
                    </a:lnTo>
                    <a:lnTo>
                      <a:pt x="763" y="258"/>
                    </a:lnTo>
                    <a:lnTo>
                      <a:pt x="761" y="258"/>
                    </a:lnTo>
                    <a:lnTo>
                      <a:pt x="761" y="260"/>
                    </a:lnTo>
                    <a:lnTo>
                      <a:pt x="763" y="259"/>
                    </a:lnTo>
                    <a:lnTo>
                      <a:pt x="763" y="260"/>
                    </a:lnTo>
                    <a:lnTo>
                      <a:pt x="764" y="262"/>
                    </a:lnTo>
                    <a:lnTo>
                      <a:pt x="763" y="263"/>
                    </a:lnTo>
                    <a:lnTo>
                      <a:pt x="761" y="266"/>
                    </a:lnTo>
                    <a:lnTo>
                      <a:pt x="761" y="266"/>
                    </a:lnTo>
                    <a:lnTo>
                      <a:pt x="764" y="264"/>
                    </a:lnTo>
                    <a:lnTo>
                      <a:pt x="766" y="263"/>
                    </a:lnTo>
                    <a:lnTo>
                      <a:pt x="768" y="264"/>
                    </a:lnTo>
                    <a:lnTo>
                      <a:pt x="768" y="266"/>
                    </a:lnTo>
                    <a:lnTo>
                      <a:pt x="768" y="266"/>
                    </a:lnTo>
                    <a:lnTo>
                      <a:pt x="768" y="271"/>
                    </a:lnTo>
                    <a:lnTo>
                      <a:pt x="768" y="271"/>
                    </a:lnTo>
                    <a:lnTo>
                      <a:pt x="768" y="272"/>
                    </a:lnTo>
                    <a:lnTo>
                      <a:pt x="768" y="272"/>
                    </a:lnTo>
                    <a:lnTo>
                      <a:pt x="766" y="270"/>
                    </a:lnTo>
                    <a:lnTo>
                      <a:pt x="764" y="268"/>
                    </a:lnTo>
                    <a:lnTo>
                      <a:pt x="769" y="275"/>
                    </a:lnTo>
                    <a:lnTo>
                      <a:pt x="769" y="276"/>
                    </a:lnTo>
                    <a:lnTo>
                      <a:pt x="769" y="276"/>
                    </a:lnTo>
                    <a:lnTo>
                      <a:pt x="769" y="279"/>
                    </a:lnTo>
                    <a:lnTo>
                      <a:pt x="769" y="279"/>
                    </a:lnTo>
                    <a:lnTo>
                      <a:pt x="769" y="280"/>
                    </a:lnTo>
                    <a:lnTo>
                      <a:pt x="769" y="280"/>
                    </a:lnTo>
                    <a:lnTo>
                      <a:pt x="768" y="278"/>
                    </a:lnTo>
                    <a:lnTo>
                      <a:pt x="765" y="276"/>
                    </a:lnTo>
                    <a:lnTo>
                      <a:pt x="770" y="282"/>
                    </a:lnTo>
                    <a:lnTo>
                      <a:pt x="770" y="284"/>
                    </a:lnTo>
                    <a:lnTo>
                      <a:pt x="770" y="284"/>
                    </a:lnTo>
                    <a:lnTo>
                      <a:pt x="770" y="287"/>
                    </a:lnTo>
                    <a:lnTo>
                      <a:pt x="770" y="287"/>
                    </a:lnTo>
                    <a:lnTo>
                      <a:pt x="770" y="287"/>
                    </a:lnTo>
                    <a:lnTo>
                      <a:pt x="770" y="287"/>
                    </a:lnTo>
                    <a:lnTo>
                      <a:pt x="769" y="286"/>
                    </a:lnTo>
                    <a:lnTo>
                      <a:pt x="766" y="284"/>
                    </a:lnTo>
                    <a:lnTo>
                      <a:pt x="772" y="289"/>
                    </a:lnTo>
                    <a:lnTo>
                      <a:pt x="772" y="291"/>
                    </a:lnTo>
                    <a:lnTo>
                      <a:pt x="772" y="291"/>
                    </a:lnTo>
                    <a:lnTo>
                      <a:pt x="772" y="292"/>
                    </a:lnTo>
                    <a:lnTo>
                      <a:pt x="772" y="292"/>
                    </a:lnTo>
                    <a:lnTo>
                      <a:pt x="772" y="293"/>
                    </a:lnTo>
                    <a:lnTo>
                      <a:pt x="772" y="293"/>
                    </a:lnTo>
                    <a:lnTo>
                      <a:pt x="770" y="292"/>
                    </a:lnTo>
                    <a:lnTo>
                      <a:pt x="768" y="289"/>
                    </a:lnTo>
                    <a:lnTo>
                      <a:pt x="773" y="296"/>
                    </a:lnTo>
                    <a:lnTo>
                      <a:pt x="773" y="299"/>
                    </a:lnTo>
                    <a:lnTo>
                      <a:pt x="773" y="299"/>
                    </a:lnTo>
                    <a:lnTo>
                      <a:pt x="773" y="300"/>
                    </a:lnTo>
                    <a:lnTo>
                      <a:pt x="773" y="300"/>
                    </a:lnTo>
                    <a:lnTo>
                      <a:pt x="773" y="300"/>
                    </a:lnTo>
                    <a:lnTo>
                      <a:pt x="774" y="303"/>
                    </a:lnTo>
                    <a:lnTo>
                      <a:pt x="776" y="308"/>
                    </a:lnTo>
                    <a:lnTo>
                      <a:pt x="776" y="308"/>
                    </a:lnTo>
                    <a:lnTo>
                      <a:pt x="776" y="308"/>
                    </a:lnTo>
                    <a:lnTo>
                      <a:pt x="781" y="313"/>
                    </a:lnTo>
                    <a:lnTo>
                      <a:pt x="786" y="317"/>
                    </a:lnTo>
                    <a:lnTo>
                      <a:pt x="789" y="320"/>
                    </a:lnTo>
                    <a:lnTo>
                      <a:pt x="789" y="320"/>
                    </a:lnTo>
                    <a:lnTo>
                      <a:pt x="789" y="320"/>
                    </a:lnTo>
                    <a:lnTo>
                      <a:pt x="790" y="324"/>
                    </a:lnTo>
                    <a:lnTo>
                      <a:pt x="790" y="324"/>
                    </a:lnTo>
                    <a:lnTo>
                      <a:pt x="790" y="324"/>
                    </a:lnTo>
                    <a:lnTo>
                      <a:pt x="790" y="324"/>
                    </a:lnTo>
                    <a:lnTo>
                      <a:pt x="790" y="324"/>
                    </a:lnTo>
                    <a:lnTo>
                      <a:pt x="790" y="324"/>
                    </a:lnTo>
                    <a:lnTo>
                      <a:pt x="789" y="324"/>
                    </a:lnTo>
                    <a:lnTo>
                      <a:pt x="792" y="327"/>
                    </a:lnTo>
                    <a:lnTo>
                      <a:pt x="793" y="327"/>
                    </a:lnTo>
                    <a:lnTo>
                      <a:pt x="793" y="327"/>
                    </a:lnTo>
                    <a:lnTo>
                      <a:pt x="794" y="330"/>
                    </a:lnTo>
                    <a:lnTo>
                      <a:pt x="794" y="330"/>
                    </a:lnTo>
                    <a:lnTo>
                      <a:pt x="794" y="330"/>
                    </a:lnTo>
                    <a:lnTo>
                      <a:pt x="794" y="330"/>
                    </a:lnTo>
                    <a:lnTo>
                      <a:pt x="793" y="330"/>
                    </a:lnTo>
                    <a:lnTo>
                      <a:pt x="793" y="330"/>
                    </a:lnTo>
                    <a:lnTo>
                      <a:pt x="793" y="330"/>
                    </a:lnTo>
                    <a:lnTo>
                      <a:pt x="794" y="332"/>
                    </a:lnTo>
                    <a:lnTo>
                      <a:pt x="796" y="332"/>
                    </a:lnTo>
                    <a:lnTo>
                      <a:pt x="796" y="332"/>
                    </a:lnTo>
                    <a:lnTo>
                      <a:pt x="797" y="334"/>
                    </a:lnTo>
                    <a:lnTo>
                      <a:pt x="798" y="337"/>
                    </a:lnTo>
                    <a:lnTo>
                      <a:pt x="801" y="342"/>
                    </a:lnTo>
                    <a:lnTo>
                      <a:pt x="801" y="342"/>
                    </a:lnTo>
                    <a:lnTo>
                      <a:pt x="801" y="348"/>
                    </a:lnTo>
                    <a:lnTo>
                      <a:pt x="801" y="348"/>
                    </a:lnTo>
                    <a:lnTo>
                      <a:pt x="805" y="352"/>
                    </a:lnTo>
                    <a:lnTo>
                      <a:pt x="805" y="352"/>
                    </a:lnTo>
                    <a:lnTo>
                      <a:pt x="804" y="349"/>
                    </a:lnTo>
                    <a:lnTo>
                      <a:pt x="801" y="348"/>
                    </a:lnTo>
                    <a:lnTo>
                      <a:pt x="801" y="348"/>
                    </a:lnTo>
                    <a:lnTo>
                      <a:pt x="802" y="348"/>
                    </a:lnTo>
                    <a:lnTo>
                      <a:pt x="802" y="348"/>
                    </a:lnTo>
                    <a:lnTo>
                      <a:pt x="806" y="348"/>
                    </a:lnTo>
                    <a:lnTo>
                      <a:pt x="809" y="349"/>
                    </a:lnTo>
                    <a:lnTo>
                      <a:pt x="811" y="353"/>
                    </a:lnTo>
                    <a:lnTo>
                      <a:pt x="811" y="354"/>
                    </a:lnTo>
                    <a:lnTo>
                      <a:pt x="811" y="354"/>
                    </a:lnTo>
                    <a:lnTo>
                      <a:pt x="811" y="356"/>
                    </a:lnTo>
                    <a:lnTo>
                      <a:pt x="813" y="357"/>
                    </a:lnTo>
                    <a:lnTo>
                      <a:pt x="813" y="360"/>
                    </a:lnTo>
                    <a:lnTo>
                      <a:pt x="813" y="360"/>
                    </a:lnTo>
                    <a:lnTo>
                      <a:pt x="815" y="369"/>
                    </a:lnTo>
                    <a:lnTo>
                      <a:pt x="818" y="379"/>
                    </a:lnTo>
                    <a:lnTo>
                      <a:pt x="818" y="379"/>
                    </a:lnTo>
                    <a:lnTo>
                      <a:pt x="818" y="390"/>
                    </a:lnTo>
                    <a:lnTo>
                      <a:pt x="811" y="395"/>
                    </a:lnTo>
                    <a:lnTo>
                      <a:pt x="811" y="395"/>
                    </a:lnTo>
                    <a:lnTo>
                      <a:pt x="806" y="395"/>
                    </a:lnTo>
                    <a:lnTo>
                      <a:pt x="806" y="395"/>
                    </a:lnTo>
                    <a:lnTo>
                      <a:pt x="804" y="395"/>
                    </a:lnTo>
                    <a:lnTo>
                      <a:pt x="804" y="395"/>
                    </a:lnTo>
                    <a:lnTo>
                      <a:pt x="806" y="395"/>
                    </a:lnTo>
                    <a:lnTo>
                      <a:pt x="807" y="391"/>
                    </a:lnTo>
                    <a:lnTo>
                      <a:pt x="801" y="397"/>
                    </a:lnTo>
                    <a:lnTo>
                      <a:pt x="801" y="397"/>
                    </a:lnTo>
                    <a:lnTo>
                      <a:pt x="800" y="397"/>
                    </a:lnTo>
                    <a:lnTo>
                      <a:pt x="800" y="397"/>
                    </a:lnTo>
                    <a:lnTo>
                      <a:pt x="798" y="397"/>
                    </a:lnTo>
                    <a:lnTo>
                      <a:pt x="797" y="398"/>
                    </a:lnTo>
                    <a:lnTo>
                      <a:pt x="794" y="399"/>
                    </a:lnTo>
                    <a:lnTo>
                      <a:pt x="794" y="399"/>
                    </a:lnTo>
                    <a:lnTo>
                      <a:pt x="785" y="402"/>
                    </a:lnTo>
                    <a:lnTo>
                      <a:pt x="776" y="403"/>
                    </a:lnTo>
                    <a:lnTo>
                      <a:pt x="776" y="403"/>
                    </a:lnTo>
                    <a:lnTo>
                      <a:pt x="776" y="405"/>
                    </a:lnTo>
                    <a:lnTo>
                      <a:pt x="777" y="405"/>
                    </a:lnTo>
                    <a:lnTo>
                      <a:pt x="777" y="405"/>
                    </a:lnTo>
                    <a:lnTo>
                      <a:pt x="778" y="408"/>
                    </a:lnTo>
                    <a:lnTo>
                      <a:pt x="780" y="412"/>
                    </a:lnTo>
                    <a:lnTo>
                      <a:pt x="780" y="412"/>
                    </a:lnTo>
                    <a:lnTo>
                      <a:pt x="781" y="418"/>
                    </a:lnTo>
                    <a:lnTo>
                      <a:pt x="780" y="422"/>
                    </a:lnTo>
                    <a:lnTo>
                      <a:pt x="778" y="427"/>
                    </a:lnTo>
                    <a:lnTo>
                      <a:pt x="777" y="430"/>
                    </a:lnTo>
                    <a:lnTo>
                      <a:pt x="777" y="430"/>
                    </a:lnTo>
                    <a:lnTo>
                      <a:pt x="776" y="431"/>
                    </a:lnTo>
                    <a:lnTo>
                      <a:pt x="776" y="432"/>
                    </a:lnTo>
                    <a:lnTo>
                      <a:pt x="776" y="432"/>
                    </a:lnTo>
                    <a:lnTo>
                      <a:pt x="777" y="435"/>
                    </a:lnTo>
                    <a:lnTo>
                      <a:pt x="780" y="438"/>
                    </a:lnTo>
                    <a:lnTo>
                      <a:pt x="785" y="442"/>
                    </a:lnTo>
                    <a:lnTo>
                      <a:pt x="785" y="442"/>
                    </a:lnTo>
                    <a:lnTo>
                      <a:pt x="793" y="447"/>
                    </a:lnTo>
                    <a:lnTo>
                      <a:pt x="797" y="447"/>
                    </a:lnTo>
                    <a:lnTo>
                      <a:pt x="797" y="447"/>
                    </a:lnTo>
                    <a:lnTo>
                      <a:pt x="800" y="447"/>
                    </a:lnTo>
                    <a:lnTo>
                      <a:pt x="800" y="447"/>
                    </a:lnTo>
                    <a:lnTo>
                      <a:pt x="802" y="447"/>
                    </a:lnTo>
                    <a:lnTo>
                      <a:pt x="802" y="447"/>
                    </a:lnTo>
                    <a:lnTo>
                      <a:pt x="804" y="448"/>
                    </a:lnTo>
                    <a:lnTo>
                      <a:pt x="804" y="448"/>
                    </a:lnTo>
                    <a:lnTo>
                      <a:pt x="802" y="448"/>
                    </a:lnTo>
                    <a:lnTo>
                      <a:pt x="801" y="451"/>
                    </a:lnTo>
                    <a:lnTo>
                      <a:pt x="806" y="446"/>
                    </a:lnTo>
                    <a:lnTo>
                      <a:pt x="809" y="446"/>
                    </a:lnTo>
                    <a:lnTo>
                      <a:pt x="809" y="446"/>
                    </a:lnTo>
                    <a:lnTo>
                      <a:pt x="810" y="446"/>
                    </a:lnTo>
                    <a:lnTo>
                      <a:pt x="810" y="446"/>
                    </a:lnTo>
                    <a:lnTo>
                      <a:pt x="814" y="446"/>
                    </a:lnTo>
                    <a:lnTo>
                      <a:pt x="814" y="446"/>
                    </a:lnTo>
                    <a:lnTo>
                      <a:pt x="815" y="447"/>
                    </a:lnTo>
                    <a:lnTo>
                      <a:pt x="815" y="447"/>
                    </a:lnTo>
                    <a:lnTo>
                      <a:pt x="814" y="447"/>
                    </a:lnTo>
                    <a:lnTo>
                      <a:pt x="813" y="449"/>
                    </a:lnTo>
                    <a:lnTo>
                      <a:pt x="818" y="446"/>
                    </a:lnTo>
                    <a:lnTo>
                      <a:pt x="818" y="446"/>
                    </a:lnTo>
                    <a:lnTo>
                      <a:pt x="818" y="446"/>
                    </a:lnTo>
                    <a:lnTo>
                      <a:pt x="818" y="446"/>
                    </a:lnTo>
                    <a:lnTo>
                      <a:pt x="818" y="444"/>
                    </a:lnTo>
                    <a:lnTo>
                      <a:pt x="818" y="444"/>
                    </a:lnTo>
                    <a:lnTo>
                      <a:pt x="818" y="444"/>
                    </a:lnTo>
                    <a:lnTo>
                      <a:pt x="821" y="444"/>
                    </a:lnTo>
                    <a:lnTo>
                      <a:pt x="821" y="444"/>
                    </a:lnTo>
                    <a:lnTo>
                      <a:pt x="823" y="446"/>
                    </a:lnTo>
                    <a:lnTo>
                      <a:pt x="823" y="446"/>
                    </a:lnTo>
                    <a:lnTo>
                      <a:pt x="825" y="446"/>
                    </a:lnTo>
                    <a:lnTo>
                      <a:pt x="825" y="446"/>
                    </a:lnTo>
                    <a:lnTo>
                      <a:pt x="822" y="447"/>
                    </a:lnTo>
                    <a:lnTo>
                      <a:pt x="821" y="449"/>
                    </a:lnTo>
                    <a:lnTo>
                      <a:pt x="827" y="444"/>
                    </a:lnTo>
                    <a:lnTo>
                      <a:pt x="829" y="444"/>
                    </a:lnTo>
                    <a:lnTo>
                      <a:pt x="829" y="444"/>
                    </a:lnTo>
                    <a:lnTo>
                      <a:pt x="831" y="443"/>
                    </a:lnTo>
                    <a:lnTo>
                      <a:pt x="831" y="443"/>
                    </a:lnTo>
                    <a:lnTo>
                      <a:pt x="834" y="444"/>
                    </a:lnTo>
                    <a:lnTo>
                      <a:pt x="834" y="444"/>
                    </a:lnTo>
                    <a:lnTo>
                      <a:pt x="835" y="444"/>
                    </a:lnTo>
                    <a:lnTo>
                      <a:pt x="835" y="444"/>
                    </a:lnTo>
                    <a:lnTo>
                      <a:pt x="833" y="446"/>
                    </a:lnTo>
                    <a:lnTo>
                      <a:pt x="831" y="448"/>
                    </a:lnTo>
                    <a:lnTo>
                      <a:pt x="837" y="443"/>
                    </a:lnTo>
                    <a:lnTo>
                      <a:pt x="839" y="443"/>
                    </a:lnTo>
                    <a:lnTo>
                      <a:pt x="841" y="443"/>
                    </a:lnTo>
                    <a:lnTo>
                      <a:pt x="841" y="443"/>
                    </a:lnTo>
                    <a:lnTo>
                      <a:pt x="847" y="444"/>
                    </a:lnTo>
                    <a:lnTo>
                      <a:pt x="852" y="447"/>
                    </a:lnTo>
                    <a:lnTo>
                      <a:pt x="858" y="451"/>
                    </a:lnTo>
                    <a:lnTo>
                      <a:pt x="862" y="456"/>
                    </a:lnTo>
                    <a:lnTo>
                      <a:pt x="862" y="456"/>
                    </a:lnTo>
                    <a:lnTo>
                      <a:pt x="868" y="463"/>
                    </a:lnTo>
                    <a:lnTo>
                      <a:pt x="872" y="464"/>
                    </a:lnTo>
                    <a:lnTo>
                      <a:pt x="876" y="464"/>
                    </a:lnTo>
                    <a:lnTo>
                      <a:pt x="876" y="464"/>
                    </a:lnTo>
                    <a:lnTo>
                      <a:pt x="879" y="464"/>
                    </a:lnTo>
                    <a:lnTo>
                      <a:pt x="879" y="464"/>
                    </a:lnTo>
                    <a:lnTo>
                      <a:pt x="883" y="463"/>
                    </a:lnTo>
                    <a:lnTo>
                      <a:pt x="885" y="463"/>
                    </a:lnTo>
                    <a:lnTo>
                      <a:pt x="885" y="463"/>
                    </a:lnTo>
                    <a:lnTo>
                      <a:pt x="887" y="463"/>
                    </a:lnTo>
                    <a:lnTo>
                      <a:pt x="887" y="463"/>
                    </a:lnTo>
                    <a:lnTo>
                      <a:pt x="888" y="461"/>
                    </a:lnTo>
                    <a:lnTo>
                      <a:pt x="888" y="461"/>
                    </a:lnTo>
                    <a:lnTo>
                      <a:pt x="891" y="460"/>
                    </a:lnTo>
                    <a:lnTo>
                      <a:pt x="892" y="459"/>
                    </a:lnTo>
                    <a:lnTo>
                      <a:pt x="895" y="456"/>
                    </a:lnTo>
                    <a:lnTo>
                      <a:pt x="895" y="456"/>
                    </a:lnTo>
                    <a:lnTo>
                      <a:pt x="895" y="456"/>
                    </a:lnTo>
                    <a:lnTo>
                      <a:pt x="901" y="451"/>
                    </a:lnTo>
                    <a:lnTo>
                      <a:pt x="907" y="443"/>
                    </a:lnTo>
                    <a:lnTo>
                      <a:pt x="907" y="443"/>
                    </a:lnTo>
                    <a:lnTo>
                      <a:pt x="912" y="438"/>
                    </a:lnTo>
                    <a:lnTo>
                      <a:pt x="912" y="435"/>
                    </a:lnTo>
                    <a:lnTo>
                      <a:pt x="912" y="435"/>
                    </a:lnTo>
                    <a:lnTo>
                      <a:pt x="912" y="432"/>
                    </a:lnTo>
                    <a:lnTo>
                      <a:pt x="912" y="432"/>
                    </a:lnTo>
                    <a:lnTo>
                      <a:pt x="912" y="431"/>
                    </a:lnTo>
                    <a:lnTo>
                      <a:pt x="912" y="431"/>
                    </a:lnTo>
                    <a:lnTo>
                      <a:pt x="913" y="434"/>
                    </a:lnTo>
                    <a:lnTo>
                      <a:pt x="916" y="435"/>
                    </a:lnTo>
                    <a:lnTo>
                      <a:pt x="911" y="430"/>
                    </a:lnTo>
                    <a:lnTo>
                      <a:pt x="911" y="427"/>
                    </a:lnTo>
                    <a:lnTo>
                      <a:pt x="911" y="427"/>
                    </a:lnTo>
                    <a:lnTo>
                      <a:pt x="911" y="424"/>
                    </a:lnTo>
                    <a:lnTo>
                      <a:pt x="911" y="424"/>
                    </a:lnTo>
                    <a:lnTo>
                      <a:pt x="911" y="424"/>
                    </a:lnTo>
                    <a:lnTo>
                      <a:pt x="911" y="424"/>
                    </a:lnTo>
                    <a:lnTo>
                      <a:pt x="912" y="426"/>
                    </a:lnTo>
                    <a:lnTo>
                      <a:pt x="915" y="427"/>
                    </a:lnTo>
                    <a:lnTo>
                      <a:pt x="909" y="422"/>
                    </a:lnTo>
                    <a:lnTo>
                      <a:pt x="909" y="420"/>
                    </a:lnTo>
                    <a:lnTo>
                      <a:pt x="909" y="420"/>
                    </a:lnTo>
                    <a:lnTo>
                      <a:pt x="909" y="419"/>
                    </a:lnTo>
                    <a:lnTo>
                      <a:pt x="909" y="419"/>
                    </a:lnTo>
                    <a:lnTo>
                      <a:pt x="909" y="418"/>
                    </a:lnTo>
                    <a:lnTo>
                      <a:pt x="909" y="418"/>
                    </a:lnTo>
                    <a:lnTo>
                      <a:pt x="911" y="419"/>
                    </a:lnTo>
                    <a:lnTo>
                      <a:pt x="913" y="422"/>
                    </a:lnTo>
                    <a:lnTo>
                      <a:pt x="908" y="414"/>
                    </a:lnTo>
                    <a:lnTo>
                      <a:pt x="908" y="414"/>
                    </a:lnTo>
                    <a:lnTo>
                      <a:pt x="908" y="415"/>
                    </a:lnTo>
                    <a:lnTo>
                      <a:pt x="908" y="414"/>
                    </a:lnTo>
                    <a:lnTo>
                      <a:pt x="908" y="414"/>
                    </a:lnTo>
                    <a:lnTo>
                      <a:pt x="908" y="410"/>
                    </a:lnTo>
                    <a:lnTo>
                      <a:pt x="909" y="407"/>
                    </a:lnTo>
                    <a:lnTo>
                      <a:pt x="909" y="407"/>
                    </a:lnTo>
                    <a:lnTo>
                      <a:pt x="911" y="406"/>
                    </a:lnTo>
                    <a:lnTo>
                      <a:pt x="912" y="405"/>
                    </a:lnTo>
                    <a:lnTo>
                      <a:pt x="916" y="405"/>
                    </a:lnTo>
                    <a:lnTo>
                      <a:pt x="916" y="405"/>
                    </a:lnTo>
                    <a:lnTo>
                      <a:pt x="916" y="405"/>
                    </a:lnTo>
                    <a:lnTo>
                      <a:pt x="919" y="405"/>
                    </a:lnTo>
                    <a:lnTo>
                      <a:pt x="919" y="405"/>
                    </a:lnTo>
                    <a:lnTo>
                      <a:pt x="921" y="405"/>
                    </a:lnTo>
                    <a:lnTo>
                      <a:pt x="921" y="405"/>
                    </a:lnTo>
                    <a:lnTo>
                      <a:pt x="923" y="405"/>
                    </a:lnTo>
                    <a:lnTo>
                      <a:pt x="923" y="405"/>
                    </a:lnTo>
                    <a:lnTo>
                      <a:pt x="920" y="406"/>
                    </a:lnTo>
                    <a:lnTo>
                      <a:pt x="919" y="408"/>
                    </a:lnTo>
                    <a:lnTo>
                      <a:pt x="925" y="403"/>
                    </a:lnTo>
                    <a:lnTo>
                      <a:pt x="926" y="403"/>
                    </a:lnTo>
                    <a:lnTo>
                      <a:pt x="926" y="403"/>
                    </a:lnTo>
                    <a:lnTo>
                      <a:pt x="928" y="403"/>
                    </a:lnTo>
                    <a:lnTo>
                      <a:pt x="928" y="403"/>
                    </a:lnTo>
                    <a:lnTo>
                      <a:pt x="932" y="403"/>
                    </a:lnTo>
                    <a:lnTo>
                      <a:pt x="932" y="403"/>
                    </a:lnTo>
                    <a:lnTo>
                      <a:pt x="933" y="403"/>
                    </a:lnTo>
                    <a:lnTo>
                      <a:pt x="933" y="403"/>
                    </a:lnTo>
                    <a:lnTo>
                      <a:pt x="930" y="405"/>
                    </a:lnTo>
                    <a:lnTo>
                      <a:pt x="929" y="407"/>
                    </a:lnTo>
                    <a:lnTo>
                      <a:pt x="934" y="402"/>
                    </a:lnTo>
                    <a:lnTo>
                      <a:pt x="937" y="402"/>
                    </a:lnTo>
                    <a:lnTo>
                      <a:pt x="937" y="402"/>
                    </a:lnTo>
                    <a:lnTo>
                      <a:pt x="941" y="401"/>
                    </a:lnTo>
                    <a:lnTo>
                      <a:pt x="945" y="398"/>
                    </a:lnTo>
                    <a:lnTo>
                      <a:pt x="949" y="397"/>
                    </a:lnTo>
                    <a:lnTo>
                      <a:pt x="949" y="397"/>
                    </a:lnTo>
                    <a:lnTo>
                      <a:pt x="949" y="397"/>
                    </a:lnTo>
                    <a:lnTo>
                      <a:pt x="953" y="395"/>
                    </a:lnTo>
                    <a:lnTo>
                      <a:pt x="956" y="393"/>
                    </a:lnTo>
                    <a:lnTo>
                      <a:pt x="956" y="393"/>
                    </a:lnTo>
                    <a:lnTo>
                      <a:pt x="958" y="391"/>
                    </a:lnTo>
                    <a:lnTo>
                      <a:pt x="960" y="391"/>
                    </a:lnTo>
                    <a:lnTo>
                      <a:pt x="960" y="391"/>
                    </a:lnTo>
                    <a:lnTo>
                      <a:pt x="960" y="391"/>
                    </a:lnTo>
                    <a:lnTo>
                      <a:pt x="958" y="394"/>
                    </a:lnTo>
                    <a:lnTo>
                      <a:pt x="963" y="389"/>
                    </a:lnTo>
                    <a:lnTo>
                      <a:pt x="963" y="389"/>
                    </a:lnTo>
                    <a:lnTo>
                      <a:pt x="967" y="390"/>
                    </a:lnTo>
                    <a:lnTo>
                      <a:pt x="969" y="390"/>
                    </a:lnTo>
                    <a:lnTo>
                      <a:pt x="969" y="390"/>
                    </a:lnTo>
                    <a:lnTo>
                      <a:pt x="970" y="390"/>
                    </a:lnTo>
                    <a:lnTo>
                      <a:pt x="978" y="398"/>
                    </a:lnTo>
                    <a:lnTo>
                      <a:pt x="978" y="398"/>
                    </a:lnTo>
                    <a:lnTo>
                      <a:pt x="978" y="395"/>
                    </a:lnTo>
                    <a:lnTo>
                      <a:pt x="977" y="394"/>
                    </a:lnTo>
                    <a:lnTo>
                      <a:pt x="977" y="394"/>
                    </a:lnTo>
                    <a:lnTo>
                      <a:pt x="975" y="393"/>
                    </a:lnTo>
                    <a:lnTo>
                      <a:pt x="977" y="393"/>
                    </a:lnTo>
                    <a:lnTo>
                      <a:pt x="977" y="393"/>
                    </a:lnTo>
                    <a:lnTo>
                      <a:pt x="981" y="397"/>
                    </a:lnTo>
                    <a:lnTo>
                      <a:pt x="983" y="401"/>
                    </a:lnTo>
                    <a:lnTo>
                      <a:pt x="983" y="401"/>
                    </a:lnTo>
                    <a:lnTo>
                      <a:pt x="986" y="405"/>
                    </a:lnTo>
                    <a:lnTo>
                      <a:pt x="989" y="406"/>
                    </a:lnTo>
                    <a:lnTo>
                      <a:pt x="991" y="408"/>
                    </a:lnTo>
                    <a:lnTo>
                      <a:pt x="991" y="408"/>
                    </a:lnTo>
                    <a:lnTo>
                      <a:pt x="994" y="412"/>
                    </a:lnTo>
                    <a:lnTo>
                      <a:pt x="994" y="412"/>
                    </a:lnTo>
                    <a:lnTo>
                      <a:pt x="995" y="415"/>
                    </a:lnTo>
                    <a:lnTo>
                      <a:pt x="998" y="419"/>
                    </a:lnTo>
                    <a:lnTo>
                      <a:pt x="998" y="419"/>
                    </a:lnTo>
                    <a:lnTo>
                      <a:pt x="1001" y="416"/>
                    </a:lnTo>
                    <a:lnTo>
                      <a:pt x="1001" y="416"/>
                    </a:lnTo>
                    <a:lnTo>
                      <a:pt x="1003" y="411"/>
                    </a:lnTo>
                    <a:lnTo>
                      <a:pt x="1003" y="411"/>
                    </a:lnTo>
                    <a:lnTo>
                      <a:pt x="1006" y="408"/>
                    </a:lnTo>
                    <a:lnTo>
                      <a:pt x="1007" y="406"/>
                    </a:lnTo>
                    <a:lnTo>
                      <a:pt x="1007" y="406"/>
                    </a:lnTo>
                    <a:lnTo>
                      <a:pt x="1010" y="402"/>
                    </a:lnTo>
                    <a:lnTo>
                      <a:pt x="1012" y="398"/>
                    </a:lnTo>
                    <a:lnTo>
                      <a:pt x="1016" y="395"/>
                    </a:lnTo>
                    <a:lnTo>
                      <a:pt x="1022" y="394"/>
                    </a:lnTo>
                    <a:lnTo>
                      <a:pt x="1022" y="394"/>
                    </a:lnTo>
                    <a:lnTo>
                      <a:pt x="1028" y="395"/>
                    </a:lnTo>
                    <a:lnTo>
                      <a:pt x="1032" y="402"/>
                    </a:lnTo>
                    <a:lnTo>
                      <a:pt x="1032" y="411"/>
                    </a:lnTo>
                    <a:lnTo>
                      <a:pt x="1026" y="418"/>
                    </a:lnTo>
                    <a:lnTo>
                      <a:pt x="1026" y="418"/>
                    </a:lnTo>
                    <a:lnTo>
                      <a:pt x="1026" y="418"/>
                    </a:lnTo>
                    <a:lnTo>
                      <a:pt x="1026" y="418"/>
                    </a:lnTo>
                    <a:lnTo>
                      <a:pt x="1028" y="416"/>
                    </a:lnTo>
                    <a:lnTo>
                      <a:pt x="1030" y="416"/>
                    </a:lnTo>
                    <a:lnTo>
                      <a:pt x="1030" y="416"/>
                    </a:lnTo>
                    <a:lnTo>
                      <a:pt x="1031" y="414"/>
                    </a:lnTo>
                    <a:lnTo>
                      <a:pt x="1031" y="414"/>
                    </a:lnTo>
                    <a:lnTo>
                      <a:pt x="1031" y="414"/>
                    </a:lnTo>
                    <a:lnTo>
                      <a:pt x="1031" y="414"/>
                    </a:lnTo>
                    <a:lnTo>
                      <a:pt x="1031" y="419"/>
                    </a:lnTo>
                    <a:lnTo>
                      <a:pt x="1031" y="419"/>
                    </a:lnTo>
                    <a:lnTo>
                      <a:pt x="1031" y="419"/>
                    </a:lnTo>
                    <a:lnTo>
                      <a:pt x="1031" y="419"/>
                    </a:lnTo>
                    <a:lnTo>
                      <a:pt x="1031" y="420"/>
                    </a:lnTo>
                    <a:lnTo>
                      <a:pt x="1031" y="420"/>
                    </a:lnTo>
                    <a:lnTo>
                      <a:pt x="1027" y="424"/>
                    </a:lnTo>
                    <a:lnTo>
                      <a:pt x="1028" y="424"/>
                    </a:lnTo>
                    <a:lnTo>
                      <a:pt x="1028" y="424"/>
                    </a:lnTo>
                    <a:lnTo>
                      <a:pt x="1030" y="422"/>
                    </a:lnTo>
                    <a:lnTo>
                      <a:pt x="1030" y="422"/>
                    </a:lnTo>
                    <a:lnTo>
                      <a:pt x="1030" y="423"/>
                    </a:lnTo>
                    <a:lnTo>
                      <a:pt x="1030" y="423"/>
                    </a:lnTo>
                    <a:lnTo>
                      <a:pt x="1030" y="424"/>
                    </a:lnTo>
                    <a:lnTo>
                      <a:pt x="1030" y="427"/>
                    </a:lnTo>
                    <a:lnTo>
                      <a:pt x="1024" y="432"/>
                    </a:lnTo>
                    <a:lnTo>
                      <a:pt x="1024" y="432"/>
                    </a:lnTo>
                    <a:lnTo>
                      <a:pt x="1027" y="431"/>
                    </a:lnTo>
                    <a:lnTo>
                      <a:pt x="1028" y="430"/>
                    </a:lnTo>
                    <a:lnTo>
                      <a:pt x="1028" y="430"/>
                    </a:lnTo>
                    <a:lnTo>
                      <a:pt x="1028" y="431"/>
                    </a:lnTo>
                    <a:lnTo>
                      <a:pt x="1028" y="431"/>
                    </a:lnTo>
                    <a:lnTo>
                      <a:pt x="1028" y="436"/>
                    </a:lnTo>
                    <a:lnTo>
                      <a:pt x="1028" y="439"/>
                    </a:lnTo>
                    <a:lnTo>
                      <a:pt x="1028" y="442"/>
                    </a:lnTo>
                    <a:lnTo>
                      <a:pt x="1028" y="442"/>
                    </a:lnTo>
                    <a:lnTo>
                      <a:pt x="1027" y="446"/>
                    </a:lnTo>
                    <a:lnTo>
                      <a:pt x="1027" y="451"/>
                    </a:lnTo>
                    <a:lnTo>
                      <a:pt x="1027" y="457"/>
                    </a:lnTo>
                    <a:lnTo>
                      <a:pt x="1028" y="461"/>
                    </a:lnTo>
                    <a:lnTo>
                      <a:pt x="1028" y="463"/>
                    </a:lnTo>
                    <a:lnTo>
                      <a:pt x="1030" y="465"/>
                    </a:lnTo>
                    <a:lnTo>
                      <a:pt x="1030" y="465"/>
                    </a:lnTo>
                    <a:lnTo>
                      <a:pt x="1034" y="472"/>
                    </a:lnTo>
                    <a:lnTo>
                      <a:pt x="1038" y="477"/>
                    </a:lnTo>
                    <a:lnTo>
                      <a:pt x="1039" y="480"/>
                    </a:lnTo>
                    <a:lnTo>
                      <a:pt x="1039" y="480"/>
                    </a:lnTo>
                    <a:lnTo>
                      <a:pt x="1040" y="483"/>
                    </a:lnTo>
                    <a:lnTo>
                      <a:pt x="1040" y="483"/>
                    </a:lnTo>
                    <a:lnTo>
                      <a:pt x="1040" y="483"/>
                    </a:lnTo>
                    <a:lnTo>
                      <a:pt x="1040" y="483"/>
                    </a:lnTo>
                    <a:lnTo>
                      <a:pt x="1040" y="483"/>
                    </a:lnTo>
                    <a:lnTo>
                      <a:pt x="1040" y="483"/>
                    </a:lnTo>
                    <a:lnTo>
                      <a:pt x="1039" y="483"/>
                    </a:lnTo>
                    <a:lnTo>
                      <a:pt x="1042" y="485"/>
                    </a:lnTo>
                    <a:lnTo>
                      <a:pt x="1043" y="485"/>
                    </a:lnTo>
                    <a:lnTo>
                      <a:pt x="1043" y="485"/>
                    </a:lnTo>
                    <a:lnTo>
                      <a:pt x="1044" y="489"/>
                    </a:lnTo>
                    <a:lnTo>
                      <a:pt x="1044" y="489"/>
                    </a:lnTo>
                    <a:lnTo>
                      <a:pt x="1044" y="489"/>
                    </a:lnTo>
                    <a:lnTo>
                      <a:pt x="1044" y="489"/>
                    </a:lnTo>
                    <a:lnTo>
                      <a:pt x="1044" y="489"/>
                    </a:lnTo>
                    <a:lnTo>
                      <a:pt x="1044" y="489"/>
                    </a:lnTo>
                    <a:lnTo>
                      <a:pt x="1043" y="489"/>
                    </a:lnTo>
                    <a:lnTo>
                      <a:pt x="1045" y="492"/>
                    </a:lnTo>
                    <a:lnTo>
                      <a:pt x="1045" y="492"/>
                    </a:lnTo>
                    <a:lnTo>
                      <a:pt x="1048" y="493"/>
                    </a:lnTo>
                    <a:lnTo>
                      <a:pt x="1048" y="493"/>
                    </a:lnTo>
                    <a:lnTo>
                      <a:pt x="1051" y="492"/>
                    </a:lnTo>
                    <a:lnTo>
                      <a:pt x="1051" y="492"/>
                    </a:lnTo>
                    <a:lnTo>
                      <a:pt x="1052" y="492"/>
                    </a:lnTo>
                    <a:lnTo>
                      <a:pt x="1056" y="490"/>
                    </a:lnTo>
                    <a:lnTo>
                      <a:pt x="1056" y="490"/>
                    </a:lnTo>
                    <a:lnTo>
                      <a:pt x="1056" y="490"/>
                    </a:lnTo>
                    <a:lnTo>
                      <a:pt x="1056" y="490"/>
                    </a:lnTo>
                    <a:lnTo>
                      <a:pt x="1055" y="490"/>
                    </a:lnTo>
                    <a:lnTo>
                      <a:pt x="1055" y="490"/>
                    </a:lnTo>
                    <a:lnTo>
                      <a:pt x="1059" y="489"/>
                    </a:lnTo>
                    <a:lnTo>
                      <a:pt x="1059" y="489"/>
                    </a:lnTo>
                    <a:lnTo>
                      <a:pt x="1061" y="488"/>
                    </a:lnTo>
                    <a:lnTo>
                      <a:pt x="1061" y="488"/>
                    </a:lnTo>
                    <a:lnTo>
                      <a:pt x="1063" y="488"/>
                    </a:lnTo>
                    <a:lnTo>
                      <a:pt x="1063" y="488"/>
                    </a:lnTo>
                    <a:lnTo>
                      <a:pt x="1063" y="488"/>
                    </a:lnTo>
                    <a:lnTo>
                      <a:pt x="1064" y="485"/>
                    </a:lnTo>
                    <a:lnTo>
                      <a:pt x="1064" y="485"/>
                    </a:lnTo>
                    <a:lnTo>
                      <a:pt x="1068" y="484"/>
                    </a:lnTo>
                    <a:lnTo>
                      <a:pt x="1068" y="484"/>
                    </a:lnTo>
                    <a:lnTo>
                      <a:pt x="1068" y="483"/>
                    </a:lnTo>
                    <a:lnTo>
                      <a:pt x="1068" y="483"/>
                    </a:lnTo>
                    <a:lnTo>
                      <a:pt x="1067" y="480"/>
                    </a:lnTo>
                    <a:lnTo>
                      <a:pt x="1067" y="477"/>
                    </a:lnTo>
                    <a:lnTo>
                      <a:pt x="1067" y="475"/>
                    </a:lnTo>
                    <a:lnTo>
                      <a:pt x="1068" y="473"/>
                    </a:lnTo>
                    <a:lnTo>
                      <a:pt x="1068" y="473"/>
                    </a:lnTo>
                    <a:lnTo>
                      <a:pt x="1069" y="471"/>
                    </a:lnTo>
                    <a:lnTo>
                      <a:pt x="1069" y="469"/>
                    </a:lnTo>
                    <a:lnTo>
                      <a:pt x="1069" y="469"/>
                    </a:lnTo>
                    <a:lnTo>
                      <a:pt x="1071" y="467"/>
                    </a:lnTo>
                    <a:lnTo>
                      <a:pt x="1071" y="467"/>
                    </a:lnTo>
                    <a:lnTo>
                      <a:pt x="1076" y="460"/>
                    </a:lnTo>
                    <a:lnTo>
                      <a:pt x="1080" y="456"/>
                    </a:lnTo>
                    <a:lnTo>
                      <a:pt x="1085" y="455"/>
                    </a:lnTo>
                    <a:lnTo>
                      <a:pt x="1085" y="455"/>
                    </a:lnTo>
                    <a:lnTo>
                      <a:pt x="1086" y="453"/>
                    </a:lnTo>
                    <a:lnTo>
                      <a:pt x="1089" y="452"/>
                    </a:lnTo>
                    <a:lnTo>
                      <a:pt x="1089" y="452"/>
                    </a:lnTo>
                    <a:lnTo>
                      <a:pt x="1089" y="452"/>
                    </a:lnTo>
                    <a:lnTo>
                      <a:pt x="1102" y="438"/>
                    </a:lnTo>
                    <a:lnTo>
                      <a:pt x="1105" y="436"/>
                    </a:lnTo>
                    <a:lnTo>
                      <a:pt x="1105" y="436"/>
                    </a:lnTo>
                    <a:lnTo>
                      <a:pt x="1112" y="432"/>
                    </a:lnTo>
                    <a:lnTo>
                      <a:pt x="1112" y="432"/>
                    </a:lnTo>
                    <a:lnTo>
                      <a:pt x="1116" y="430"/>
                    </a:lnTo>
                    <a:lnTo>
                      <a:pt x="1120" y="426"/>
                    </a:lnTo>
                    <a:lnTo>
                      <a:pt x="1121" y="424"/>
                    </a:lnTo>
                    <a:lnTo>
                      <a:pt x="1121" y="424"/>
                    </a:lnTo>
                    <a:lnTo>
                      <a:pt x="1129" y="419"/>
                    </a:lnTo>
                    <a:lnTo>
                      <a:pt x="1129" y="419"/>
                    </a:lnTo>
                    <a:lnTo>
                      <a:pt x="1137" y="412"/>
                    </a:lnTo>
                    <a:lnTo>
                      <a:pt x="1142" y="407"/>
                    </a:lnTo>
                    <a:lnTo>
                      <a:pt x="1145" y="405"/>
                    </a:lnTo>
                    <a:lnTo>
                      <a:pt x="1145" y="405"/>
                    </a:lnTo>
                    <a:lnTo>
                      <a:pt x="1150" y="401"/>
                    </a:lnTo>
                    <a:lnTo>
                      <a:pt x="1150" y="401"/>
                    </a:lnTo>
                    <a:lnTo>
                      <a:pt x="1157" y="395"/>
                    </a:lnTo>
                    <a:lnTo>
                      <a:pt x="1159" y="394"/>
                    </a:lnTo>
                    <a:lnTo>
                      <a:pt x="1163" y="394"/>
                    </a:lnTo>
                    <a:lnTo>
                      <a:pt x="1168" y="398"/>
                    </a:lnTo>
                    <a:lnTo>
                      <a:pt x="1168" y="398"/>
                    </a:lnTo>
                    <a:lnTo>
                      <a:pt x="1168" y="398"/>
                    </a:lnTo>
                    <a:lnTo>
                      <a:pt x="1171" y="399"/>
                    </a:lnTo>
                    <a:lnTo>
                      <a:pt x="1171" y="399"/>
                    </a:lnTo>
                    <a:lnTo>
                      <a:pt x="1174" y="402"/>
                    </a:lnTo>
                    <a:lnTo>
                      <a:pt x="1174" y="402"/>
                    </a:lnTo>
                    <a:lnTo>
                      <a:pt x="1176" y="405"/>
                    </a:lnTo>
                    <a:lnTo>
                      <a:pt x="1179" y="408"/>
                    </a:lnTo>
                    <a:lnTo>
                      <a:pt x="1182" y="414"/>
                    </a:lnTo>
                    <a:lnTo>
                      <a:pt x="1180" y="420"/>
                    </a:lnTo>
                    <a:lnTo>
                      <a:pt x="1180" y="422"/>
                    </a:lnTo>
                    <a:lnTo>
                      <a:pt x="1180" y="424"/>
                    </a:lnTo>
                    <a:lnTo>
                      <a:pt x="1180" y="424"/>
                    </a:lnTo>
                    <a:lnTo>
                      <a:pt x="1170" y="438"/>
                    </a:lnTo>
                    <a:lnTo>
                      <a:pt x="1170" y="438"/>
                    </a:lnTo>
                    <a:lnTo>
                      <a:pt x="1160" y="449"/>
                    </a:lnTo>
                    <a:lnTo>
                      <a:pt x="1158" y="455"/>
                    </a:lnTo>
                    <a:lnTo>
                      <a:pt x="1155" y="461"/>
                    </a:lnTo>
                    <a:lnTo>
                      <a:pt x="1155" y="461"/>
                    </a:lnTo>
                    <a:lnTo>
                      <a:pt x="1158" y="463"/>
                    </a:lnTo>
                    <a:lnTo>
                      <a:pt x="1158" y="463"/>
                    </a:lnTo>
                    <a:lnTo>
                      <a:pt x="1160" y="464"/>
                    </a:lnTo>
                    <a:lnTo>
                      <a:pt x="1160" y="464"/>
                    </a:lnTo>
                    <a:lnTo>
                      <a:pt x="1162" y="464"/>
                    </a:lnTo>
                    <a:lnTo>
                      <a:pt x="1164" y="465"/>
                    </a:lnTo>
                    <a:lnTo>
                      <a:pt x="1166" y="468"/>
                    </a:lnTo>
                    <a:lnTo>
                      <a:pt x="1166" y="468"/>
                    </a:lnTo>
                    <a:lnTo>
                      <a:pt x="1166" y="467"/>
                    </a:lnTo>
                    <a:lnTo>
                      <a:pt x="1163" y="467"/>
                    </a:lnTo>
                    <a:lnTo>
                      <a:pt x="1168" y="469"/>
                    </a:lnTo>
                    <a:lnTo>
                      <a:pt x="1168" y="469"/>
                    </a:lnTo>
                    <a:lnTo>
                      <a:pt x="1171" y="472"/>
                    </a:lnTo>
                    <a:lnTo>
                      <a:pt x="1175" y="475"/>
                    </a:lnTo>
                    <a:lnTo>
                      <a:pt x="1175" y="475"/>
                    </a:lnTo>
                    <a:lnTo>
                      <a:pt x="1180" y="480"/>
                    </a:lnTo>
                    <a:lnTo>
                      <a:pt x="1186" y="486"/>
                    </a:lnTo>
                    <a:lnTo>
                      <a:pt x="1187" y="489"/>
                    </a:lnTo>
                    <a:lnTo>
                      <a:pt x="1187" y="489"/>
                    </a:lnTo>
                    <a:lnTo>
                      <a:pt x="1187" y="492"/>
                    </a:lnTo>
                    <a:lnTo>
                      <a:pt x="1186" y="496"/>
                    </a:lnTo>
                    <a:lnTo>
                      <a:pt x="1182" y="498"/>
                    </a:lnTo>
                    <a:lnTo>
                      <a:pt x="1182" y="498"/>
                    </a:lnTo>
                    <a:lnTo>
                      <a:pt x="1182" y="498"/>
                    </a:lnTo>
                    <a:lnTo>
                      <a:pt x="1180" y="502"/>
                    </a:lnTo>
                    <a:lnTo>
                      <a:pt x="1180" y="502"/>
                    </a:lnTo>
                    <a:lnTo>
                      <a:pt x="1171" y="509"/>
                    </a:lnTo>
                    <a:lnTo>
                      <a:pt x="1171" y="509"/>
                    </a:lnTo>
                    <a:lnTo>
                      <a:pt x="1163" y="517"/>
                    </a:lnTo>
                    <a:lnTo>
                      <a:pt x="1160" y="518"/>
                    </a:lnTo>
                    <a:lnTo>
                      <a:pt x="1160" y="518"/>
                    </a:lnTo>
                    <a:lnTo>
                      <a:pt x="1159" y="520"/>
                    </a:lnTo>
                    <a:lnTo>
                      <a:pt x="1159" y="520"/>
                    </a:lnTo>
                    <a:lnTo>
                      <a:pt x="1158" y="520"/>
                    </a:lnTo>
                    <a:lnTo>
                      <a:pt x="1158" y="521"/>
                    </a:lnTo>
                    <a:lnTo>
                      <a:pt x="1155" y="525"/>
                    </a:lnTo>
                    <a:lnTo>
                      <a:pt x="1155" y="525"/>
                    </a:lnTo>
                    <a:lnTo>
                      <a:pt x="1157" y="524"/>
                    </a:lnTo>
                    <a:lnTo>
                      <a:pt x="1157" y="524"/>
                    </a:lnTo>
                    <a:lnTo>
                      <a:pt x="1157" y="529"/>
                    </a:lnTo>
                    <a:lnTo>
                      <a:pt x="1157" y="529"/>
                    </a:lnTo>
                    <a:lnTo>
                      <a:pt x="1157" y="535"/>
                    </a:lnTo>
                    <a:lnTo>
                      <a:pt x="1157" y="537"/>
                    </a:lnTo>
                    <a:lnTo>
                      <a:pt x="1157" y="538"/>
                    </a:lnTo>
                    <a:lnTo>
                      <a:pt x="1157" y="538"/>
                    </a:lnTo>
                    <a:lnTo>
                      <a:pt x="1155" y="554"/>
                    </a:lnTo>
                    <a:lnTo>
                      <a:pt x="1155" y="554"/>
                    </a:lnTo>
                    <a:lnTo>
                      <a:pt x="1154" y="563"/>
                    </a:lnTo>
                    <a:lnTo>
                      <a:pt x="1154" y="563"/>
                    </a:lnTo>
                    <a:lnTo>
                      <a:pt x="1151" y="568"/>
                    </a:lnTo>
                    <a:lnTo>
                      <a:pt x="1151" y="568"/>
                    </a:lnTo>
                    <a:lnTo>
                      <a:pt x="1142" y="576"/>
                    </a:lnTo>
                    <a:lnTo>
                      <a:pt x="1138" y="580"/>
                    </a:lnTo>
                    <a:lnTo>
                      <a:pt x="1138" y="583"/>
                    </a:lnTo>
                    <a:lnTo>
                      <a:pt x="1138" y="583"/>
                    </a:lnTo>
                    <a:lnTo>
                      <a:pt x="1138" y="584"/>
                    </a:lnTo>
                    <a:lnTo>
                      <a:pt x="1139" y="584"/>
                    </a:lnTo>
                    <a:lnTo>
                      <a:pt x="1141" y="584"/>
                    </a:lnTo>
                    <a:lnTo>
                      <a:pt x="1141" y="584"/>
                    </a:lnTo>
                    <a:lnTo>
                      <a:pt x="1145" y="586"/>
                    </a:lnTo>
                    <a:lnTo>
                      <a:pt x="1153" y="586"/>
                    </a:lnTo>
                    <a:lnTo>
                      <a:pt x="1153" y="586"/>
                    </a:lnTo>
                    <a:lnTo>
                      <a:pt x="1159" y="586"/>
                    </a:lnTo>
                    <a:lnTo>
                      <a:pt x="1164" y="584"/>
                    </a:lnTo>
                    <a:lnTo>
                      <a:pt x="1166" y="584"/>
                    </a:lnTo>
                    <a:lnTo>
                      <a:pt x="1168" y="584"/>
                    </a:lnTo>
                    <a:lnTo>
                      <a:pt x="1174" y="590"/>
                    </a:lnTo>
                    <a:lnTo>
                      <a:pt x="1174" y="590"/>
                    </a:lnTo>
                    <a:lnTo>
                      <a:pt x="1176" y="594"/>
                    </a:lnTo>
                    <a:lnTo>
                      <a:pt x="1178" y="595"/>
                    </a:lnTo>
                    <a:lnTo>
                      <a:pt x="1178" y="595"/>
                    </a:lnTo>
                    <a:lnTo>
                      <a:pt x="1179" y="598"/>
                    </a:lnTo>
                    <a:lnTo>
                      <a:pt x="1179" y="600"/>
                    </a:lnTo>
                    <a:lnTo>
                      <a:pt x="1179" y="600"/>
                    </a:lnTo>
                    <a:lnTo>
                      <a:pt x="1180" y="604"/>
                    </a:lnTo>
                    <a:lnTo>
                      <a:pt x="1180" y="604"/>
                    </a:lnTo>
                    <a:lnTo>
                      <a:pt x="1180" y="605"/>
                    </a:lnTo>
                    <a:lnTo>
                      <a:pt x="1180" y="605"/>
                    </a:lnTo>
                    <a:lnTo>
                      <a:pt x="1179" y="604"/>
                    </a:lnTo>
                    <a:lnTo>
                      <a:pt x="1182" y="609"/>
                    </a:lnTo>
                    <a:lnTo>
                      <a:pt x="1182" y="611"/>
                    </a:lnTo>
                    <a:lnTo>
                      <a:pt x="1182" y="611"/>
                    </a:lnTo>
                    <a:lnTo>
                      <a:pt x="1182" y="612"/>
                    </a:lnTo>
                    <a:lnTo>
                      <a:pt x="1182" y="612"/>
                    </a:lnTo>
                    <a:lnTo>
                      <a:pt x="1182" y="613"/>
                    </a:lnTo>
                    <a:lnTo>
                      <a:pt x="1182" y="613"/>
                    </a:lnTo>
                    <a:lnTo>
                      <a:pt x="1180" y="611"/>
                    </a:lnTo>
                    <a:lnTo>
                      <a:pt x="1178" y="609"/>
                    </a:lnTo>
                    <a:lnTo>
                      <a:pt x="1183" y="615"/>
                    </a:lnTo>
                    <a:lnTo>
                      <a:pt x="1183" y="615"/>
                    </a:lnTo>
                    <a:lnTo>
                      <a:pt x="1183" y="615"/>
                    </a:lnTo>
                    <a:lnTo>
                      <a:pt x="1183" y="616"/>
                    </a:lnTo>
                    <a:lnTo>
                      <a:pt x="1183" y="616"/>
                    </a:lnTo>
                    <a:lnTo>
                      <a:pt x="1183" y="616"/>
                    </a:lnTo>
                    <a:lnTo>
                      <a:pt x="1183" y="616"/>
                    </a:lnTo>
                    <a:lnTo>
                      <a:pt x="1183" y="620"/>
                    </a:lnTo>
                    <a:lnTo>
                      <a:pt x="1183" y="620"/>
                    </a:lnTo>
                    <a:lnTo>
                      <a:pt x="1183" y="621"/>
                    </a:lnTo>
                    <a:lnTo>
                      <a:pt x="1183" y="621"/>
                    </a:lnTo>
                    <a:lnTo>
                      <a:pt x="1182" y="619"/>
                    </a:lnTo>
                    <a:lnTo>
                      <a:pt x="1182" y="619"/>
                    </a:lnTo>
                    <a:lnTo>
                      <a:pt x="1178" y="617"/>
                    </a:lnTo>
                    <a:lnTo>
                      <a:pt x="1184" y="623"/>
                    </a:lnTo>
                    <a:lnTo>
                      <a:pt x="1184" y="623"/>
                    </a:lnTo>
                    <a:lnTo>
                      <a:pt x="1184" y="623"/>
                    </a:lnTo>
                    <a:lnTo>
                      <a:pt x="1184" y="623"/>
                    </a:lnTo>
                    <a:lnTo>
                      <a:pt x="1184" y="624"/>
                    </a:lnTo>
                    <a:lnTo>
                      <a:pt x="1184" y="624"/>
                    </a:lnTo>
                    <a:lnTo>
                      <a:pt x="1184" y="624"/>
                    </a:lnTo>
                    <a:lnTo>
                      <a:pt x="1187" y="628"/>
                    </a:lnTo>
                    <a:lnTo>
                      <a:pt x="1188" y="631"/>
                    </a:lnTo>
                    <a:lnTo>
                      <a:pt x="1188" y="631"/>
                    </a:lnTo>
                    <a:lnTo>
                      <a:pt x="1188" y="631"/>
                    </a:lnTo>
                    <a:lnTo>
                      <a:pt x="1191" y="636"/>
                    </a:lnTo>
                    <a:lnTo>
                      <a:pt x="1192" y="642"/>
                    </a:lnTo>
                    <a:lnTo>
                      <a:pt x="1192" y="648"/>
                    </a:lnTo>
                    <a:lnTo>
                      <a:pt x="1188" y="654"/>
                    </a:lnTo>
                    <a:lnTo>
                      <a:pt x="1188" y="654"/>
                    </a:lnTo>
                    <a:lnTo>
                      <a:pt x="1190" y="657"/>
                    </a:lnTo>
                    <a:lnTo>
                      <a:pt x="1191" y="658"/>
                    </a:lnTo>
                    <a:lnTo>
                      <a:pt x="1196" y="664"/>
                    </a:lnTo>
                    <a:lnTo>
                      <a:pt x="1196" y="664"/>
                    </a:lnTo>
                    <a:lnTo>
                      <a:pt x="1203" y="669"/>
                    </a:lnTo>
                    <a:lnTo>
                      <a:pt x="1208" y="676"/>
                    </a:lnTo>
                    <a:lnTo>
                      <a:pt x="1208" y="677"/>
                    </a:lnTo>
                    <a:lnTo>
                      <a:pt x="1208" y="677"/>
                    </a:lnTo>
                    <a:lnTo>
                      <a:pt x="1215" y="686"/>
                    </a:lnTo>
                    <a:lnTo>
                      <a:pt x="1219" y="689"/>
                    </a:lnTo>
                    <a:lnTo>
                      <a:pt x="1223" y="691"/>
                    </a:lnTo>
                    <a:lnTo>
                      <a:pt x="1227" y="693"/>
                    </a:lnTo>
                    <a:lnTo>
                      <a:pt x="1227" y="693"/>
                    </a:lnTo>
                    <a:lnTo>
                      <a:pt x="1227" y="693"/>
                    </a:lnTo>
                    <a:lnTo>
                      <a:pt x="1227" y="693"/>
                    </a:lnTo>
                    <a:lnTo>
                      <a:pt x="1229" y="694"/>
                    </a:lnTo>
                    <a:lnTo>
                      <a:pt x="1233" y="705"/>
                    </a:lnTo>
                    <a:lnTo>
                      <a:pt x="1233" y="705"/>
                    </a:lnTo>
                    <a:lnTo>
                      <a:pt x="1232" y="706"/>
                    </a:lnTo>
                    <a:lnTo>
                      <a:pt x="1231" y="709"/>
                    </a:lnTo>
                    <a:lnTo>
                      <a:pt x="1231" y="709"/>
                    </a:lnTo>
                    <a:lnTo>
                      <a:pt x="1231" y="711"/>
                    </a:lnTo>
                    <a:lnTo>
                      <a:pt x="1233" y="715"/>
                    </a:lnTo>
                    <a:lnTo>
                      <a:pt x="1237" y="720"/>
                    </a:lnTo>
                    <a:lnTo>
                      <a:pt x="1239" y="724"/>
                    </a:lnTo>
                    <a:lnTo>
                      <a:pt x="1239" y="726"/>
                    </a:lnTo>
                    <a:lnTo>
                      <a:pt x="1236" y="731"/>
                    </a:lnTo>
                    <a:lnTo>
                      <a:pt x="1236" y="731"/>
                    </a:lnTo>
                    <a:lnTo>
                      <a:pt x="1237" y="731"/>
                    </a:lnTo>
                    <a:lnTo>
                      <a:pt x="1237" y="731"/>
                    </a:lnTo>
                    <a:lnTo>
                      <a:pt x="1237" y="731"/>
                    </a:lnTo>
                    <a:lnTo>
                      <a:pt x="1237" y="734"/>
                    </a:lnTo>
                    <a:lnTo>
                      <a:pt x="1237" y="734"/>
                    </a:lnTo>
                    <a:lnTo>
                      <a:pt x="1237" y="734"/>
                    </a:lnTo>
                    <a:lnTo>
                      <a:pt x="1237" y="734"/>
                    </a:lnTo>
                    <a:lnTo>
                      <a:pt x="1239" y="735"/>
                    </a:lnTo>
                    <a:lnTo>
                      <a:pt x="1244" y="743"/>
                    </a:lnTo>
                    <a:lnTo>
                      <a:pt x="1244" y="744"/>
                    </a:lnTo>
                    <a:lnTo>
                      <a:pt x="1244" y="744"/>
                    </a:lnTo>
                    <a:lnTo>
                      <a:pt x="1241" y="754"/>
                    </a:lnTo>
                    <a:lnTo>
                      <a:pt x="1240" y="760"/>
                    </a:lnTo>
                    <a:lnTo>
                      <a:pt x="1240" y="763"/>
                    </a:lnTo>
                    <a:lnTo>
                      <a:pt x="1241" y="764"/>
                    </a:lnTo>
                    <a:lnTo>
                      <a:pt x="1241" y="765"/>
                    </a:lnTo>
                    <a:lnTo>
                      <a:pt x="1241" y="765"/>
                    </a:lnTo>
                    <a:lnTo>
                      <a:pt x="1245" y="765"/>
                    </a:lnTo>
                    <a:lnTo>
                      <a:pt x="1248" y="767"/>
                    </a:lnTo>
                    <a:lnTo>
                      <a:pt x="1249" y="769"/>
                    </a:lnTo>
                    <a:lnTo>
                      <a:pt x="1249" y="772"/>
                    </a:lnTo>
                    <a:lnTo>
                      <a:pt x="1249" y="773"/>
                    </a:lnTo>
                    <a:lnTo>
                      <a:pt x="1245" y="779"/>
                    </a:lnTo>
                    <a:lnTo>
                      <a:pt x="1246" y="779"/>
                    </a:lnTo>
                    <a:lnTo>
                      <a:pt x="1246" y="779"/>
                    </a:lnTo>
                    <a:lnTo>
                      <a:pt x="1248" y="776"/>
                    </a:lnTo>
                    <a:lnTo>
                      <a:pt x="1248" y="776"/>
                    </a:lnTo>
                    <a:lnTo>
                      <a:pt x="1248" y="776"/>
                    </a:lnTo>
                    <a:lnTo>
                      <a:pt x="1248" y="776"/>
                    </a:lnTo>
                    <a:lnTo>
                      <a:pt x="1248" y="779"/>
                    </a:lnTo>
                    <a:lnTo>
                      <a:pt x="1248" y="780"/>
                    </a:lnTo>
                    <a:lnTo>
                      <a:pt x="1246" y="781"/>
                    </a:lnTo>
                    <a:lnTo>
                      <a:pt x="1246" y="781"/>
                    </a:lnTo>
                    <a:lnTo>
                      <a:pt x="1244" y="780"/>
                    </a:lnTo>
                    <a:lnTo>
                      <a:pt x="1241" y="779"/>
                    </a:lnTo>
                    <a:lnTo>
                      <a:pt x="1241" y="780"/>
                    </a:lnTo>
                    <a:lnTo>
                      <a:pt x="1241" y="780"/>
                    </a:lnTo>
                    <a:lnTo>
                      <a:pt x="1242" y="780"/>
                    </a:lnTo>
                    <a:lnTo>
                      <a:pt x="1242" y="780"/>
                    </a:lnTo>
                    <a:lnTo>
                      <a:pt x="1245" y="781"/>
                    </a:lnTo>
                    <a:lnTo>
                      <a:pt x="1241" y="784"/>
                    </a:lnTo>
                    <a:lnTo>
                      <a:pt x="1241" y="785"/>
                    </a:lnTo>
                    <a:lnTo>
                      <a:pt x="1241" y="785"/>
                    </a:lnTo>
                    <a:lnTo>
                      <a:pt x="1244" y="785"/>
                    </a:lnTo>
                    <a:lnTo>
                      <a:pt x="1245" y="784"/>
                    </a:lnTo>
                    <a:lnTo>
                      <a:pt x="1246" y="783"/>
                    </a:lnTo>
                    <a:lnTo>
                      <a:pt x="1246" y="783"/>
                    </a:lnTo>
                    <a:lnTo>
                      <a:pt x="1246" y="781"/>
                    </a:lnTo>
                    <a:lnTo>
                      <a:pt x="1248" y="783"/>
                    </a:lnTo>
                    <a:lnTo>
                      <a:pt x="1248" y="783"/>
                    </a:lnTo>
                    <a:lnTo>
                      <a:pt x="1246" y="781"/>
                    </a:lnTo>
                    <a:lnTo>
                      <a:pt x="1248" y="781"/>
                    </a:lnTo>
                    <a:lnTo>
                      <a:pt x="1248" y="781"/>
                    </a:lnTo>
                    <a:lnTo>
                      <a:pt x="1248" y="783"/>
                    </a:lnTo>
                    <a:lnTo>
                      <a:pt x="1249" y="783"/>
                    </a:lnTo>
                    <a:lnTo>
                      <a:pt x="1249" y="783"/>
                    </a:lnTo>
                    <a:lnTo>
                      <a:pt x="1254" y="788"/>
                    </a:lnTo>
                    <a:lnTo>
                      <a:pt x="1257" y="791"/>
                    </a:lnTo>
                    <a:lnTo>
                      <a:pt x="1257" y="791"/>
                    </a:lnTo>
                    <a:lnTo>
                      <a:pt x="1257" y="791"/>
                    </a:lnTo>
                    <a:lnTo>
                      <a:pt x="1258" y="788"/>
                    </a:lnTo>
                    <a:lnTo>
                      <a:pt x="1261" y="785"/>
                    </a:lnTo>
                    <a:lnTo>
                      <a:pt x="1262" y="784"/>
                    </a:lnTo>
                    <a:lnTo>
                      <a:pt x="1265" y="784"/>
                    </a:lnTo>
                    <a:lnTo>
                      <a:pt x="1266" y="784"/>
                    </a:lnTo>
                    <a:lnTo>
                      <a:pt x="1268" y="784"/>
                    </a:lnTo>
                    <a:lnTo>
                      <a:pt x="1272" y="785"/>
                    </a:lnTo>
                    <a:lnTo>
                      <a:pt x="1272" y="785"/>
                    </a:lnTo>
                    <a:lnTo>
                      <a:pt x="1278" y="789"/>
                    </a:lnTo>
                    <a:lnTo>
                      <a:pt x="1278" y="789"/>
                    </a:lnTo>
                    <a:lnTo>
                      <a:pt x="1285" y="792"/>
                    </a:lnTo>
                    <a:lnTo>
                      <a:pt x="1287" y="796"/>
                    </a:lnTo>
                    <a:lnTo>
                      <a:pt x="1287" y="796"/>
                    </a:lnTo>
                    <a:lnTo>
                      <a:pt x="1287" y="796"/>
                    </a:lnTo>
                    <a:lnTo>
                      <a:pt x="1287" y="796"/>
                    </a:lnTo>
                    <a:lnTo>
                      <a:pt x="1287" y="796"/>
                    </a:lnTo>
                    <a:lnTo>
                      <a:pt x="1287" y="796"/>
                    </a:lnTo>
                    <a:lnTo>
                      <a:pt x="1289" y="799"/>
                    </a:lnTo>
                    <a:lnTo>
                      <a:pt x="1290" y="804"/>
                    </a:lnTo>
                    <a:lnTo>
                      <a:pt x="1290" y="804"/>
                    </a:lnTo>
                    <a:lnTo>
                      <a:pt x="1291" y="806"/>
                    </a:lnTo>
                    <a:lnTo>
                      <a:pt x="1291" y="809"/>
                    </a:lnTo>
                    <a:lnTo>
                      <a:pt x="1285" y="814"/>
                    </a:lnTo>
                    <a:lnTo>
                      <a:pt x="1281" y="814"/>
                    </a:lnTo>
                    <a:lnTo>
                      <a:pt x="1279" y="814"/>
                    </a:lnTo>
                    <a:lnTo>
                      <a:pt x="1279" y="814"/>
                    </a:lnTo>
                    <a:lnTo>
                      <a:pt x="1277" y="813"/>
                    </a:lnTo>
                    <a:lnTo>
                      <a:pt x="1277" y="813"/>
                    </a:lnTo>
                    <a:lnTo>
                      <a:pt x="1278" y="813"/>
                    </a:lnTo>
                    <a:lnTo>
                      <a:pt x="1278" y="813"/>
                    </a:lnTo>
                    <a:lnTo>
                      <a:pt x="1274" y="812"/>
                    </a:lnTo>
                    <a:lnTo>
                      <a:pt x="1274" y="812"/>
                    </a:lnTo>
                    <a:lnTo>
                      <a:pt x="1273" y="812"/>
                    </a:lnTo>
                    <a:lnTo>
                      <a:pt x="1273" y="812"/>
                    </a:lnTo>
                    <a:lnTo>
                      <a:pt x="1269" y="816"/>
                    </a:lnTo>
                    <a:lnTo>
                      <a:pt x="1270" y="816"/>
                    </a:lnTo>
                    <a:lnTo>
                      <a:pt x="1270" y="816"/>
                    </a:lnTo>
                    <a:lnTo>
                      <a:pt x="1272" y="813"/>
                    </a:lnTo>
                    <a:lnTo>
                      <a:pt x="1272" y="813"/>
                    </a:lnTo>
                    <a:lnTo>
                      <a:pt x="1272" y="814"/>
                    </a:lnTo>
                    <a:lnTo>
                      <a:pt x="1272" y="814"/>
                    </a:lnTo>
                    <a:lnTo>
                      <a:pt x="1272" y="817"/>
                    </a:lnTo>
                    <a:lnTo>
                      <a:pt x="1272" y="817"/>
                    </a:lnTo>
                    <a:lnTo>
                      <a:pt x="1269" y="822"/>
                    </a:lnTo>
                    <a:lnTo>
                      <a:pt x="1269" y="822"/>
                    </a:lnTo>
                    <a:lnTo>
                      <a:pt x="1268" y="822"/>
                    </a:lnTo>
                    <a:lnTo>
                      <a:pt x="1268" y="822"/>
                    </a:lnTo>
                    <a:lnTo>
                      <a:pt x="1268" y="824"/>
                    </a:lnTo>
                    <a:lnTo>
                      <a:pt x="1268" y="824"/>
                    </a:lnTo>
                    <a:lnTo>
                      <a:pt x="1269" y="824"/>
                    </a:lnTo>
                    <a:lnTo>
                      <a:pt x="1272" y="828"/>
                    </a:lnTo>
                    <a:lnTo>
                      <a:pt x="1272" y="830"/>
                    </a:lnTo>
                    <a:lnTo>
                      <a:pt x="1272" y="830"/>
                    </a:lnTo>
                    <a:lnTo>
                      <a:pt x="1272" y="832"/>
                    </a:lnTo>
                    <a:lnTo>
                      <a:pt x="1272" y="832"/>
                    </a:lnTo>
                    <a:lnTo>
                      <a:pt x="1272" y="833"/>
                    </a:lnTo>
                    <a:lnTo>
                      <a:pt x="1273" y="833"/>
                    </a:lnTo>
                    <a:lnTo>
                      <a:pt x="1273" y="833"/>
                    </a:lnTo>
                    <a:lnTo>
                      <a:pt x="1273" y="833"/>
                    </a:lnTo>
                    <a:lnTo>
                      <a:pt x="1277" y="834"/>
                    </a:lnTo>
                    <a:lnTo>
                      <a:pt x="1281" y="834"/>
                    </a:lnTo>
                    <a:lnTo>
                      <a:pt x="1287" y="841"/>
                    </a:lnTo>
                    <a:lnTo>
                      <a:pt x="1287" y="841"/>
                    </a:lnTo>
                    <a:lnTo>
                      <a:pt x="1286" y="837"/>
                    </a:lnTo>
                    <a:lnTo>
                      <a:pt x="1283" y="836"/>
                    </a:lnTo>
                    <a:lnTo>
                      <a:pt x="1283" y="836"/>
                    </a:lnTo>
                    <a:lnTo>
                      <a:pt x="1286" y="836"/>
                    </a:lnTo>
                    <a:lnTo>
                      <a:pt x="1289" y="838"/>
                    </a:lnTo>
                    <a:lnTo>
                      <a:pt x="1289" y="838"/>
                    </a:lnTo>
                    <a:lnTo>
                      <a:pt x="1287" y="837"/>
                    </a:lnTo>
                    <a:lnTo>
                      <a:pt x="1287" y="837"/>
                    </a:lnTo>
                    <a:lnTo>
                      <a:pt x="1287" y="837"/>
                    </a:lnTo>
                    <a:lnTo>
                      <a:pt x="1287" y="837"/>
                    </a:lnTo>
                    <a:lnTo>
                      <a:pt x="1291" y="837"/>
                    </a:lnTo>
                    <a:lnTo>
                      <a:pt x="1291" y="837"/>
                    </a:lnTo>
                    <a:lnTo>
                      <a:pt x="1295" y="837"/>
                    </a:lnTo>
                    <a:lnTo>
                      <a:pt x="1295" y="837"/>
                    </a:lnTo>
                    <a:lnTo>
                      <a:pt x="1302" y="838"/>
                    </a:lnTo>
                    <a:lnTo>
                      <a:pt x="1305" y="841"/>
                    </a:lnTo>
                    <a:lnTo>
                      <a:pt x="1306" y="843"/>
                    </a:lnTo>
                    <a:lnTo>
                      <a:pt x="1306" y="845"/>
                    </a:lnTo>
                    <a:lnTo>
                      <a:pt x="1306" y="850"/>
                    </a:lnTo>
                    <a:lnTo>
                      <a:pt x="1306" y="851"/>
                    </a:lnTo>
                    <a:lnTo>
                      <a:pt x="1306" y="851"/>
                    </a:lnTo>
                    <a:lnTo>
                      <a:pt x="1307" y="851"/>
                    </a:lnTo>
                    <a:lnTo>
                      <a:pt x="1307" y="851"/>
                    </a:lnTo>
                    <a:lnTo>
                      <a:pt x="1313" y="851"/>
                    </a:lnTo>
                    <a:lnTo>
                      <a:pt x="1315" y="853"/>
                    </a:lnTo>
                    <a:lnTo>
                      <a:pt x="1318" y="854"/>
                    </a:lnTo>
                    <a:lnTo>
                      <a:pt x="1320" y="857"/>
                    </a:lnTo>
                    <a:lnTo>
                      <a:pt x="1320" y="857"/>
                    </a:lnTo>
                    <a:lnTo>
                      <a:pt x="1322" y="862"/>
                    </a:lnTo>
                    <a:lnTo>
                      <a:pt x="1322" y="871"/>
                    </a:lnTo>
                    <a:lnTo>
                      <a:pt x="1322" y="871"/>
                    </a:lnTo>
                    <a:lnTo>
                      <a:pt x="1322" y="873"/>
                    </a:lnTo>
                    <a:lnTo>
                      <a:pt x="1324" y="874"/>
                    </a:lnTo>
                    <a:lnTo>
                      <a:pt x="1324" y="874"/>
                    </a:lnTo>
                    <a:lnTo>
                      <a:pt x="1323" y="873"/>
                    </a:lnTo>
                    <a:lnTo>
                      <a:pt x="1323" y="873"/>
                    </a:lnTo>
                    <a:lnTo>
                      <a:pt x="1324" y="873"/>
                    </a:lnTo>
                    <a:lnTo>
                      <a:pt x="1324" y="873"/>
                    </a:lnTo>
                    <a:lnTo>
                      <a:pt x="1328" y="873"/>
                    </a:lnTo>
                    <a:lnTo>
                      <a:pt x="1328" y="873"/>
                    </a:lnTo>
                    <a:lnTo>
                      <a:pt x="1332" y="873"/>
                    </a:lnTo>
                    <a:lnTo>
                      <a:pt x="1332" y="873"/>
                    </a:lnTo>
                    <a:lnTo>
                      <a:pt x="1335" y="873"/>
                    </a:lnTo>
                    <a:lnTo>
                      <a:pt x="1335" y="873"/>
                    </a:lnTo>
                    <a:lnTo>
                      <a:pt x="1338" y="874"/>
                    </a:lnTo>
                    <a:lnTo>
                      <a:pt x="1339" y="875"/>
                    </a:lnTo>
                    <a:lnTo>
                      <a:pt x="1339" y="875"/>
                    </a:lnTo>
                    <a:lnTo>
                      <a:pt x="1338" y="874"/>
                    </a:lnTo>
                    <a:lnTo>
                      <a:pt x="1342" y="877"/>
                    </a:lnTo>
                    <a:lnTo>
                      <a:pt x="1342" y="877"/>
                    </a:lnTo>
                    <a:lnTo>
                      <a:pt x="1342" y="875"/>
                    </a:lnTo>
                    <a:lnTo>
                      <a:pt x="1342" y="875"/>
                    </a:lnTo>
                    <a:lnTo>
                      <a:pt x="1346" y="879"/>
                    </a:lnTo>
                    <a:lnTo>
                      <a:pt x="1346" y="884"/>
                    </a:lnTo>
                    <a:lnTo>
                      <a:pt x="1343" y="888"/>
                    </a:lnTo>
                    <a:lnTo>
                      <a:pt x="1343" y="888"/>
                    </a:lnTo>
                    <a:lnTo>
                      <a:pt x="1336" y="891"/>
                    </a:lnTo>
                    <a:lnTo>
                      <a:pt x="1336" y="891"/>
                    </a:lnTo>
                    <a:lnTo>
                      <a:pt x="1332" y="892"/>
                    </a:lnTo>
                    <a:lnTo>
                      <a:pt x="1331" y="892"/>
                    </a:lnTo>
                    <a:lnTo>
                      <a:pt x="1331" y="895"/>
                    </a:lnTo>
                    <a:lnTo>
                      <a:pt x="1331" y="895"/>
                    </a:lnTo>
                    <a:lnTo>
                      <a:pt x="1331" y="894"/>
                    </a:lnTo>
                    <a:lnTo>
                      <a:pt x="1331" y="894"/>
                    </a:lnTo>
                    <a:lnTo>
                      <a:pt x="1332" y="898"/>
                    </a:lnTo>
                    <a:lnTo>
                      <a:pt x="1332" y="899"/>
                    </a:lnTo>
                    <a:lnTo>
                      <a:pt x="1332" y="899"/>
                    </a:lnTo>
                    <a:lnTo>
                      <a:pt x="1334" y="899"/>
                    </a:lnTo>
                    <a:lnTo>
                      <a:pt x="1334" y="899"/>
                    </a:lnTo>
                    <a:lnTo>
                      <a:pt x="1335" y="899"/>
                    </a:lnTo>
                    <a:lnTo>
                      <a:pt x="1335" y="899"/>
                    </a:lnTo>
                    <a:lnTo>
                      <a:pt x="1338" y="899"/>
                    </a:lnTo>
                    <a:lnTo>
                      <a:pt x="1338" y="899"/>
                    </a:lnTo>
                    <a:lnTo>
                      <a:pt x="1339" y="899"/>
                    </a:lnTo>
                    <a:lnTo>
                      <a:pt x="1339" y="899"/>
                    </a:lnTo>
                    <a:lnTo>
                      <a:pt x="1338" y="900"/>
                    </a:lnTo>
                    <a:lnTo>
                      <a:pt x="1336" y="900"/>
                    </a:lnTo>
                    <a:lnTo>
                      <a:pt x="1336" y="900"/>
                    </a:lnTo>
                    <a:lnTo>
                      <a:pt x="1335" y="904"/>
                    </a:lnTo>
                    <a:lnTo>
                      <a:pt x="1340" y="898"/>
                    </a:lnTo>
                    <a:lnTo>
                      <a:pt x="1342" y="898"/>
                    </a:lnTo>
                    <a:lnTo>
                      <a:pt x="1343" y="898"/>
                    </a:lnTo>
                    <a:lnTo>
                      <a:pt x="1343" y="898"/>
                    </a:lnTo>
                    <a:lnTo>
                      <a:pt x="1346" y="896"/>
                    </a:lnTo>
                    <a:lnTo>
                      <a:pt x="1350" y="895"/>
                    </a:lnTo>
                    <a:lnTo>
                      <a:pt x="1350" y="895"/>
                    </a:lnTo>
                    <a:lnTo>
                      <a:pt x="1351" y="895"/>
                    </a:lnTo>
                    <a:lnTo>
                      <a:pt x="1356" y="902"/>
                    </a:lnTo>
                    <a:lnTo>
                      <a:pt x="1356" y="903"/>
                    </a:lnTo>
                    <a:lnTo>
                      <a:pt x="1356" y="903"/>
                    </a:lnTo>
                    <a:lnTo>
                      <a:pt x="1357" y="910"/>
                    </a:lnTo>
                    <a:lnTo>
                      <a:pt x="1361" y="915"/>
                    </a:lnTo>
                    <a:lnTo>
                      <a:pt x="1363" y="919"/>
                    </a:lnTo>
                    <a:lnTo>
                      <a:pt x="1363" y="919"/>
                    </a:lnTo>
                    <a:lnTo>
                      <a:pt x="1364" y="920"/>
                    </a:lnTo>
                    <a:lnTo>
                      <a:pt x="1365" y="924"/>
                    </a:lnTo>
                    <a:lnTo>
                      <a:pt x="1365" y="924"/>
                    </a:lnTo>
                    <a:lnTo>
                      <a:pt x="1364" y="928"/>
                    </a:lnTo>
                    <a:lnTo>
                      <a:pt x="1363" y="929"/>
                    </a:lnTo>
                    <a:lnTo>
                      <a:pt x="1359" y="932"/>
                    </a:lnTo>
                    <a:lnTo>
                      <a:pt x="1359" y="932"/>
                    </a:lnTo>
                    <a:lnTo>
                      <a:pt x="1357" y="932"/>
                    </a:lnTo>
                    <a:lnTo>
                      <a:pt x="1357" y="932"/>
                    </a:lnTo>
                    <a:lnTo>
                      <a:pt x="1355" y="932"/>
                    </a:lnTo>
                    <a:lnTo>
                      <a:pt x="1355" y="932"/>
                    </a:lnTo>
                    <a:lnTo>
                      <a:pt x="1357" y="931"/>
                    </a:lnTo>
                    <a:lnTo>
                      <a:pt x="1359" y="928"/>
                    </a:lnTo>
                    <a:lnTo>
                      <a:pt x="1355" y="931"/>
                    </a:lnTo>
                    <a:lnTo>
                      <a:pt x="1355" y="932"/>
                    </a:lnTo>
                    <a:lnTo>
                      <a:pt x="1355" y="932"/>
                    </a:lnTo>
                    <a:lnTo>
                      <a:pt x="1350" y="936"/>
                    </a:lnTo>
                    <a:lnTo>
                      <a:pt x="1347" y="941"/>
                    </a:lnTo>
                    <a:lnTo>
                      <a:pt x="1347" y="941"/>
                    </a:lnTo>
                    <a:lnTo>
                      <a:pt x="1348" y="945"/>
                    </a:lnTo>
                    <a:lnTo>
                      <a:pt x="1348" y="945"/>
                    </a:lnTo>
                    <a:lnTo>
                      <a:pt x="1350" y="947"/>
                    </a:lnTo>
                    <a:lnTo>
                      <a:pt x="1350" y="947"/>
                    </a:lnTo>
                    <a:lnTo>
                      <a:pt x="1351" y="949"/>
                    </a:lnTo>
                    <a:lnTo>
                      <a:pt x="1352" y="951"/>
                    </a:lnTo>
                    <a:lnTo>
                      <a:pt x="1352" y="951"/>
                    </a:lnTo>
                    <a:lnTo>
                      <a:pt x="1356" y="953"/>
                    </a:lnTo>
                    <a:lnTo>
                      <a:pt x="1356" y="953"/>
                    </a:lnTo>
                    <a:lnTo>
                      <a:pt x="1356" y="952"/>
                    </a:lnTo>
                    <a:lnTo>
                      <a:pt x="1356" y="952"/>
                    </a:lnTo>
                    <a:lnTo>
                      <a:pt x="1357" y="953"/>
                    </a:lnTo>
                    <a:lnTo>
                      <a:pt x="1357" y="953"/>
                    </a:lnTo>
                    <a:lnTo>
                      <a:pt x="1361" y="955"/>
                    </a:lnTo>
                    <a:lnTo>
                      <a:pt x="1364" y="960"/>
                    </a:lnTo>
                    <a:lnTo>
                      <a:pt x="1364" y="961"/>
                    </a:lnTo>
                    <a:lnTo>
                      <a:pt x="1364" y="961"/>
                    </a:lnTo>
                    <a:lnTo>
                      <a:pt x="1365" y="964"/>
                    </a:lnTo>
                    <a:lnTo>
                      <a:pt x="1368" y="966"/>
                    </a:lnTo>
                    <a:lnTo>
                      <a:pt x="1368" y="966"/>
                    </a:lnTo>
                    <a:lnTo>
                      <a:pt x="1372" y="969"/>
                    </a:lnTo>
                    <a:lnTo>
                      <a:pt x="1372" y="969"/>
                    </a:lnTo>
                    <a:lnTo>
                      <a:pt x="1375" y="970"/>
                    </a:lnTo>
                    <a:lnTo>
                      <a:pt x="1375" y="970"/>
                    </a:lnTo>
                    <a:lnTo>
                      <a:pt x="1376" y="973"/>
                    </a:lnTo>
                    <a:lnTo>
                      <a:pt x="1376" y="973"/>
                    </a:lnTo>
                    <a:lnTo>
                      <a:pt x="1377" y="973"/>
                    </a:lnTo>
                    <a:lnTo>
                      <a:pt x="1377" y="973"/>
                    </a:lnTo>
                    <a:lnTo>
                      <a:pt x="1379" y="973"/>
                    </a:lnTo>
                    <a:lnTo>
                      <a:pt x="1379" y="973"/>
                    </a:lnTo>
                    <a:lnTo>
                      <a:pt x="1376" y="973"/>
                    </a:lnTo>
                    <a:lnTo>
                      <a:pt x="1375" y="978"/>
                    </a:lnTo>
                    <a:lnTo>
                      <a:pt x="1380" y="972"/>
                    </a:lnTo>
                    <a:lnTo>
                      <a:pt x="1380" y="972"/>
                    </a:lnTo>
                    <a:lnTo>
                      <a:pt x="1387" y="972"/>
                    </a:lnTo>
                    <a:lnTo>
                      <a:pt x="1387" y="972"/>
                    </a:lnTo>
                    <a:lnTo>
                      <a:pt x="1388" y="972"/>
                    </a:lnTo>
                    <a:lnTo>
                      <a:pt x="1388" y="972"/>
                    </a:lnTo>
                    <a:lnTo>
                      <a:pt x="1387" y="973"/>
                    </a:lnTo>
                    <a:lnTo>
                      <a:pt x="1384" y="976"/>
                    </a:lnTo>
                    <a:lnTo>
                      <a:pt x="1391" y="970"/>
                    </a:lnTo>
                    <a:lnTo>
                      <a:pt x="1392" y="970"/>
                    </a:lnTo>
                    <a:lnTo>
                      <a:pt x="1397" y="973"/>
                    </a:lnTo>
                    <a:lnTo>
                      <a:pt x="1397" y="973"/>
                    </a:lnTo>
                    <a:lnTo>
                      <a:pt x="1396" y="973"/>
                    </a:lnTo>
                    <a:lnTo>
                      <a:pt x="1396" y="973"/>
                    </a:lnTo>
                    <a:lnTo>
                      <a:pt x="1397" y="973"/>
                    </a:lnTo>
                    <a:lnTo>
                      <a:pt x="1398" y="973"/>
                    </a:lnTo>
                    <a:lnTo>
                      <a:pt x="1404" y="976"/>
                    </a:lnTo>
                    <a:lnTo>
                      <a:pt x="1404" y="976"/>
                    </a:lnTo>
                    <a:lnTo>
                      <a:pt x="1402" y="976"/>
                    </a:lnTo>
                    <a:lnTo>
                      <a:pt x="1402" y="976"/>
                    </a:lnTo>
                    <a:lnTo>
                      <a:pt x="1404" y="976"/>
                    </a:lnTo>
                    <a:lnTo>
                      <a:pt x="1405" y="986"/>
                    </a:lnTo>
                    <a:lnTo>
                      <a:pt x="1405" y="986"/>
                    </a:lnTo>
                    <a:lnTo>
                      <a:pt x="1405" y="985"/>
                    </a:lnTo>
                    <a:lnTo>
                      <a:pt x="1405" y="985"/>
                    </a:lnTo>
                    <a:lnTo>
                      <a:pt x="1406" y="988"/>
                    </a:lnTo>
                    <a:lnTo>
                      <a:pt x="1406" y="988"/>
                    </a:lnTo>
                    <a:lnTo>
                      <a:pt x="1408" y="993"/>
                    </a:lnTo>
                    <a:lnTo>
                      <a:pt x="1408" y="998"/>
                    </a:lnTo>
                    <a:lnTo>
                      <a:pt x="1408" y="1001"/>
                    </a:lnTo>
                    <a:lnTo>
                      <a:pt x="1402" y="1006"/>
                    </a:lnTo>
                    <a:lnTo>
                      <a:pt x="1402" y="1006"/>
                    </a:lnTo>
                    <a:lnTo>
                      <a:pt x="1405" y="1005"/>
                    </a:lnTo>
                    <a:lnTo>
                      <a:pt x="1406" y="1002"/>
                    </a:lnTo>
                    <a:lnTo>
                      <a:pt x="1406" y="1003"/>
                    </a:lnTo>
                    <a:lnTo>
                      <a:pt x="1406" y="1003"/>
                    </a:lnTo>
                    <a:lnTo>
                      <a:pt x="1406" y="1005"/>
                    </a:lnTo>
                    <a:lnTo>
                      <a:pt x="1401" y="1010"/>
                    </a:lnTo>
                    <a:lnTo>
                      <a:pt x="1400" y="1010"/>
                    </a:lnTo>
                    <a:lnTo>
                      <a:pt x="1400" y="1010"/>
                    </a:lnTo>
                    <a:lnTo>
                      <a:pt x="1396" y="1010"/>
                    </a:lnTo>
                    <a:lnTo>
                      <a:pt x="1393" y="1007"/>
                    </a:lnTo>
                    <a:lnTo>
                      <a:pt x="1391" y="1003"/>
                    </a:lnTo>
                    <a:lnTo>
                      <a:pt x="1391" y="1003"/>
                    </a:lnTo>
                    <a:lnTo>
                      <a:pt x="1388" y="1002"/>
                    </a:lnTo>
                    <a:lnTo>
                      <a:pt x="1388" y="997"/>
                    </a:lnTo>
                    <a:lnTo>
                      <a:pt x="1387" y="1001"/>
                    </a:lnTo>
                    <a:lnTo>
                      <a:pt x="1385" y="999"/>
                    </a:lnTo>
                    <a:lnTo>
                      <a:pt x="1385" y="1001"/>
                    </a:lnTo>
                    <a:lnTo>
                      <a:pt x="1385" y="1001"/>
                    </a:lnTo>
                    <a:lnTo>
                      <a:pt x="1387" y="1002"/>
                    </a:lnTo>
                    <a:lnTo>
                      <a:pt x="1387" y="1002"/>
                    </a:lnTo>
                    <a:lnTo>
                      <a:pt x="1387" y="1001"/>
                    </a:lnTo>
                    <a:lnTo>
                      <a:pt x="1387" y="1001"/>
                    </a:lnTo>
                    <a:lnTo>
                      <a:pt x="1387" y="1002"/>
                    </a:lnTo>
                    <a:lnTo>
                      <a:pt x="1387" y="1002"/>
                    </a:lnTo>
                    <a:lnTo>
                      <a:pt x="1387" y="1002"/>
                    </a:lnTo>
                    <a:lnTo>
                      <a:pt x="1387" y="1002"/>
                    </a:lnTo>
                    <a:lnTo>
                      <a:pt x="1387" y="1002"/>
                    </a:lnTo>
                    <a:lnTo>
                      <a:pt x="1387" y="1002"/>
                    </a:lnTo>
                    <a:lnTo>
                      <a:pt x="1387" y="1005"/>
                    </a:lnTo>
                    <a:lnTo>
                      <a:pt x="1387" y="1005"/>
                    </a:lnTo>
                    <a:lnTo>
                      <a:pt x="1388" y="1005"/>
                    </a:lnTo>
                    <a:lnTo>
                      <a:pt x="1388" y="1005"/>
                    </a:lnTo>
                    <a:lnTo>
                      <a:pt x="1389" y="1007"/>
                    </a:lnTo>
                    <a:lnTo>
                      <a:pt x="1392" y="1011"/>
                    </a:lnTo>
                    <a:lnTo>
                      <a:pt x="1392" y="1015"/>
                    </a:lnTo>
                    <a:lnTo>
                      <a:pt x="1388" y="1022"/>
                    </a:lnTo>
                    <a:lnTo>
                      <a:pt x="1388" y="1022"/>
                    </a:lnTo>
                    <a:lnTo>
                      <a:pt x="1385" y="1022"/>
                    </a:lnTo>
                    <a:lnTo>
                      <a:pt x="1385" y="1022"/>
                    </a:lnTo>
                    <a:lnTo>
                      <a:pt x="1387" y="1027"/>
                    </a:lnTo>
                    <a:lnTo>
                      <a:pt x="1389" y="1034"/>
                    </a:lnTo>
                    <a:lnTo>
                      <a:pt x="1391" y="1038"/>
                    </a:lnTo>
                    <a:lnTo>
                      <a:pt x="1391" y="1038"/>
                    </a:lnTo>
                    <a:lnTo>
                      <a:pt x="1387" y="1043"/>
                    </a:lnTo>
                    <a:lnTo>
                      <a:pt x="1387" y="1043"/>
                    </a:lnTo>
                    <a:lnTo>
                      <a:pt x="1387" y="1044"/>
                    </a:lnTo>
                    <a:lnTo>
                      <a:pt x="1387" y="1046"/>
                    </a:lnTo>
                    <a:lnTo>
                      <a:pt x="1387" y="1046"/>
                    </a:lnTo>
                    <a:lnTo>
                      <a:pt x="1389" y="1050"/>
                    </a:lnTo>
                    <a:lnTo>
                      <a:pt x="1389" y="1050"/>
                    </a:lnTo>
                    <a:lnTo>
                      <a:pt x="1392" y="1051"/>
                    </a:lnTo>
                    <a:lnTo>
                      <a:pt x="1395" y="1055"/>
                    </a:lnTo>
                    <a:lnTo>
                      <a:pt x="1396" y="1059"/>
                    </a:lnTo>
                    <a:lnTo>
                      <a:pt x="1396" y="1066"/>
                    </a:lnTo>
                    <a:lnTo>
                      <a:pt x="1396" y="1066"/>
                    </a:lnTo>
                    <a:lnTo>
                      <a:pt x="1396" y="1066"/>
                    </a:lnTo>
                    <a:lnTo>
                      <a:pt x="1395" y="1067"/>
                    </a:lnTo>
                    <a:lnTo>
                      <a:pt x="1393" y="1066"/>
                    </a:lnTo>
                    <a:lnTo>
                      <a:pt x="1384" y="1068"/>
                    </a:lnTo>
                    <a:lnTo>
                      <a:pt x="1384" y="1068"/>
                    </a:lnTo>
                    <a:lnTo>
                      <a:pt x="1381" y="1066"/>
                    </a:lnTo>
                    <a:lnTo>
                      <a:pt x="1380" y="1067"/>
                    </a:lnTo>
                    <a:lnTo>
                      <a:pt x="1380" y="1067"/>
                    </a:lnTo>
                    <a:lnTo>
                      <a:pt x="1377" y="1070"/>
                    </a:lnTo>
                    <a:lnTo>
                      <a:pt x="1375" y="1071"/>
                    </a:lnTo>
                    <a:lnTo>
                      <a:pt x="1375" y="1071"/>
                    </a:lnTo>
                    <a:lnTo>
                      <a:pt x="1372" y="1072"/>
                    </a:lnTo>
                    <a:lnTo>
                      <a:pt x="1372" y="1072"/>
                    </a:lnTo>
                    <a:lnTo>
                      <a:pt x="1372" y="1075"/>
                    </a:lnTo>
                    <a:lnTo>
                      <a:pt x="1368" y="1080"/>
                    </a:lnTo>
                    <a:lnTo>
                      <a:pt x="1369" y="1080"/>
                    </a:lnTo>
                    <a:lnTo>
                      <a:pt x="1369" y="1080"/>
                    </a:lnTo>
                    <a:lnTo>
                      <a:pt x="1371" y="1077"/>
                    </a:lnTo>
                    <a:lnTo>
                      <a:pt x="1371" y="1077"/>
                    </a:lnTo>
                    <a:lnTo>
                      <a:pt x="1371" y="1079"/>
                    </a:lnTo>
                    <a:lnTo>
                      <a:pt x="1371" y="1079"/>
                    </a:lnTo>
                    <a:lnTo>
                      <a:pt x="1371" y="1080"/>
                    </a:lnTo>
                    <a:lnTo>
                      <a:pt x="1371" y="1083"/>
                    </a:lnTo>
                    <a:lnTo>
                      <a:pt x="1364" y="1089"/>
                    </a:lnTo>
                    <a:lnTo>
                      <a:pt x="1364" y="1089"/>
                    </a:lnTo>
                    <a:lnTo>
                      <a:pt x="1364" y="1089"/>
                    </a:lnTo>
                    <a:lnTo>
                      <a:pt x="1364" y="1089"/>
                    </a:lnTo>
                    <a:lnTo>
                      <a:pt x="1367" y="1088"/>
                    </a:lnTo>
                    <a:lnTo>
                      <a:pt x="1368" y="1088"/>
                    </a:lnTo>
                    <a:lnTo>
                      <a:pt x="1368" y="1088"/>
                    </a:lnTo>
                    <a:lnTo>
                      <a:pt x="1369" y="1084"/>
                    </a:lnTo>
                    <a:lnTo>
                      <a:pt x="1369" y="1084"/>
                    </a:lnTo>
                    <a:lnTo>
                      <a:pt x="1369" y="1085"/>
                    </a:lnTo>
                    <a:lnTo>
                      <a:pt x="1369" y="1085"/>
                    </a:lnTo>
                    <a:lnTo>
                      <a:pt x="1369" y="1089"/>
                    </a:lnTo>
                    <a:lnTo>
                      <a:pt x="1369" y="1092"/>
                    </a:lnTo>
                    <a:lnTo>
                      <a:pt x="1367" y="1097"/>
                    </a:lnTo>
                    <a:lnTo>
                      <a:pt x="1367" y="1097"/>
                    </a:lnTo>
                    <a:lnTo>
                      <a:pt x="1363" y="1100"/>
                    </a:lnTo>
                    <a:lnTo>
                      <a:pt x="1361" y="1101"/>
                    </a:lnTo>
                    <a:lnTo>
                      <a:pt x="1361" y="1101"/>
                    </a:lnTo>
                    <a:lnTo>
                      <a:pt x="1357" y="1104"/>
                    </a:lnTo>
                    <a:lnTo>
                      <a:pt x="1354" y="1104"/>
                    </a:lnTo>
                    <a:lnTo>
                      <a:pt x="1354" y="1104"/>
                    </a:lnTo>
                    <a:lnTo>
                      <a:pt x="1352" y="1107"/>
                    </a:lnTo>
                    <a:lnTo>
                      <a:pt x="1352" y="1107"/>
                    </a:lnTo>
                    <a:lnTo>
                      <a:pt x="1348" y="1112"/>
                    </a:lnTo>
                    <a:lnTo>
                      <a:pt x="1343" y="1117"/>
                    </a:lnTo>
                    <a:lnTo>
                      <a:pt x="1340" y="1118"/>
                    </a:lnTo>
                    <a:lnTo>
                      <a:pt x="1340" y="1118"/>
                    </a:lnTo>
                    <a:lnTo>
                      <a:pt x="1332" y="1118"/>
                    </a:lnTo>
                    <a:lnTo>
                      <a:pt x="1332" y="1118"/>
                    </a:lnTo>
                    <a:lnTo>
                      <a:pt x="1327" y="1117"/>
                    </a:lnTo>
                    <a:lnTo>
                      <a:pt x="1323" y="1116"/>
                    </a:lnTo>
                    <a:lnTo>
                      <a:pt x="1323" y="1116"/>
                    </a:lnTo>
                    <a:lnTo>
                      <a:pt x="1322" y="1116"/>
                    </a:lnTo>
                    <a:lnTo>
                      <a:pt x="1318" y="1112"/>
                    </a:lnTo>
                    <a:lnTo>
                      <a:pt x="1318" y="1112"/>
                    </a:lnTo>
                    <a:lnTo>
                      <a:pt x="1319" y="1113"/>
                    </a:lnTo>
                    <a:lnTo>
                      <a:pt x="1319" y="1113"/>
                    </a:lnTo>
                    <a:lnTo>
                      <a:pt x="1318" y="1113"/>
                    </a:lnTo>
                    <a:lnTo>
                      <a:pt x="1318" y="1113"/>
                    </a:lnTo>
                    <a:lnTo>
                      <a:pt x="1313" y="1111"/>
                    </a:lnTo>
                    <a:lnTo>
                      <a:pt x="1311" y="1105"/>
                    </a:lnTo>
                    <a:lnTo>
                      <a:pt x="1311" y="1105"/>
                    </a:lnTo>
                    <a:lnTo>
                      <a:pt x="1311" y="1105"/>
                    </a:lnTo>
                    <a:lnTo>
                      <a:pt x="1309" y="1104"/>
                    </a:lnTo>
                    <a:lnTo>
                      <a:pt x="1309" y="1104"/>
                    </a:lnTo>
                    <a:lnTo>
                      <a:pt x="1305" y="1101"/>
                    </a:lnTo>
                    <a:lnTo>
                      <a:pt x="1305" y="1101"/>
                    </a:lnTo>
                    <a:lnTo>
                      <a:pt x="1302" y="1104"/>
                    </a:lnTo>
                    <a:lnTo>
                      <a:pt x="1299" y="1108"/>
                    </a:lnTo>
                    <a:lnTo>
                      <a:pt x="1293" y="1111"/>
                    </a:lnTo>
                    <a:lnTo>
                      <a:pt x="1293" y="1111"/>
                    </a:lnTo>
                    <a:lnTo>
                      <a:pt x="1290" y="1109"/>
                    </a:lnTo>
                    <a:lnTo>
                      <a:pt x="1287" y="1108"/>
                    </a:lnTo>
                    <a:lnTo>
                      <a:pt x="1285" y="1104"/>
                    </a:lnTo>
                    <a:lnTo>
                      <a:pt x="1285" y="1104"/>
                    </a:lnTo>
                    <a:lnTo>
                      <a:pt x="1283" y="1103"/>
                    </a:lnTo>
                    <a:lnTo>
                      <a:pt x="1283" y="1103"/>
                    </a:lnTo>
                    <a:lnTo>
                      <a:pt x="1279" y="1100"/>
                    </a:lnTo>
                    <a:lnTo>
                      <a:pt x="1279" y="1100"/>
                    </a:lnTo>
                    <a:lnTo>
                      <a:pt x="1282" y="1101"/>
                    </a:lnTo>
                    <a:lnTo>
                      <a:pt x="1282" y="1101"/>
                    </a:lnTo>
                    <a:lnTo>
                      <a:pt x="1279" y="1101"/>
                    </a:lnTo>
                    <a:lnTo>
                      <a:pt x="1279" y="1101"/>
                    </a:lnTo>
                    <a:lnTo>
                      <a:pt x="1278" y="1101"/>
                    </a:lnTo>
                    <a:lnTo>
                      <a:pt x="1278" y="1101"/>
                    </a:lnTo>
                    <a:lnTo>
                      <a:pt x="1273" y="1104"/>
                    </a:lnTo>
                    <a:lnTo>
                      <a:pt x="1269" y="1105"/>
                    </a:lnTo>
                    <a:lnTo>
                      <a:pt x="1269" y="1105"/>
                    </a:lnTo>
                    <a:lnTo>
                      <a:pt x="1265" y="1108"/>
                    </a:lnTo>
                    <a:lnTo>
                      <a:pt x="1262" y="1108"/>
                    </a:lnTo>
                    <a:lnTo>
                      <a:pt x="1261" y="1108"/>
                    </a:lnTo>
                    <a:lnTo>
                      <a:pt x="1262" y="1109"/>
                    </a:lnTo>
                    <a:lnTo>
                      <a:pt x="1262" y="1111"/>
                    </a:lnTo>
                    <a:lnTo>
                      <a:pt x="1262" y="1111"/>
                    </a:lnTo>
                    <a:lnTo>
                      <a:pt x="1262" y="1112"/>
                    </a:lnTo>
                    <a:lnTo>
                      <a:pt x="1262" y="1112"/>
                    </a:lnTo>
                    <a:lnTo>
                      <a:pt x="1264" y="1116"/>
                    </a:lnTo>
                    <a:lnTo>
                      <a:pt x="1265" y="1118"/>
                    </a:lnTo>
                    <a:lnTo>
                      <a:pt x="1265" y="1118"/>
                    </a:lnTo>
                    <a:lnTo>
                      <a:pt x="1265" y="1120"/>
                    </a:lnTo>
                    <a:lnTo>
                      <a:pt x="1265" y="1120"/>
                    </a:lnTo>
                    <a:lnTo>
                      <a:pt x="1264" y="1118"/>
                    </a:lnTo>
                    <a:lnTo>
                      <a:pt x="1266" y="1124"/>
                    </a:lnTo>
                    <a:lnTo>
                      <a:pt x="1266" y="1129"/>
                    </a:lnTo>
                    <a:lnTo>
                      <a:pt x="1262" y="1134"/>
                    </a:lnTo>
                    <a:lnTo>
                      <a:pt x="1262" y="1134"/>
                    </a:lnTo>
                    <a:lnTo>
                      <a:pt x="1261" y="1134"/>
                    </a:lnTo>
                    <a:lnTo>
                      <a:pt x="1261" y="1134"/>
                    </a:lnTo>
                    <a:lnTo>
                      <a:pt x="1257" y="1137"/>
                    </a:lnTo>
                    <a:lnTo>
                      <a:pt x="1253" y="1137"/>
                    </a:lnTo>
                    <a:lnTo>
                      <a:pt x="1253" y="1137"/>
                    </a:lnTo>
                    <a:lnTo>
                      <a:pt x="1250" y="1137"/>
                    </a:lnTo>
                    <a:lnTo>
                      <a:pt x="1249" y="1137"/>
                    </a:lnTo>
                    <a:lnTo>
                      <a:pt x="1246" y="1136"/>
                    </a:lnTo>
                    <a:lnTo>
                      <a:pt x="1246" y="1136"/>
                    </a:lnTo>
                    <a:lnTo>
                      <a:pt x="1245" y="1137"/>
                    </a:lnTo>
                    <a:lnTo>
                      <a:pt x="1240" y="1140"/>
                    </a:lnTo>
                    <a:lnTo>
                      <a:pt x="1240" y="1140"/>
                    </a:lnTo>
                    <a:lnTo>
                      <a:pt x="1240" y="1141"/>
                    </a:lnTo>
                    <a:lnTo>
                      <a:pt x="1240" y="1141"/>
                    </a:lnTo>
                    <a:lnTo>
                      <a:pt x="1239" y="1145"/>
                    </a:lnTo>
                    <a:lnTo>
                      <a:pt x="1236" y="1146"/>
                    </a:lnTo>
                    <a:lnTo>
                      <a:pt x="1232" y="1148"/>
                    </a:lnTo>
                    <a:lnTo>
                      <a:pt x="1232" y="1148"/>
                    </a:lnTo>
                    <a:lnTo>
                      <a:pt x="1231" y="1148"/>
                    </a:lnTo>
                    <a:lnTo>
                      <a:pt x="1228" y="1149"/>
                    </a:lnTo>
                    <a:lnTo>
                      <a:pt x="1228" y="1149"/>
                    </a:lnTo>
                    <a:lnTo>
                      <a:pt x="1227" y="1149"/>
                    </a:lnTo>
                    <a:lnTo>
                      <a:pt x="1227" y="1149"/>
                    </a:lnTo>
                    <a:lnTo>
                      <a:pt x="1223" y="1152"/>
                    </a:lnTo>
                    <a:lnTo>
                      <a:pt x="1219" y="1153"/>
                    </a:lnTo>
                    <a:lnTo>
                      <a:pt x="1209" y="1153"/>
                    </a:lnTo>
                    <a:lnTo>
                      <a:pt x="1208" y="1152"/>
                    </a:lnTo>
                    <a:lnTo>
                      <a:pt x="1208" y="1152"/>
                    </a:lnTo>
                    <a:lnTo>
                      <a:pt x="1208" y="1155"/>
                    </a:lnTo>
                    <a:lnTo>
                      <a:pt x="1205" y="1159"/>
                    </a:lnTo>
                    <a:lnTo>
                      <a:pt x="1205" y="1159"/>
                    </a:lnTo>
                    <a:lnTo>
                      <a:pt x="1203" y="1163"/>
                    </a:lnTo>
                    <a:lnTo>
                      <a:pt x="1203" y="1163"/>
                    </a:lnTo>
                    <a:lnTo>
                      <a:pt x="1201" y="1166"/>
                    </a:lnTo>
                    <a:lnTo>
                      <a:pt x="1199" y="1170"/>
                    </a:lnTo>
                    <a:lnTo>
                      <a:pt x="1199" y="1170"/>
                    </a:lnTo>
                    <a:lnTo>
                      <a:pt x="1199" y="1170"/>
                    </a:lnTo>
                    <a:lnTo>
                      <a:pt x="1196" y="1171"/>
                    </a:lnTo>
                    <a:lnTo>
                      <a:pt x="1194" y="1173"/>
                    </a:lnTo>
                    <a:lnTo>
                      <a:pt x="1194" y="1173"/>
                    </a:lnTo>
                    <a:lnTo>
                      <a:pt x="1187" y="1177"/>
                    </a:lnTo>
                    <a:lnTo>
                      <a:pt x="1183" y="1182"/>
                    </a:lnTo>
                    <a:lnTo>
                      <a:pt x="1179" y="1189"/>
                    </a:lnTo>
                    <a:lnTo>
                      <a:pt x="1175" y="1195"/>
                    </a:lnTo>
                    <a:lnTo>
                      <a:pt x="1175" y="1196"/>
                    </a:lnTo>
                    <a:lnTo>
                      <a:pt x="1175" y="1196"/>
                    </a:lnTo>
                    <a:lnTo>
                      <a:pt x="1175" y="1196"/>
                    </a:lnTo>
                    <a:lnTo>
                      <a:pt x="1175" y="1196"/>
                    </a:lnTo>
                    <a:lnTo>
                      <a:pt x="1175" y="1196"/>
                    </a:lnTo>
                    <a:lnTo>
                      <a:pt x="1172" y="1202"/>
                    </a:lnTo>
                    <a:lnTo>
                      <a:pt x="1172" y="1202"/>
                    </a:lnTo>
                    <a:lnTo>
                      <a:pt x="1174" y="1200"/>
                    </a:lnTo>
                    <a:lnTo>
                      <a:pt x="1174" y="1200"/>
                    </a:lnTo>
                    <a:lnTo>
                      <a:pt x="1174" y="1202"/>
                    </a:lnTo>
                    <a:lnTo>
                      <a:pt x="1174" y="1203"/>
                    </a:lnTo>
                    <a:lnTo>
                      <a:pt x="1171" y="1207"/>
                    </a:lnTo>
                    <a:lnTo>
                      <a:pt x="1171" y="1207"/>
                    </a:lnTo>
                    <a:lnTo>
                      <a:pt x="1172" y="1207"/>
                    </a:lnTo>
                    <a:lnTo>
                      <a:pt x="1172" y="1207"/>
                    </a:lnTo>
                    <a:lnTo>
                      <a:pt x="1172" y="1208"/>
                    </a:lnTo>
                    <a:lnTo>
                      <a:pt x="1171" y="1210"/>
                    </a:lnTo>
                    <a:lnTo>
                      <a:pt x="1171" y="1210"/>
                    </a:lnTo>
                    <a:lnTo>
                      <a:pt x="1172" y="1212"/>
                    </a:lnTo>
                    <a:lnTo>
                      <a:pt x="1172" y="1218"/>
                    </a:lnTo>
                    <a:lnTo>
                      <a:pt x="1171" y="1220"/>
                    </a:lnTo>
                    <a:lnTo>
                      <a:pt x="1171" y="1220"/>
                    </a:lnTo>
                    <a:lnTo>
                      <a:pt x="1170" y="1222"/>
                    </a:lnTo>
                    <a:lnTo>
                      <a:pt x="1167" y="1223"/>
                    </a:lnTo>
                    <a:lnTo>
                      <a:pt x="1167" y="1223"/>
                    </a:lnTo>
                    <a:lnTo>
                      <a:pt x="1168" y="1222"/>
                    </a:lnTo>
                    <a:lnTo>
                      <a:pt x="1170" y="1220"/>
                    </a:lnTo>
                    <a:lnTo>
                      <a:pt x="1167" y="1224"/>
                    </a:lnTo>
                    <a:lnTo>
                      <a:pt x="1167" y="1224"/>
                    </a:lnTo>
                    <a:lnTo>
                      <a:pt x="1164" y="1226"/>
                    </a:lnTo>
                    <a:lnTo>
                      <a:pt x="1160" y="1226"/>
                    </a:lnTo>
                    <a:lnTo>
                      <a:pt x="1160" y="1226"/>
                    </a:lnTo>
                    <a:lnTo>
                      <a:pt x="1151" y="1227"/>
                    </a:lnTo>
                    <a:lnTo>
                      <a:pt x="1151" y="1227"/>
                    </a:lnTo>
                    <a:lnTo>
                      <a:pt x="1147" y="1227"/>
                    </a:lnTo>
                    <a:lnTo>
                      <a:pt x="1147" y="1227"/>
                    </a:lnTo>
                    <a:lnTo>
                      <a:pt x="1142" y="1223"/>
                    </a:lnTo>
                    <a:lnTo>
                      <a:pt x="1142" y="1224"/>
                    </a:lnTo>
                    <a:lnTo>
                      <a:pt x="1142" y="1224"/>
                    </a:lnTo>
                    <a:lnTo>
                      <a:pt x="1145" y="1226"/>
                    </a:lnTo>
                    <a:lnTo>
                      <a:pt x="1143" y="1226"/>
                    </a:lnTo>
                    <a:lnTo>
                      <a:pt x="1143" y="1226"/>
                    </a:lnTo>
                    <a:lnTo>
                      <a:pt x="1142" y="1226"/>
                    </a:lnTo>
                    <a:lnTo>
                      <a:pt x="1139" y="1226"/>
                    </a:lnTo>
                    <a:lnTo>
                      <a:pt x="1133" y="1220"/>
                    </a:lnTo>
                    <a:lnTo>
                      <a:pt x="1133" y="1220"/>
                    </a:lnTo>
                    <a:lnTo>
                      <a:pt x="1134" y="1223"/>
                    </a:lnTo>
                    <a:lnTo>
                      <a:pt x="1137" y="1224"/>
                    </a:lnTo>
                    <a:lnTo>
                      <a:pt x="1137" y="1224"/>
                    </a:lnTo>
                    <a:lnTo>
                      <a:pt x="1137" y="1224"/>
                    </a:lnTo>
                    <a:lnTo>
                      <a:pt x="1135" y="1224"/>
                    </a:lnTo>
                    <a:lnTo>
                      <a:pt x="1135" y="1224"/>
                    </a:lnTo>
                    <a:lnTo>
                      <a:pt x="1133" y="1224"/>
                    </a:lnTo>
                    <a:lnTo>
                      <a:pt x="1133" y="1224"/>
                    </a:lnTo>
                    <a:lnTo>
                      <a:pt x="1131" y="1224"/>
                    </a:lnTo>
                    <a:lnTo>
                      <a:pt x="1125" y="1224"/>
                    </a:lnTo>
                    <a:lnTo>
                      <a:pt x="1125" y="1224"/>
                    </a:lnTo>
                    <a:lnTo>
                      <a:pt x="1122" y="1226"/>
                    </a:lnTo>
                    <a:lnTo>
                      <a:pt x="1120" y="1227"/>
                    </a:lnTo>
                    <a:lnTo>
                      <a:pt x="1118" y="1227"/>
                    </a:lnTo>
                    <a:lnTo>
                      <a:pt x="1118" y="1227"/>
                    </a:lnTo>
                    <a:lnTo>
                      <a:pt x="1110" y="1230"/>
                    </a:lnTo>
                    <a:lnTo>
                      <a:pt x="1102" y="1231"/>
                    </a:lnTo>
                    <a:lnTo>
                      <a:pt x="1102" y="1231"/>
                    </a:lnTo>
                    <a:lnTo>
                      <a:pt x="1100" y="1235"/>
                    </a:lnTo>
                    <a:lnTo>
                      <a:pt x="1100" y="1235"/>
                    </a:lnTo>
                    <a:lnTo>
                      <a:pt x="1100" y="1235"/>
                    </a:lnTo>
                    <a:lnTo>
                      <a:pt x="1101" y="1233"/>
                    </a:lnTo>
                    <a:lnTo>
                      <a:pt x="1098" y="1237"/>
                    </a:lnTo>
                    <a:lnTo>
                      <a:pt x="1098" y="1237"/>
                    </a:lnTo>
                    <a:lnTo>
                      <a:pt x="1094" y="1241"/>
                    </a:lnTo>
                    <a:lnTo>
                      <a:pt x="1094" y="1241"/>
                    </a:lnTo>
                    <a:lnTo>
                      <a:pt x="1090" y="1244"/>
                    </a:lnTo>
                    <a:lnTo>
                      <a:pt x="1090" y="1244"/>
                    </a:lnTo>
                    <a:lnTo>
                      <a:pt x="1090" y="1247"/>
                    </a:lnTo>
                    <a:lnTo>
                      <a:pt x="1092" y="1251"/>
                    </a:lnTo>
                    <a:lnTo>
                      <a:pt x="1096" y="1256"/>
                    </a:lnTo>
                    <a:lnTo>
                      <a:pt x="1096" y="1256"/>
                    </a:lnTo>
                    <a:lnTo>
                      <a:pt x="1100" y="1261"/>
                    </a:lnTo>
                    <a:lnTo>
                      <a:pt x="1101" y="1264"/>
                    </a:lnTo>
                    <a:lnTo>
                      <a:pt x="1101" y="1265"/>
                    </a:lnTo>
                    <a:lnTo>
                      <a:pt x="1101" y="1265"/>
                    </a:lnTo>
                    <a:lnTo>
                      <a:pt x="1100" y="1274"/>
                    </a:lnTo>
                    <a:lnTo>
                      <a:pt x="1097" y="1282"/>
                    </a:lnTo>
                    <a:lnTo>
                      <a:pt x="1094" y="1290"/>
                    </a:lnTo>
                    <a:lnTo>
                      <a:pt x="1090" y="1296"/>
                    </a:lnTo>
                    <a:lnTo>
                      <a:pt x="1086" y="1298"/>
                    </a:lnTo>
                    <a:lnTo>
                      <a:pt x="1085" y="1298"/>
                    </a:lnTo>
                    <a:lnTo>
                      <a:pt x="1085" y="1298"/>
                    </a:lnTo>
                    <a:lnTo>
                      <a:pt x="1081" y="1300"/>
                    </a:lnTo>
                    <a:lnTo>
                      <a:pt x="1079" y="1305"/>
                    </a:lnTo>
                    <a:lnTo>
                      <a:pt x="1073" y="1310"/>
                    </a:lnTo>
                    <a:lnTo>
                      <a:pt x="1072" y="1310"/>
                    </a:lnTo>
                    <a:lnTo>
                      <a:pt x="1067" y="1306"/>
                    </a:lnTo>
                    <a:lnTo>
                      <a:pt x="1067" y="1306"/>
                    </a:lnTo>
                    <a:lnTo>
                      <a:pt x="1067" y="1306"/>
                    </a:lnTo>
                    <a:lnTo>
                      <a:pt x="1069" y="1309"/>
                    </a:lnTo>
                    <a:lnTo>
                      <a:pt x="1068" y="1309"/>
                    </a:lnTo>
                    <a:lnTo>
                      <a:pt x="1068" y="1309"/>
                    </a:lnTo>
                    <a:lnTo>
                      <a:pt x="1067" y="1309"/>
                    </a:lnTo>
                    <a:lnTo>
                      <a:pt x="1064" y="1309"/>
                    </a:lnTo>
                    <a:lnTo>
                      <a:pt x="1060" y="1305"/>
                    </a:lnTo>
                    <a:lnTo>
                      <a:pt x="1060" y="1305"/>
                    </a:lnTo>
                    <a:lnTo>
                      <a:pt x="1061" y="1304"/>
                    </a:lnTo>
                    <a:lnTo>
                      <a:pt x="1060" y="1305"/>
                    </a:lnTo>
                    <a:lnTo>
                      <a:pt x="1059" y="1304"/>
                    </a:lnTo>
                    <a:lnTo>
                      <a:pt x="1059" y="1304"/>
                    </a:lnTo>
                    <a:lnTo>
                      <a:pt x="1059" y="1305"/>
                    </a:lnTo>
                    <a:lnTo>
                      <a:pt x="1055" y="1309"/>
                    </a:lnTo>
                    <a:lnTo>
                      <a:pt x="1055" y="1309"/>
                    </a:lnTo>
                    <a:lnTo>
                      <a:pt x="1055" y="1309"/>
                    </a:lnTo>
                    <a:lnTo>
                      <a:pt x="1053" y="1309"/>
                    </a:lnTo>
                    <a:lnTo>
                      <a:pt x="1053" y="1309"/>
                    </a:lnTo>
                    <a:lnTo>
                      <a:pt x="1049" y="1310"/>
                    </a:lnTo>
                    <a:lnTo>
                      <a:pt x="1049" y="1310"/>
                    </a:lnTo>
                    <a:lnTo>
                      <a:pt x="1045" y="1309"/>
                    </a:lnTo>
                    <a:lnTo>
                      <a:pt x="1043" y="1306"/>
                    </a:lnTo>
                    <a:lnTo>
                      <a:pt x="1042" y="1304"/>
                    </a:lnTo>
                    <a:lnTo>
                      <a:pt x="1042" y="1304"/>
                    </a:lnTo>
                    <a:lnTo>
                      <a:pt x="1040" y="1301"/>
                    </a:lnTo>
                    <a:lnTo>
                      <a:pt x="1040" y="1301"/>
                    </a:lnTo>
                    <a:lnTo>
                      <a:pt x="1040" y="1301"/>
                    </a:lnTo>
                    <a:lnTo>
                      <a:pt x="1040" y="1301"/>
                    </a:lnTo>
                    <a:lnTo>
                      <a:pt x="1040" y="1301"/>
                    </a:lnTo>
                    <a:lnTo>
                      <a:pt x="1040" y="1301"/>
                    </a:lnTo>
                    <a:lnTo>
                      <a:pt x="1042" y="1301"/>
                    </a:lnTo>
                    <a:lnTo>
                      <a:pt x="1038" y="1297"/>
                    </a:lnTo>
                    <a:lnTo>
                      <a:pt x="1038" y="1297"/>
                    </a:lnTo>
                    <a:lnTo>
                      <a:pt x="1038" y="1297"/>
                    </a:lnTo>
                    <a:lnTo>
                      <a:pt x="1036" y="1296"/>
                    </a:lnTo>
                    <a:lnTo>
                      <a:pt x="1036" y="1296"/>
                    </a:lnTo>
                    <a:lnTo>
                      <a:pt x="1034" y="1298"/>
                    </a:lnTo>
                    <a:lnTo>
                      <a:pt x="1030" y="1302"/>
                    </a:lnTo>
                    <a:lnTo>
                      <a:pt x="1030" y="1302"/>
                    </a:lnTo>
                    <a:lnTo>
                      <a:pt x="1027" y="1306"/>
                    </a:lnTo>
                    <a:lnTo>
                      <a:pt x="1024" y="1310"/>
                    </a:lnTo>
                    <a:lnTo>
                      <a:pt x="1020" y="1311"/>
                    </a:lnTo>
                    <a:lnTo>
                      <a:pt x="1010" y="1311"/>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39" name="Freeform 36">
                <a:extLst>
                  <a:ext uri="{FF2B5EF4-FFF2-40B4-BE49-F238E27FC236}">
                    <a16:creationId xmlns:a16="http://schemas.microsoft.com/office/drawing/2014/main" xmlns="" id="{07F82B0A-C58E-4A3C-A4CC-EE07325FD1EA}"/>
                  </a:ext>
                </a:extLst>
              </p:cNvPr>
              <p:cNvSpPr>
                <a:spLocks/>
              </p:cNvSpPr>
              <p:nvPr/>
            </p:nvSpPr>
            <p:spPr bwMode="auto">
              <a:xfrm>
                <a:off x="3048561" y="3566128"/>
                <a:ext cx="1857726" cy="1680137"/>
              </a:xfrm>
              <a:custGeom>
                <a:avLst/>
                <a:gdLst>
                  <a:gd name="T0" fmla="*/ 436 w 1067"/>
                  <a:gd name="T1" fmla="*/ 937 h 965"/>
                  <a:gd name="T2" fmla="*/ 384 w 1067"/>
                  <a:gd name="T3" fmla="*/ 924 h 965"/>
                  <a:gd name="T4" fmla="*/ 373 w 1067"/>
                  <a:gd name="T5" fmla="*/ 902 h 965"/>
                  <a:gd name="T6" fmla="*/ 333 w 1067"/>
                  <a:gd name="T7" fmla="*/ 879 h 965"/>
                  <a:gd name="T8" fmla="*/ 295 w 1067"/>
                  <a:gd name="T9" fmla="*/ 873 h 965"/>
                  <a:gd name="T10" fmla="*/ 268 w 1067"/>
                  <a:gd name="T11" fmla="*/ 918 h 965"/>
                  <a:gd name="T12" fmla="*/ 221 w 1067"/>
                  <a:gd name="T13" fmla="*/ 894 h 965"/>
                  <a:gd name="T14" fmla="*/ 218 w 1067"/>
                  <a:gd name="T15" fmla="*/ 842 h 965"/>
                  <a:gd name="T16" fmla="*/ 195 w 1067"/>
                  <a:gd name="T17" fmla="*/ 811 h 965"/>
                  <a:gd name="T18" fmla="*/ 168 w 1067"/>
                  <a:gd name="T19" fmla="*/ 780 h 965"/>
                  <a:gd name="T20" fmla="*/ 135 w 1067"/>
                  <a:gd name="T21" fmla="*/ 752 h 965"/>
                  <a:gd name="T22" fmla="*/ 116 w 1067"/>
                  <a:gd name="T23" fmla="*/ 727 h 965"/>
                  <a:gd name="T24" fmla="*/ 112 w 1067"/>
                  <a:gd name="T25" fmla="*/ 681 h 965"/>
                  <a:gd name="T26" fmla="*/ 102 w 1067"/>
                  <a:gd name="T27" fmla="*/ 664 h 965"/>
                  <a:gd name="T28" fmla="*/ 55 w 1067"/>
                  <a:gd name="T29" fmla="*/ 578 h 965"/>
                  <a:gd name="T30" fmla="*/ 38 w 1067"/>
                  <a:gd name="T31" fmla="*/ 533 h 965"/>
                  <a:gd name="T32" fmla="*/ 22 w 1067"/>
                  <a:gd name="T33" fmla="*/ 492 h 965"/>
                  <a:gd name="T34" fmla="*/ 26 w 1067"/>
                  <a:gd name="T35" fmla="*/ 451 h 965"/>
                  <a:gd name="T36" fmla="*/ 82 w 1067"/>
                  <a:gd name="T37" fmla="*/ 427 h 965"/>
                  <a:gd name="T38" fmla="*/ 120 w 1067"/>
                  <a:gd name="T39" fmla="*/ 439 h 965"/>
                  <a:gd name="T40" fmla="*/ 206 w 1067"/>
                  <a:gd name="T41" fmla="*/ 427 h 965"/>
                  <a:gd name="T42" fmla="*/ 217 w 1067"/>
                  <a:gd name="T43" fmla="*/ 402 h 965"/>
                  <a:gd name="T44" fmla="*/ 169 w 1067"/>
                  <a:gd name="T45" fmla="*/ 332 h 965"/>
                  <a:gd name="T46" fmla="*/ 199 w 1067"/>
                  <a:gd name="T47" fmla="*/ 243 h 965"/>
                  <a:gd name="T48" fmla="*/ 211 w 1067"/>
                  <a:gd name="T49" fmla="*/ 138 h 965"/>
                  <a:gd name="T50" fmla="*/ 254 w 1067"/>
                  <a:gd name="T51" fmla="*/ 151 h 965"/>
                  <a:gd name="T52" fmla="*/ 239 w 1067"/>
                  <a:gd name="T53" fmla="*/ 89 h 965"/>
                  <a:gd name="T54" fmla="*/ 350 w 1067"/>
                  <a:gd name="T55" fmla="*/ 12 h 965"/>
                  <a:gd name="T56" fmla="*/ 436 w 1067"/>
                  <a:gd name="T57" fmla="*/ 32 h 965"/>
                  <a:gd name="T58" fmla="*/ 486 w 1067"/>
                  <a:gd name="T59" fmla="*/ 36 h 965"/>
                  <a:gd name="T60" fmla="*/ 505 w 1067"/>
                  <a:gd name="T61" fmla="*/ 44 h 965"/>
                  <a:gd name="T62" fmla="*/ 537 w 1067"/>
                  <a:gd name="T63" fmla="*/ 53 h 965"/>
                  <a:gd name="T64" fmla="*/ 581 w 1067"/>
                  <a:gd name="T65" fmla="*/ 74 h 965"/>
                  <a:gd name="T66" fmla="*/ 608 w 1067"/>
                  <a:gd name="T67" fmla="*/ 79 h 965"/>
                  <a:gd name="T68" fmla="*/ 636 w 1067"/>
                  <a:gd name="T69" fmla="*/ 20 h 965"/>
                  <a:gd name="T70" fmla="*/ 720 w 1067"/>
                  <a:gd name="T71" fmla="*/ 49 h 965"/>
                  <a:gd name="T72" fmla="*/ 718 w 1067"/>
                  <a:gd name="T73" fmla="*/ 68 h 965"/>
                  <a:gd name="T74" fmla="*/ 756 w 1067"/>
                  <a:gd name="T75" fmla="*/ 97 h 965"/>
                  <a:gd name="T76" fmla="*/ 809 w 1067"/>
                  <a:gd name="T77" fmla="*/ 146 h 965"/>
                  <a:gd name="T78" fmla="*/ 858 w 1067"/>
                  <a:gd name="T79" fmla="*/ 157 h 965"/>
                  <a:gd name="T80" fmla="*/ 817 w 1067"/>
                  <a:gd name="T81" fmla="*/ 262 h 965"/>
                  <a:gd name="T82" fmla="*/ 794 w 1067"/>
                  <a:gd name="T83" fmla="*/ 353 h 965"/>
                  <a:gd name="T84" fmla="*/ 823 w 1067"/>
                  <a:gd name="T85" fmla="*/ 380 h 965"/>
                  <a:gd name="T86" fmla="*/ 871 w 1067"/>
                  <a:gd name="T87" fmla="*/ 418 h 965"/>
                  <a:gd name="T88" fmla="*/ 896 w 1067"/>
                  <a:gd name="T89" fmla="*/ 428 h 965"/>
                  <a:gd name="T90" fmla="*/ 937 w 1067"/>
                  <a:gd name="T91" fmla="*/ 501 h 965"/>
                  <a:gd name="T92" fmla="*/ 949 w 1067"/>
                  <a:gd name="T93" fmla="*/ 520 h 965"/>
                  <a:gd name="T94" fmla="*/ 1009 w 1067"/>
                  <a:gd name="T95" fmla="*/ 577 h 965"/>
                  <a:gd name="T96" fmla="*/ 1055 w 1067"/>
                  <a:gd name="T97" fmla="*/ 636 h 965"/>
                  <a:gd name="T98" fmla="*/ 1053 w 1067"/>
                  <a:gd name="T99" fmla="*/ 694 h 965"/>
                  <a:gd name="T100" fmla="*/ 1030 w 1067"/>
                  <a:gd name="T101" fmla="*/ 740 h 965"/>
                  <a:gd name="T102" fmla="*/ 995 w 1067"/>
                  <a:gd name="T103" fmla="*/ 756 h 965"/>
                  <a:gd name="T104" fmla="*/ 956 w 1067"/>
                  <a:gd name="T105" fmla="*/ 771 h 965"/>
                  <a:gd name="T106" fmla="*/ 920 w 1067"/>
                  <a:gd name="T107" fmla="*/ 785 h 965"/>
                  <a:gd name="T108" fmla="*/ 874 w 1067"/>
                  <a:gd name="T109" fmla="*/ 808 h 965"/>
                  <a:gd name="T110" fmla="*/ 835 w 1067"/>
                  <a:gd name="T111" fmla="*/ 824 h 965"/>
                  <a:gd name="T112" fmla="*/ 804 w 1067"/>
                  <a:gd name="T113" fmla="*/ 893 h 965"/>
                  <a:gd name="T114" fmla="*/ 749 w 1067"/>
                  <a:gd name="T115" fmla="*/ 902 h 965"/>
                  <a:gd name="T116" fmla="*/ 730 w 1067"/>
                  <a:gd name="T117" fmla="*/ 916 h 965"/>
                  <a:gd name="T118" fmla="*/ 679 w 1067"/>
                  <a:gd name="T119" fmla="*/ 924 h 965"/>
                  <a:gd name="T120" fmla="*/ 629 w 1067"/>
                  <a:gd name="T121" fmla="*/ 873 h 965"/>
                  <a:gd name="T122" fmla="*/ 608 w 1067"/>
                  <a:gd name="T123" fmla="*/ 881 h 965"/>
                  <a:gd name="T124" fmla="*/ 543 w 1067"/>
                  <a:gd name="T125" fmla="*/ 898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7" h="965">
                    <a:moveTo>
                      <a:pt x="490" y="965"/>
                    </a:moveTo>
                    <a:lnTo>
                      <a:pt x="490" y="965"/>
                    </a:lnTo>
                    <a:lnTo>
                      <a:pt x="485" y="965"/>
                    </a:lnTo>
                    <a:lnTo>
                      <a:pt x="481" y="963"/>
                    </a:lnTo>
                    <a:lnTo>
                      <a:pt x="481" y="963"/>
                    </a:lnTo>
                    <a:lnTo>
                      <a:pt x="477" y="959"/>
                    </a:lnTo>
                    <a:lnTo>
                      <a:pt x="477" y="959"/>
                    </a:lnTo>
                    <a:lnTo>
                      <a:pt x="477" y="951"/>
                    </a:lnTo>
                    <a:lnTo>
                      <a:pt x="480" y="944"/>
                    </a:lnTo>
                    <a:lnTo>
                      <a:pt x="480" y="944"/>
                    </a:lnTo>
                    <a:lnTo>
                      <a:pt x="476" y="943"/>
                    </a:lnTo>
                    <a:lnTo>
                      <a:pt x="469" y="940"/>
                    </a:lnTo>
                    <a:lnTo>
                      <a:pt x="469" y="940"/>
                    </a:lnTo>
                    <a:lnTo>
                      <a:pt x="468" y="940"/>
                    </a:lnTo>
                    <a:lnTo>
                      <a:pt x="468" y="940"/>
                    </a:lnTo>
                    <a:lnTo>
                      <a:pt x="465" y="940"/>
                    </a:lnTo>
                    <a:lnTo>
                      <a:pt x="462" y="939"/>
                    </a:lnTo>
                    <a:lnTo>
                      <a:pt x="461" y="936"/>
                    </a:lnTo>
                    <a:lnTo>
                      <a:pt x="461" y="936"/>
                    </a:lnTo>
                    <a:lnTo>
                      <a:pt x="461" y="933"/>
                    </a:lnTo>
                    <a:lnTo>
                      <a:pt x="460" y="935"/>
                    </a:lnTo>
                    <a:lnTo>
                      <a:pt x="459" y="933"/>
                    </a:lnTo>
                    <a:lnTo>
                      <a:pt x="459" y="933"/>
                    </a:lnTo>
                    <a:lnTo>
                      <a:pt x="459" y="936"/>
                    </a:lnTo>
                    <a:lnTo>
                      <a:pt x="456" y="939"/>
                    </a:lnTo>
                    <a:lnTo>
                      <a:pt x="455" y="939"/>
                    </a:lnTo>
                    <a:lnTo>
                      <a:pt x="455" y="939"/>
                    </a:lnTo>
                    <a:lnTo>
                      <a:pt x="451" y="940"/>
                    </a:lnTo>
                    <a:lnTo>
                      <a:pt x="447" y="941"/>
                    </a:lnTo>
                    <a:lnTo>
                      <a:pt x="445" y="941"/>
                    </a:lnTo>
                    <a:lnTo>
                      <a:pt x="445" y="941"/>
                    </a:lnTo>
                    <a:lnTo>
                      <a:pt x="444" y="941"/>
                    </a:lnTo>
                    <a:lnTo>
                      <a:pt x="444" y="941"/>
                    </a:lnTo>
                    <a:lnTo>
                      <a:pt x="441" y="941"/>
                    </a:lnTo>
                    <a:lnTo>
                      <a:pt x="439" y="940"/>
                    </a:lnTo>
                    <a:lnTo>
                      <a:pt x="436" y="937"/>
                    </a:lnTo>
                    <a:lnTo>
                      <a:pt x="436" y="937"/>
                    </a:lnTo>
                    <a:lnTo>
                      <a:pt x="436" y="937"/>
                    </a:lnTo>
                    <a:lnTo>
                      <a:pt x="436" y="937"/>
                    </a:lnTo>
                    <a:lnTo>
                      <a:pt x="439" y="937"/>
                    </a:lnTo>
                    <a:lnTo>
                      <a:pt x="435" y="936"/>
                    </a:lnTo>
                    <a:lnTo>
                      <a:pt x="435" y="936"/>
                    </a:lnTo>
                    <a:lnTo>
                      <a:pt x="432" y="933"/>
                    </a:lnTo>
                    <a:lnTo>
                      <a:pt x="432" y="931"/>
                    </a:lnTo>
                    <a:lnTo>
                      <a:pt x="432" y="931"/>
                    </a:lnTo>
                    <a:lnTo>
                      <a:pt x="432" y="930"/>
                    </a:lnTo>
                    <a:lnTo>
                      <a:pt x="432" y="928"/>
                    </a:lnTo>
                    <a:lnTo>
                      <a:pt x="427" y="932"/>
                    </a:lnTo>
                    <a:lnTo>
                      <a:pt x="427" y="932"/>
                    </a:lnTo>
                    <a:lnTo>
                      <a:pt x="427" y="932"/>
                    </a:lnTo>
                    <a:lnTo>
                      <a:pt x="425" y="932"/>
                    </a:lnTo>
                    <a:lnTo>
                      <a:pt x="425" y="932"/>
                    </a:lnTo>
                    <a:lnTo>
                      <a:pt x="422" y="935"/>
                    </a:lnTo>
                    <a:lnTo>
                      <a:pt x="416" y="935"/>
                    </a:lnTo>
                    <a:lnTo>
                      <a:pt x="416" y="935"/>
                    </a:lnTo>
                    <a:lnTo>
                      <a:pt x="414" y="935"/>
                    </a:lnTo>
                    <a:lnTo>
                      <a:pt x="410" y="932"/>
                    </a:lnTo>
                    <a:lnTo>
                      <a:pt x="408" y="930"/>
                    </a:lnTo>
                    <a:lnTo>
                      <a:pt x="408" y="930"/>
                    </a:lnTo>
                    <a:lnTo>
                      <a:pt x="407" y="928"/>
                    </a:lnTo>
                    <a:lnTo>
                      <a:pt x="407" y="928"/>
                    </a:lnTo>
                    <a:lnTo>
                      <a:pt x="407" y="926"/>
                    </a:lnTo>
                    <a:lnTo>
                      <a:pt x="403" y="923"/>
                    </a:lnTo>
                    <a:lnTo>
                      <a:pt x="403" y="923"/>
                    </a:lnTo>
                    <a:lnTo>
                      <a:pt x="402" y="923"/>
                    </a:lnTo>
                    <a:lnTo>
                      <a:pt x="402" y="923"/>
                    </a:lnTo>
                    <a:lnTo>
                      <a:pt x="398" y="924"/>
                    </a:lnTo>
                    <a:lnTo>
                      <a:pt x="398" y="924"/>
                    </a:lnTo>
                    <a:lnTo>
                      <a:pt x="391" y="927"/>
                    </a:lnTo>
                    <a:lnTo>
                      <a:pt x="387" y="928"/>
                    </a:lnTo>
                    <a:lnTo>
                      <a:pt x="384" y="928"/>
                    </a:lnTo>
                    <a:lnTo>
                      <a:pt x="383" y="926"/>
                    </a:lnTo>
                    <a:lnTo>
                      <a:pt x="383" y="926"/>
                    </a:lnTo>
                    <a:lnTo>
                      <a:pt x="384" y="924"/>
                    </a:lnTo>
                    <a:lnTo>
                      <a:pt x="384" y="924"/>
                    </a:lnTo>
                    <a:lnTo>
                      <a:pt x="386" y="922"/>
                    </a:lnTo>
                    <a:lnTo>
                      <a:pt x="384" y="919"/>
                    </a:lnTo>
                    <a:lnTo>
                      <a:pt x="382" y="924"/>
                    </a:lnTo>
                    <a:lnTo>
                      <a:pt x="379" y="919"/>
                    </a:lnTo>
                    <a:lnTo>
                      <a:pt x="379" y="919"/>
                    </a:lnTo>
                    <a:lnTo>
                      <a:pt x="378" y="922"/>
                    </a:lnTo>
                    <a:lnTo>
                      <a:pt x="379" y="924"/>
                    </a:lnTo>
                    <a:lnTo>
                      <a:pt x="379" y="924"/>
                    </a:lnTo>
                    <a:lnTo>
                      <a:pt x="381" y="926"/>
                    </a:lnTo>
                    <a:lnTo>
                      <a:pt x="379" y="928"/>
                    </a:lnTo>
                    <a:lnTo>
                      <a:pt x="379" y="928"/>
                    </a:lnTo>
                    <a:lnTo>
                      <a:pt x="379" y="928"/>
                    </a:lnTo>
                    <a:lnTo>
                      <a:pt x="377" y="928"/>
                    </a:lnTo>
                    <a:lnTo>
                      <a:pt x="377" y="928"/>
                    </a:lnTo>
                    <a:lnTo>
                      <a:pt x="374" y="927"/>
                    </a:lnTo>
                    <a:lnTo>
                      <a:pt x="371" y="927"/>
                    </a:lnTo>
                    <a:lnTo>
                      <a:pt x="367" y="920"/>
                    </a:lnTo>
                    <a:lnTo>
                      <a:pt x="367" y="915"/>
                    </a:lnTo>
                    <a:lnTo>
                      <a:pt x="370" y="910"/>
                    </a:lnTo>
                    <a:lnTo>
                      <a:pt x="370" y="910"/>
                    </a:lnTo>
                    <a:lnTo>
                      <a:pt x="370" y="911"/>
                    </a:lnTo>
                    <a:lnTo>
                      <a:pt x="370" y="911"/>
                    </a:lnTo>
                    <a:lnTo>
                      <a:pt x="370" y="910"/>
                    </a:lnTo>
                    <a:lnTo>
                      <a:pt x="370" y="910"/>
                    </a:lnTo>
                    <a:lnTo>
                      <a:pt x="373" y="904"/>
                    </a:lnTo>
                    <a:lnTo>
                      <a:pt x="373" y="904"/>
                    </a:lnTo>
                    <a:lnTo>
                      <a:pt x="373" y="904"/>
                    </a:lnTo>
                    <a:lnTo>
                      <a:pt x="373" y="904"/>
                    </a:lnTo>
                    <a:lnTo>
                      <a:pt x="373" y="904"/>
                    </a:lnTo>
                    <a:lnTo>
                      <a:pt x="371" y="904"/>
                    </a:lnTo>
                    <a:lnTo>
                      <a:pt x="371" y="904"/>
                    </a:lnTo>
                    <a:lnTo>
                      <a:pt x="373" y="904"/>
                    </a:lnTo>
                    <a:lnTo>
                      <a:pt x="373" y="904"/>
                    </a:lnTo>
                    <a:lnTo>
                      <a:pt x="373" y="902"/>
                    </a:lnTo>
                    <a:lnTo>
                      <a:pt x="373" y="902"/>
                    </a:lnTo>
                    <a:lnTo>
                      <a:pt x="373" y="902"/>
                    </a:lnTo>
                    <a:lnTo>
                      <a:pt x="373" y="902"/>
                    </a:lnTo>
                    <a:lnTo>
                      <a:pt x="367" y="900"/>
                    </a:lnTo>
                    <a:lnTo>
                      <a:pt x="363" y="898"/>
                    </a:lnTo>
                    <a:lnTo>
                      <a:pt x="362" y="896"/>
                    </a:lnTo>
                    <a:lnTo>
                      <a:pt x="362" y="896"/>
                    </a:lnTo>
                    <a:lnTo>
                      <a:pt x="362" y="893"/>
                    </a:lnTo>
                    <a:lnTo>
                      <a:pt x="362" y="890"/>
                    </a:lnTo>
                    <a:lnTo>
                      <a:pt x="362" y="890"/>
                    </a:lnTo>
                    <a:lnTo>
                      <a:pt x="362" y="890"/>
                    </a:lnTo>
                    <a:lnTo>
                      <a:pt x="362" y="890"/>
                    </a:lnTo>
                    <a:lnTo>
                      <a:pt x="363" y="893"/>
                    </a:lnTo>
                    <a:lnTo>
                      <a:pt x="363" y="893"/>
                    </a:lnTo>
                    <a:lnTo>
                      <a:pt x="367" y="894"/>
                    </a:lnTo>
                    <a:lnTo>
                      <a:pt x="362" y="889"/>
                    </a:lnTo>
                    <a:lnTo>
                      <a:pt x="361" y="889"/>
                    </a:lnTo>
                    <a:lnTo>
                      <a:pt x="361" y="889"/>
                    </a:lnTo>
                    <a:lnTo>
                      <a:pt x="362" y="889"/>
                    </a:lnTo>
                    <a:lnTo>
                      <a:pt x="362" y="889"/>
                    </a:lnTo>
                    <a:lnTo>
                      <a:pt x="361" y="889"/>
                    </a:lnTo>
                    <a:lnTo>
                      <a:pt x="355" y="889"/>
                    </a:lnTo>
                    <a:lnTo>
                      <a:pt x="351" y="887"/>
                    </a:lnTo>
                    <a:lnTo>
                      <a:pt x="351" y="887"/>
                    </a:lnTo>
                    <a:lnTo>
                      <a:pt x="351" y="887"/>
                    </a:lnTo>
                    <a:lnTo>
                      <a:pt x="351" y="887"/>
                    </a:lnTo>
                    <a:lnTo>
                      <a:pt x="349" y="887"/>
                    </a:lnTo>
                    <a:lnTo>
                      <a:pt x="349" y="887"/>
                    </a:lnTo>
                    <a:lnTo>
                      <a:pt x="343" y="886"/>
                    </a:lnTo>
                    <a:lnTo>
                      <a:pt x="341" y="885"/>
                    </a:lnTo>
                    <a:lnTo>
                      <a:pt x="338" y="882"/>
                    </a:lnTo>
                    <a:lnTo>
                      <a:pt x="340" y="882"/>
                    </a:lnTo>
                    <a:lnTo>
                      <a:pt x="337" y="881"/>
                    </a:lnTo>
                    <a:lnTo>
                      <a:pt x="337" y="881"/>
                    </a:lnTo>
                    <a:lnTo>
                      <a:pt x="337" y="882"/>
                    </a:lnTo>
                    <a:lnTo>
                      <a:pt x="337" y="882"/>
                    </a:lnTo>
                    <a:lnTo>
                      <a:pt x="336" y="881"/>
                    </a:lnTo>
                    <a:lnTo>
                      <a:pt x="336" y="881"/>
                    </a:lnTo>
                    <a:lnTo>
                      <a:pt x="333" y="879"/>
                    </a:lnTo>
                    <a:lnTo>
                      <a:pt x="333" y="879"/>
                    </a:lnTo>
                    <a:lnTo>
                      <a:pt x="329" y="878"/>
                    </a:lnTo>
                    <a:lnTo>
                      <a:pt x="326" y="877"/>
                    </a:lnTo>
                    <a:lnTo>
                      <a:pt x="326" y="877"/>
                    </a:lnTo>
                    <a:lnTo>
                      <a:pt x="324" y="875"/>
                    </a:lnTo>
                    <a:lnTo>
                      <a:pt x="322" y="874"/>
                    </a:lnTo>
                    <a:lnTo>
                      <a:pt x="322" y="874"/>
                    </a:lnTo>
                    <a:lnTo>
                      <a:pt x="318" y="871"/>
                    </a:lnTo>
                    <a:lnTo>
                      <a:pt x="313" y="870"/>
                    </a:lnTo>
                    <a:lnTo>
                      <a:pt x="313" y="870"/>
                    </a:lnTo>
                    <a:lnTo>
                      <a:pt x="306" y="866"/>
                    </a:lnTo>
                    <a:lnTo>
                      <a:pt x="306" y="865"/>
                    </a:lnTo>
                    <a:lnTo>
                      <a:pt x="305" y="863"/>
                    </a:lnTo>
                    <a:lnTo>
                      <a:pt x="305" y="863"/>
                    </a:lnTo>
                    <a:lnTo>
                      <a:pt x="306" y="861"/>
                    </a:lnTo>
                    <a:lnTo>
                      <a:pt x="305" y="863"/>
                    </a:lnTo>
                    <a:lnTo>
                      <a:pt x="303" y="859"/>
                    </a:lnTo>
                    <a:lnTo>
                      <a:pt x="303" y="859"/>
                    </a:lnTo>
                    <a:lnTo>
                      <a:pt x="303" y="862"/>
                    </a:lnTo>
                    <a:lnTo>
                      <a:pt x="304" y="863"/>
                    </a:lnTo>
                    <a:lnTo>
                      <a:pt x="303" y="866"/>
                    </a:lnTo>
                    <a:lnTo>
                      <a:pt x="303" y="866"/>
                    </a:lnTo>
                    <a:lnTo>
                      <a:pt x="304" y="865"/>
                    </a:lnTo>
                    <a:lnTo>
                      <a:pt x="304" y="865"/>
                    </a:lnTo>
                    <a:lnTo>
                      <a:pt x="301" y="866"/>
                    </a:lnTo>
                    <a:lnTo>
                      <a:pt x="299" y="867"/>
                    </a:lnTo>
                    <a:lnTo>
                      <a:pt x="296" y="867"/>
                    </a:lnTo>
                    <a:lnTo>
                      <a:pt x="296" y="871"/>
                    </a:lnTo>
                    <a:lnTo>
                      <a:pt x="291" y="877"/>
                    </a:lnTo>
                    <a:lnTo>
                      <a:pt x="291" y="877"/>
                    </a:lnTo>
                    <a:lnTo>
                      <a:pt x="291" y="877"/>
                    </a:lnTo>
                    <a:lnTo>
                      <a:pt x="292" y="877"/>
                    </a:lnTo>
                    <a:lnTo>
                      <a:pt x="292" y="877"/>
                    </a:lnTo>
                    <a:lnTo>
                      <a:pt x="293" y="875"/>
                    </a:lnTo>
                    <a:lnTo>
                      <a:pt x="293" y="875"/>
                    </a:lnTo>
                    <a:lnTo>
                      <a:pt x="295" y="873"/>
                    </a:lnTo>
                    <a:lnTo>
                      <a:pt x="295" y="873"/>
                    </a:lnTo>
                    <a:lnTo>
                      <a:pt x="295" y="874"/>
                    </a:lnTo>
                    <a:lnTo>
                      <a:pt x="295" y="874"/>
                    </a:lnTo>
                    <a:lnTo>
                      <a:pt x="296" y="878"/>
                    </a:lnTo>
                    <a:lnTo>
                      <a:pt x="296" y="878"/>
                    </a:lnTo>
                    <a:lnTo>
                      <a:pt x="296" y="881"/>
                    </a:lnTo>
                    <a:lnTo>
                      <a:pt x="295" y="883"/>
                    </a:lnTo>
                    <a:lnTo>
                      <a:pt x="292" y="886"/>
                    </a:lnTo>
                    <a:lnTo>
                      <a:pt x="292" y="886"/>
                    </a:lnTo>
                    <a:lnTo>
                      <a:pt x="293" y="885"/>
                    </a:lnTo>
                    <a:lnTo>
                      <a:pt x="291" y="890"/>
                    </a:lnTo>
                    <a:lnTo>
                      <a:pt x="291" y="890"/>
                    </a:lnTo>
                    <a:lnTo>
                      <a:pt x="292" y="889"/>
                    </a:lnTo>
                    <a:lnTo>
                      <a:pt x="292" y="889"/>
                    </a:lnTo>
                    <a:lnTo>
                      <a:pt x="292" y="890"/>
                    </a:lnTo>
                    <a:lnTo>
                      <a:pt x="292" y="890"/>
                    </a:lnTo>
                    <a:lnTo>
                      <a:pt x="291" y="894"/>
                    </a:lnTo>
                    <a:lnTo>
                      <a:pt x="288" y="896"/>
                    </a:lnTo>
                    <a:lnTo>
                      <a:pt x="288" y="898"/>
                    </a:lnTo>
                    <a:lnTo>
                      <a:pt x="288" y="898"/>
                    </a:lnTo>
                    <a:lnTo>
                      <a:pt x="288" y="898"/>
                    </a:lnTo>
                    <a:lnTo>
                      <a:pt x="288" y="898"/>
                    </a:lnTo>
                    <a:lnTo>
                      <a:pt x="287" y="902"/>
                    </a:lnTo>
                    <a:lnTo>
                      <a:pt x="285" y="903"/>
                    </a:lnTo>
                    <a:lnTo>
                      <a:pt x="285" y="903"/>
                    </a:lnTo>
                    <a:lnTo>
                      <a:pt x="285" y="903"/>
                    </a:lnTo>
                    <a:lnTo>
                      <a:pt x="287" y="902"/>
                    </a:lnTo>
                    <a:lnTo>
                      <a:pt x="284" y="906"/>
                    </a:lnTo>
                    <a:lnTo>
                      <a:pt x="284" y="906"/>
                    </a:lnTo>
                    <a:lnTo>
                      <a:pt x="283" y="910"/>
                    </a:lnTo>
                    <a:lnTo>
                      <a:pt x="283" y="910"/>
                    </a:lnTo>
                    <a:lnTo>
                      <a:pt x="283" y="912"/>
                    </a:lnTo>
                    <a:lnTo>
                      <a:pt x="281" y="915"/>
                    </a:lnTo>
                    <a:lnTo>
                      <a:pt x="281" y="915"/>
                    </a:lnTo>
                    <a:lnTo>
                      <a:pt x="277" y="918"/>
                    </a:lnTo>
                    <a:lnTo>
                      <a:pt x="273" y="919"/>
                    </a:lnTo>
                    <a:lnTo>
                      <a:pt x="273" y="919"/>
                    </a:lnTo>
                    <a:lnTo>
                      <a:pt x="268" y="918"/>
                    </a:lnTo>
                    <a:lnTo>
                      <a:pt x="264" y="916"/>
                    </a:lnTo>
                    <a:lnTo>
                      <a:pt x="264" y="915"/>
                    </a:lnTo>
                    <a:lnTo>
                      <a:pt x="264" y="915"/>
                    </a:lnTo>
                    <a:lnTo>
                      <a:pt x="264" y="915"/>
                    </a:lnTo>
                    <a:lnTo>
                      <a:pt x="264" y="915"/>
                    </a:lnTo>
                    <a:lnTo>
                      <a:pt x="263" y="915"/>
                    </a:lnTo>
                    <a:lnTo>
                      <a:pt x="263" y="915"/>
                    </a:lnTo>
                    <a:lnTo>
                      <a:pt x="259" y="915"/>
                    </a:lnTo>
                    <a:lnTo>
                      <a:pt x="258" y="914"/>
                    </a:lnTo>
                    <a:lnTo>
                      <a:pt x="256" y="914"/>
                    </a:lnTo>
                    <a:lnTo>
                      <a:pt x="256" y="914"/>
                    </a:lnTo>
                    <a:lnTo>
                      <a:pt x="256" y="914"/>
                    </a:lnTo>
                    <a:lnTo>
                      <a:pt x="254" y="914"/>
                    </a:lnTo>
                    <a:lnTo>
                      <a:pt x="254" y="914"/>
                    </a:lnTo>
                    <a:lnTo>
                      <a:pt x="256" y="912"/>
                    </a:lnTo>
                    <a:lnTo>
                      <a:pt x="258" y="910"/>
                    </a:lnTo>
                    <a:lnTo>
                      <a:pt x="252" y="915"/>
                    </a:lnTo>
                    <a:lnTo>
                      <a:pt x="252" y="915"/>
                    </a:lnTo>
                    <a:lnTo>
                      <a:pt x="254" y="914"/>
                    </a:lnTo>
                    <a:lnTo>
                      <a:pt x="254" y="914"/>
                    </a:lnTo>
                    <a:lnTo>
                      <a:pt x="252" y="915"/>
                    </a:lnTo>
                    <a:lnTo>
                      <a:pt x="248" y="916"/>
                    </a:lnTo>
                    <a:lnTo>
                      <a:pt x="243" y="916"/>
                    </a:lnTo>
                    <a:lnTo>
                      <a:pt x="238" y="914"/>
                    </a:lnTo>
                    <a:lnTo>
                      <a:pt x="238" y="914"/>
                    </a:lnTo>
                    <a:lnTo>
                      <a:pt x="236" y="911"/>
                    </a:lnTo>
                    <a:lnTo>
                      <a:pt x="234" y="908"/>
                    </a:lnTo>
                    <a:lnTo>
                      <a:pt x="234" y="908"/>
                    </a:lnTo>
                    <a:lnTo>
                      <a:pt x="230" y="906"/>
                    </a:lnTo>
                    <a:lnTo>
                      <a:pt x="226" y="900"/>
                    </a:lnTo>
                    <a:lnTo>
                      <a:pt x="224" y="898"/>
                    </a:lnTo>
                    <a:lnTo>
                      <a:pt x="224" y="896"/>
                    </a:lnTo>
                    <a:lnTo>
                      <a:pt x="224" y="896"/>
                    </a:lnTo>
                    <a:lnTo>
                      <a:pt x="219" y="893"/>
                    </a:lnTo>
                    <a:lnTo>
                      <a:pt x="219" y="893"/>
                    </a:lnTo>
                    <a:lnTo>
                      <a:pt x="221" y="894"/>
                    </a:lnTo>
                    <a:lnTo>
                      <a:pt x="221" y="894"/>
                    </a:lnTo>
                    <a:lnTo>
                      <a:pt x="219" y="894"/>
                    </a:lnTo>
                    <a:lnTo>
                      <a:pt x="219" y="894"/>
                    </a:lnTo>
                    <a:lnTo>
                      <a:pt x="214" y="891"/>
                    </a:lnTo>
                    <a:lnTo>
                      <a:pt x="214" y="889"/>
                    </a:lnTo>
                    <a:lnTo>
                      <a:pt x="214" y="889"/>
                    </a:lnTo>
                    <a:lnTo>
                      <a:pt x="211" y="886"/>
                    </a:lnTo>
                    <a:lnTo>
                      <a:pt x="210" y="881"/>
                    </a:lnTo>
                    <a:lnTo>
                      <a:pt x="210" y="881"/>
                    </a:lnTo>
                    <a:lnTo>
                      <a:pt x="211" y="875"/>
                    </a:lnTo>
                    <a:lnTo>
                      <a:pt x="214" y="871"/>
                    </a:lnTo>
                    <a:lnTo>
                      <a:pt x="214" y="871"/>
                    </a:lnTo>
                    <a:lnTo>
                      <a:pt x="215" y="869"/>
                    </a:lnTo>
                    <a:lnTo>
                      <a:pt x="218" y="866"/>
                    </a:lnTo>
                    <a:lnTo>
                      <a:pt x="218" y="866"/>
                    </a:lnTo>
                    <a:lnTo>
                      <a:pt x="217" y="867"/>
                    </a:lnTo>
                    <a:lnTo>
                      <a:pt x="217" y="869"/>
                    </a:lnTo>
                    <a:lnTo>
                      <a:pt x="217" y="870"/>
                    </a:lnTo>
                    <a:lnTo>
                      <a:pt x="222" y="863"/>
                    </a:lnTo>
                    <a:lnTo>
                      <a:pt x="227" y="863"/>
                    </a:lnTo>
                    <a:lnTo>
                      <a:pt x="228" y="863"/>
                    </a:lnTo>
                    <a:lnTo>
                      <a:pt x="228" y="863"/>
                    </a:lnTo>
                    <a:lnTo>
                      <a:pt x="228" y="863"/>
                    </a:lnTo>
                    <a:lnTo>
                      <a:pt x="228" y="863"/>
                    </a:lnTo>
                    <a:lnTo>
                      <a:pt x="228" y="863"/>
                    </a:lnTo>
                    <a:lnTo>
                      <a:pt x="228" y="863"/>
                    </a:lnTo>
                    <a:lnTo>
                      <a:pt x="228" y="862"/>
                    </a:lnTo>
                    <a:lnTo>
                      <a:pt x="228" y="862"/>
                    </a:lnTo>
                    <a:lnTo>
                      <a:pt x="227" y="859"/>
                    </a:lnTo>
                    <a:lnTo>
                      <a:pt x="227" y="859"/>
                    </a:lnTo>
                    <a:lnTo>
                      <a:pt x="226" y="857"/>
                    </a:lnTo>
                    <a:lnTo>
                      <a:pt x="223" y="855"/>
                    </a:lnTo>
                    <a:lnTo>
                      <a:pt x="223" y="855"/>
                    </a:lnTo>
                    <a:lnTo>
                      <a:pt x="221" y="850"/>
                    </a:lnTo>
                    <a:lnTo>
                      <a:pt x="221" y="850"/>
                    </a:lnTo>
                    <a:lnTo>
                      <a:pt x="219" y="848"/>
                    </a:lnTo>
                    <a:lnTo>
                      <a:pt x="218" y="842"/>
                    </a:lnTo>
                    <a:lnTo>
                      <a:pt x="218" y="842"/>
                    </a:lnTo>
                    <a:lnTo>
                      <a:pt x="217" y="841"/>
                    </a:lnTo>
                    <a:lnTo>
                      <a:pt x="217" y="841"/>
                    </a:lnTo>
                    <a:lnTo>
                      <a:pt x="215" y="837"/>
                    </a:lnTo>
                    <a:lnTo>
                      <a:pt x="215" y="837"/>
                    </a:lnTo>
                    <a:lnTo>
                      <a:pt x="214" y="838"/>
                    </a:lnTo>
                    <a:lnTo>
                      <a:pt x="214" y="838"/>
                    </a:lnTo>
                    <a:lnTo>
                      <a:pt x="211" y="841"/>
                    </a:lnTo>
                    <a:lnTo>
                      <a:pt x="207" y="841"/>
                    </a:lnTo>
                    <a:lnTo>
                      <a:pt x="206" y="841"/>
                    </a:lnTo>
                    <a:lnTo>
                      <a:pt x="206" y="841"/>
                    </a:lnTo>
                    <a:lnTo>
                      <a:pt x="203" y="842"/>
                    </a:lnTo>
                    <a:lnTo>
                      <a:pt x="203" y="842"/>
                    </a:lnTo>
                    <a:lnTo>
                      <a:pt x="199" y="841"/>
                    </a:lnTo>
                    <a:lnTo>
                      <a:pt x="195" y="840"/>
                    </a:lnTo>
                    <a:lnTo>
                      <a:pt x="193" y="834"/>
                    </a:lnTo>
                    <a:lnTo>
                      <a:pt x="193" y="833"/>
                    </a:lnTo>
                    <a:lnTo>
                      <a:pt x="193" y="832"/>
                    </a:lnTo>
                    <a:lnTo>
                      <a:pt x="193" y="832"/>
                    </a:lnTo>
                    <a:lnTo>
                      <a:pt x="195" y="828"/>
                    </a:lnTo>
                    <a:lnTo>
                      <a:pt x="198" y="825"/>
                    </a:lnTo>
                    <a:lnTo>
                      <a:pt x="203" y="824"/>
                    </a:lnTo>
                    <a:lnTo>
                      <a:pt x="203" y="824"/>
                    </a:lnTo>
                    <a:lnTo>
                      <a:pt x="206" y="824"/>
                    </a:lnTo>
                    <a:lnTo>
                      <a:pt x="206" y="824"/>
                    </a:lnTo>
                    <a:lnTo>
                      <a:pt x="205" y="824"/>
                    </a:lnTo>
                    <a:lnTo>
                      <a:pt x="210" y="821"/>
                    </a:lnTo>
                    <a:lnTo>
                      <a:pt x="211" y="821"/>
                    </a:lnTo>
                    <a:lnTo>
                      <a:pt x="211" y="821"/>
                    </a:lnTo>
                    <a:lnTo>
                      <a:pt x="211" y="820"/>
                    </a:lnTo>
                    <a:lnTo>
                      <a:pt x="210" y="820"/>
                    </a:lnTo>
                    <a:lnTo>
                      <a:pt x="205" y="817"/>
                    </a:lnTo>
                    <a:lnTo>
                      <a:pt x="205" y="817"/>
                    </a:lnTo>
                    <a:lnTo>
                      <a:pt x="206" y="817"/>
                    </a:lnTo>
                    <a:lnTo>
                      <a:pt x="206" y="817"/>
                    </a:lnTo>
                    <a:lnTo>
                      <a:pt x="205" y="817"/>
                    </a:lnTo>
                    <a:lnTo>
                      <a:pt x="202" y="817"/>
                    </a:lnTo>
                    <a:lnTo>
                      <a:pt x="195" y="811"/>
                    </a:lnTo>
                    <a:lnTo>
                      <a:pt x="195" y="811"/>
                    </a:lnTo>
                    <a:lnTo>
                      <a:pt x="195" y="812"/>
                    </a:lnTo>
                    <a:lnTo>
                      <a:pt x="197" y="815"/>
                    </a:lnTo>
                    <a:lnTo>
                      <a:pt x="197" y="815"/>
                    </a:lnTo>
                    <a:lnTo>
                      <a:pt x="197" y="815"/>
                    </a:lnTo>
                    <a:lnTo>
                      <a:pt x="195" y="815"/>
                    </a:lnTo>
                    <a:lnTo>
                      <a:pt x="195" y="815"/>
                    </a:lnTo>
                    <a:lnTo>
                      <a:pt x="197" y="815"/>
                    </a:lnTo>
                    <a:lnTo>
                      <a:pt x="197" y="815"/>
                    </a:lnTo>
                    <a:lnTo>
                      <a:pt x="195" y="815"/>
                    </a:lnTo>
                    <a:lnTo>
                      <a:pt x="195" y="815"/>
                    </a:lnTo>
                    <a:lnTo>
                      <a:pt x="190" y="815"/>
                    </a:lnTo>
                    <a:lnTo>
                      <a:pt x="187" y="813"/>
                    </a:lnTo>
                    <a:lnTo>
                      <a:pt x="185" y="811"/>
                    </a:lnTo>
                    <a:lnTo>
                      <a:pt x="185" y="811"/>
                    </a:lnTo>
                    <a:lnTo>
                      <a:pt x="184" y="808"/>
                    </a:lnTo>
                    <a:lnTo>
                      <a:pt x="184" y="805"/>
                    </a:lnTo>
                    <a:lnTo>
                      <a:pt x="185" y="801"/>
                    </a:lnTo>
                    <a:lnTo>
                      <a:pt x="185" y="800"/>
                    </a:lnTo>
                    <a:lnTo>
                      <a:pt x="185" y="800"/>
                    </a:lnTo>
                    <a:lnTo>
                      <a:pt x="184" y="800"/>
                    </a:lnTo>
                    <a:lnTo>
                      <a:pt x="184" y="800"/>
                    </a:lnTo>
                    <a:lnTo>
                      <a:pt x="185" y="800"/>
                    </a:lnTo>
                    <a:lnTo>
                      <a:pt x="182" y="796"/>
                    </a:lnTo>
                    <a:lnTo>
                      <a:pt x="182" y="796"/>
                    </a:lnTo>
                    <a:lnTo>
                      <a:pt x="182" y="796"/>
                    </a:lnTo>
                    <a:lnTo>
                      <a:pt x="180" y="793"/>
                    </a:lnTo>
                    <a:lnTo>
                      <a:pt x="177" y="793"/>
                    </a:lnTo>
                    <a:lnTo>
                      <a:pt x="177" y="793"/>
                    </a:lnTo>
                    <a:lnTo>
                      <a:pt x="174" y="793"/>
                    </a:lnTo>
                    <a:lnTo>
                      <a:pt x="168" y="787"/>
                    </a:lnTo>
                    <a:lnTo>
                      <a:pt x="168" y="784"/>
                    </a:lnTo>
                    <a:lnTo>
                      <a:pt x="168" y="783"/>
                    </a:lnTo>
                    <a:lnTo>
                      <a:pt x="168" y="783"/>
                    </a:lnTo>
                    <a:lnTo>
                      <a:pt x="168" y="781"/>
                    </a:lnTo>
                    <a:lnTo>
                      <a:pt x="168" y="781"/>
                    </a:lnTo>
                    <a:lnTo>
                      <a:pt x="168" y="780"/>
                    </a:lnTo>
                    <a:lnTo>
                      <a:pt x="166" y="779"/>
                    </a:lnTo>
                    <a:lnTo>
                      <a:pt x="165" y="779"/>
                    </a:lnTo>
                    <a:lnTo>
                      <a:pt x="165" y="779"/>
                    </a:lnTo>
                    <a:lnTo>
                      <a:pt x="164" y="779"/>
                    </a:lnTo>
                    <a:lnTo>
                      <a:pt x="149" y="779"/>
                    </a:lnTo>
                    <a:lnTo>
                      <a:pt x="149" y="779"/>
                    </a:lnTo>
                    <a:lnTo>
                      <a:pt x="148" y="779"/>
                    </a:lnTo>
                    <a:lnTo>
                      <a:pt x="148" y="779"/>
                    </a:lnTo>
                    <a:lnTo>
                      <a:pt x="144" y="779"/>
                    </a:lnTo>
                    <a:lnTo>
                      <a:pt x="143" y="777"/>
                    </a:lnTo>
                    <a:lnTo>
                      <a:pt x="143" y="777"/>
                    </a:lnTo>
                    <a:lnTo>
                      <a:pt x="143" y="777"/>
                    </a:lnTo>
                    <a:lnTo>
                      <a:pt x="143" y="777"/>
                    </a:lnTo>
                    <a:lnTo>
                      <a:pt x="144" y="777"/>
                    </a:lnTo>
                    <a:lnTo>
                      <a:pt x="139" y="774"/>
                    </a:lnTo>
                    <a:lnTo>
                      <a:pt x="139" y="774"/>
                    </a:lnTo>
                    <a:lnTo>
                      <a:pt x="140" y="776"/>
                    </a:lnTo>
                    <a:lnTo>
                      <a:pt x="143" y="777"/>
                    </a:lnTo>
                    <a:lnTo>
                      <a:pt x="141" y="777"/>
                    </a:lnTo>
                    <a:lnTo>
                      <a:pt x="141" y="777"/>
                    </a:lnTo>
                    <a:lnTo>
                      <a:pt x="140" y="776"/>
                    </a:lnTo>
                    <a:lnTo>
                      <a:pt x="135" y="771"/>
                    </a:lnTo>
                    <a:lnTo>
                      <a:pt x="135" y="771"/>
                    </a:lnTo>
                    <a:lnTo>
                      <a:pt x="135" y="770"/>
                    </a:lnTo>
                    <a:lnTo>
                      <a:pt x="135" y="770"/>
                    </a:lnTo>
                    <a:lnTo>
                      <a:pt x="135" y="768"/>
                    </a:lnTo>
                    <a:lnTo>
                      <a:pt x="135" y="768"/>
                    </a:lnTo>
                    <a:lnTo>
                      <a:pt x="136" y="770"/>
                    </a:lnTo>
                    <a:lnTo>
                      <a:pt x="139" y="772"/>
                    </a:lnTo>
                    <a:lnTo>
                      <a:pt x="133" y="766"/>
                    </a:lnTo>
                    <a:lnTo>
                      <a:pt x="133" y="755"/>
                    </a:lnTo>
                    <a:lnTo>
                      <a:pt x="139" y="750"/>
                    </a:lnTo>
                    <a:lnTo>
                      <a:pt x="139" y="750"/>
                    </a:lnTo>
                    <a:lnTo>
                      <a:pt x="136" y="751"/>
                    </a:lnTo>
                    <a:lnTo>
                      <a:pt x="135" y="754"/>
                    </a:lnTo>
                    <a:lnTo>
                      <a:pt x="135" y="752"/>
                    </a:lnTo>
                    <a:lnTo>
                      <a:pt x="135" y="752"/>
                    </a:lnTo>
                    <a:lnTo>
                      <a:pt x="135" y="751"/>
                    </a:lnTo>
                    <a:lnTo>
                      <a:pt x="141" y="746"/>
                    </a:lnTo>
                    <a:lnTo>
                      <a:pt x="144" y="746"/>
                    </a:lnTo>
                    <a:lnTo>
                      <a:pt x="144" y="746"/>
                    </a:lnTo>
                    <a:lnTo>
                      <a:pt x="146" y="746"/>
                    </a:lnTo>
                    <a:lnTo>
                      <a:pt x="146" y="746"/>
                    </a:lnTo>
                    <a:lnTo>
                      <a:pt x="150" y="746"/>
                    </a:lnTo>
                    <a:lnTo>
                      <a:pt x="154" y="748"/>
                    </a:lnTo>
                    <a:lnTo>
                      <a:pt x="154" y="748"/>
                    </a:lnTo>
                    <a:lnTo>
                      <a:pt x="153" y="744"/>
                    </a:lnTo>
                    <a:lnTo>
                      <a:pt x="152" y="740"/>
                    </a:lnTo>
                    <a:lnTo>
                      <a:pt x="149" y="737"/>
                    </a:lnTo>
                    <a:lnTo>
                      <a:pt x="148" y="734"/>
                    </a:lnTo>
                    <a:lnTo>
                      <a:pt x="148" y="734"/>
                    </a:lnTo>
                    <a:lnTo>
                      <a:pt x="144" y="733"/>
                    </a:lnTo>
                    <a:lnTo>
                      <a:pt x="141" y="731"/>
                    </a:lnTo>
                    <a:lnTo>
                      <a:pt x="141" y="731"/>
                    </a:lnTo>
                    <a:lnTo>
                      <a:pt x="139" y="730"/>
                    </a:lnTo>
                    <a:lnTo>
                      <a:pt x="136" y="727"/>
                    </a:lnTo>
                    <a:lnTo>
                      <a:pt x="136" y="727"/>
                    </a:lnTo>
                    <a:lnTo>
                      <a:pt x="132" y="726"/>
                    </a:lnTo>
                    <a:lnTo>
                      <a:pt x="131" y="726"/>
                    </a:lnTo>
                    <a:lnTo>
                      <a:pt x="131" y="726"/>
                    </a:lnTo>
                    <a:lnTo>
                      <a:pt x="131" y="726"/>
                    </a:lnTo>
                    <a:lnTo>
                      <a:pt x="131" y="726"/>
                    </a:lnTo>
                    <a:lnTo>
                      <a:pt x="131" y="726"/>
                    </a:lnTo>
                    <a:lnTo>
                      <a:pt x="131" y="726"/>
                    </a:lnTo>
                    <a:lnTo>
                      <a:pt x="129" y="729"/>
                    </a:lnTo>
                    <a:lnTo>
                      <a:pt x="129" y="729"/>
                    </a:lnTo>
                    <a:lnTo>
                      <a:pt x="127" y="730"/>
                    </a:lnTo>
                    <a:lnTo>
                      <a:pt x="121" y="731"/>
                    </a:lnTo>
                    <a:lnTo>
                      <a:pt x="116" y="727"/>
                    </a:lnTo>
                    <a:lnTo>
                      <a:pt x="116" y="727"/>
                    </a:lnTo>
                    <a:lnTo>
                      <a:pt x="116" y="729"/>
                    </a:lnTo>
                    <a:lnTo>
                      <a:pt x="116" y="729"/>
                    </a:lnTo>
                    <a:lnTo>
                      <a:pt x="116" y="727"/>
                    </a:lnTo>
                    <a:lnTo>
                      <a:pt x="116" y="727"/>
                    </a:lnTo>
                    <a:lnTo>
                      <a:pt x="112" y="725"/>
                    </a:lnTo>
                    <a:lnTo>
                      <a:pt x="111" y="723"/>
                    </a:lnTo>
                    <a:lnTo>
                      <a:pt x="109" y="719"/>
                    </a:lnTo>
                    <a:lnTo>
                      <a:pt x="109" y="719"/>
                    </a:lnTo>
                    <a:lnTo>
                      <a:pt x="109" y="718"/>
                    </a:lnTo>
                    <a:lnTo>
                      <a:pt x="113" y="713"/>
                    </a:lnTo>
                    <a:lnTo>
                      <a:pt x="112" y="713"/>
                    </a:lnTo>
                    <a:lnTo>
                      <a:pt x="112" y="713"/>
                    </a:lnTo>
                    <a:lnTo>
                      <a:pt x="111" y="715"/>
                    </a:lnTo>
                    <a:lnTo>
                      <a:pt x="111" y="715"/>
                    </a:lnTo>
                    <a:lnTo>
                      <a:pt x="111" y="714"/>
                    </a:lnTo>
                    <a:lnTo>
                      <a:pt x="111" y="714"/>
                    </a:lnTo>
                    <a:lnTo>
                      <a:pt x="111" y="713"/>
                    </a:lnTo>
                    <a:lnTo>
                      <a:pt x="111" y="711"/>
                    </a:lnTo>
                    <a:lnTo>
                      <a:pt x="112" y="709"/>
                    </a:lnTo>
                    <a:lnTo>
                      <a:pt x="112" y="709"/>
                    </a:lnTo>
                    <a:lnTo>
                      <a:pt x="111" y="709"/>
                    </a:lnTo>
                    <a:lnTo>
                      <a:pt x="108" y="707"/>
                    </a:lnTo>
                    <a:lnTo>
                      <a:pt x="108" y="707"/>
                    </a:lnTo>
                    <a:lnTo>
                      <a:pt x="104" y="706"/>
                    </a:lnTo>
                    <a:lnTo>
                      <a:pt x="103" y="702"/>
                    </a:lnTo>
                    <a:lnTo>
                      <a:pt x="103" y="697"/>
                    </a:lnTo>
                    <a:lnTo>
                      <a:pt x="103" y="697"/>
                    </a:lnTo>
                    <a:lnTo>
                      <a:pt x="103" y="696"/>
                    </a:lnTo>
                    <a:lnTo>
                      <a:pt x="103" y="696"/>
                    </a:lnTo>
                    <a:lnTo>
                      <a:pt x="104" y="697"/>
                    </a:lnTo>
                    <a:lnTo>
                      <a:pt x="106" y="698"/>
                    </a:lnTo>
                    <a:lnTo>
                      <a:pt x="102" y="692"/>
                    </a:lnTo>
                    <a:lnTo>
                      <a:pt x="102" y="690"/>
                    </a:lnTo>
                    <a:lnTo>
                      <a:pt x="104" y="686"/>
                    </a:lnTo>
                    <a:lnTo>
                      <a:pt x="104" y="686"/>
                    </a:lnTo>
                    <a:lnTo>
                      <a:pt x="106" y="682"/>
                    </a:lnTo>
                    <a:lnTo>
                      <a:pt x="106" y="682"/>
                    </a:lnTo>
                    <a:lnTo>
                      <a:pt x="108" y="680"/>
                    </a:lnTo>
                    <a:lnTo>
                      <a:pt x="108" y="680"/>
                    </a:lnTo>
                    <a:lnTo>
                      <a:pt x="109" y="681"/>
                    </a:lnTo>
                    <a:lnTo>
                      <a:pt x="112" y="681"/>
                    </a:lnTo>
                    <a:lnTo>
                      <a:pt x="112" y="681"/>
                    </a:lnTo>
                    <a:lnTo>
                      <a:pt x="108" y="680"/>
                    </a:lnTo>
                    <a:lnTo>
                      <a:pt x="112" y="677"/>
                    </a:lnTo>
                    <a:lnTo>
                      <a:pt x="112" y="676"/>
                    </a:lnTo>
                    <a:lnTo>
                      <a:pt x="112" y="676"/>
                    </a:lnTo>
                    <a:lnTo>
                      <a:pt x="109" y="677"/>
                    </a:lnTo>
                    <a:lnTo>
                      <a:pt x="109" y="680"/>
                    </a:lnTo>
                    <a:lnTo>
                      <a:pt x="108" y="680"/>
                    </a:lnTo>
                    <a:lnTo>
                      <a:pt x="107" y="678"/>
                    </a:lnTo>
                    <a:lnTo>
                      <a:pt x="107" y="678"/>
                    </a:lnTo>
                    <a:lnTo>
                      <a:pt x="108" y="680"/>
                    </a:lnTo>
                    <a:lnTo>
                      <a:pt x="108" y="677"/>
                    </a:lnTo>
                    <a:lnTo>
                      <a:pt x="108" y="677"/>
                    </a:lnTo>
                    <a:lnTo>
                      <a:pt x="107" y="678"/>
                    </a:lnTo>
                    <a:lnTo>
                      <a:pt x="107" y="678"/>
                    </a:lnTo>
                    <a:lnTo>
                      <a:pt x="107" y="678"/>
                    </a:lnTo>
                    <a:lnTo>
                      <a:pt x="107" y="678"/>
                    </a:lnTo>
                    <a:lnTo>
                      <a:pt x="107" y="678"/>
                    </a:lnTo>
                    <a:lnTo>
                      <a:pt x="107" y="678"/>
                    </a:lnTo>
                    <a:lnTo>
                      <a:pt x="107" y="678"/>
                    </a:lnTo>
                    <a:lnTo>
                      <a:pt x="102" y="674"/>
                    </a:lnTo>
                    <a:lnTo>
                      <a:pt x="102" y="674"/>
                    </a:lnTo>
                    <a:lnTo>
                      <a:pt x="103" y="677"/>
                    </a:lnTo>
                    <a:lnTo>
                      <a:pt x="106" y="678"/>
                    </a:lnTo>
                    <a:lnTo>
                      <a:pt x="106" y="678"/>
                    </a:lnTo>
                    <a:lnTo>
                      <a:pt x="102" y="677"/>
                    </a:lnTo>
                    <a:lnTo>
                      <a:pt x="99" y="674"/>
                    </a:lnTo>
                    <a:lnTo>
                      <a:pt x="98" y="670"/>
                    </a:lnTo>
                    <a:lnTo>
                      <a:pt x="98" y="669"/>
                    </a:lnTo>
                    <a:lnTo>
                      <a:pt x="98" y="669"/>
                    </a:lnTo>
                    <a:lnTo>
                      <a:pt x="100" y="665"/>
                    </a:lnTo>
                    <a:lnTo>
                      <a:pt x="100" y="665"/>
                    </a:lnTo>
                    <a:lnTo>
                      <a:pt x="99" y="668"/>
                    </a:lnTo>
                    <a:lnTo>
                      <a:pt x="103" y="662"/>
                    </a:lnTo>
                    <a:lnTo>
                      <a:pt x="103" y="662"/>
                    </a:lnTo>
                    <a:lnTo>
                      <a:pt x="102" y="664"/>
                    </a:lnTo>
                    <a:lnTo>
                      <a:pt x="102" y="664"/>
                    </a:lnTo>
                    <a:lnTo>
                      <a:pt x="102" y="662"/>
                    </a:lnTo>
                    <a:lnTo>
                      <a:pt x="102" y="662"/>
                    </a:lnTo>
                    <a:lnTo>
                      <a:pt x="102" y="661"/>
                    </a:lnTo>
                    <a:lnTo>
                      <a:pt x="102" y="661"/>
                    </a:lnTo>
                    <a:lnTo>
                      <a:pt x="102" y="660"/>
                    </a:lnTo>
                    <a:lnTo>
                      <a:pt x="100" y="658"/>
                    </a:lnTo>
                    <a:lnTo>
                      <a:pt x="100" y="658"/>
                    </a:lnTo>
                    <a:lnTo>
                      <a:pt x="99" y="657"/>
                    </a:lnTo>
                    <a:lnTo>
                      <a:pt x="99" y="657"/>
                    </a:lnTo>
                    <a:lnTo>
                      <a:pt x="96" y="656"/>
                    </a:lnTo>
                    <a:lnTo>
                      <a:pt x="95" y="656"/>
                    </a:lnTo>
                    <a:lnTo>
                      <a:pt x="95" y="656"/>
                    </a:lnTo>
                    <a:lnTo>
                      <a:pt x="94" y="652"/>
                    </a:lnTo>
                    <a:lnTo>
                      <a:pt x="92" y="647"/>
                    </a:lnTo>
                    <a:lnTo>
                      <a:pt x="95" y="643"/>
                    </a:lnTo>
                    <a:lnTo>
                      <a:pt x="95" y="643"/>
                    </a:lnTo>
                    <a:lnTo>
                      <a:pt x="99" y="637"/>
                    </a:lnTo>
                    <a:lnTo>
                      <a:pt x="99" y="637"/>
                    </a:lnTo>
                    <a:lnTo>
                      <a:pt x="96" y="637"/>
                    </a:lnTo>
                    <a:lnTo>
                      <a:pt x="96" y="637"/>
                    </a:lnTo>
                    <a:lnTo>
                      <a:pt x="87" y="632"/>
                    </a:lnTo>
                    <a:lnTo>
                      <a:pt x="79" y="627"/>
                    </a:lnTo>
                    <a:lnTo>
                      <a:pt x="72" y="619"/>
                    </a:lnTo>
                    <a:lnTo>
                      <a:pt x="67" y="612"/>
                    </a:lnTo>
                    <a:lnTo>
                      <a:pt x="67" y="612"/>
                    </a:lnTo>
                    <a:lnTo>
                      <a:pt x="61" y="604"/>
                    </a:lnTo>
                    <a:lnTo>
                      <a:pt x="53" y="596"/>
                    </a:lnTo>
                    <a:lnTo>
                      <a:pt x="51" y="592"/>
                    </a:lnTo>
                    <a:lnTo>
                      <a:pt x="51" y="591"/>
                    </a:lnTo>
                    <a:lnTo>
                      <a:pt x="54" y="586"/>
                    </a:lnTo>
                    <a:lnTo>
                      <a:pt x="54" y="586"/>
                    </a:lnTo>
                    <a:lnTo>
                      <a:pt x="55" y="584"/>
                    </a:lnTo>
                    <a:lnTo>
                      <a:pt x="57" y="582"/>
                    </a:lnTo>
                    <a:lnTo>
                      <a:pt x="57" y="579"/>
                    </a:lnTo>
                    <a:lnTo>
                      <a:pt x="57" y="579"/>
                    </a:lnTo>
                    <a:lnTo>
                      <a:pt x="55" y="578"/>
                    </a:lnTo>
                    <a:lnTo>
                      <a:pt x="55" y="578"/>
                    </a:lnTo>
                    <a:lnTo>
                      <a:pt x="57" y="578"/>
                    </a:lnTo>
                    <a:lnTo>
                      <a:pt x="54" y="575"/>
                    </a:lnTo>
                    <a:lnTo>
                      <a:pt x="54" y="575"/>
                    </a:lnTo>
                    <a:lnTo>
                      <a:pt x="54" y="575"/>
                    </a:lnTo>
                    <a:lnTo>
                      <a:pt x="51" y="571"/>
                    </a:lnTo>
                    <a:lnTo>
                      <a:pt x="51" y="571"/>
                    </a:lnTo>
                    <a:lnTo>
                      <a:pt x="50" y="569"/>
                    </a:lnTo>
                    <a:lnTo>
                      <a:pt x="49" y="567"/>
                    </a:lnTo>
                    <a:lnTo>
                      <a:pt x="49" y="567"/>
                    </a:lnTo>
                    <a:lnTo>
                      <a:pt x="46" y="565"/>
                    </a:lnTo>
                    <a:lnTo>
                      <a:pt x="46" y="559"/>
                    </a:lnTo>
                    <a:lnTo>
                      <a:pt x="46" y="559"/>
                    </a:lnTo>
                    <a:lnTo>
                      <a:pt x="46" y="557"/>
                    </a:lnTo>
                    <a:lnTo>
                      <a:pt x="46" y="557"/>
                    </a:lnTo>
                    <a:lnTo>
                      <a:pt x="46" y="557"/>
                    </a:lnTo>
                    <a:lnTo>
                      <a:pt x="46" y="557"/>
                    </a:lnTo>
                    <a:lnTo>
                      <a:pt x="47" y="559"/>
                    </a:lnTo>
                    <a:lnTo>
                      <a:pt x="49" y="559"/>
                    </a:lnTo>
                    <a:lnTo>
                      <a:pt x="45" y="554"/>
                    </a:lnTo>
                    <a:lnTo>
                      <a:pt x="45" y="553"/>
                    </a:lnTo>
                    <a:lnTo>
                      <a:pt x="45" y="553"/>
                    </a:lnTo>
                    <a:lnTo>
                      <a:pt x="45" y="550"/>
                    </a:lnTo>
                    <a:lnTo>
                      <a:pt x="45" y="550"/>
                    </a:lnTo>
                    <a:lnTo>
                      <a:pt x="45" y="550"/>
                    </a:lnTo>
                    <a:lnTo>
                      <a:pt x="45" y="550"/>
                    </a:lnTo>
                    <a:lnTo>
                      <a:pt x="46" y="551"/>
                    </a:lnTo>
                    <a:lnTo>
                      <a:pt x="49" y="554"/>
                    </a:lnTo>
                    <a:lnTo>
                      <a:pt x="43" y="546"/>
                    </a:lnTo>
                    <a:lnTo>
                      <a:pt x="43" y="546"/>
                    </a:lnTo>
                    <a:lnTo>
                      <a:pt x="43" y="546"/>
                    </a:lnTo>
                    <a:lnTo>
                      <a:pt x="42" y="545"/>
                    </a:lnTo>
                    <a:lnTo>
                      <a:pt x="42" y="541"/>
                    </a:lnTo>
                    <a:lnTo>
                      <a:pt x="42" y="541"/>
                    </a:lnTo>
                    <a:lnTo>
                      <a:pt x="41" y="537"/>
                    </a:lnTo>
                    <a:lnTo>
                      <a:pt x="38" y="534"/>
                    </a:lnTo>
                    <a:lnTo>
                      <a:pt x="38" y="533"/>
                    </a:lnTo>
                    <a:lnTo>
                      <a:pt x="38" y="533"/>
                    </a:lnTo>
                    <a:lnTo>
                      <a:pt x="37" y="530"/>
                    </a:lnTo>
                    <a:lnTo>
                      <a:pt x="35" y="526"/>
                    </a:lnTo>
                    <a:lnTo>
                      <a:pt x="35" y="526"/>
                    </a:lnTo>
                    <a:lnTo>
                      <a:pt x="35" y="526"/>
                    </a:lnTo>
                    <a:lnTo>
                      <a:pt x="35" y="526"/>
                    </a:lnTo>
                    <a:lnTo>
                      <a:pt x="34" y="526"/>
                    </a:lnTo>
                    <a:lnTo>
                      <a:pt x="34" y="526"/>
                    </a:lnTo>
                    <a:lnTo>
                      <a:pt x="35" y="526"/>
                    </a:lnTo>
                    <a:lnTo>
                      <a:pt x="35" y="526"/>
                    </a:lnTo>
                    <a:lnTo>
                      <a:pt x="35" y="526"/>
                    </a:lnTo>
                    <a:lnTo>
                      <a:pt x="33" y="528"/>
                    </a:lnTo>
                    <a:lnTo>
                      <a:pt x="6" y="528"/>
                    </a:lnTo>
                    <a:lnTo>
                      <a:pt x="0" y="521"/>
                    </a:lnTo>
                    <a:lnTo>
                      <a:pt x="0" y="521"/>
                    </a:lnTo>
                    <a:lnTo>
                      <a:pt x="1" y="516"/>
                    </a:lnTo>
                    <a:lnTo>
                      <a:pt x="4" y="512"/>
                    </a:lnTo>
                    <a:lnTo>
                      <a:pt x="10" y="506"/>
                    </a:lnTo>
                    <a:lnTo>
                      <a:pt x="10" y="506"/>
                    </a:lnTo>
                    <a:lnTo>
                      <a:pt x="14" y="505"/>
                    </a:lnTo>
                    <a:lnTo>
                      <a:pt x="16" y="502"/>
                    </a:lnTo>
                    <a:lnTo>
                      <a:pt x="16" y="502"/>
                    </a:lnTo>
                    <a:lnTo>
                      <a:pt x="21" y="497"/>
                    </a:lnTo>
                    <a:lnTo>
                      <a:pt x="21" y="497"/>
                    </a:lnTo>
                    <a:lnTo>
                      <a:pt x="18" y="499"/>
                    </a:lnTo>
                    <a:lnTo>
                      <a:pt x="17" y="500"/>
                    </a:lnTo>
                    <a:lnTo>
                      <a:pt x="17" y="500"/>
                    </a:lnTo>
                    <a:lnTo>
                      <a:pt x="17" y="499"/>
                    </a:lnTo>
                    <a:lnTo>
                      <a:pt x="17" y="499"/>
                    </a:lnTo>
                    <a:lnTo>
                      <a:pt x="17" y="496"/>
                    </a:lnTo>
                    <a:lnTo>
                      <a:pt x="17" y="492"/>
                    </a:lnTo>
                    <a:lnTo>
                      <a:pt x="22" y="488"/>
                    </a:lnTo>
                    <a:lnTo>
                      <a:pt x="24" y="488"/>
                    </a:lnTo>
                    <a:lnTo>
                      <a:pt x="24" y="488"/>
                    </a:lnTo>
                    <a:lnTo>
                      <a:pt x="25" y="488"/>
                    </a:lnTo>
                    <a:lnTo>
                      <a:pt x="25" y="488"/>
                    </a:lnTo>
                    <a:lnTo>
                      <a:pt x="24" y="489"/>
                    </a:lnTo>
                    <a:lnTo>
                      <a:pt x="22" y="492"/>
                    </a:lnTo>
                    <a:lnTo>
                      <a:pt x="27" y="487"/>
                    </a:lnTo>
                    <a:lnTo>
                      <a:pt x="31" y="487"/>
                    </a:lnTo>
                    <a:lnTo>
                      <a:pt x="31" y="487"/>
                    </a:lnTo>
                    <a:lnTo>
                      <a:pt x="34" y="487"/>
                    </a:lnTo>
                    <a:lnTo>
                      <a:pt x="34" y="487"/>
                    </a:lnTo>
                    <a:lnTo>
                      <a:pt x="37" y="487"/>
                    </a:lnTo>
                    <a:lnTo>
                      <a:pt x="37" y="487"/>
                    </a:lnTo>
                    <a:lnTo>
                      <a:pt x="39" y="487"/>
                    </a:lnTo>
                    <a:lnTo>
                      <a:pt x="39" y="487"/>
                    </a:lnTo>
                    <a:lnTo>
                      <a:pt x="37" y="485"/>
                    </a:lnTo>
                    <a:lnTo>
                      <a:pt x="33" y="485"/>
                    </a:lnTo>
                    <a:lnTo>
                      <a:pt x="33" y="485"/>
                    </a:lnTo>
                    <a:lnTo>
                      <a:pt x="31" y="485"/>
                    </a:lnTo>
                    <a:lnTo>
                      <a:pt x="29" y="487"/>
                    </a:lnTo>
                    <a:lnTo>
                      <a:pt x="27" y="487"/>
                    </a:lnTo>
                    <a:lnTo>
                      <a:pt x="27" y="487"/>
                    </a:lnTo>
                    <a:lnTo>
                      <a:pt x="26" y="487"/>
                    </a:lnTo>
                    <a:lnTo>
                      <a:pt x="26" y="487"/>
                    </a:lnTo>
                    <a:lnTo>
                      <a:pt x="22" y="485"/>
                    </a:lnTo>
                    <a:lnTo>
                      <a:pt x="20" y="484"/>
                    </a:lnTo>
                    <a:lnTo>
                      <a:pt x="18" y="480"/>
                    </a:lnTo>
                    <a:lnTo>
                      <a:pt x="18" y="479"/>
                    </a:lnTo>
                    <a:lnTo>
                      <a:pt x="18" y="475"/>
                    </a:lnTo>
                    <a:lnTo>
                      <a:pt x="21" y="469"/>
                    </a:lnTo>
                    <a:lnTo>
                      <a:pt x="21" y="469"/>
                    </a:lnTo>
                    <a:lnTo>
                      <a:pt x="20" y="472"/>
                    </a:lnTo>
                    <a:lnTo>
                      <a:pt x="20" y="472"/>
                    </a:lnTo>
                    <a:lnTo>
                      <a:pt x="20" y="468"/>
                    </a:lnTo>
                    <a:lnTo>
                      <a:pt x="20" y="468"/>
                    </a:lnTo>
                    <a:lnTo>
                      <a:pt x="20" y="462"/>
                    </a:lnTo>
                    <a:lnTo>
                      <a:pt x="20" y="460"/>
                    </a:lnTo>
                    <a:lnTo>
                      <a:pt x="20" y="456"/>
                    </a:lnTo>
                    <a:lnTo>
                      <a:pt x="20" y="456"/>
                    </a:lnTo>
                    <a:lnTo>
                      <a:pt x="22" y="454"/>
                    </a:lnTo>
                    <a:lnTo>
                      <a:pt x="25" y="452"/>
                    </a:lnTo>
                    <a:lnTo>
                      <a:pt x="25" y="452"/>
                    </a:lnTo>
                    <a:lnTo>
                      <a:pt x="26" y="451"/>
                    </a:lnTo>
                    <a:lnTo>
                      <a:pt x="30" y="447"/>
                    </a:lnTo>
                    <a:lnTo>
                      <a:pt x="30" y="447"/>
                    </a:lnTo>
                    <a:lnTo>
                      <a:pt x="29" y="448"/>
                    </a:lnTo>
                    <a:lnTo>
                      <a:pt x="29" y="448"/>
                    </a:lnTo>
                    <a:lnTo>
                      <a:pt x="31" y="446"/>
                    </a:lnTo>
                    <a:lnTo>
                      <a:pt x="33" y="444"/>
                    </a:lnTo>
                    <a:lnTo>
                      <a:pt x="37" y="444"/>
                    </a:lnTo>
                    <a:lnTo>
                      <a:pt x="37" y="444"/>
                    </a:lnTo>
                    <a:lnTo>
                      <a:pt x="37" y="443"/>
                    </a:lnTo>
                    <a:lnTo>
                      <a:pt x="37" y="443"/>
                    </a:lnTo>
                    <a:lnTo>
                      <a:pt x="38" y="443"/>
                    </a:lnTo>
                    <a:lnTo>
                      <a:pt x="42" y="440"/>
                    </a:lnTo>
                    <a:lnTo>
                      <a:pt x="42" y="440"/>
                    </a:lnTo>
                    <a:lnTo>
                      <a:pt x="46" y="439"/>
                    </a:lnTo>
                    <a:lnTo>
                      <a:pt x="46" y="439"/>
                    </a:lnTo>
                    <a:lnTo>
                      <a:pt x="50" y="438"/>
                    </a:lnTo>
                    <a:lnTo>
                      <a:pt x="55" y="438"/>
                    </a:lnTo>
                    <a:lnTo>
                      <a:pt x="55" y="438"/>
                    </a:lnTo>
                    <a:lnTo>
                      <a:pt x="58" y="438"/>
                    </a:lnTo>
                    <a:lnTo>
                      <a:pt x="58" y="438"/>
                    </a:lnTo>
                    <a:lnTo>
                      <a:pt x="55" y="439"/>
                    </a:lnTo>
                    <a:lnTo>
                      <a:pt x="55" y="440"/>
                    </a:lnTo>
                    <a:lnTo>
                      <a:pt x="61" y="436"/>
                    </a:lnTo>
                    <a:lnTo>
                      <a:pt x="61" y="436"/>
                    </a:lnTo>
                    <a:lnTo>
                      <a:pt x="63" y="436"/>
                    </a:lnTo>
                    <a:lnTo>
                      <a:pt x="63" y="436"/>
                    </a:lnTo>
                    <a:lnTo>
                      <a:pt x="65" y="436"/>
                    </a:lnTo>
                    <a:lnTo>
                      <a:pt x="65" y="436"/>
                    </a:lnTo>
                    <a:lnTo>
                      <a:pt x="63" y="438"/>
                    </a:lnTo>
                    <a:lnTo>
                      <a:pt x="61" y="440"/>
                    </a:lnTo>
                    <a:lnTo>
                      <a:pt x="67" y="435"/>
                    </a:lnTo>
                    <a:lnTo>
                      <a:pt x="68" y="435"/>
                    </a:lnTo>
                    <a:lnTo>
                      <a:pt x="68" y="435"/>
                    </a:lnTo>
                    <a:lnTo>
                      <a:pt x="72" y="434"/>
                    </a:lnTo>
                    <a:lnTo>
                      <a:pt x="76" y="430"/>
                    </a:lnTo>
                    <a:lnTo>
                      <a:pt x="80" y="427"/>
                    </a:lnTo>
                    <a:lnTo>
                      <a:pt x="82" y="427"/>
                    </a:lnTo>
                    <a:lnTo>
                      <a:pt x="82" y="427"/>
                    </a:lnTo>
                    <a:lnTo>
                      <a:pt x="83" y="427"/>
                    </a:lnTo>
                    <a:lnTo>
                      <a:pt x="83" y="427"/>
                    </a:lnTo>
                    <a:lnTo>
                      <a:pt x="88" y="428"/>
                    </a:lnTo>
                    <a:lnTo>
                      <a:pt x="91" y="430"/>
                    </a:lnTo>
                    <a:lnTo>
                      <a:pt x="91" y="430"/>
                    </a:lnTo>
                    <a:lnTo>
                      <a:pt x="91" y="430"/>
                    </a:lnTo>
                    <a:lnTo>
                      <a:pt x="91" y="430"/>
                    </a:lnTo>
                    <a:lnTo>
                      <a:pt x="96" y="434"/>
                    </a:lnTo>
                    <a:lnTo>
                      <a:pt x="96" y="434"/>
                    </a:lnTo>
                    <a:lnTo>
                      <a:pt x="96" y="434"/>
                    </a:lnTo>
                    <a:lnTo>
                      <a:pt x="96" y="434"/>
                    </a:lnTo>
                    <a:lnTo>
                      <a:pt x="96" y="432"/>
                    </a:lnTo>
                    <a:lnTo>
                      <a:pt x="96" y="432"/>
                    </a:lnTo>
                    <a:lnTo>
                      <a:pt x="96" y="432"/>
                    </a:lnTo>
                    <a:lnTo>
                      <a:pt x="96" y="432"/>
                    </a:lnTo>
                    <a:lnTo>
                      <a:pt x="100" y="435"/>
                    </a:lnTo>
                    <a:lnTo>
                      <a:pt x="100" y="435"/>
                    </a:lnTo>
                    <a:lnTo>
                      <a:pt x="103" y="438"/>
                    </a:lnTo>
                    <a:lnTo>
                      <a:pt x="103" y="438"/>
                    </a:lnTo>
                    <a:lnTo>
                      <a:pt x="103" y="438"/>
                    </a:lnTo>
                    <a:lnTo>
                      <a:pt x="103" y="438"/>
                    </a:lnTo>
                    <a:lnTo>
                      <a:pt x="106" y="438"/>
                    </a:lnTo>
                    <a:lnTo>
                      <a:pt x="106" y="438"/>
                    </a:lnTo>
                    <a:lnTo>
                      <a:pt x="112" y="442"/>
                    </a:lnTo>
                    <a:lnTo>
                      <a:pt x="112" y="440"/>
                    </a:lnTo>
                    <a:lnTo>
                      <a:pt x="112" y="440"/>
                    </a:lnTo>
                    <a:lnTo>
                      <a:pt x="109" y="439"/>
                    </a:lnTo>
                    <a:lnTo>
                      <a:pt x="111" y="439"/>
                    </a:lnTo>
                    <a:lnTo>
                      <a:pt x="111" y="439"/>
                    </a:lnTo>
                    <a:lnTo>
                      <a:pt x="112" y="439"/>
                    </a:lnTo>
                    <a:lnTo>
                      <a:pt x="112" y="439"/>
                    </a:lnTo>
                    <a:lnTo>
                      <a:pt x="116" y="439"/>
                    </a:lnTo>
                    <a:lnTo>
                      <a:pt x="116" y="439"/>
                    </a:lnTo>
                    <a:lnTo>
                      <a:pt x="117" y="440"/>
                    </a:lnTo>
                    <a:lnTo>
                      <a:pt x="117" y="440"/>
                    </a:lnTo>
                    <a:lnTo>
                      <a:pt x="120" y="439"/>
                    </a:lnTo>
                    <a:lnTo>
                      <a:pt x="121" y="436"/>
                    </a:lnTo>
                    <a:lnTo>
                      <a:pt x="121" y="436"/>
                    </a:lnTo>
                    <a:lnTo>
                      <a:pt x="124" y="434"/>
                    </a:lnTo>
                    <a:lnTo>
                      <a:pt x="127" y="432"/>
                    </a:lnTo>
                    <a:lnTo>
                      <a:pt x="127" y="432"/>
                    </a:lnTo>
                    <a:lnTo>
                      <a:pt x="125" y="434"/>
                    </a:lnTo>
                    <a:lnTo>
                      <a:pt x="131" y="430"/>
                    </a:lnTo>
                    <a:lnTo>
                      <a:pt x="131" y="430"/>
                    </a:lnTo>
                    <a:lnTo>
                      <a:pt x="132" y="430"/>
                    </a:lnTo>
                    <a:lnTo>
                      <a:pt x="132" y="430"/>
                    </a:lnTo>
                    <a:lnTo>
                      <a:pt x="135" y="428"/>
                    </a:lnTo>
                    <a:lnTo>
                      <a:pt x="135" y="428"/>
                    </a:lnTo>
                    <a:lnTo>
                      <a:pt x="139" y="427"/>
                    </a:lnTo>
                    <a:lnTo>
                      <a:pt x="143" y="427"/>
                    </a:lnTo>
                    <a:lnTo>
                      <a:pt x="143" y="427"/>
                    </a:lnTo>
                    <a:lnTo>
                      <a:pt x="145" y="427"/>
                    </a:lnTo>
                    <a:lnTo>
                      <a:pt x="152" y="427"/>
                    </a:lnTo>
                    <a:lnTo>
                      <a:pt x="153" y="427"/>
                    </a:lnTo>
                    <a:lnTo>
                      <a:pt x="153" y="427"/>
                    </a:lnTo>
                    <a:lnTo>
                      <a:pt x="164" y="428"/>
                    </a:lnTo>
                    <a:lnTo>
                      <a:pt x="173" y="431"/>
                    </a:lnTo>
                    <a:lnTo>
                      <a:pt x="176" y="432"/>
                    </a:lnTo>
                    <a:lnTo>
                      <a:pt x="177" y="434"/>
                    </a:lnTo>
                    <a:lnTo>
                      <a:pt x="178" y="434"/>
                    </a:lnTo>
                    <a:lnTo>
                      <a:pt x="178" y="434"/>
                    </a:lnTo>
                    <a:lnTo>
                      <a:pt x="180" y="434"/>
                    </a:lnTo>
                    <a:lnTo>
                      <a:pt x="182" y="434"/>
                    </a:lnTo>
                    <a:lnTo>
                      <a:pt x="182" y="434"/>
                    </a:lnTo>
                    <a:lnTo>
                      <a:pt x="182" y="434"/>
                    </a:lnTo>
                    <a:lnTo>
                      <a:pt x="187" y="431"/>
                    </a:lnTo>
                    <a:lnTo>
                      <a:pt x="191" y="428"/>
                    </a:lnTo>
                    <a:lnTo>
                      <a:pt x="193" y="427"/>
                    </a:lnTo>
                    <a:lnTo>
                      <a:pt x="193" y="427"/>
                    </a:lnTo>
                    <a:lnTo>
                      <a:pt x="195" y="426"/>
                    </a:lnTo>
                    <a:lnTo>
                      <a:pt x="201" y="424"/>
                    </a:lnTo>
                    <a:lnTo>
                      <a:pt x="206" y="427"/>
                    </a:lnTo>
                    <a:lnTo>
                      <a:pt x="206" y="427"/>
                    </a:lnTo>
                    <a:lnTo>
                      <a:pt x="206" y="430"/>
                    </a:lnTo>
                    <a:lnTo>
                      <a:pt x="207" y="432"/>
                    </a:lnTo>
                    <a:lnTo>
                      <a:pt x="207" y="432"/>
                    </a:lnTo>
                    <a:lnTo>
                      <a:pt x="207" y="432"/>
                    </a:lnTo>
                    <a:lnTo>
                      <a:pt x="207" y="432"/>
                    </a:lnTo>
                    <a:lnTo>
                      <a:pt x="207" y="432"/>
                    </a:lnTo>
                    <a:lnTo>
                      <a:pt x="211" y="431"/>
                    </a:lnTo>
                    <a:lnTo>
                      <a:pt x="217" y="430"/>
                    </a:lnTo>
                    <a:lnTo>
                      <a:pt x="217" y="430"/>
                    </a:lnTo>
                    <a:lnTo>
                      <a:pt x="217" y="430"/>
                    </a:lnTo>
                    <a:lnTo>
                      <a:pt x="221" y="428"/>
                    </a:lnTo>
                    <a:lnTo>
                      <a:pt x="221" y="427"/>
                    </a:lnTo>
                    <a:lnTo>
                      <a:pt x="221" y="427"/>
                    </a:lnTo>
                    <a:lnTo>
                      <a:pt x="221" y="426"/>
                    </a:lnTo>
                    <a:lnTo>
                      <a:pt x="221" y="426"/>
                    </a:lnTo>
                    <a:lnTo>
                      <a:pt x="222" y="426"/>
                    </a:lnTo>
                    <a:lnTo>
                      <a:pt x="219" y="422"/>
                    </a:lnTo>
                    <a:lnTo>
                      <a:pt x="219" y="422"/>
                    </a:lnTo>
                    <a:lnTo>
                      <a:pt x="219" y="423"/>
                    </a:lnTo>
                    <a:lnTo>
                      <a:pt x="219" y="423"/>
                    </a:lnTo>
                    <a:lnTo>
                      <a:pt x="218" y="422"/>
                    </a:lnTo>
                    <a:lnTo>
                      <a:pt x="217" y="418"/>
                    </a:lnTo>
                    <a:lnTo>
                      <a:pt x="217" y="414"/>
                    </a:lnTo>
                    <a:lnTo>
                      <a:pt x="221" y="410"/>
                    </a:lnTo>
                    <a:lnTo>
                      <a:pt x="219" y="410"/>
                    </a:lnTo>
                    <a:lnTo>
                      <a:pt x="219" y="410"/>
                    </a:lnTo>
                    <a:lnTo>
                      <a:pt x="218" y="411"/>
                    </a:lnTo>
                    <a:lnTo>
                      <a:pt x="218" y="411"/>
                    </a:lnTo>
                    <a:lnTo>
                      <a:pt x="218" y="411"/>
                    </a:lnTo>
                    <a:lnTo>
                      <a:pt x="218" y="411"/>
                    </a:lnTo>
                    <a:lnTo>
                      <a:pt x="218" y="410"/>
                    </a:lnTo>
                    <a:lnTo>
                      <a:pt x="218" y="410"/>
                    </a:lnTo>
                    <a:lnTo>
                      <a:pt x="219" y="406"/>
                    </a:lnTo>
                    <a:lnTo>
                      <a:pt x="219" y="403"/>
                    </a:lnTo>
                    <a:lnTo>
                      <a:pt x="217" y="402"/>
                    </a:lnTo>
                    <a:lnTo>
                      <a:pt x="217" y="402"/>
                    </a:lnTo>
                    <a:lnTo>
                      <a:pt x="217" y="402"/>
                    </a:lnTo>
                    <a:lnTo>
                      <a:pt x="217" y="402"/>
                    </a:lnTo>
                    <a:lnTo>
                      <a:pt x="214" y="401"/>
                    </a:lnTo>
                    <a:lnTo>
                      <a:pt x="214" y="401"/>
                    </a:lnTo>
                    <a:lnTo>
                      <a:pt x="211" y="401"/>
                    </a:lnTo>
                    <a:lnTo>
                      <a:pt x="211" y="401"/>
                    </a:lnTo>
                    <a:lnTo>
                      <a:pt x="209" y="401"/>
                    </a:lnTo>
                    <a:lnTo>
                      <a:pt x="206" y="399"/>
                    </a:lnTo>
                    <a:lnTo>
                      <a:pt x="205" y="399"/>
                    </a:lnTo>
                    <a:lnTo>
                      <a:pt x="205" y="399"/>
                    </a:lnTo>
                    <a:lnTo>
                      <a:pt x="199" y="397"/>
                    </a:lnTo>
                    <a:lnTo>
                      <a:pt x="194" y="395"/>
                    </a:lnTo>
                    <a:lnTo>
                      <a:pt x="194" y="395"/>
                    </a:lnTo>
                    <a:lnTo>
                      <a:pt x="189" y="394"/>
                    </a:lnTo>
                    <a:lnTo>
                      <a:pt x="189" y="394"/>
                    </a:lnTo>
                    <a:lnTo>
                      <a:pt x="185" y="393"/>
                    </a:lnTo>
                    <a:lnTo>
                      <a:pt x="181" y="391"/>
                    </a:lnTo>
                    <a:lnTo>
                      <a:pt x="181" y="391"/>
                    </a:lnTo>
                    <a:lnTo>
                      <a:pt x="180" y="390"/>
                    </a:lnTo>
                    <a:lnTo>
                      <a:pt x="178" y="390"/>
                    </a:lnTo>
                    <a:lnTo>
                      <a:pt x="178" y="390"/>
                    </a:lnTo>
                    <a:lnTo>
                      <a:pt x="168" y="384"/>
                    </a:lnTo>
                    <a:lnTo>
                      <a:pt x="158" y="376"/>
                    </a:lnTo>
                    <a:lnTo>
                      <a:pt x="154" y="372"/>
                    </a:lnTo>
                    <a:lnTo>
                      <a:pt x="153" y="368"/>
                    </a:lnTo>
                    <a:lnTo>
                      <a:pt x="153" y="364"/>
                    </a:lnTo>
                    <a:lnTo>
                      <a:pt x="154" y="358"/>
                    </a:lnTo>
                    <a:lnTo>
                      <a:pt x="154" y="358"/>
                    </a:lnTo>
                    <a:lnTo>
                      <a:pt x="156" y="356"/>
                    </a:lnTo>
                    <a:lnTo>
                      <a:pt x="156" y="354"/>
                    </a:lnTo>
                    <a:lnTo>
                      <a:pt x="158" y="350"/>
                    </a:lnTo>
                    <a:lnTo>
                      <a:pt x="158" y="350"/>
                    </a:lnTo>
                    <a:lnTo>
                      <a:pt x="160" y="346"/>
                    </a:lnTo>
                    <a:lnTo>
                      <a:pt x="160" y="345"/>
                    </a:lnTo>
                    <a:lnTo>
                      <a:pt x="161" y="343"/>
                    </a:lnTo>
                    <a:lnTo>
                      <a:pt x="161" y="343"/>
                    </a:lnTo>
                    <a:lnTo>
                      <a:pt x="165" y="337"/>
                    </a:lnTo>
                    <a:lnTo>
                      <a:pt x="169" y="332"/>
                    </a:lnTo>
                    <a:lnTo>
                      <a:pt x="169" y="332"/>
                    </a:lnTo>
                    <a:lnTo>
                      <a:pt x="174" y="324"/>
                    </a:lnTo>
                    <a:lnTo>
                      <a:pt x="174" y="324"/>
                    </a:lnTo>
                    <a:lnTo>
                      <a:pt x="173" y="323"/>
                    </a:lnTo>
                    <a:lnTo>
                      <a:pt x="172" y="320"/>
                    </a:lnTo>
                    <a:lnTo>
                      <a:pt x="169" y="315"/>
                    </a:lnTo>
                    <a:lnTo>
                      <a:pt x="169" y="315"/>
                    </a:lnTo>
                    <a:lnTo>
                      <a:pt x="169" y="315"/>
                    </a:lnTo>
                    <a:lnTo>
                      <a:pt x="169" y="315"/>
                    </a:lnTo>
                    <a:lnTo>
                      <a:pt x="166" y="311"/>
                    </a:lnTo>
                    <a:lnTo>
                      <a:pt x="168" y="305"/>
                    </a:lnTo>
                    <a:lnTo>
                      <a:pt x="168" y="305"/>
                    </a:lnTo>
                    <a:lnTo>
                      <a:pt x="173" y="298"/>
                    </a:lnTo>
                    <a:lnTo>
                      <a:pt x="180" y="290"/>
                    </a:lnTo>
                    <a:lnTo>
                      <a:pt x="180" y="290"/>
                    </a:lnTo>
                    <a:lnTo>
                      <a:pt x="186" y="284"/>
                    </a:lnTo>
                    <a:lnTo>
                      <a:pt x="190" y="278"/>
                    </a:lnTo>
                    <a:lnTo>
                      <a:pt x="190" y="278"/>
                    </a:lnTo>
                    <a:lnTo>
                      <a:pt x="187" y="275"/>
                    </a:lnTo>
                    <a:lnTo>
                      <a:pt x="187" y="275"/>
                    </a:lnTo>
                    <a:lnTo>
                      <a:pt x="185" y="272"/>
                    </a:lnTo>
                    <a:lnTo>
                      <a:pt x="185" y="272"/>
                    </a:lnTo>
                    <a:lnTo>
                      <a:pt x="184" y="268"/>
                    </a:lnTo>
                    <a:lnTo>
                      <a:pt x="184" y="268"/>
                    </a:lnTo>
                    <a:lnTo>
                      <a:pt x="184" y="268"/>
                    </a:lnTo>
                    <a:lnTo>
                      <a:pt x="184" y="268"/>
                    </a:lnTo>
                    <a:lnTo>
                      <a:pt x="184" y="267"/>
                    </a:lnTo>
                    <a:lnTo>
                      <a:pt x="184" y="267"/>
                    </a:lnTo>
                    <a:lnTo>
                      <a:pt x="181" y="262"/>
                    </a:lnTo>
                    <a:lnTo>
                      <a:pt x="181" y="262"/>
                    </a:lnTo>
                    <a:lnTo>
                      <a:pt x="185" y="257"/>
                    </a:lnTo>
                    <a:lnTo>
                      <a:pt x="190" y="254"/>
                    </a:lnTo>
                    <a:lnTo>
                      <a:pt x="190" y="254"/>
                    </a:lnTo>
                    <a:lnTo>
                      <a:pt x="195" y="250"/>
                    </a:lnTo>
                    <a:lnTo>
                      <a:pt x="195" y="246"/>
                    </a:lnTo>
                    <a:lnTo>
                      <a:pt x="195" y="246"/>
                    </a:lnTo>
                    <a:lnTo>
                      <a:pt x="199" y="243"/>
                    </a:lnTo>
                    <a:lnTo>
                      <a:pt x="199" y="243"/>
                    </a:lnTo>
                    <a:lnTo>
                      <a:pt x="205" y="237"/>
                    </a:lnTo>
                    <a:lnTo>
                      <a:pt x="207" y="233"/>
                    </a:lnTo>
                    <a:lnTo>
                      <a:pt x="209" y="230"/>
                    </a:lnTo>
                    <a:lnTo>
                      <a:pt x="209" y="230"/>
                    </a:lnTo>
                    <a:lnTo>
                      <a:pt x="206" y="227"/>
                    </a:lnTo>
                    <a:lnTo>
                      <a:pt x="206" y="227"/>
                    </a:lnTo>
                    <a:lnTo>
                      <a:pt x="205" y="224"/>
                    </a:lnTo>
                    <a:lnTo>
                      <a:pt x="202" y="220"/>
                    </a:lnTo>
                    <a:lnTo>
                      <a:pt x="202" y="220"/>
                    </a:lnTo>
                    <a:lnTo>
                      <a:pt x="193" y="205"/>
                    </a:lnTo>
                    <a:lnTo>
                      <a:pt x="181" y="190"/>
                    </a:lnTo>
                    <a:lnTo>
                      <a:pt x="180" y="187"/>
                    </a:lnTo>
                    <a:lnTo>
                      <a:pt x="178" y="180"/>
                    </a:lnTo>
                    <a:lnTo>
                      <a:pt x="178" y="180"/>
                    </a:lnTo>
                    <a:lnTo>
                      <a:pt x="182" y="176"/>
                    </a:lnTo>
                    <a:lnTo>
                      <a:pt x="185" y="172"/>
                    </a:lnTo>
                    <a:lnTo>
                      <a:pt x="193" y="165"/>
                    </a:lnTo>
                    <a:lnTo>
                      <a:pt x="193" y="165"/>
                    </a:lnTo>
                    <a:lnTo>
                      <a:pt x="199" y="160"/>
                    </a:lnTo>
                    <a:lnTo>
                      <a:pt x="202" y="157"/>
                    </a:lnTo>
                    <a:lnTo>
                      <a:pt x="205" y="155"/>
                    </a:lnTo>
                    <a:lnTo>
                      <a:pt x="205" y="155"/>
                    </a:lnTo>
                    <a:lnTo>
                      <a:pt x="205" y="151"/>
                    </a:lnTo>
                    <a:lnTo>
                      <a:pt x="206" y="149"/>
                    </a:lnTo>
                    <a:lnTo>
                      <a:pt x="209" y="146"/>
                    </a:lnTo>
                    <a:lnTo>
                      <a:pt x="209" y="146"/>
                    </a:lnTo>
                    <a:lnTo>
                      <a:pt x="209" y="146"/>
                    </a:lnTo>
                    <a:lnTo>
                      <a:pt x="209" y="146"/>
                    </a:lnTo>
                    <a:lnTo>
                      <a:pt x="209" y="146"/>
                    </a:lnTo>
                    <a:lnTo>
                      <a:pt x="209" y="146"/>
                    </a:lnTo>
                    <a:lnTo>
                      <a:pt x="209" y="146"/>
                    </a:lnTo>
                    <a:lnTo>
                      <a:pt x="209" y="146"/>
                    </a:lnTo>
                    <a:lnTo>
                      <a:pt x="209" y="142"/>
                    </a:lnTo>
                    <a:lnTo>
                      <a:pt x="210" y="140"/>
                    </a:lnTo>
                    <a:lnTo>
                      <a:pt x="210" y="140"/>
                    </a:lnTo>
                    <a:lnTo>
                      <a:pt x="211" y="138"/>
                    </a:lnTo>
                    <a:lnTo>
                      <a:pt x="214" y="138"/>
                    </a:lnTo>
                    <a:lnTo>
                      <a:pt x="217" y="136"/>
                    </a:lnTo>
                    <a:lnTo>
                      <a:pt x="218" y="136"/>
                    </a:lnTo>
                    <a:lnTo>
                      <a:pt x="223" y="139"/>
                    </a:lnTo>
                    <a:lnTo>
                      <a:pt x="223" y="139"/>
                    </a:lnTo>
                    <a:lnTo>
                      <a:pt x="222" y="138"/>
                    </a:lnTo>
                    <a:lnTo>
                      <a:pt x="222" y="138"/>
                    </a:lnTo>
                    <a:lnTo>
                      <a:pt x="223" y="138"/>
                    </a:lnTo>
                    <a:lnTo>
                      <a:pt x="223" y="138"/>
                    </a:lnTo>
                    <a:lnTo>
                      <a:pt x="227" y="138"/>
                    </a:lnTo>
                    <a:lnTo>
                      <a:pt x="227" y="138"/>
                    </a:lnTo>
                    <a:lnTo>
                      <a:pt x="231" y="138"/>
                    </a:lnTo>
                    <a:lnTo>
                      <a:pt x="231" y="138"/>
                    </a:lnTo>
                    <a:lnTo>
                      <a:pt x="234" y="138"/>
                    </a:lnTo>
                    <a:lnTo>
                      <a:pt x="238" y="140"/>
                    </a:lnTo>
                    <a:lnTo>
                      <a:pt x="238" y="140"/>
                    </a:lnTo>
                    <a:lnTo>
                      <a:pt x="240" y="146"/>
                    </a:lnTo>
                    <a:lnTo>
                      <a:pt x="240" y="146"/>
                    </a:lnTo>
                    <a:lnTo>
                      <a:pt x="242" y="148"/>
                    </a:lnTo>
                    <a:lnTo>
                      <a:pt x="243" y="149"/>
                    </a:lnTo>
                    <a:lnTo>
                      <a:pt x="243" y="149"/>
                    </a:lnTo>
                    <a:lnTo>
                      <a:pt x="244" y="151"/>
                    </a:lnTo>
                    <a:lnTo>
                      <a:pt x="246" y="155"/>
                    </a:lnTo>
                    <a:lnTo>
                      <a:pt x="246" y="155"/>
                    </a:lnTo>
                    <a:lnTo>
                      <a:pt x="251" y="160"/>
                    </a:lnTo>
                    <a:lnTo>
                      <a:pt x="259" y="167"/>
                    </a:lnTo>
                    <a:lnTo>
                      <a:pt x="262" y="168"/>
                    </a:lnTo>
                    <a:lnTo>
                      <a:pt x="263" y="169"/>
                    </a:lnTo>
                    <a:lnTo>
                      <a:pt x="263" y="169"/>
                    </a:lnTo>
                    <a:lnTo>
                      <a:pt x="263" y="171"/>
                    </a:lnTo>
                    <a:lnTo>
                      <a:pt x="263" y="171"/>
                    </a:lnTo>
                    <a:lnTo>
                      <a:pt x="264" y="167"/>
                    </a:lnTo>
                    <a:lnTo>
                      <a:pt x="264" y="167"/>
                    </a:lnTo>
                    <a:lnTo>
                      <a:pt x="260" y="164"/>
                    </a:lnTo>
                    <a:lnTo>
                      <a:pt x="256" y="160"/>
                    </a:lnTo>
                    <a:lnTo>
                      <a:pt x="254" y="151"/>
                    </a:lnTo>
                    <a:lnTo>
                      <a:pt x="254" y="151"/>
                    </a:lnTo>
                    <a:lnTo>
                      <a:pt x="256" y="148"/>
                    </a:lnTo>
                    <a:lnTo>
                      <a:pt x="256" y="146"/>
                    </a:lnTo>
                    <a:lnTo>
                      <a:pt x="256" y="146"/>
                    </a:lnTo>
                    <a:lnTo>
                      <a:pt x="256" y="146"/>
                    </a:lnTo>
                    <a:lnTo>
                      <a:pt x="252" y="142"/>
                    </a:lnTo>
                    <a:lnTo>
                      <a:pt x="252" y="142"/>
                    </a:lnTo>
                    <a:lnTo>
                      <a:pt x="252" y="143"/>
                    </a:lnTo>
                    <a:lnTo>
                      <a:pt x="252" y="143"/>
                    </a:lnTo>
                    <a:lnTo>
                      <a:pt x="251" y="140"/>
                    </a:lnTo>
                    <a:lnTo>
                      <a:pt x="250" y="138"/>
                    </a:lnTo>
                    <a:lnTo>
                      <a:pt x="250" y="136"/>
                    </a:lnTo>
                    <a:lnTo>
                      <a:pt x="250" y="136"/>
                    </a:lnTo>
                    <a:lnTo>
                      <a:pt x="248" y="135"/>
                    </a:lnTo>
                    <a:lnTo>
                      <a:pt x="248" y="131"/>
                    </a:lnTo>
                    <a:lnTo>
                      <a:pt x="248" y="131"/>
                    </a:lnTo>
                    <a:lnTo>
                      <a:pt x="247" y="131"/>
                    </a:lnTo>
                    <a:lnTo>
                      <a:pt x="247" y="131"/>
                    </a:lnTo>
                    <a:lnTo>
                      <a:pt x="246" y="131"/>
                    </a:lnTo>
                    <a:lnTo>
                      <a:pt x="244" y="130"/>
                    </a:lnTo>
                    <a:lnTo>
                      <a:pt x="244" y="130"/>
                    </a:lnTo>
                    <a:lnTo>
                      <a:pt x="238" y="124"/>
                    </a:lnTo>
                    <a:lnTo>
                      <a:pt x="234" y="119"/>
                    </a:lnTo>
                    <a:lnTo>
                      <a:pt x="232" y="116"/>
                    </a:lnTo>
                    <a:lnTo>
                      <a:pt x="232" y="115"/>
                    </a:lnTo>
                    <a:lnTo>
                      <a:pt x="232" y="115"/>
                    </a:lnTo>
                    <a:lnTo>
                      <a:pt x="232" y="112"/>
                    </a:lnTo>
                    <a:lnTo>
                      <a:pt x="232" y="112"/>
                    </a:lnTo>
                    <a:lnTo>
                      <a:pt x="234" y="112"/>
                    </a:lnTo>
                    <a:lnTo>
                      <a:pt x="227" y="106"/>
                    </a:lnTo>
                    <a:lnTo>
                      <a:pt x="227" y="106"/>
                    </a:lnTo>
                    <a:lnTo>
                      <a:pt x="228" y="102"/>
                    </a:lnTo>
                    <a:lnTo>
                      <a:pt x="231" y="99"/>
                    </a:lnTo>
                    <a:lnTo>
                      <a:pt x="235" y="95"/>
                    </a:lnTo>
                    <a:lnTo>
                      <a:pt x="235" y="95"/>
                    </a:lnTo>
                    <a:lnTo>
                      <a:pt x="238" y="91"/>
                    </a:lnTo>
                    <a:lnTo>
                      <a:pt x="238" y="91"/>
                    </a:lnTo>
                    <a:lnTo>
                      <a:pt x="239" y="89"/>
                    </a:lnTo>
                    <a:lnTo>
                      <a:pt x="239" y="89"/>
                    </a:lnTo>
                    <a:lnTo>
                      <a:pt x="250" y="78"/>
                    </a:lnTo>
                    <a:lnTo>
                      <a:pt x="259" y="68"/>
                    </a:lnTo>
                    <a:lnTo>
                      <a:pt x="259" y="68"/>
                    </a:lnTo>
                    <a:lnTo>
                      <a:pt x="272" y="54"/>
                    </a:lnTo>
                    <a:lnTo>
                      <a:pt x="273" y="52"/>
                    </a:lnTo>
                    <a:lnTo>
                      <a:pt x="273" y="52"/>
                    </a:lnTo>
                    <a:lnTo>
                      <a:pt x="279" y="46"/>
                    </a:lnTo>
                    <a:lnTo>
                      <a:pt x="283" y="41"/>
                    </a:lnTo>
                    <a:lnTo>
                      <a:pt x="284" y="38"/>
                    </a:lnTo>
                    <a:lnTo>
                      <a:pt x="284" y="38"/>
                    </a:lnTo>
                    <a:lnTo>
                      <a:pt x="289" y="34"/>
                    </a:lnTo>
                    <a:lnTo>
                      <a:pt x="295" y="29"/>
                    </a:lnTo>
                    <a:lnTo>
                      <a:pt x="296" y="27"/>
                    </a:lnTo>
                    <a:lnTo>
                      <a:pt x="296" y="27"/>
                    </a:lnTo>
                    <a:lnTo>
                      <a:pt x="304" y="19"/>
                    </a:lnTo>
                    <a:lnTo>
                      <a:pt x="312" y="11"/>
                    </a:lnTo>
                    <a:lnTo>
                      <a:pt x="312" y="11"/>
                    </a:lnTo>
                    <a:lnTo>
                      <a:pt x="320" y="1"/>
                    </a:lnTo>
                    <a:lnTo>
                      <a:pt x="325" y="0"/>
                    </a:lnTo>
                    <a:lnTo>
                      <a:pt x="325" y="0"/>
                    </a:lnTo>
                    <a:lnTo>
                      <a:pt x="332" y="3"/>
                    </a:lnTo>
                    <a:lnTo>
                      <a:pt x="336" y="7"/>
                    </a:lnTo>
                    <a:lnTo>
                      <a:pt x="336" y="7"/>
                    </a:lnTo>
                    <a:lnTo>
                      <a:pt x="338" y="9"/>
                    </a:lnTo>
                    <a:lnTo>
                      <a:pt x="341" y="11"/>
                    </a:lnTo>
                    <a:lnTo>
                      <a:pt x="343" y="11"/>
                    </a:lnTo>
                    <a:lnTo>
                      <a:pt x="350" y="15"/>
                    </a:lnTo>
                    <a:lnTo>
                      <a:pt x="350" y="15"/>
                    </a:lnTo>
                    <a:lnTo>
                      <a:pt x="347" y="13"/>
                    </a:lnTo>
                    <a:lnTo>
                      <a:pt x="346" y="12"/>
                    </a:lnTo>
                    <a:lnTo>
                      <a:pt x="346" y="12"/>
                    </a:lnTo>
                    <a:lnTo>
                      <a:pt x="347" y="12"/>
                    </a:lnTo>
                    <a:lnTo>
                      <a:pt x="347" y="12"/>
                    </a:lnTo>
                    <a:lnTo>
                      <a:pt x="349" y="12"/>
                    </a:lnTo>
                    <a:lnTo>
                      <a:pt x="349" y="12"/>
                    </a:lnTo>
                    <a:lnTo>
                      <a:pt x="350" y="12"/>
                    </a:lnTo>
                    <a:lnTo>
                      <a:pt x="350" y="12"/>
                    </a:lnTo>
                    <a:lnTo>
                      <a:pt x="357" y="13"/>
                    </a:lnTo>
                    <a:lnTo>
                      <a:pt x="357" y="13"/>
                    </a:lnTo>
                    <a:lnTo>
                      <a:pt x="358" y="13"/>
                    </a:lnTo>
                    <a:lnTo>
                      <a:pt x="358" y="13"/>
                    </a:lnTo>
                    <a:lnTo>
                      <a:pt x="365" y="12"/>
                    </a:lnTo>
                    <a:lnTo>
                      <a:pt x="365" y="12"/>
                    </a:lnTo>
                    <a:lnTo>
                      <a:pt x="367" y="12"/>
                    </a:lnTo>
                    <a:lnTo>
                      <a:pt x="374" y="12"/>
                    </a:lnTo>
                    <a:lnTo>
                      <a:pt x="374" y="12"/>
                    </a:lnTo>
                    <a:lnTo>
                      <a:pt x="375" y="12"/>
                    </a:lnTo>
                    <a:lnTo>
                      <a:pt x="375" y="12"/>
                    </a:lnTo>
                    <a:lnTo>
                      <a:pt x="381" y="13"/>
                    </a:lnTo>
                    <a:lnTo>
                      <a:pt x="383" y="13"/>
                    </a:lnTo>
                    <a:lnTo>
                      <a:pt x="383" y="13"/>
                    </a:lnTo>
                    <a:lnTo>
                      <a:pt x="388" y="15"/>
                    </a:lnTo>
                    <a:lnTo>
                      <a:pt x="392" y="16"/>
                    </a:lnTo>
                    <a:lnTo>
                      <a:pt x="394" y="17"/>
                    </a:lnTo>
                    <a:lnTo>
                      <a:pt x="394" y="17"/>
                    </a:lnTo>
                    <a:lnTo>
                      <a:pt x="398" y="21"/>
                    </a:lnTo>
                    <a:lnTo>
                      <a:pt x="400" y="25"/>
                    </a:lnTo>
                    <a:lnTo>
                      <a:pt x="400" y="25"/>
                    </a:lnTo>
                    <a:lnTo>
                      <a:pt x="402" y="27"/>
                    </a:lnTo>
                    <a:lnTo>
                      <a:pt x="403" y="29"/>
                    </a:lnTo>
                    <a:lnTo>
                      <a:pt x="410" y="32"/>
                    </a:lnTo>
                    <a:lnTo>
                      <a:pt x="415" y="33"/>
                    </a:lnTo>
                    <a:lnTo>
                      <a:pt x="420" y="33"/>
                    </a:lnTo>
                    <a:lnTo>
                      <a:pt x="420" y="33"/>
                    </a:lnTo>
                    <a:lnTo>
                      <a:pt x="427" y="33"/>
                    </a:lnTo>
                    <a:lnTo>
                      <a:pt x="433" y="32"/>
                    </a:lnTo>
                    <a:lnTo>
                      <a:pt x="435" y="32"/>
                    </a:lnTo>
                    <a:lnTo>
                      <a:pt x="435" y="32"/>
                    </a:lnTo>
                    <a:lnTo>
                      <a:pt x="432" y="33"/>
                    </a:lnTo>
                    <a:lnTo>
                      <a:pt x="431" y="36"/>
                    </a:lnTo>
                    <a:lnTo>
                      <a:pt x="435" y="32"/>
                    </a:lnTo>
                    <a:lnTo>
                      <a:pt x="436" y="32"/>
                    </a:lnTo>
                    <a:lnTo>
                      <a:pt x="436" y="32"/>
                    </a:lnTo>
                    <a:lnTo>
                      <a:pt x="436" y="32"/>
                    </a:lnTo>
                    <a:lnTo>
                      <a:pt x="435" y="32"/>
                    </a:lnTo>
                    <a:lnTo>
                      <a:pt x="436" y="31"/>
                    </a:lnTo>
                    <a:lnTo>
                      <a:pt x="439" y="31"/>
                    </a:lnTo>
                    <a:lnTo>
                      <a:pt x="439" y="31"/>
                    </a:lnTo>
                    <a:lnTo>
                      <a:pt x="445" y="29"/>
                    </a:lnTo>
                    <a:lnTo>
                      <a:pt x="445" y="29"/>
                    </a:lnTo>
                    <a:lnTo>
                      <a:pt x="451" y="29"/>
                    </a:lnTo>
                    <a:lnTo>
                      <a:pt x="456" y="32"/>
                    </a:lnTo>
                    <a:lnTo>
                      <a:pt x="456" y="33"/>
                    </a:lnTo>
                    <a:lnTo>
                      <a:pt x="456" y="33"/>
                    </a:lnTo>
                    <a:lnTo>
                      <a:pt x="456" y="33"/>
                    </a:lnTo>
                    <a:lnTo>
                      <a:pt x="456" y="33"/>
                    </a:lnTo>
                    <a:lnTo>
                      <a:pt x="459" y="32"/>
                    </a:lnTo>
                    <a:lnTo>
                      <a:pt x="459" y="32"/>
                    </a:lnTo>
                    <a:lnTo>
                      <a:pt x="460" y="32"/>
                    </a:lnTo>
                    <a:lnTo>
                      <a:pt x="460" y="32"/>
                    </a:lnTo>
                    <a:lnTo>
                      <a:pt x="460" y="32"/>
                    </a:lnTo>
                    <a:lnTo>
                      <a:pt x="460" y="32"/>
                    </a:lnTo>
                    <a:lnTo>
                      <a:pt x="465" y="33"/>
                    </a:lnTo>
                    <a:lnTo>
                      <a:pt x="469" y="34"/>
                    </a:lnTo>
                    <a:lnTo>
                      <a:pt x="469" y="34"/>
                    </a:lnTo>
                    <a:lnTo>
                      <a:pt x="473" y="34"/>
                    </a:lnTo>
                    <a:lnTo>
                      <a:pt x="474" y="34"/>
                    </a:lnTo>
                    <a:lnTo>
                      <a:pt x="478" y="40"/>
                    </a:lnTo>
                    <a:lnTo>
                      <a:pt x="478" y="40"/>
                    </a:lnTo>
                    <a:lnTo>
                      <a:pt x="477" y="42"/>
                    </a:lnTo>
                    <a:lnTo>
                      <a:pt x="480" y="41"/>
                    </a:lnTo>
                    <a:lnTo>
                      <a:pt x="481" y="42"/>
                    </a:lnTo>
                    <a:lnTo>
                      <a:pt x="481" y="42"/>
                    </a:lnTo>
                    <a:lnTo>
                      <a:pt x="481" y="41"/>
                    </a:lnTo>
                    <a:lnTo>
                      <a:pt x="482" y="42"/>
                    </a:lnTo>
                    <a:lnTo>
                      <a:pt x="482" y="42"/>
                    </a:lnTo>
                    <a:lnTo>
                      <a:pt x="481" y="41"/>
                    </a:lnTo>
                    <a:lnTo>
                      <a:pt x="481" y="40"/>
                    </a:lnTo>
                    <a:lnTo>
                      <a:pt x="484" y="36"/>
                    </a:lnTo>
                    <a:lnTo>
                      <a:pt x="486" y="36"/>
                    </a:lnTo>
                    <a:lnTo>
                      <a:pt x="486" y="36"/>
                    </a:lnTo>
                    <a:lnTo>
                      <a:pt x="488" y="36"/>
                    </a:lnTo>
                    <a:lnTo>
                      <a:pt x="488" y="36"/>
                    </a:lnTo>
                    <a:lnTo>
                      <a:pt x="486" y="37"/>
                    </a:lnTo>
                    <a:lnTo>
                      <a:pt x="485" y="38"/>
                    </a:lnTo>
                    <a:lnTo>
                      <a:pt x="489" y="36"/>
                    </a:lnTo>
                    <a:lnTo>
                      <a:pt x="489" y="34"/>
                    </a:lnTo>
                    <a:lnTo>
                      <a:pt x="489" y="34"/>
                    </a:lnTo>
                    <a:lnTo>
                      <a:pt x="493" y="33"/>
                    </a:lnTo>
                    <a:lnTo>
                      <a:pt x="493" y="33"/>
                    </a:lnTo>
                    <a:lnTo>
                      <a:pt x="494" y="32"/>
                    </a:lnTo>
                    <a:lnTo>
                      <a:pt x="494" y="32"/>
                    </a:lnTo>
                    <a:lnTo>
                      <a:pt x="494" y="33"/>
                    </a:lnTo>
                    <a:lnTo>
                      <a:pt x="497" y="29"/>
                    </a:lnTo>
                    <a:lnTo>
                      <a:pt x="497" y="29"/>
                    </a:lnTo>
                    <a:lnTo>
                      <a:pt x="498" y="29"/>
                    </a:lnTo>
                    <a:lnTo>
                      <a:pt x="498" y="29"/>
                    </a:lnTo>
                    <a:lnTo>
                      <a:pt x="497" y="31"/>
                    </a:lnTo>
                    <a:lnTo>
                      <a:pt x="502" y="27"/>
                    </a:lnTo>
                    <a:lnTo>
                      <a:pt x="502" y="27"/>
                    </a:lnTo>
                    <a:lnTo>
                      <a:pt x="506" y="28"/>
                    </a:lnTo>
                    <a:lnTo>
                      <a:pt x="509" y="29"/>
                    </a:lnTo>
                    <a:lnTo>
                      <a:pt x="510" y="33"/>
                    </a:lnTo>
                    <a:lnTo>
                      <a:pt x="510" y="34"/>
                    </a:lnTo>
                    <a:lnTo>
                      <a:pt x="510" y="34"/>
                    </a:lnTo>
                    <a:lnTo>
                      <a:pt x="510" y="40"/>
                    </a:lnTo>
                    <a:lnTo>
                      <a:pt x="507" y="45"/>
                    </a:lnTo>
                    <a:lnTo>
                      <a:pt x="507" y="45"/>
                    </a:lnTo>
                    <a:lnTo>
                      <a:pt x="507" y="45"/>
                    </a:lnTo>
                    <a:lnTo>
                      <a:pt x="507" y="45"/>
                    </a:lnTo>
                    <a:lnTo>
                      <a:pt x="507" y="45"/>
                    </a:lnTo>
                    <a:lnTo>
                      <a:pt x="506" y="45"/>
                    </a:lnTo>
                    <a:lnTo>
                      <a:pt x="506" y="45"/>
                    </a:lnTo>
                    <a:lnTo>
                      <a:pt x="506" y="45"/>
                    </a:lnTo>
                    <a:lnTo>
                      <a:pt x="506" y="45"/>
                    </a:lnTo>
                    <a:lnTo>
                      <a:pt x="506" y="45"/>
                    </a:lnTo>
                    <a:lnTo>
                      <a:pt x="505" y="44"/>
                    </a:lnTo>
                    <a:lnTo>
                      <a:pt x="502" y="42"/>
                    </a:lnTo>
                    <a:lnTo>
                      <a:pt x="505" y="45"/>
                    </a:lnTo>
                    <a:lnTo>
                      <a:pt x="502" y="46"/>
                    </a:lnTo>
                    <a:lnTo>
                      <a:pt x="502" y="46"/>
                    </a:lnTo>
                    <a:lnTo>
                      <a:pt x="502" y="46"/>
                    </a:lnTo>
                    <a:lnTo>
                      <a:pt x="502" y="46"/>
                    </a:lnTo>
                    <a:lnTo>
                      <a:pt x="506" y="46"/>
                    </a:lnTo>
                    <a:lnTo>
                      <a:pt x="507" y="48"/>
                    </a:lnTo>
                    <a:lnTo>
                      <a:pt x="507" y="46"/>
                    </a:lnTo>
                    <a:lnTo>
                      <a:pt x="507" y="46"/>
                    </a:lnTo>
                    <a:lnTo>
                      <a:pt x="507" y="46"/>
                    </a:lnTo>
                    <a:lnTo>
                      <a:pt x="507" y="46"/>
                    </a:lnTo>
                    <a:lnTo>
                      <a:pt x="507" y="46"/>
                    </a:lnTo>
                    <a:lnTo>
                      <a:pt x="509" y="46"/>
                    </a:lnTo>
                    <a:lnTo>
                      <a:pt x="511" y="46"/>
                    </a:lnTo>
                    <a:lnTo>
                      <a:pt x="511" y="46"/>
                    </a:lnTo>
                    <a:lnTo>
                      <a:pt x="514" y="45"/>
                    </a:lnTo>
                    <a:lnTo>
                      <a:pt x="517" y="44"/>
                    </a:lnTo>
                    <a:lnTo>
                      <a:pt x="517" y="44"/>
                    </a:lnTo>
                    <a:lnTo>
                      <a:pt x="519" y="45"/>
                    </a:lnTo>
                    <a:lnTo>
                      <a:pt x="522" y="46"/>
                    </a:lnTo>
                    <a:lnTo>
                      <a:pt x="526" y="49"/>
                    </a:lnTo>
                    <a:lnTo>
                      <a:pt x="526" y="49"/>
                    </a:lnTo>
                    <a:lnTo>
                      <a:pt x="527" y="50"/>
                    </a:lnTo>
                    <a:lnTo>
                      <a:pt x="527" y="50"/>
                    </a:lnTo>
                    <a:lnTo>
                      <a:pt x="530" y="50"/>
                    </a:lnTo>
                    <a:lnTo>
                      <a:pt x="530" y="50"/>
                    </a:lnTo>
                    <a:lnTo>
                      <a:pt x="533" y="50"/>
                    </a:lnTo>
                    <a:lnTo>
                      <a:pt x="533" y="50"/>
                    </a:lnTo>
                    <a:lnTo>
                      <a:pt x="535" y="50"/>
                    </a:lnTo>
                    <a:lnTo>
                      <a:pt x="535" y="50"/>
                    </a:lnTo>
                    <a:lnTo>
                      <a:pt x="538" y="50"/>
                    </a:lnTo>
                    <a:lnTo>
                      <a:pt x="538" y="50"/>
                    </a:lnTo>
                    <a:lnTo>
                      <a:pt x="537" y="53"/>
                    </a:lnTo>
                    <a:lnTo>
                      <a:pt x="538" y="52"/>
                    </a:lnTo>
                    <a:lnTo>
                      <a:pt x="538" y="52"/>
                    </a:lnTo>
                    <a:lnTo>
                      <a:pt x="537" y="53"/>
                    </a:lnTo>
                    <a:lnTo>
                      <a:pt x="539" y="50"/>
                    </a:lnTo>
                    <a:lnTo>
                      <a:pt x="542" y="49"/>
                    </a:lnTo>
                    <a:lnTo>
                      <a:pt x="542" y="49"/>
                    </a:lnTo>
                    <a:lnTo>
                      <a:pt x="542" y="49"/>
                    </a:lnTo>
                    <a:lnTo>
                      <a:pt x="542" y="49"/>
                    </a:lnTo>
                    <a:lnTo>
                      <a:pt x="543" y="48"/>
                    </a:lnTo>
                    <a:lnTo>
                      <a:pt x="544" y="48"/>
                    </a:lnTo>
                    <a:lnTo>
                      <a:pt x="546" y="48"/>
                    </a:lnTo>
                    <a:lnTo>
                      <a:pt x="546" y="48"/>
                    </a:lnTo>
                    <a:lnTo>
                      <a:pt x="550" y="50"/>
                    </a:lnTo>
                    <a:lnTo>
                      <a:pt x="552" y="53"/>
                    </a:lnTo>
                    <a:lnTo>
                      <a:pt x="555" y="60"/>
                    </a:lnTo>
                    <a:lnTo>
                      <a:pt x="555" y="60"/>
                    </a:lnTo>
                    <a:lnTo>
                      <a:pt x="556" y="62"/>
                    </a:lnTo>
                    <a:lnTo>
                      <a:pt x="556" y="64"/>
                    </a:lnTo>
                    <a:lnTo>
                      <a:pt x="558" y="64"/>
                    </a:lnTo>
                    <a:lnTo>
                      <a:pt x="563" y="66"/>
                    </a:lnTo>
                    <a:lnTo>
                      <a:pt x="563" y="66"/>
                    </a:lnTo>
                    <a:lnTo>
                      <a:pt x="562" y="65"/>
                    </a:lnTo>
                    <a:lnTo>
                      <a:pt x="562" y="65"/>
                    </a:lnTo>
                    <a:lnTo>
                      <a:pt x="564" y="65"/>
                    </a:lnTo>
                    <a:lnTo>
                      <a:pt x="564" y="65"/>
                    </a:lnTo>
                    <a:lnTo>
                      <a:pt x="566" y="65"/>
                    </a:lnTo>
                    <a:lnTo>
                      <a:pt x="566" y="65"/>
                    </a:lnTo>
                    <a:lnTo>
                      <a:pt x="566" y="65"/>
                    </a:lnTo>
                    <a:lnTo>
                      <a:pt x="566" y="65"/>
                    </a:lnTo>
                    <a:lnTo>
                      <a:pt x="570" y="66"/>
                    </a:lnTo>
                    <a:lnTo>
                      <a:pt x="571" y="66"/>
                    </a:lnTo>
                    <a:lnTo>
                      <a:pt x="575" y="70"/>
                    </a:lnTo>
                    <a:lnTo>
                      <a:pt x="575" y="70"/>
                    </a:lnTo>
                    <a:lnTo>
                      <a:pt x="575" y="69"/>
                    </a:lnTo>
                    <a:lnTo>
                      <a:pt x="575" y="69"/>
                    </a:lnTo>
                    <a:lnTo>
                      <a:pt x="575" y="70"/>
                    </a:lnTo>
                    <a:lnTo>
                      <a:pt x="575" y="70"/>
                    </a:lnTo>
                    <a:lnTo>
                      <a:pt x="580" y="71"/>
                    </a:lnTo>
                    <a:lnTo>
                      <a:pt x="579" y="73"/>
                    </a:lnTo>
                    <a:lnTo>
                      <a:pt x="581" y="74"/>
                    </a:lnTo>
                    <a:lnTo>
                      <a:pt x="581" y="74"/>
                    </a:lnTo>
                    <a:lnTo>
                      <a:pt x="583" y="74"/>
                    </a:lnTo>
                    <a:lnTo>
                      <a:pt x="583" y="74"/>
                    </a:lnTo>
                    <a:lnTo>
                      <a:pt x="581" y="74"/>
                    </a:lnTo>
                    <a:lnTo>
                      <a:pt x="581" y="74"/>
                    </a:lnTo>
                    <a:lnTo>
                      <a:pt x="583" y="74"/>
                    </a:lnTo>
                    <a:lnTo>
                      <a:pt x="583" y="74"/>
                    </a:lnTo>
                    <a:lnTo>
                      <a:pt x="584" y="74"/>
                    </a:lnTo>
                    <a:lnTo>
                      <a:pt x="584" y="74"/>
                    </a:lnTo>
                    <a:lnTo>
                      <a:pt x="588" y="75"/>
                    </a:lnTo>
                    <a:lnTo>
                      <a:pt x="588" y="75"/>
                    </a:lnTo>
                    <a:lnTo>
                      <a:pt x="591" y="78"/>
                    </a:lnTo>
                    <a:lnTo>
                      <a:pt x="591" y="78"/>
                    </a:lnTo>
                    <a:lnTo>
                      <a:pt x="588" y="77"/>
                    </a:lnTo>
                    <a:lnTo>
                      <a:pt x="595" y="82"/>
                    </a:lnTo>
                    <a:lnTo>
                      <a:pt x="595" y="82"/>
                    </a:lnTo>
                    <a:lnTo>
                      <a:pt x="593" y="79"/>
                    </a:lnTo>
                    <a:lnTo>
                      <a:pt x="591" y="78"/>
                    </a:lnTo>
                    <a:lnTo>
                      <a:pt x="591" y="78"/>
                    </a:lnTo>
                    <a:lnTo>
                      <a:pt x="591" y="78"/>
                    </a:lnTo>
                    <a:lnTo>
                      <a:pt x="592" y="78"/>
                    </a:lnTo>
                    <a:lnTo>
                      <a:pt x="592" y="78"/>
                    </a:lnTo>
                    <a:lnTo>
                      <a:pt x="595" y="78"/>
                    </a:lnTo>
                    <a:lnTo>
                      <a:pt x="595" y="78"/>
                    </a:lnTo>
                    <a:lnTo>
                      <a:pt x="597" y="78"/>
                    </a:lnTo>
                    <a:lnTo>
                      <a:pt x="599" y="78"/>
                    </a:lnTo>
                    <a:lnTo>
                      <a:pt x="604" y="82"/>
                    </a:lnTo>
                    <a:lnTo>
                      <a:pt x="604" y="82"/>
                    </a:lnTo>
                    <a:lnTo>
                      <a:pt x="603" y="81"/>
                    </a:lnTo>
                    <a:lnTo>
                      <a:pt x="601" y="79"/>
                    </a:lnTo>
                    <a:lnTo>
                      <a:pt x="601" y="79"/>
                    </a:lnTo>
                    <a:lnTo>
                      <a:pt x="601" y="79"/>
                    </a:lnTo>
                    <a:lnTo>
                      <a:pt x="601" y="79"/>
                    </a:lnTo>
                    <a:lnTo>
                      <a:pt x="604" y="79"/>
                    </a:lnTo>
                    <a:lnTo>
                      <a:pt x="604" y="79"/>
                    </a:lnTo>
                    <a:lnTo>
                      <a:pt x="608" y="79"/>
                    </a:lnTo>
                    <a:lnTo>
                      <a:pt x="608" y="79"/>
                    </a:lnTo>
                    <a:lnTo>
                      <a:pt x="609" y="79"/>
                    </a:lnTo>
                    <a:lnTo>
                      <a:pt x="611" y="79"/>
                    </a:lnTo>
                    <a:lnTo>
                      <a:pt x="615" y="81"/>
                    </a:lnTo>
                    <a:lnTo>
                      <a:pt x="615" y="81"/>
                    </a:lnTo>
                    <a:lnTo>
                      <a:pt x="616" y="82"/>
                    </a:lnTo>
                    <a:lnTo>
                      <a:pt x="616" y="82"/>
                    </a:lnTo>
                    <a:lnTo>
                      <a:pt x="619" y="81"/>
                    </a:lnTo>
                    <a:lnTo>
                      <a:pt x="619" y="81"/>
                    </a:lnTo>
                    <a:lnTo>
                      <a:pt x="620" y="78"/>
                    </a:lnTo>
                    <a:lnTo>
                      <a:pt x="617" y="77"/>
                    </a:lnTo>
                    <a:lnTo>
                      <a:pt x="617" y="77"/>
                    </a:lnTo>
                    <a:lnTo>
                      <a:pt x="616" y="75"/>
                    </a:lnTo>
                    <a:lnTo>
                      <a:pt x="613" y="73"/>
                    </a:lnTo>
                    <a:lnTo>
                      <a:pt x="613" y="73"/>
                    </a:lnTo>
                    <a:lnTo>
                      <a:pt x="613" y="74"/>
                    </a:lnTo>
                    <a:lnTo>
                      <a:pt x="613" y="74"/>
                    </a:lnTo>
                    <a:lnTo>
                      <a:pt x="612" y="74"/>
                    </a:lnTo>
                    <a:lnTo>
                      <a:pt x="607" y="68"/>
                    </a:lnTo>
                    <a:lnTo>
                      <a:pt x="607" y="68"/>
                    </a:lnTo>
                    <a:lnTo>
                      <a:pt x="608" y="60"/>
                    </a:lnTo>
                    <a:lnTo>
                      <a:pt x="612" y="54"/>
                    </a:lnTo>
                    <a:lnTo>
                      <a:pt x="612" y="54"/>
                    </a:lnTo>
                    <a:lnTo>
                      <a:pt x="613" y="50"/>
                    </a:lnTo>
                    <a:lnTo>
                      <a:pt x="613" y="50"/>
                    </a:lnTo>
                    <a:lnTo>
                      <a:pt x="615" y="46"/>
                    </a:lnTo>
                    <a:lnTo>
                      <a:pt x="617" y="44"/>
                    </a:lnTo>
                    <a:lnTo>
                      <a:pt x="617" y="44"/>
                    </a:lnTo>
                    <a:lnTo>
                      <a:pt x="619" y="41"/>
                    </a:lnTo>
                    <a:lnTo>
                      <a:pt x="621" y="38"/>
                    </a:lnTo>
                    <a:lnTo>
                      <a:pt x="621" y="38"/>
                    </a:lnTo>
                    <a:lnTo>
                      <a:pt x="625" y="34"/>
                    </a:lnTo>
                    <a:lnTo>
                      <a:pt x="628" y="29"/>
                    </a:lnTo>
                    <a:lnTo>
                      <a:pt x="628" y="29"/>
                    </a:lnTo>
                    <a:lnTo>
                      <a:pt x="632" y="24"/>
                    </a:lnTo>
                    <a:lnTo>
                      <a:pt x="633" y="24"/>
                    </a:lnTo>
                    <a:lnTo>
                      <a:pt x="636" y="20"/>
                    </a:lnTo>
                    <a:lnTo>
                      <a:pt x="636" y="20"/>
                    </a:lnTo>
                    <a:lnTo>
                      <a:pt x="638" y="20"/>
                    </a:lnTo>
                    <a:lnTo>
                      <a:pt x="638" y="20"/>
                    </a:lnTo>
                    <a:lnTo>
                      <a:pt x="645" y="21"/>
                    </a:lnTo>
                    <a:lnTo>
                      <a:pt x="649" y="24"/>
                    </a:lnTo>
                    <a:lnTo>
                      <a:pt x="658" y="31"/>
                    </a:lnTo>
                    <a:lnTo>
                      <a:pt x="658" y="31"/>
                    </a:lnTo>
                    <a:lnTo>
                      <a:pt x="662" y="34"/>
                    </a:lnTo>
                    <a:lnTo>
                      <a:pt x="665" y="37"/>
                    </a:lnTo>
                    <a:lnTo>
                      <a:pt x="665" y="37"/>
                    </a:lnTo>
                    <a:lnTo>
                      <a:pt x="669" y="38"/>
                    </a:lnTo>
                    <a:lnTo>
                      <a:pt x="669" y="38"/>
                    </a:lnTo>
                    <a:lnTo>
                      <a:pt x="675" y="46"/>
                    </a:lnTo>
                    <a:lnTo>
                      <a:pt x="685" y="52"/>
                    </a:lnTo>
                    <a:lnTo>
                      <a:pt x="685" y="52"/>
                    </a:lnTo>
                    <a:lnTo>
                      <a:pt x="690" y="53"/>
                    </a:lnTo>
                    <a:lnTo>
                      <a:pt x="690" y="53"/>
                    </a:lnTo>
                    <a:lnTo>
                      <a:pt x="691" y="54"/>
                    </a:lnTo>
                    <a:lnTo>
                      <a:pt x="694" y="53"/>
                    </a:lnTo>
                    <a:lnTo>
                      <a:pt x="694" y="53"/>
                    </a:lnTo>
                    <a:lnTo>
                      <a:pt x="691" y="52"/>
                    </a:lnTo>
                    <a:lnTo>
                      <a:pt x="691" y="52"/>
                    </a:lnTo>
                    <a:lnTo>
                      <a:pt x="689" y="48"/>
                    </a:lnTo>
                    <a:lnTo>
                      <a:pt x="693" y="37"/>
                    </a:lnTo>
                    <a:lnTo>
                      <a:pt x="693" y="37"/>
                    </a:lnTo>
                    <a:lnTo>
                      <a:pt x="700" y="37"/>
                    </a:lnTo>
                    <a:lnTo>
                      <a:pt x="707" y="36"/>
                    </a:lnTo>
                    <a:lnTo>
                      <a:pt x="711" y="33"/>
                    </a:lnTo>
                    <a:lnTo>
                      <a:pt x="715" y="29"/>
                    </a:lnTo>
                    <a:lnTo>
                      <a:pt x="724" y="31"/>
                    </a:lnTo>
                    <a:lnTo>
                      <a:pt x="724" y="31"/>
                    </a:lnTo>
                    <a:lnTo>
                      <a:pt x="727" y="36"/>
                    </a:lnTo>
                    <a:lnTo>
                      <a:pt x="726" y="41"/>
                    </a:lnTo>
                    <a:lnTo>
                      <a:pt x="724" y="44"/>
                    </a:lnTo>
                    <a:lnTo>
                      <a:pt x="722" y="46"/>
                    </a:lnTo>
                    <a:lnTo>
                      <a:pt x="722" y="48"/>
                    </a:lnTo>
                    <a:lnTo>
                      <a:pt x="722" y="48"/>
                    </a:lnTo>
                    <a:lnTo>
                      <a:pt x="720" y="49"/>
                    </a:lnTo>
                    <a:lnTo>
                      <a:pt x="720" y="49"/>
                    </a:lnTo>
                    <a:lnTo>
                      <a:pt x="720" y="49"/>
                    </a:lnTo>
                    <a:lnTo>
                      <a:pt x="720" y="49"/>
                    </a:lnTo>
                    <a:lnTo>
                      <a:pt x="720" y="49"/>
                    </a:lnTo>
                    <a:lnTo>
                      <a:pt x="720" y="49"/>
                    </a:lnTo>
                    <a:lnTo>
                      <a:pt x="720" y="50"/>
                    </a:lnTo>
                    <a:lnTo>
                      <a:pt x="720" y="50"/>
                    </a:lnTo>
                    <a:lnTo>
                      <a:pt x="720" y="53"/>
                    </a:lnTo>
                    <a:lnTo>
                      <a:pt x="719" y="56"/>
                    </a:lnTo>
                    <a:lnTo>
                      <a:pt x="719" y="56"/>
                    </a:lnTo>
                    <a:lnTo>
                      <a:pt x="716" y="57"/>
                    </a:lnTo>
                    <a:lnTo>
                      <a:pt x="715" y="58"/>
                    </a:lnTo>
                    <a:lnTo>
                      <a:pt x="715" y="58"/>
                    </a:lnTo>
                    <a:lnTo>
                      <a:pt x="714" y="57"/>
                    </a:lnTo>
                    <a:lnTo>
                      <a:pt x="714" y="57"/>
                    </a:lnTo>
                    <a:lnTo>
                      <a:pt x="714" y="57"/>
                    </a:lnTo>
                    <a:lnTo>
                      <a:pt x="714" y="57"/>
                    </a:lnTo>
                    <a:lnTo>
                      <a:pt x="712" y="54"/>
                    </a:lnTo>
                    <a:lnTo>
                      <a:pt x="712" y="56"/>
                    </a:lnTo>
                    <a:lnTo>
                      <a:pt x="712" y="56"/>
                    </a:lnTo>
                    <a:lnTo>
                      <a:pt x="711" y="56"/>
                    </a:lnTo>
                    <a:lnTo>
                      <a:pt x="714" y="58"/>
                    </a:lnTo>
                    <a:lnTo>
                      <a:pt x="714" y="58"/>
                    </a:lnTo>
                    <a:lnTo>
                      <a:pt x="714" y="58"/>
                    </a:lnTo>
                    <a:lnTo>
                      <a:pt x="714" y="58"/>
                    </a:lnTo>
                    <a:lnTo>
                      <a:pt x="714" y="58"/>
                    </a:lnTo>
                    <a:lnTo>
                      <a:pt x="714" y="58"/>
                    </a:lnTo>
                    <a:lnTo>
                      <a:pt x="714" y="58"/>
                    </a:lnTo>
                    <a:lnTo>
                      <a:pt x="715" y="61"/>
                    </a:lnTo>
                    <a:lnTo>
                      <a:pt x="715" y="61"/>
                    </a:lnTo>
                    <a:lnTo>
                      <a:pt x="715" y="61"/>
                    </a:lnTo>
                    <a:lnTo>
                      <a:pt x="715" y="61"/>
                    </a:lnTo>
                    <a:lnTo>
                      <a:pt x="715" y="60"/>
                    </a:lnTo>
                    <a:lnTo>
                      <a:pt x="716" y="61"/>
                    </a:lnTo>
                    <a:lnTo>
                      <a:pt x="716" y="64"/>
                    </a:lnTo>
                    <a:lnTo>
                      <a:pt x="716" y="64"/>
                    </a:lnTo>
                    <a:lnTo>
                      <a:pt x="718" y="68"/>
                    </a:lnTo>
                    <a:lnTo>
                      <a:pt x="718" y="68"/>
                    </a:lnTo>
                    <a:lnTo>
                      <a:pt x="718" y="68"/>
                    </a:lnTo>
                    <a:lnTo>
                      <a:pt x="716" y="65"/>
                    </a:lnTo>
                    <a:lnTo>
                      <a:pt x="715" y="65"/>
                    </a:lnTo>
                    <a:lnTo>
                      <a:pt x="719" y="70"/>
                    </a:lnTo>
                    <a:lnTo>
                      <a:pt x="719" y="73"/>
                    </a:lnTo>
                    <a:lnTo>
                      <a:pt x="719" y="73"/>
                    </a:lnTo>
                    <a:lnTo>
                      <a:pt x="720" y="77"/>
                    </a:lnTo>
                    <a:lnTo>
                      <a:pt x="723" y="79"/>
                    </a:lnTo>
                    <a:lnTo>
                      <a:pt x="726" y="82"/>
                    </a:lnTo>
                    <a:lnTo>
                      <a:pt x="726" y="82"/>
                    </a:lnTo>
                    <a:lnTo>
                      <a:pt x="727" y="85"/>
                    </a:lnTo>
                    <a:lnTo>
                      <a:pt x="732" y="87"/>
                    </a:lnTo>
                    <a:lnTo>
                      <a:pt x="732" y="87"/>
                    </a:lnTo>
                    <a:lnTo>
                      <a:pt x="737" y="90"/>
                    </a:lnTo>
                    <a:lnTo>
                      <a:pt x="737" y="90"/>
                    </a:lnTo>
                    <a:lnTo>
                      <a:pt x="737" y="91"/>
                    </a:lnTo>
                    <a:lnTo>
                      <a:pt x="737" y="91"/>
                    </a:lnTo>
                    <a:lnTo>
                      <a:pt x="736" y="90"/>
                    </a:lnTo>
                    <a:lnTo>
                      <a:pt x="740" y="94"/>
                    </a:lnTo>
                    <a:lnTo>
                      <a:pt x="740" y="94"/>
                    </a:lnTo>
                    <a:lnTo>
                      <a:pt x="740" y="93"/>
                    </a:lnTo>
                    <a:lnTo>
                      <a:pt x="740" y="93"/>
                    </a:lnTo>
                    <a:lnTo>
                      <a:pt x="743" y="94"/>
                    </a:lnTo>
                    <a:lnTo>
                      <a:pt x="743" y="94"/>
                    </a:lnTo>
                    <a:lnTo>
                      <a:pt x="744" y="94"/>
                    </a:lnTo>
                    <a:lnTo>
                      <a:pt x="744" y="94"/>
                    </a:lnTo>
                    <a:lnTo>
                      <a:pt x="745" y="93"/>
                    </a:lnTo>
                    <a:lnTo>
                      <a:pt x="745" y="93"/>
                    </a:lnTo>
                    <a:lnTo>
                      <a:pt x="749" y="94"/>
                    </a:lnTo>
                    <a:lnTo>
                      <a:pt x="751" y="95"/>
                    </a:lnTo>
                    <a:lnTo>
                      <a:pt x="755" y="97"/>
                    </a:lnTo>
                    <a:lnTo>
                      <a:pt x="755" y="97"/>
                    </a:lnTo>
                    <a:lnTo>
                      <a:pt x="755" y="97"/>
                    </a:lnTo>
                    <a:lnTo>
                      <a:pt x="755" y="97"/>
                    </a:lnTo>
                    <a:lnTo>
                      <a:pt x="756" y="97"/>
                    </a:lnTo>
                    <a:lnTo>
                      <a:pt x="756" y="97"/>
                    </a:lnTo>
                    <a:lnTo>
                      <a:pt x="759" y="98"/>
                    </a:lnTo>
                    <a:lnTo>
                      <a:pt x="761" y="101"/>
                    </a:lnTo>
                    <a:lnTo>
                      <a:pt x="763" y="107"/>
                    </a:lnTo>
                    <a:lnTo>
                      <a:pt x="763" y="107"/>
                    </a:lnTo>
                    <a:lnTo>
                      <a:pt x="760" y="111"/>
                    </a:lnTo>
                    <a:lnTo>
                      <a:pt x="760" y="111"/>
                    </a:lnTo>
                    <a:lnTo>
                      <a:pt x="759" y="114"/>
                    </a:lnTo>
                    <a:lnTo>
                      <a:pt x="757" y="118"/>
                    </a:lnTo>
                    <a:lnTo>
                      <a:pt x="757" y="118"/>
                    </a:lnTo>
                    <a:lnTo>
                      <a:pt x="760" y="123"/>
                    </a:lnTo>
                    <a:lnTo>
                      <a:pt x="761" y="124"/>
                    </a:lnTo>
                    <a:lnTo>
                      <a:pt x="763" y="127"/>
                    </a:lnTo>
                    <a:lnTo>
                      <a:pt x="763" y="128"/>
                    </a:lnTo>
                    <a:lnTo>
                      <a:pt x="763" y="128"/>
                    </a:lnTo>
                    <a:lnTo>
                      <a:pt x="763" y="130"/>
                    </a:lnTo>
                    <a:lnTo>
                      <a:pt x="763" y="130"/>
                    </a:lnTo>
                    <a:lnTo>
                      <a:pt x="764" y="131"/>
                    </a:lnTo>
                    <a:lnTo>
                      <a:pt x="765" y="128"/>
                    </a:lnTo>
                    <a:lnTo>
                      <a:pt x="765" y="128"/>
                    </a:lnTo>
                    <a:lnTo>
                      <a:pt x="769" y="127"/>
                    </a:lnTo>
                    <a:lnTo>
                      <a:pt x="773" y="126"/>
                    </a:lnTo>
                    <a:lnTo>
                      <a:pt x="773" y="126"/>
                    </a:lnTo>
                    <a:lnTo>
                      <a:pt x="776" y="127"/>
                    </a:lnTo>
                    <a:lnTo>
                      <a:pt x="788" y="127"/>
                    </a:lnTo>
                    <a:lnTo>
                      <a:pt x="793" y="130"/>
                    </a:lnTo>
                    <a:lnTo>
                      <a:pt x="793" y="130"/>
                    </a:lnTo>
                    <a:lnTo>
                      <a:pt x="793" y="130"/>
                    </a:lnTo>
                    <a:lnTo>
                      <a:pt x="796" y="131"/>
                    </a:lnTo>
                    <a:lnTo>
                      <a:pt x="797" y="134"/>
                    </a:lnTo>
                    <a:lnTo>
                      <a:pt x="800" y="138"/>
                    </a:lnTo>
                    <a:lnTo>
                      <a:pt x="800" y="138"/>
                    </a:lnTo>
                    <a:lnTo>
                      <a:pt x="801" y="140"/>
                    </a:lnTo>
                    <a:lnTo>
                      <a:pt x="804" y="144"/>
                    </a:lnTo>
                    <a:lnTo>
                      <a:pt x="804" y="144"/>
                    </a:lnTo>
                    <a:lnTo>
                      <a:pt x="805" y="146"/>
                    </a:lnTo>
                    <a:lnTo>
                      <a:pt x="809" y="146"/>
                    </a:lnTo>
                    <a:lnTo>
                      <a:pt x="809" y="146"/>
                    </a:lnTo>
                    <a:lnTo>
                      <a:pt x="810" y="146"/>
                    </a:lnTo>
                    <a:lnTo>
                      <a:pt x="810" y="146"/>
                    </a:lnTo>
                    <a:lnTo>
                      <a:pt x="816" y="146"/>
                    </a:lnTo>
                    <a:lnTo>
                      <a:pt x="818" y="147"/>
                    </a:lnTo>
                    <a:lnTo>
                      <a:pt x="821" y="148"/>
                    </a:lnTo>
                    <a:lnTo>
                      <a:pt x="821" y="149"/>
                    </a:lnTo>
                    <a:lnTo>
                      <a:pt x="821" y="149"/>
                    </a:lnTo>
                    <a:lnTo>
                      <a:pt x="822" y="152"/>
                    </a:lnTo>
                    <a:lnTo>
                      <a:pt x="822" y="153"/>
                    </a:lnTo>
                    <a:lnTo>
                      <a:pt x="822" y="159"/>
                    </a:lnTo>
                    <a:lnTo>
                      <a:pt x="822" y="159"/>
                    </a:lnTo>
                    <a:lnTo>
                      <a:pt x="822" y="159"/>
                    </a:lnTo>
                    <a:lnTo>
                      <a:pt x="822" y="159"/>
                    </a:lnTo>
                    <a:lnTo>
                      <a:pt x="827" y="159"/>
                    </a:lnTo>
                    <a:lnTo>
                      <a:pt x="831" y="157"/>
                    </a:lnTo>
                    <a:lnTo>
                      <a:pt x="834" y="157"/>
                    </a:lnTo>
                    <a:lnTo>
                      <a:pt x="841" y="157"/>
                    </a:lnTo>
                    <a:lnTo>
                      <a:pt x="841" y="157"/>
                    </a:lnTo>
                    <a:lnTo>
                      <a:pt x="842" y="156"/>
                    </a:lnTo>
                    <a:lnTo>
                      <a:pt x="842" y="156"/>
                    </a:lnTo>
                    <a:lnTo>
                      <a:pt x="845" y="157"/>
                    </a:lnTo>
                    <a:lnTo>
                      <a:pt x="845" y="157"/>
                    </a:lnTo>
                    <a:lnTo>
                      <a:pt x="846" y="157"/>
                    </a:lnTo>
                    <a:lnTo>
                      <a:pt x="846" y="157"/>
                    </a:lnTo>
                    <a:lnTo>
                      <a:pt x="845" y="157"/>
                    </a:lnTo>
                    <a:lnTo>
                      <a:pt x="843" y="159"/>
                    </a:lnTo>
                    <a:lnTo>
                      <a:pt x="843" y="159"/>
                    </a:lnTo>
                    <a:lnTo>
                      <a:pt x="842" y="163"/>
                    </a:lnTo>
                    <a:lnTo>
                      <a:pt x="847" y="156"/>
                    </a:lnTo>
                    <a:lnTo>
                      <a:pt x="849" y="156"/>
                    </a:lnTo>
                    <a:lnTo>
                      <a:pt x="850" y="157"/>
                    </a:lnTo>
                    <a:lnTo>
                      <a:pt x="850" y="157"/>
                    </a:lnTo>
                    <a:lnTo>
                      <a:pt x="851" y="157"/>
                    </a:lnTo>
                    <a:lnTo>
                      <a:pt x="851" y="157"/>
                    </a:lnTo>
                    <a:lnTo>
                      <a:pt x="854" y="156"/>
                    </a:lnTo>
                    <a:lnTo>
                      <a:pt x="854" y="156"/>
                    </a:lnTo>
                    <a:lnTo>
                      <a:pt x="858" y="157"/>
                    </a:lnTo>
                    <a:lnTo>
                      <a:pt x="860" y="159"/>
                    </a:lnTo>
                    <a:lnTo>
                      <a:pt x="862" y="161"/>
                    </a:lnTo>
                    <a:lnTo>
                      <a:pt x="863" y="164"/>
                    </a:lnTo>
                    <a:lnTo>
                      <a:pt x="863" y="164"/>
                    </a:lnTo>
                    <a:lnTo>
                      <a:pt x="862" y="168"/>
                    </a:lnTo>
                    <a:lnTo>
                      <a:pt x="860" y="172"/>
                    </a:lnTo>
                    <a:lnTo>
                      <a:pt x="860" y="172"/>
                    </a:lnTo>
                    <a:lnTo>
                      <a:pt x="859" y="172"/>
                    </a:lnTo>
                    <a:lnTo>
                      <a:pt x="859" y="175"/>
                    </a:lnTo>
                    <a:lnTo>
                      <a:pt x="859" y="175"/>
                    </a:lnTo>
                    <a:lnTo>
                      <a:pt x="854" y="181"/>
                    </a:lnTo>
                    <a:lnTo>
                      <a:pt x="851" y="189"/>
                    </a:lnTo>
                    <a:lnTo>
                      <a:pt x="851" y="189"/>
                    </a:lnTo>
                    <a:lnTo>
                      <a:pt x="850" y="194"/>
                    </a:lnTo>
                    <a:lnTo>
                      <a:pt x="847" y="198"/>
                    </a:lnTo>
                    <a:lnTo>
                      <a:pt x="847" y="198"/>
                    </a:lnTo>
                    <a:lnTo>
                      <a:pt x="846" y="202"/>
                    </a:lnTo>
                    <a:lnTo>
                      <a:pt x="845" y="204"/>
                    </a:lnTo>
                    <a:lnTo>
                      <a:pt x="845" y="204"/>
                    </a:lnTo>
                    <a:lnTo>
                      <a:pt x="841" y="210"/>
                    </a:lnTo>
                    <a:lnTo>
                      <a:pt x="837" y="220"/>
                    </a:lnTo>
                    <a:lnTo>
                      <a:pt x="837" y="220"/>
                    </a:lnTo>
                    <a:lnTo>
                      <a:pt x="835" y="224"/>
                    </a:lnTo>
                    <a:lnTo>
                      <a:pt x="834" y="227"/>
                    </a:lnTo>
                    <a:lnTo>
                      <a:pt x="834" y="227"/>
                    </a:lnTo>
                    <a:lnTo>
                      <a:pt x="831" y="231"/>
                    </a:lnTo>
                    <a:lnTo>
                      <a:pt x="831" y="233"/>
                    </a:lnTo>
                    <a:lnTo>
                      <a:pt x="831" y="233"/>
                    </a:lnTo>
                    <a:lnTo>
                      <a:pt x="826" y="241"/>
                    </a:lnTo>
                    <a:lnTo>
                      <a:pt x="822" y="250"/>
                    </a:lnTo>
                    <a:lnTo>
                      <a:pt x="822" y="250"/>
                    </a:lnTo>
                    <a:lnTo>
                      <a:pt x="821" y="255"/>
                    </a:lnTo>
                    <a:lnTo>
                      <a:pt x="819" y="258"/>
                    </a:lnTo>
                    <a:lnTo>
                      <a:pt x="819" y="258"/>
                    </a:lnTo>
                    <a:lnTo>
                      <a:pt x="818" y="261"/>
                    </a:lnTo>
                    <a:lnTo>
                      <a:pt x="817" y="262"/>
                    </a:lnTo>
                    <a:lnTo>
                      <a:pt x="817" y="262"/>
                    </a:lnTo>
                    <a:lnTo>
                      <a:pt x="812" y="270"/>
                    </a:lnTo>
                    <a:lnTo>
                      <a:pt x="808" y="280"/>
                    </a:lnTo>
                    <a:lnTo>
                      <a:pt x="808" y="280"/>
                    </a:lnTo>
                    <a:lnTo>
                      <a:pt x="806" y="284"/>
                    </a:lnTo>
                    <a:lnTo>
                      <a:pt x="804" y="288"/>
                    </a:lnTo>
                    <a:lnTo>
                      <a:pt x="804" y="288"/>
                    </a:lnTo>
                    <a:lnTo>
                      <a:pt x="802" y="292"/>
                    </a:lnTo>
                    <a:lnTo>
                      <a:pt x="802" y="294"/>
                    </a:lnTo>
                    <a:lnTo>
                      <a:pt x="802" y="294"/>
                    </a:lnTo>
                    <a:lnTo>
                      <a:pt x="797" y="300"/>
                    </a:lnTo>
                    <a:lnTo>
                      <a:pt x="794" y="309"/>
                    </a:lnTo>
                    <a:lnTo>
                      <a:pt x="794" y="309"/>
                    </a:lnTo>
                    <a:lnTo>
                      <a:pt x="792" y="315"/>
                    </a:lnTo>
                    <a:lnTo>
                      <a:pt x="789" y="319"/>
                    </a:lnTo>
                    <a:lnTo>
                      <a:pt x="789" y="319"/>
                    </a:lnTo>
                    <a:lnTo>
                      <a:pt x="788" y="324"/>
                    </a:lnTo>
                    <a:lnTo>
                      <a:pt x="784" y="327"/>
                    </a:lnTo>
                    <a:lnTo>
                      <a:pt x="784" y="327"/>
                    </a:lnTo>
                    <a:lnTo>
                      <a:pt x="782" y="325"/>
                    </a:lnTo>
                    <a:lnTo>
                      <a:pt x="784" y="327"/>
                    </a:lnTo>
                    <a:lnTo>
                      <a:pt x="782" y="328"/>
                    </a:lnTo>
                    <a:lnTo>
                      <a:pt x="782" y="328"/>
                    </a:lnTo>
                    <a:lnTo>
                      <a:pt x="784" y="327"/>
                    </a:lnTo>
                    <a:lnTo>
                      <a:pt x="786" y="331"/>
                    </a:lnTo>
                    <a:lnTo>
                      <a:pt x="786" y="333"/>
                    </a:lnTo>
                    <a:lnTo>
                      <a:pt x="782" y="337"/>
                    </a:lnTo>
                    <a:lnTo>
                      <a:pt x="782" y="337"/>
                    </a:lnTo>
                    <a:lnTo>
                      <a:pt x="782" y="337"/>
                    </a:lnTo>
                    <a:lnTo>
                      <a:pt x="782" y="339"/>
                    </a:lnTo>
                    <a:lnTo>
                      <a:pt x="782" y="339"/>
                    </a:lnTo>
                    <a:lnTo>
                      <a:pt x="782" y="339"/>
                    </a:lnTo>
                    <a:lnTo>
                      <a:pt x="782" y="339"/>
                    </a:lnTo>
                    <a:lnTo>
                      <a:pt x="784" y="340"/>
                    </a:lnTo>
                    <a:lnTo>
                      <a:pt x="785" y="340"/>
                    </a:lnTo>
                    <a:lnTo>
                      <a:pt x="785" y="340"/>
                    </a:lnTo>
                    <a:lnTo>
                      <a:pt x="790" y="345"/>
                    </a:lnTo>
                    <a:lnTo>
                      <a:pt x="794" y="353"/>
                    </a:lnTo>
                    <a:lnTo>
                      <a:pt x="796" y="356"/>
                    </a:lnTo>
                    <a:lnTo>
                      <a:pt x="796" y="356"/>
                    </a:lnTo>
                    <a:lnTo>
                      <a:pt x="796" y="357"/>
                    </a:lnTo>
                    <a:lnTo>
                      <a:pt x="796" y="357"/>
                    </a:lnTo>
                    <a:lnTo>
                      <a:pt x="796" y="357"/>
                    </a:lnTo>
                    <a:lnTo>
                      <a:pt x="798" y="358"/>
                    </a:lnTo>
                    <a:lnTo>
                      <a:pt x="798" y="358"/>
                    </a:lnTo>
                    <a:lnTo>
                      <a:pt x="800" y="361"/>
                    </a:lnTo>
                    <a:lnTo>
                      <a:pt x="800" y="364"/>
                    </a:lnTo>
                    <a:lnTo>
                      <a:pt x="800" y="364"/>
                    </a:lnTo>
                    <a:lnTo>
                      <a:pt x="802" y="366"/>
                    </a:lnTo>
                    <a:lnTo>
                      <a:pt x="802" y="366"/>
                    </a:lnTo>
                    <a:lnTo>
                      <a:pt x="804" y="369"/>
                    </a:lnTo>
                    <a:lnTo>
                      <a:pt x="804" y="369"/>
                    </a:lnTo>
                    <a:lnTo>
                      <a:pt x="805" y="369"/>
                    </a:lnTo>
                    <a:lnTo>
                      <a:pt x="805" y="369"/>
                    </a:lnTo>
                    <a:lnTo>
                      <a:pt x="806" y="369"/>
                    </a:lnTo>
                    <a:lnTo>
                      <a:pt x="806" y="369"/>
                    </a:lnTo>
                    <a:lnTo>
                      <a:pt x="805" y="370"/>
                    </a:lnTo>
                    <a:lnTo>
                      <a:pt x="805" y="370"/>
                    </a:lnTo>
                    <a:lnTo>
                      <a:pt x="806" y="370"/>
                    </a:lnTo>
                    <a:lnTo>
                      <a:pt x="806" y="370"/>
                    </a:lnTo>
                    <a:lnTo>
                      <a:pt x="806" y="369"/>
                    </a:lnTo>
                    <a:lnTo>
                      <a:pt x="806" y="369"/>
                    </a:lnTo>
                    <a:lnTo>
                      <a:pt x="806" y="370"/>
                    </a:lnTo>
                    <a:lnTo>
                      <a:pt x="809" y="368"/>
                    </a:lnTo>
                    <a:lnTo>
                      <a:pt x="810" y="368"/>
                    </a:lnTo>
                    <a:lnTo>
                      <a:pt x="814" y="369"/>
                    </a:lnTo>
                    <a:lnTo>
                      <a:pt x="814" y="369"/>
                    </a:lnTo>
                    <a:lnTo>
                      <a:pt x="816" y="369"/>
                    </a:lnTo>
                    <a:lnTo>
                      <a:pt x="816" y="369"/>
                    </a:lnTo>
                    <a:lnTo>
                      <a:pt x="819" y="372"/>
                    </a:lnTo>
                    <a:lnTo>
                      <a:pt x="822" y="374"/>
                    </a:lnTo>
                    <a:lnTo>
                      <a:pt x="823" y="378"/>
                    </a:lnTo>
                    <a:lnTo>
                      <a:pt x="823" y="378"/>
                    </a:lnTo>
                    <a:lnTo>
                      <a:pt x="823" y="380"/>
                    </a:lnTo>
                    <a:lnTo>
                      <a:pt x="823" y="380"/>
                    </a:lnTo>
                    <a:lnTo>
                      <a:pt x="823" y="382"/>
                    </a:lnTo>
                    <a:lnTo>
                      <a:pt x="823" y="377"/>
                    </a:lnTo>
                    <a:lnTo>
                      <a:pt x="830" y="381"/>
                    </a:lnTo>
                    <a:lnTo>
                      <a:pt x="830" y="381"/>
                    </a:lnTo>
                    <a:lnTo>
                      <a:pt x="827" y="378"/>
                    </a:lnTo>
                    <a:lnTo>
                      <a:pt x="826" y="378"/>
                    </a:lnTo>
                    <a:lnTo>
                      <a:pt x="827" y="378"/>
                    </a:lnTo>
                    <a:lnTo>
                      <a:pt x="827" y="378"/>
                    </a:lnTo>
                    <a:lnTo>
                      <a:pt x="829" y="378"/>
                    </a:lnTo>
                    <a:lnTo>
                      <a:pt x="834" y="382"/>
                    </a:lnTo>
                    <a:lnTo>
                      <a:pt x="834" y="382"/>
                    </a:lnTo>
                    <a:lnTo>
                      <a:pt x="834" y="382"/>
                    </a:lnTo>
                    <a:lnTo>
                      <a:pt x="837" y="389"/>
                    </a:lnTo>
                    <a:lnTo>
                      <a:pt x="841" y="393"/>
                    </a:lnTo>
                    <a:lnTo>
                      <a:pt x="845" y="395"/>
                    </a:lnTo>
                    <a:lnTo>
                      <a:pt x="851" y="395"/>
                    </a:lnTo>
                    <a:lnTo>
                      <a:pt x="851" y="395"/>
                    </a:lnTo>
                    <a:lnTo>
                      <a:pt x="855" y="395"/>
                    </a:lnTo>
                    <a:lnTo>
                      <a:pt x="862" y="402"/>
                    </a:lnTo>
                    <a:lnTo>
                      <a:pt x="862" y="403"/>
                    </a:lnTo>
                    <a:lnTo>
                      <a:pt x="859" y="407"/>
                    </a:lnTo>
                    <a:lnTo>
                      <a:pt x="859" y="407"/>
                    </a:lnTo>
                    <a:lnTo>
                      <a:pt x="860" y="406"/>
                    </a:lnTo>
                    <a:lnTo>
                      <a:pt x="860" y="406"/>
                    </a:lnTo>
                    <a:lnTo>
                      <a:pt x="860" y="409"/>
                    </a:lnTo>
                    <a:lnTo>
                      <a:pt x="860" y="409"/>
                    </a:lnTo>
                    <a:lnTo>
                      <a:pt x="860" y="409"/>
                    </a:lnTo>
                    <a:lnTo>
                      <a:pt x="863" y="413"/>
                    </a:lnTo>
                    <a:lnTo>
                      <a:pt x="863" y="414"/>
                    </a:lnTo>
                    <a:lnTo>
                      <a:pt x="864" y="414"/>
                    </a:lnTo>
                    <a:lnTo>
                      <a:pt x="870" y="421"/>
                    </a:lnTo>
                    <a:lnTo>
                      <a:pt x="870" y="421"/>
                    </a:lnTo>
                    <a:lnTo>
                      <a:pt x="870" y="419"/>
                    </a:lnTo>
                    <a:lnTo>
                      <a:pt x="870" y="417"/>
                    </a:lnTo>
                    <a:lnTo>
                      <a:pt x="870" y="417"/>
                    </a:lnTo>
                    <a:lnTo>
                      <a:pt x="870" y="417"/>
                    </a:lnTo>
                    <a:lnTo>
                      <a:pt x="871" y="418"/>
                    </a:lnTo>
                    <a:lnTo>
                      <a:pt x="871" y="418"/>
                    </a:lnTo>
                    <a:lnTo>
                      <a:pt x="870" y="417"/>
                    </a:lnTo>
                    <a:lnTo>
                      <a:pt x="870" y="417"/>
                    </a:lnTo>
                    <a:lnTo>
                      <a:pt x="871" y="417"/>
                    </a:lnTo>
                    <a:lnTo>
                      <a:pt x="872" y="418"/>
                    </a:lnTo>
                    <a:lnTo>
                      <a:pt x="872" y="418"/>
                    </a:lnTo>
                    <a:lnTo>
                      <a:pt x="875" y="417"/>
                    </a:lnTo>
                    <a:lnTo>
                      <a:pt x="878" y="415"/>
                    </a:lnTo>
                    <a:lnTo>
                      <a:pt x="878" y="415"/>
                    </a:lnTo>
                    <a:lnTo>
                      <a:pt x="879" y="415"/>
                    </a:lnTo>
                    <a:lnTo>
                      <a:pt x="880" y="417"/>
                    </a:lnTo>
                    <a:lnTo>
                      <a:pt x="880" y="417"/>
                    </a:lnTo>
                    <a:lnTo>
                      <a:pt x="880" y="417"/>
                    </a:lnTo>
                    <a:lnTo>
                      <a:pt x="880" y="418"/>
                    </a:lnTo>
                    <a:lnTo>
                      <a:pt x="884" y="423"/>
                    </a:lnTo>
                    <a:lnTo>
                      <a:pt x="884" y="423"/>
                    </a:lnTo>
                    <a:lnTo>
                      <a:pt x="884" y="422"/>
                    </a:lnTo>
                    <a:lnTo>
                      <a:pt x="886" y="423"/>
                    </a:lnTo>
                    <a:lnTo>
                      <a:pt x="886" y="423"/>
                    </a:lnTo>
                    <a:lnTo>
                      <a:pt x="884" y="421"/>
                    </a:lnTo>
                    <a:lnTo>
                      <a:pt x="884" y="421"/>
                    </a:lnTo>
                    <a:lnTo>
                      <a:pt x="883" y="419"/>
                    </a:lnTo>
                    <a:lnTo>
                      <a:pt x="883" y="419"/>
                    </a:lnTo>
                    <a:lnTo>
                      <a:pt x="883" y="419"/>
                    </a:lnTo>
                    <a:lnTo>
                      <a:pt x="883" y="419"/>
                    </a:lnTo>
                    <a:lnTo>
                      <a:pt x="883" y="418"/>
                    </a:lnTo>
                    <a:lnTo>
                      <a:pt x="883" y="418"/>
                    </a:lnTo>
                    <a:lnTo>
                      <a:pt x="884" y="418"/>
                    </a:lnTo>
                    <a:lnTo>
                      <a:pt x="884" y="418"/>
                    </a:lnTo>
                    <a:lnTo>
                      <a:pt x="887" y="418"/>
                    </a:lnTo>
                    <a:lnTo>
                      <a:pt x="888" y="418"/>
                    </a:lnTo>
                    <a:lnTo>
                      <a:pt x="895" y="426"/>
                    </a:lnTo>
                    <a:lnTo>
                      <a:pt x="895" y="426"/>
                    </a:lnTo>
                    <a:lnTo>
                      <a:pt x="894" y="423"/>
                    </a:lnTo>
                    <a:lnTo>
                      <a:pt x="894" y="423"/>
                    </a:lnTo>
                    <a:lnTo>
                      <a:pt x="895" y="424"/>
                    </a:lnTo>
                    <a:lnTo>
                      <a:pt x="896" y="428"/>
                    </a:lnTo>
                    <a:lnTo>
                      <a:pt x="894" y="432"/>
                    </a:lnTo>
                    <a:lnTo>
                      <a:pt x="894" y="432"/>
                    </a:lnTo>
                    <a:lnTo>
                      <a:pt x="892" y="434"/>
                    </a:lnTo>
                    <a:lnTo>
                      <a:pt x="892" y="434"/>
                    </a:lnTo>
                    <a:lnTo>
                      <a:pt x="894" y="436"/>
                    </a:lnTo>
                    <a:lnTo>
                      <a:pt x="896" y="442"/>
                    </a:lnTo>
                    <a:lnTo>
                      <a:pt x="896" y="442"/>
                    </a:lnTo>
                    <a:lnTo>
                      <a:pt x="900" y="447"/>
                    </a:lnTo>
                    <a:lnTo>
                      <a:pt x="903" y="454"/>
                    </a:lnTo>
                    <a:lnTo>
                      <a:pt x="904" y="455"/>
                    </a:lnTo>
                    <a:lnTo>
                      <a:pt x="904" y="455"/>
                    </a:lnTo>
                    <a:lnTo>
                      <a:pt x="905" y="456"/>
                    </a:lnTo>
                    <a:lnTo>
                      <a:pt x="905" y="456"/>
                    </a:lnTo>
                    <a:lnTo>
                      <a:pt x="908" y="458"/>
                    </a:lnTo>
                    <a:lnTo>
                      <a:pt x="912" y="462"/>
                    </a:lnTo>
                    <a:lnTo>
                      <a:pt x="912" y="464"/>
                    </a:lnTo>
                    <a:lnTo>
                      <a:pt x="912" y="465"/>
                    </a:lnTo>
                    <a:lnTo>
                      <a:pt x="912" y="465"/>
                    </a:lnTo>
                    <a:lnTo>
                      <a:pt x="912" y="465"/>
                    </a:lnTo>
                    <a:lnTo>
                      <a:pt x="912" y="468"/>
                    </a:lnTo>
                    <a:lnTo>
                      <a:pt x="913" y="472"/>
                    </a:lnTo>
                    <a:lnTo>
                      <a:pt x="913" y="472"/>
                    </a:lnTo>
                    <a:lnTo>
                      <a:pt x="917" y="477"/>
                    </a:lnTo>
                    <a:lnTo>
                      <a:pt x="917" y="477"/>
                    </a:lnTo>
                    <a:lnTo>
                      <a:pt x="917" y="477"/>
                    </a:lnTo>
                    <a:lnTo>
                      <a:pt x="923" y="477"/>
                    </a:lnTo>
                    <a:lnTo>
                      <a:pt x="923" y="477"/>
                    </a:lnTo>
                    <a:lnTo>
                      <a:pt x="925" y="480"/>
                    </a:lnTo>
                    <a:lnTo>
                      <a:pt x="927" y="483"/>
                    </a:lnTo>
                    <a:lnTo>
                      <a:pt x="928" y="488"/>
                    </a:lnTo>
                    <a:lnTo>
                      <a:pt x="928" y="488"/>
                    </a:lnTo>
                    <a:lnTo>
                      <a:pt x="928" y="489"/>
                    </a:lnTo>
                    <a:lnTo>
                      <a:pt x="928" y="491"/>
                    </a:lnTo>
                    <a:lnTo>
                      <a:pt x="928" y="491"/>
                    </a:lnTo>
                    <a:lnTo>
                      <a:pt x="932" y="495"/>
                    </a:lnTo>
                    <a:lnTo>
                      <a:pt x="932" y="495"/>
                    </a:lnTo>
                    <a:lnTo>
                      <a:pt x="937" y="501"/>
                    </a:lnTo>
                    <a:lnTo>
                      <a:pt x="938" y="501"/>
                    </a:lnTo>
                    <a:lnTo>
                      <a:pt x="938" y="501"/>
                    </a:lnTo>
                    <a:lnTo>
                      <a:pt x="937" y="501"/>
                    </a:lnTo>
                    <a:lnTo>
                      <a:pt x="937" y="501"/>
                    </a:lnTo>
                    <a:lnTo>
                      <a:pt x="938" y="501"/>
                    </a:lnTo>
                    <a:lnTo>
                      <a:pt x="940" y="500"/>
                    </a:lnTo>
                    <a:lnTo>
                      <a:pt x="944" y="500"/>
                    </a:lnTo>
                    <a:lnTo>
                      <a:pt x="950" y="506"/>
                    </a:lnTo>
                    <a:lnTo>
                      <a:pt x="950" y="506"/>
                    </a:lnTo>
                    <a:lnTo>
                      <a:pt x="949" y="505"/>
                    </a:lnTo>
                    <a:lnTo>
                      <a:pt x="949" y="505"/>
                    </a:lnTo>
                    <a:lnTo>
                      <a:pt x="952" y="508"/>
                    </a:lnTo>
                    <a:lnTo>
                      <a:pt x="952" y="512"/>
                    </a:lnTo>
                    <a:lnTo>
                      <a:pt x="952" y="512"/>
                    </a:lnTo>
                    <a:lnTo>
                      <a:pt x="950" y="516"/>
                    </a:lnTo>
                    <a:lnTo>
                      <a:pt x="949" y="518"/>
                    </a:lnTo>
                    <a:lnTo>
                      <a:pt x="949" y="518"/>
                    </a:lnTo>
                    <a:lnTo>
                      <a:pt x="949" y="518"/>
                    </a:lnTo>
                    <a:lnTo>
                      <a:pt x="950" y="516"/>
                    </a:lnTo>
                    <a:lnTo>
                      <a:pt x="948" y="518"/>
                    </a:lnTo>
                    <a:lnTo>
                      <a:pt x="948" y="518"/>
                    </a:lnTo>
                    <a:lnTo>
                      <a:pt x="946" y="517"/>
                    </a:lnTo>
                    <a:lnTo>
                      <a:pt x="944" y="516"/>
                    </a:lnTo>
                    <a:lnTo>
                      <a:pt x="944" y="517"/>
                    </a:lnTo>
                    <a:lnTo>
                      <a:pt x="946" y="518"/>
                    </a:lnTo>
                    <a:lnTo>
                      <a:pt x="944" y="521"/>
                    </a:lnTo>
                    <a:lnTo>
                      <a:pt x="944" y="522"/>
                    </a:lnTo>
                    <a:lnTo>
                      <a:pt x="944" y="522"/>
                    </a:lnTo>
                    <a:lnTo>
                      <a:pt x="946" y="521"/>
                    </a:lnTo>
                    <a:lnTo>
                      <a:pt x="949" y="520"/>
                    </a:lnTo>
                    <a:lnTo>
                      <a:pt x="949" y="520"/>
                    </a:lnTo>
                    <a:lnTo>
                      <a:pt x="949" y="520"/>
                    </a:lnTo>
                    <a:lnTo>
                      <a:pt x="949" y="520"/>
                    </a:lnTo>
                    <a:lnTo>
                      <a:pt x="949" y="520"/>
                    </a:lnTo>
                    <a:lnTo>
                      <a:pt x="949" y="520"/>
                    </a:lnTo>
                    <a:lnTo>
                      <a:pt x="949" y="520"/>
                    </a:lnTo>
                    <a:lnTo>
                      <a:pt x="949" y="520"/>
                    </a:lnTo>
                    <a:lnTo>
                      <a:pt x="953" y="518"/>
                    </a:lnTo>
                    <a:lnTo>
                      <a:pt x="953" y="518"/>
                    </a:lnTo>
                    <a:lnTo>
                      <a:pt x="957" y="520"/>
                    </a:lnTo>
                    <a:lnTo>
                      <a:pt x="960" y="521"/>
                    </a:lnTo>
                    <a:lnTo>
                      <a:pt x="960" y="521"/>
                    </a:lnTo>
                    <a:lnTo>
                      <a:pt x="962" y="525"/>
                    </a:lnTo>
                    <a:lnTo>
                      <a:pt x="964" y="529"/>
                    </a:lnTo>
                    <a:lnTo>
                      <a:pt x="964" y="529"/>
                    </a:lnTo>
                    <a:lnTo>
                      <a:pt x="965" y="530"/>
                    </a:lnTo>
                    <a:lnTo>
                      <a:pt x="965" y="530"/>
                    </a:lnTo>
                    <a:lnTo>
                      <a:pt x="964" y="529"/>
                    </a:lnTo>
                    <a:lnTo>
                      <a:pt x="968" y="533"/>
                    </a:lnTo>
                    <a:lnTo>
                      <a:pt x="968" y="533"/>
                    </a:lnTo>
                    <a:lnTo>
                      <a:pt x="968" y="533"/>
                    </a:lnTo>
                    <a:lnTo>
                      <a:pt x="970" y="536"/>
                    </a:lnTo>
                    <a:lnTo>
                      <a:pt x="970" y="536"/>
                    </a:lnTo>
                    <a:lnTo>
                      <a:pt x="974" y="538"/>
                    </a:lnTo>
                    <a:lnTo>
                      <a:pt x="974" y="538"/>
                    </a:lnTo>
                    <a:lnTo>
                      <a:pt x="975" y="543"/>
                    </a:lnTo>
                    <a:lnTo>
                      <a:pt x="975" y="543"/>
                    </a:lnTo>
                    <a:lnTo>
                      <a:pt x="978" y="550"/>
                    </a:lnTo>
                    <a:lnTo>
                      <a:pt x="979" y="551"/>
                    </a:lnTo>
                    <a:lnTo>
                      <a:pt x="982" y="553"/>
                    </a:lnTo>
                    <a:lnTo>
                      <a:pt x="985" y="557"/>
                    </a:lnTo>
                    <a:lnTo>
                      <a:pt x="985" y="557"/>
                    </a:lnTo>
                    <a:lnTo>
                      <a:pt x="985" y="557"/>
                    </a:lnTo>
                    <a:lnTo>
                      <a:pt x="985" y="558"/>
                    </a:lnTo>
                    <a:lnTo>
                      <a:pt x="986" y="558"/>
                    </a:lnTo>
                    <a:lnTo>
                      <a:pt x="987" y="558"/>
                    </a:lnTo>
                    <a:lnTo>
                      <a:pt x="987" y="558"/>
                    </a:lnTo>
                    <a:lnTo>
                      <a:pt x="995" y="561"/>
                    </a:lnTo>
                    <a:lnTo>
                      <a:pt x="1003" y="566"/>
                    </a:lnTo>
                    <a:lnTo>
                      <a:pt x="1005" y="569"/>
                    </a:lnTo>
                    <a:lnTo>
                      <a:pt x="1005" y="569"/>
                    </a:lnTo>
                    <a:lnTo>
                      <a:pt x="1006" y="573"/>
                    </a:lnTo>
                    <a:lnTo>
                      <a:pt x="1006" y="573"/>
                    </a:lnTo>
                    <a:lnTo>
                      <a:pt x="1009" y="577"/>
                    </a:lnTo>
                    <a:lnTo>
                      <a:pt x="1011" y="578"/>
                    </a:lnTo>
                    <a:lnTo>
                      <a:pt x="1011" y="578"/>
                    </a:lnTo>
                    <a:lnTo>
                      <a:pt x="1013" y="578"/>
                    </a:lnTo>
                    <a:lnTo>
                      <a:pt x="1013" y="578"/>
                    </a:lnTo>
                    <a:lnTo>
                      <a:pt x="1015" y="575"/>
                    </a:lnTo>
                    <a:lnTo>
                      <a:pt x="1020" y="574"/>
                    </a:lnTo>
                    <a:lnTo>
                      <a:pt x="1022" y="575"/>
                    </a:lnTo>
                    <a:lnTo>
                      <a:pt x="1022" y="575"/>
                    </a:lnTo>
                    <a:lnTo>
                      <a:pt x="1026" y="574"/>
                    </a:lnTo>
                    <a:lnTo>
                      <a:pt x="1026" y="574"/>
                    </a:lnTo>
                    <a:lnTo>
                      <a:pt x="1027" y="574"/>
                    </a:lnTo>
                    <a:lnTo>
                      <a:pt x="1028" y="574"/>
                    </a:lnTo>
                    <a:lnTo>
                      <a:pt x="1032" y="577"/>
                    </a:lnTo>
                    <a:lnTo>
                      <a:pt x="1032" y="577"/>
                    </a:lnTo>
                    <a:lnTo>
                      <a:pt x="1038" y="580"/>
                    </a:lnTo>
                    <a:lnTo>
                      <a:pt x="1038" y="580"/>
                    </a:lnTo>
                    <a:lnTo>
                      <a:pt x="1044" y="586"/>
                    </a:lnTo>
                    <a:lnTo>
                      <a:pt x="1047" y="591"/>
                    </a:lnTo>
                    <a:lnTo>
                      <a:pt x="1050" y="596"/>
                    </a:lnTo>
                    <a:lnTo>
                      <a:pt x="1050" y="596"/>
                    </a:lnTo>
                    <a:lnTo>
                      <a:pt x="1050" y="602"/>
                    </a:lnTo>
                    <a:lnTo>
                      <a:pt x="1050" y="603"/>
                    </a:lnTo>
                    <a:lnTo>
                      <a:pt x="1050" y="603"/>
                    </a:lnTo>
                    <a:lnTo>
                      <a:pt x="1050" y="606"/>
                    </a:lnTo>
                    <a:lnTo>
                      <a:pt x="1051" y="608"/>
                    </a:lnTo>
                    <a:lnTo>
                      <a:pt x="1051" y="620"/>
                    </a:lnTo>
                    <a:lnTo>
                      <a:pt x="1051" y="620"/>
                    </a:lnTo>
                    <a:lnTo>
                      <a:pt x="1052" y="623"/>
                    </a:lnTo>
                    <a:lnTo>
                      <a:pt x="1052" y="625"/>
                    </a:lnTo>
                    <a:lnTo>
                      <a:pt x="1052" y="625"/>
                    </a:lnTo>
                    <a:lnTo>
                      <a:pt x="1053" y="628"/>
                    </a:lnTo>
                    <a:lnTo>
                      <a:pt x="1053" y="628"/>
                    </a:lnTo>
                    <a:lnTo>
                      <a:pt x="1052" y="627"/>
                    </a:lnTo>
                    <a:lnTo>
                      <a:pt x="1055" y="631"/>
                    </a:lnTo>
                    <a:lnTo>
                      <a:pt x="1055" y="636"/>
                    </a:lnTo>
                    <a:lnTo>
                      <a:pt x="1055" y="636"/>
                    </a:lnTo>
                    <a:lnTo>
                      <a:pt x="1055" y="636"/>
                    </a:lnTo>
                    <a:lnTo>
                      <a:pt x="1055" y="637"/>
                    </a:lnTo>
                    <a:lnTo>
                      <a:pt x="1057" y="640"/>
                    </a:lnTo>
                    <a:lnTo>
                      <a:pt x="1057" y="637"/>
                    </a:lnTo>
                    <a:lnTo>
                      <a:pt x="1057" y="637"/>
                    </a:lnTo>
                    <a:lnTo>
                      <a:pt x="1056" y="637"/>
                    </a:lnTo>
                    <a:lnTo>
                      <a:pt x="1056" y="637"/>
                    </a:lnTo>
                    <a:lnTo>
                      <a:pt x="1056" y="637"/>
                    </a:lnTo>
                    <a:lnTo>
                      <a:pt x="1060" y="637"/>
                    </a:lnTo>
                    <a:lnTo>
                      <a:pt x="1060" y="637"/>
                    </a:lnTo>
                    <a:lnTo>
                      <a:pt x="1064" y="640"/>
                    </a:lnTo>
                    <a:lnTo>
                      <a:pt x="1065" y="641"/>
                    </a:lnTo>
                    <a:lnTo>
                      <a:pt x="1065" y="641"/>
                    </a:lnTo>
                    <a:lnTo>
                      <a:pt x="1067" y="644"/>
                    </a:lnTo>
                    <a:lnTo>
                      <a:pt x="1067" y="647"/>
                    </a:lnTo>
                    <a:lnTo>
                      <a:pt x="1065" y="649"/>
                    </a:lnTo>
                    <a:lnTo>
                      <a:pt x="1065" y="649"/>
                    </a:lnTo>
                    <a:lnTo>
                      <a:pt x="1065" y="651"/>
                    </a:lnTo>
                    <a:lnTo>
                      <a:pt x="1065" y="651"/>
                    </a:lnTo>
                    <a:lnTo>
                      <a:pt x="1065" y="649"/>
                    </a:lnTo>
                    <a:lnTo>
                      <a:pt x="1060" y="656"/>
                    </a:lnTo>
                    <a:lnTo>
                      <a:pt x="1060" y="656"/>
                    </a:lnTo>
                    <a:lnTo>
                      <a:pt x="1060" y="656"/>
                    </a:lnTo>
                    <a:lnTo>
                      <a:pt x="1060" y="656"/>
                    </a:lnTo>
                    <a:lnTo>
                      <a:pt x="1060" y="656"/>
                    </a:lnTo>
                    <a:lnTo>
                      <a:pt x="1055" y="658"/>
                    </a:lnTo>
                    <a:lnTo>
                      <a:pt x="1052" y="662"/>
                    </a:lnTo>
                    <a:lnTo>
                      <a:pt x="1052" y="662"/>
                    </a:lnTo>
                    <a:lnTo>
                      <a:pt x="1055" y="662"/>
                    </a:lnTo>
                    <a:lnTo>
                      <a:pt x="1055" y="662"/>
                    </a:lnTo>
                    <a:lnTo>
                      <a:pt x="1059" y="666"/>
                    </a:lnTo>
                    <a:lnTo>
                      <a:pt x="1060" y="669"/>
                    </a:lnTo>
                    <a:lnTo>
                      <a:pt x="1061" y="672"/>
                    </a:lnTo>
                    <a:lnTo>
                      <a:pt x="1061" y="674"/>
                    </a:lnTo>
                    <a:lnTo>
                      <a:pt x="1061" y="674"/>
                    </a:lnTo>
                    <a:lnTo>
                      <a:pt x="1059" y="685"/>
                    </a:lnTo>
                    <a:lnTo>
                      <a:pt x="1056" y="690"/>
                    </a:lnTo>
                    <a:lnTo>
                      <a:pt x="1053" y="694"/>
                    </a:lnTo>
                    <a:lnTo>
                      <a:pt x="1055" y="696"/>
                    </a:lnTo>
                    <a:lnTo>
                      <a:pt x="1055" y="697"/>
                    </a:lnTo>
                    <a:lnTo>
                      <a:pt x="1055" y="697"/>
                    </a:lnTo>
                    <a:lnTo>
                      <a:pt x="1056" y="701"/>
                    </a:lnTo>
                    <a:lnTo>
                      <a:pt x="1056" y="705"/>
                    </a:lnTo>
                    <a:lnTo>
                      <a:pt x="1056" y="706"/>
                    </a:lnTo>
                    <a:lnTo>
                      <a:pt x="1056" y="706"/>
                    </a:lnTo>
                    <a:lnTo>
                      <a:pt x="1051" y="711"/>
                    </a:lnTo>
                    <a:lnTo>
                      <a:pt x="1046" y="715"/>
                    </a:lnTo>
                    <a:lnTo>
                      <a:pt x="1046" y="715"/>
                    </a:lnTo>
                    <a:lnTo>
                      <a:pt x="1046" y="715"/>
                    </a:lnTo>
                    <a:lnTo>
                      <a:pt x="1047" y="718"/>
                    </a:lnTo>
                    <a:lnTo>
                      <a:pt x="1047" y="721"/>
                    </a:lnTo>
                    <a:lnTo>
                      <a:pt x="1047" y="723"/>
                    </a:lnTo>
                    <a:lnTo>
                      <a:pt x="1046" y="725"/>
                    </a:lnTo>
                    <a:lnTo>
                      <a:pt x="1046" y="725"/>
                    </a:lnTo>
                    <a:lnTo>
                      <a:pt x="1044" y="729"/>
                    </a:lnTo>
                    <a:lnTo>
                      <a:pt x="1042" y="731"/>
                    </a:lnTo>
                    <a:lnTo>
                      <a:pt x="1036" y="735"/>
                    </a:lnTo>
                    <a:lnTo>
                      <a:pt x="1036" y="735"/>
                    </a:lnTo>
                    <a:lnTo>
                      <a:pt x="1032" y="737"/>
                    </a:lnTo>
                    <a:lnTo>
                      <a:pt x="1032" y="737"/>
                    </a:lnTo>
                    <a:lnTo>
                      <a:pt x="1031" y="740"/>
                    </a:lnTo>
                    <a:lnTo>
                      <a:pt x="1031" y="740"/>
                    </a:lnTo>
                    <a:lnTo>
                      <a:pt x="1031" y="740"/>
                    </a:lnTo>
                    <a:lnTo>
                      <a:pt x="1031" y="738"/>
                    </a:lnTo>
                    <a:lnTo>
                      <a:pt x="1024" y="744"/>
                    </a:lnTo>
                    <a:lnTo>
                      <a:pt x="1024" y="744"/>
                    </a:lnTo>
                    <a:lnTo>
                      <a:pt x="1024" y="744"/>
                    </a:lnTo>
                    <a:lnTo>
                      <a:pt x="1024" y="744"/>
                    </a:lnTo>
                    <a:lnTo>
                      <a:pt x="1027" y="743"/>
                    </a:lnTo>
                    <a:lnTo>
                      <a:pt x="1028" y="742"/>
                    </a:lnTo>
                    <a:lnTo>
                      <a:pt x="1028" y="742"/>
                    </a:lnTo>
                    <a:lnTo>
                      <a:pt x="1030" y="739"/>
                    </a:lnTo>
                    <a:lnTo>
                      <a:pt x="1030" y="739"/>
                    </a:lnTo>
                    <a:lnTo>
                      <a:pt x="1030" y="740"/>
                    </a:lnTo>
                    <a:lnTo>
                      <a:pt x="1030" y="740"/>
                    </a:lnTo>
                    <a:lnTo>
                      <a:pt x="1030" y="744"/>
                    </a:lnTo>
                    <a:lnTo>
                      <a:pt x="1030" y="746"/>
                    </a:lnTo>
                    <a:lnTo>
                      <a:pt x="1030" y="746"/>
                    </a:lnTo>
                    <a:lnTo>
                      <a:pt x="1030" y="746"/>
                    </a:lnTo>
                    <a:lnTo>
                      <a:pt x="1030" y="746"/>
                    </a:lnTo>
                    <a:lnTo>
                      <a:pt x="1030" y="746"/>
                    </a:lnTo>
                    <a:lnTo>
                      <a:pt x="1027" y="751"/>
                    </a:lnTo>
                    <a:lnTo>
                      <a:pt x="1027" y="751"/>
                    </a:lnTo>
                    <a:lnTo>
                      <a:pt x="1028" y="748"/>
                    </a:lnTo>
                    <a:lnTo>
                      <a:pt x="1028" y="748"/>
                    </a:lnTo>
                    <a:lnTo>
                      <a:pt x="1028" y="751"/>
                    </a:lnTo>
                    <a:lnTo>
                      <a:pt x="1028" y="751"/>
                    </a:lnTo>
                    <a:lnTo>
                      <a:pt x="1030" y="756"/>
                    </a:lnTo>
                    <a:lnTo>
                      <a:pt x="1028" y="760"/>
                    </a:lnTo>
                    <a:lnTo>
                      <a:pt x="1026" y="762"/>
                    </a:lnTo>
                    <a:lnTo>
                      <a:pt x="1024" y="763"/>
                    </a:lnTo>
                    <a:lnTo>
                      <a:pt x="1024" y="763"/>
                    </a:lnTo>
                    <a:lnTo>
                      <a:pt x="1020" y="763"/>
                    </a:lnTo>
                    <a:lnTo>
                      <a:pt x="1020" y="763"/>
                    </a:lnTo>
                    <a:lnTo>
                      <a:pt x="1015" y="762"/>
                    </a:lnTo>
                    <a:lnTo>
                      <a:pt x="1015" y="762"/>
                    </a:lnTo>
                    <a:lnTo>
                      <a:pt x="1014" y="762"/>
                    </a:lnTo>
                    <a:lnTo>
                      <a:pt x="1013" y="762"/>
                    </a:lnTo>
                    <a:lnTo>
                      <a:pt x="1007" y="758"/>
                    </a:lnTo>
                    <a:lnTo>
                      <a:pt x="1007" y="758"/>
                    </a:lnTo>
                    <a:lnTo>
                      <a:pt x="1009" y="759"/>
                    </a:lnTo>
                    <a:lnTo>
                      <a:pt x="1009" y="759"/>
                    </a:lnTo>
                    <a:lnTo>
                      <a:pt x="1006" y="759"/>
                    </a:lnTo>
                    <a:lnTo>
                      <a:pt x="1006" y="759"/>
                    </a:lnTo>
                    <a:lnTo>
                      <a:pt x="1002" y="759"/>
                    </a:lnTo>
                    <a:lnTo>
                      <a:pt x="998" y="758"/>
                    </a:lnTo>
                    <a:lnTo>
                      <a:pt x="998" y="758"/>
                    </a:lnTo>
                    <a:lnTo>
                      <a:pt x="995" y="756"/>
                    </a:lnTo>
                    <a:lnTo>
                      <a:pt x="994" y="756"/>
                    </a:lnTo>
                    <a:lnTo>
                      <a:pt x="994" y="756"/>
                    </a:lnTo>
                    <a:lnTo>
                      <a:pt x="994" y="756"/>
                    </a:lnTo>
                    <a:lnTo>
                      <a:pt x="995" y="756"/>
                    </a:lnTo>
                    <a:lnTo>
                      <a:pt x="990" y="752"/>
                    </a:lnTo>
                    <a:lnTo>
                      <a:pt x="990" y="752"/>
                    </a:lnTo>
                    <a:lnTo>
                      <a:pt x="991" y="754"/>
                    </a:lnTo>
                    <a:lnTo>
                      <a:pt x="991" y="754"/>
                    </a:lnTo>
                    <a:lnTo>
                      <a:pt x="990" y="752"/>
                    </a:lnTo>
                    <a:lnTo>
                      <a:pt x="987" y="752"/>
                    </a:lnTo>
                    <a:lnTo>
                      <a:pt x="983" y="759"/>
                    </a:lnTo>
                    <a:lnTo>
                      <a:pt x="983" y="759"/>
                    </a:lnTo>
                    <a:lnTo>
                      <a:pt x="985" y="758"/>
                    </a:lnTo>
                    <a:lnTo>
                      <a:pt x="985" y="758"/>
                    </a:lnTo>
                    <a:lnTo>
                      <a:pt x="983" y="760"/>
                    </a:lnTo>
                    <a:lnTo>
                      <a:pt x="979" y="762"/>
                    </a:lnTo>
                    <a:lnTo>
                      <a:pt x="979" y="762"/>
                    </a:lnTo>
                    <a:lnTo>
                      <a:pt x="978" y="763"/>
                    </a:lnTo>
                    <a:lnTo>
                      <a:pt x="978" y="763"/>
                    </a:lnTo>
                    <a:lnTo>
                      <a:pt x="977" y="763"/>
                    </a:lnTo>
                    <a:lnTo>
                      <a:pt x="977" y="763"/>
                    </a:lnTo>
                    <a:lnTo>
                      <a:pt x="977" y="762"/>
                    </a:lnTo>
                    <a:lnTo>
                      <a:pt x="972" y="766"/>
                    </a:lnTo>
                    <a:lnTo>
                      <a:pt x="972" y="762"/>
                    </a:lnTo>
                    <a:lnTo>
                      <a:pt x="972" y="762"/>
                    </a:lnTo>
                    <a:lnTo>
                      <a:pt x="972" y="762"/>
                    </a:lnTo>
                    <a:lnTo>
                      <a:pt x="972" y="762"/>
                    </a:lnTo>
                    <a:lnTo>
                      <a:pt x="972" y="759"/>
                    </a:lnTo>
                    <a:lnTo>
                      <a:pt x="972" y="762"/>
                    </a:lnTo>
                    <a:lnTo>
                      <a:pt x="966" y="767"/>
                    </a:lnTo>
                    <a:lnTo>
                      <a:pt x="966" y="767"/>
                    </a:lnTo>
                    <a:lnTo>
                      <a:pt x="968" y="766"/>
                    </a:lnTo>
                    <a:lnTo>
                      <a:pt x="968" y="766"/>
                    </a:lnTo>
                    <a:lnTo>
                      <a:pt x="966" y="767"/>
                    </a:lnTo>
                    <a:lnTo>
                      <a:pt x="966" y="767"/>
                    </a:lnTo>
                    <a:lnTo>
                      <a:pt x="964" y="770"/>
                    </a:lnTo>
                    <a:lnTo>
                      <a:pt x="961" y="770"/>
                    </a:lnTo>
                    <a:lnTo>
                      <a:pt x="958" y="771"/>
                    </a:lnTo>
                    <a:lnTo>
                      <a:pt x="958" y="771"/>
                    </a:lnTo>
                    <a:lnTo>
                      <a:pt x="956" y="771"/>
                    </a:lnTo>
                    <a:lnTo>
                      <a:pt x="956" y="771"/>
                    </a:lnTo>
                    <a:lnTo>
                      <a:pt x="956" y="771"/>
                    </a:lnTo>
                    <a:lnTo>
                      <a:pt x="956" y="771"/>
                    </a:lnTo>
                    <a:lnTo>
                      <a:pt x="956" y="771"/>
                    </a:lnTo>
                    <a:lnTo>
                      <a:pt x="956" y="771"/>
                    </a:lnTo>
                    <a:lnTo>
                      <a:pt x="956" y="771"/>
                    </a:lnTo>
                    <a:lnTo>
                      <a:pt x="956" y="770"/>
                    </a:lnTo>
                    <a:lnTo>
                      <a:pt x="954" y="771"/>
                    </a:lnTo>
                    <a:lnTo>
                      <a:pt x="956" y="771"/>
                    </a:lnTo>
                    <a:lnTo>
                      <a:pt x="956" y="771"/>
                    </a:lnTo>
                    <a:lnTo>
                      <a:pt x="953" y="772"/>
                    </a:lnTo>
                    <a:lnTo>
                      <a:pt x="948" y="774"/>
                    </a:lnTo>
                    <a:lnTo>
                      <a:pt x="942" y="770"/>
                    </a:lnTo>
                    <a:lnTo>
                      <a:pt x="942" y="770"/>
                    </a:lnTo>
                    <a:lnTo>
                      <a:pt x="945" y="772"/>
                    </a:lnTo>
                    <a:lnTo>
                      <a:pt x="945" y="772"/>
                    </a:lnTo>
                    <a:lnTo>
                      <a:pt x="942" y="771"/>
                    </a:lnTo>
                    <a:lnTo>
                      <a:pt x="942" y="771"/>
                    </a:lnTo>
                    <a:lnTo>
                      <a:pt x="940" y="772"/>
                    </a:lnTo>
                    <a:lnTo>
                      <a:pt x="940" y="772"/>
                    </a:lnTo>
                    <a:lnTo>
                      <a:pt x="942" y="770"/>
                    </a:lnTo>
                    <a:lnTo>
                      <a:pt x="938" y="774"/>
                    </a:lnTo>
                    <a:lnTo>
                      <a:pt x="938" y="774"/>
                    </a:lnTo>
                    <a:lnTo>
                      <a:pt x="937" y="774"/>
                    </a:lnTo>
                    <a:lnTo>
                      <a:pt x="937" y="774"/>
                    </a:lnTo>
                    <a:lnTo>
                      <a:pt x="936" y="775"/>
                    </a:lnTo>
                    <a:lnTo>
                      <a:pt x="932" y="776"/>
                    </a:lnTo>
                    <a:lnTo>
                      <a:pt x="932" y="776"/>
                    </a:lnTo>
                    <a:lnTo>
                      <a:pt x="929" y="777"/>
                    </a:lnTo>
                    <a:lnTo>
                      <a:pt x="928" y="780"/>
                    </a:lnTo>
                    <a:lnTo>
                      <a:pt x="928" y="780"/>
                    </a:lnTo>
                    <a:lnTo>
                      <a:pt x="927" y="780"/>
                    </a:lnTo>
                    <a:lnTo>
                      <a:pt x="927" y="780"/>
                    </a:lnTo>
                    <a:lnTo>
                      <a:pt x="927" y="780"/>
                    </a:lnTo>
                    <a:lnTo>
                      <a:pt x="927" y="780"/>
                    </a:lnTo>
                    <a:lnTo>
                      <a:pt x="923" y="785"/>
                    </a:lnTo>
                    <a:lnTo>
                      <a:pt x="923" y="785"/>
                    </a:lnTo>
                    <a:lnTo>
                      <a:pt x="920" y="785"/>
                    </a:lnTo>
                    <a:lnTo>
                      <a:pt x="920" y="785"/>
                    </a:lnTo>
                    <a:lnTo>
                      <a:pt x="916" y="785"/>
                    </a:lnTo>
                    <a:lnTo>
                      <a:pt x="916" y="785"/>
                    </a:lnTo>
                    <a:lnTo>
                      <a:pt x="913" y="785"/>
                    </a:lnTo>
                    <a:lnTo>
                      <a:pt x="913" y="785"/>
                    </a:lnTo>
                    <a:lnTo>
                      <a:pt x="915" y="784"/>
                    </a:lnTo>
                    <a:lnTo>
                      <a:pt x="911" y="787"/>
                    </a:lnTo>
                    <a:lnTo>
                      <a:pt x="911" y="787"/>
                    </a:lnTo>
                    <a:lnTo>
                      <a:pt x="913" y="787"/>
                    </a:lnTo>
                    <a:lnTo>
                      <a:pt x="913" y="787"/>
                    </a:lnTo>
                    <a:lnTo>
                      <a:pt x="911" y="788"/>
                    </a:lnTo>
                    <a:lnTo>
                      <a:pt x="907" y="788"/>
                    </a:lnTo>
                    <a:lnTo>
                      <a:pt x="905" y="788"/>
                    </a:lnTo>
                    <a:lnTo>
                      <a:pt x="905" y="788"/>
                    </a:lnTo>
                    <a:lnTo>
                      <a:pt x="905" y="789"/>
                    </a:lnTo>
                    <a:lnTo>
                      <a:pt x="905" y="789"/>
                    </a:lnTo>
                    <a:lnTo>
                      <a:pt x="905" y="791"/>
                    </a:lnTo>
                    <a:lnTo>
                      <a:pt x="905" y="791"/>
                    </a:lnTo>
                    <a:lnTo>
                      <a:pt x="905" y="793"/>
                    </a:lnTo>
                    <a:lnTo>
                      <a:pt x="904" y="796"/>
                    </a:lnTo>
                    <a:lnTo>
                      <a:pt x="899" y="799"/>
                    </a:lnTo>
                    <a:lnTo>
                      <a:pt x="899" y="799"/>
                    </a:lnTo>
                    <a:lnTo>
                      <a:pt x="896" y="797"/>
                    </a:lnTo>
                    <a:lnTo>
                      <a:pt x="896" y="797"/>
                    </a:lnTo>
                    <a:lnTo>
                      <a:pt x="892" y="801"/>
                    </a:lnTo>
                    <a:lnTo>
                      <a:pt x="890" y="805"/>
                    </a:lnTo>
                    <a:lnTo>
                      <a:pt x="884" y="808"/>
                    </a:lnTo>
                    <a:lnTo>
                      <a:pt x="884" y="808"/>
                    </a:lnTo>
                    <a:lnTo>
                      <a:pt x="882" y="808"/>
                    </a:lnTo>
                    <a:lnTo>
                      <a:pt x="882" y="808"/>
                    </a:lnTo>
                    <a:lnTo>
                      <a:pt x="879" y="808"/>
                    </a:lnTo>
                    <a:lnTo>
                      <a:pt x="879" y="808"/>
                    </a:lnTo>
                    <a:lnTo>
                      <a:pt x="882" y="807"/>
                    </a:lnTo>
                    <a:lnTo>
                      <a:pt x="883" y="804"/>
                    </a:lnTo>
                    <a:lnTo>
                      <a:pt x="876" y="809"/>
                    </a:lnTo>
                    <a:lnTo>
                      <a:pt x="874" y="809"/>
                    </a:lnTo>
                    <a:lnTo>
                      <a:pt x="874" y="808"/>
                    </a:lnTo>
                    <a:lnTo>
                      <a:pt x="874" y="808"/>
                    </a:lnTo>
                    <a:lnTo>
                      <a:pt x="871" y="809"/>
                    </a:lnTo>
                    <a:lnTo>
                      <a:pt x="868" y="809"/>
                    </a:lnTo>
                    <a:lnTo>
                      <a:pt x="868" y="809"/>
                    </a:lnTo>
                    <a:lnTo>
                      <a:pt x="864" y="809"/>
                    </a:lnTo>
                    <a:lnTo>
                      <a:pt x="860" y="807"/>
                    </a:lnTo>
                    <a:lnTo>
                      <a:pt x="860" y="807"/>
                    </a:lnTo>
                    <a:lnTo>
                      <a:pt x="859" y="805"/>
                    </a:lnTo>
                    <a:lnTo>
                      <a:pt x="858" y="804"/>
                    </a:lnTo>
                    <a:lnTo>
                      <a:pt x="858" y="804"/>
                    </a:lnTo>
                    <a:lnTo>
                      <a:pt x="859" y="803"/>
                    </a:lnTo>
                    <a:lnTo>
                      <a:pt x="859" y="803"/>
                    </a:lnTo>
                    <a:lnTo>
                      <a:pt x="860" y="800"/>
                    </a:lnTo>
                    <a:lnTo>
                      <a:pt x="860" y="799"/>
                    </a:lnTo>
                    <a:lnTo>
                      <a:pt x="858" y="804"/>
                    </a:lnTo>
                    <a:lnTo>
                      <a:pt x="855" y="799"/>
                    </a:lnTo>
                    <a:lnTo>
                      <a:pt x="855" y="799"/>
                    </a:lnTo>
                    <a:lnTo>
                      <a:pt x="854" y="800"/>
                    </a:lnTo>
                    <a:lnTo>
                      <a:pt x="855" y="803"/>
                    </a:lnTo>
                    <a:lnTo>
                      <a:pt x="855" y="803"/>
                    </a:lnTo>
                    <a:lnTo>
                      <a:pt x="856" y="804"/>
                    </a:lnTo>
                    <a:lnTo>
                      <a:pt x="856" y="805"/>
                    </a:lnTo>
                    <a:lnTo>
                      <a:pt x="855" y="805"/>
                    </a:lnTo>
                    <a:lnTo>
                      <a:pt x="855" y="805"/>
                    </a:lnTo>
                    <a:lnTo>
                      <a:pt x="850" y="808"/>
                    </a:lnTo>
                    <a:lnTo>
                      <a:pt x="843" y="808"/>
                    </a:lnTo>
                    <a:lnTo>
                      <a:pt x="843" y="808"/>
                    </a:lnTo>
                    <a:lnTo>
                      <a:pt x="838" y="812"/>
                    </a:lnTo>
                    <a:lnTo>
                      <a:pt x="837" y="813"/>
                    </a:lnTo>
                    <a:lnTo>
                      <a:pt x="837" y="816"/>
                    </a:lnTo>
                    <a:lnTo>
                      <a:pt x="837" y="818"/>
                    </a:lnTo>
                    <a:lnTo>
                      <a:pt x="835" y="824"/>
                    </a:lnTo>
                    <a:lnTo>
                      <a:pt x="835" y="824"/>
                    </a:lnTo>
                    <a:lnTo>
                      <a:pt x="835" y="822"/>
                    </a:lnTo>
                    <a:lnTo>
                      <a:pt x="835" y="822"/>
                    </a:lnTo>
                    <a:lnTo>
                      <a:pt x="835" y="824"/>
                    </a:lnTo>
                    <a:lnTo>
                      <a:pt x="835" y="824"/>
                    </a:lnTo>
                    <a:lnTo>
                      <a:pt x="834" y="829"/>
                    </a:lnTo>
                    <a:lnTo>
                      <a:pt x="833" y="832"/>
                    </a:lnTo>
                    <a:lnTo>
                      <a:pt x="830" y="833"/>
                    </a:lnTo>
                    <a:lnTo>
                      <a:pt x="827" y="834"/>
                    </a:lnTo>
                    <a:lnTo>
                      <a:pt x="827" y="833"/>
                    </a:lnTo>
                    <a:lnTo>
                      <a:pt x="827" y="833"/>
                    </a:lnTo>
                    <a:lnTo>
                      <a:pt x="827" y="838"/>
                    </a:lnTo>
                    <a:lnTo>
                      <a:pt x="827" y="838"/>
                    </a:lnTo>
                    <a:lnTo>
                      <a:pt x="829" y="841"/>
                    </a:lnTo>
                    <a:lnTo>
                      <a:pt x="829" y="842"/>
                    </a:lnTo>
                    <a:lnTo>
                      <a:pt x="829" y="846"/>
                    </a:lnTo>
                    <a:lnTo>
                      <a:pt x="825" y="852"/>
                    </a:lnTo>
                    <a:lnTo>
                      <a:pt x="825" y="852"/>
                    </a:lnTo>
                    <a:lnTo>
                      <a:pt x="825" y="852"/>
                    </a:lnTo>
                    <a:lnTo>
                      <a:pt x="825" y="852"/>
                    </a:lnTo>
                    <a:lnTo>
                      <a:pt x="825" y="853"/>
                    </a:lnTo>
                    <a:lnTo>
                      <a:pt x="825" y="853"/>
                    </a:lnTo>
                    <a:lnTo>
                      <a:pt x="823" y="854"/>
                    </a:lnTo>
                    <a:lnTo>
                      <a:pt x="823" y="854"/>
                    </a:lnTo>
                    <a:lnTo>
                      <a:pt x="823" y="854"/>
                    </a:lnTo>
                    <a:lnTo>
                      <a:pt x="825" y="857"/>
                    </a:lnTo>
                    <a:lnTo>
                      <a:pt x="826" y="861"/>
                    </a:lnTo>
                    <a:lnTo>
                      <a:pt x="826" y="877"/>
                    </a:lnTo>
                    <a:lnTo>
                      <a:pt x="822" y="882"/>
                    </a:lnTo>
                    <a:lnTo>
                      <a:pt x="822" y="882"/>
                    </a:lnTo>
                    <a:lnTo>
                      <a:pt x="823" y="881"/>
                    </a:lnTo>
                    <a:lnTo>
                      <a:pt x="825" y="879"/>
                    </a:lnTo>
                    <a:lnTo>
                      <a:pt x="825" y="879"/>
                    </a:lnTo>
                    <a:lnTo>
                      <a:pt x="825" y="882"/>
                    </a:lnTo>
                    <a:lnTo>
                      <a:pt x="825" y="882"/>
                    </a:lnTo>
                    <a:lnTo>
                      <a:pt x="825" y="889"/>
                    </a:lnTo>
                    <a:lnTo>
                      <a:pt x="818" y="894"/>
                    </a:lnTo>
                    <a:lnTo>
                      <a:pt x="813" y="894"/>
                    </a:lnTo>
                    <a:lnTo>
                      <a:pt x="813" y="894"/>
                    </a:lnTo>
                    <a:lnTo>
                      <a:pt x="809" y="894"/>
                    </a:lnTo>
                    <a:lnTo>
                      <a:pt x="809" y="894"/>
                    </a:lnTo>
                    <a:lnTo>
                      <a:pt x="804" y="893"/>
                    </a:lnTo>
                    <a:lnTo>
                      <a:pt x="800" y="891"/>
                    </a:lnTo>
                    <a:lnTo>
                      <a:pt x="800" y="891"/>
                    </a:lnTo>
                    <a:lnTo>
                      <a:pt x="800" y="891"/>
                    </a:lnTo>
                    <a:lnTo>
                      <a:pt x="800" y="891"/>
                    </a:lnTo>
                    <a:lnTo>
                      <a:pt x="800" y="891"/>
                    </a:lnTo>
                    <a:lnTo>
                      <a:pt x="800" y="891"/>
                    </a:lnTo>
                    <a:lnTo>
                      <a:pt x="800" y="890"/>
                    </a:lnTo>
                    <a:lnTo>
                      <a:pt x="796" y="895"/>
                    </a:lnTo>
                    <a:lnTo>
                      <a:pt x="794" y="895"/>
                    </a:lnTo>
                    <a:lnTo>
                      <a:pt x="794" y="895"/>
                    </a:lnTo>
                    <a:lnTo>
                      <a:pt x="789" y="895"/>
                    </a:lnTo>
                    <a:lnTo>
                      <a:pt x="789" y="895"/>
                    </a:lnTo>
                    <a:lnTo>
                      <a:pt x="782" y="895"/>
                    </a:lnTo>
                    <a:lnTo>
                      <a:pt x="780" y="896"/>
                    </a:lnTo>
                    <a:lnTo>
                      <a:pt x="780" y="896"/>
                    </a:lnTo>
                    <a:lnTo>
                      <a:pt x="780" y="902"/>
                    </a:lnTo>
                    <a:lnTo>
                      <a:pt x="777" y="906"/>
                    </a:lnTo>
                    <a:lnTo>
                      <a:pt x="777" y="906"/>
                    </a:lnTo>
                    <a:lnTo>
                      <a:pt x="775" y="907"/>
                    </a:lnTo>
                    <a:lnTo>
                      <a:pt x="769" y="908"/>
                    </a:lnTo>
                    <a:lnTo>
                      <a:pt x="767" y="907"/>
                    </a:lnTo>
                    <a:lnTo>
                      <a:pt x="767" y="907"/>
                    </a:lnTo>
                    <a:lnTo>
                      <a:pt x="767" y="907"/>
                    </a:lnTo>
                    <a:lnTo>
                      <a:pt x="765" y="907"/>
                    </a:lnTo>
                    <a:lnTo>
                      <a:pt x="765" y="907"/>
                    </a:lnTo>
                    <a:lnTo>
                      <a:pt x="765" y="907"/>
                    </a:lnTo>
                    <a:lnTo>
                      <a:pt x="765" y="907"/>
                    </a:lnTo>
                    <a:lnTo>
                      <a:pt x="763" y="908"/>
                    </a:lnTo>
                    <a:lnTo>
                      <a:pt x="761" y="908"/>
                    </a:lnTo>
                    <a:lnTo>
                      <a:pt x="756" y="906"/>
                    </a:lnTo>
                    <a:lnTo>
                      <a:pt x="756" y="906"/>
                    </a:lnTo>
                    <a:lnTo>
                      <a:pt x="756" y="904"/>
                    </a:lnTo>
                    <a:lnTo>
                      <a:pt x="755" y="904"/>
                    </a:lnTo>
                    <a:lnTo>
                      <a:pt x="753" y="904"/>
                    </a:lnTo>
                    <a:lnTo>
                      <a:pt x="748" y="899"/>
                    </a:lnTo>
                    <a:lnTo>
                      <a:pt x="748" y="899"/>
                    </a:lnTo>
                    <a:lnTo>
                      <a:pt x="749" y="902"/>
                    </a:lnTo>
                    <a:lnTo>
                      <a:pt x="752" y="903"/>
                    </a:lnTo>
                    <a:lnTo>
                      <a:pt x="752" y="903"/>
                    </a:lnTo>
                    <a:lnTo>
                      <a:pt x="752" y="903"/>
                    </a:lnTo>
                    <a:lnTo>
                      <a:pt x="751" y="903"/>
                    </a:lnTo>
                    <a:lnTo>
                      <a:pt x="751" y="903"/>
                    </a:lnTo>
                    <a:lnTo>
                      <a:pt x="747" y="904"/>
                    </a:lnTo>
                    <a:lnTo>
                      <a:pt x="747" y="904"/>
                    </a:lnTo>
                    <a:lnTo>
                      <a:pt x="745" y="904"/>
                    </a:lnTo>
                    <a:lnTo>
                      <a:pt x="745" y="904"/>
                    </a:lnTo>
                    <a:lnTo>
                      <a:pt x="744" y="903"/>
                    </a:lnTo>
                    <a:lnTo>
                      <a:pt x="744" y="903"/>
                    </a:lnTo>
                    <a:lnTo>
                      <a:pt x="744" y="903"/>
                    </a:lnTo>
                    <a:lnTo>
                      <a:pt x="744" y="903"/>
                    </a:lnTo>
                    <a:lnTo>
                      <a:pt x="743" y="902"/>
                    </a:lnTo>
                    <a:lnTo>
                      <a:pt x="743" y="902"/>
                    </a:lnTo>
                    <a:lnTo>
                      <a:pt x="741" y="902"/>
                    </a:lnTo>
                    <a:lnTo>
                      <a:pt x="741" y="902"/>
                    </a:lnTo>
                    <a:lnTo>
                      <a:pt x="743" y="902"/>
                    </a:lnTo>
                    <a:lnTo>
                      <a:pt x="743" y="902"/>
                    </a:lnTo>
                    <a:lnTo>
                      <a:pt x="741" y="902"/>
                    </a:lnTo>
                    <a:lnTo>
                      <a:pt x="741" y="902"/>
                    </a:lnTo>
                    <a:lnTo>
                      <a:pt x="741" y="903"/>
                    </a:lnTo>
                    <a:lnTo>
                      <a:pt x="741" y="903"/>
                    </a:lnTo>
                    <a:lnTo>
                      <a:pt x="740" y="903"/>
                    </a:lnTo>
                    <a:lnTo>
                      <a:pt x="740" y="903"/>
                    </a:lnTo>
                    <a:lnTo>
                      <a:pt x="739" y="906"/>
                    </a:lnTo>
                    <a:lnTo>
                      <a:pt x="739" y="907"/>
                    </a:lnTo>
                    <a:lnTo>
                      <a:pt x="735" y="912"/>
                    </a:lnTo>
                    <a:lnTo>
                      <a:pt x="735" y="912"/>
                    </a:lnTo>
                    <a:lnTo>
                      <a:pt x="737" y="911"/>
                    </a:lnTo>
                    <a:lnTo>
                      <a:pt x="739" y="908"/>
                    </a:lnTo>
                    <a:lnTo>
                      <a:pt x="739" y="910"/>
                    </a:lnTo>
                    <a:lnTo>
                      <a:pt x="739" y="910"/>
                    </a:lnTo>
                    <a:lnTo>
                      <a:pt x="737" y="911"/>
                    </a:lnTo>
                    <a:lnTo>
                      <a:pt x="732" y="916"/>
                    </a:lnTo>
                    <a:lnTo>
                      <a:pt x="730" y="916"/>
                    </a:lnTo>
                    <a:lnTo>
                      <a:pt x="730" y="916"/>
                    </a:lnTo>
                    <a:lnTo>
                      <a:pt x="727" y="916"/>
                    </a:lnTo>
                    <a:lnTo>
                      <a:pt x="727" y="916"/>
                    </a:lnTo>
                    <a:lnTo>
                      <a:pt x="727" y="915"/>
                    </a:lnTo>
                    <a:lnTo>
                      <a:pt x="722" y="919"/>
                    </a:lnTo>
                    <a:lnTo>
                      <a:pt x="719" y="919"/>
                    </a:lnTo>
                    <a:lnTo>
                      <a:pt x="714" y="914"/>
                    </a:lnTo>
                    <a:lnTo>
                      <a:pt x="714" y="914"/>
                    </a:lnTo>
                    <a:lnTo>
                      <a:pt x="712" y="912"/>
                    </a:lnTo>
                    <a:lnTo>
                      <a:pt x="711" y="910"/>
                    </a:lnTo>
                    <a:lnTo>
                      <a:pt x="711" y="910"/>
                    </a:lnTo>
                    <a:lnTo>
                      <a:pt x="708" y="906"/>
                    </a:lnTo>
                    <a:lnTo>
                      <a:pt x="708" y="906"/>
                    </a:lnTo>
                    <a:lnTo>
                      <a:pt x="706" y="902"/>
                    </a:lnTo>
                    <a:lnTo>
                      <a:pt x="706" y="902"/>
                    </a:lnTo>
                    <a:lnTo>
                      <a:pt x="706" y="900"/>
                    </a:lnTo>
                    <a:lnTo>
                      <a:pt x="707" y="894"/>
                    </a:lnTo>
                    <a:lnTo>
                      <a:pt x="707" y="894"/>
                    </a:lnTo>
                    <a:lnTo>
                      <a:pt x="704" y="894"/>
                    </a:lnTo>
                    <a:lnTo>
                      <a:pt x="704" y="894"/>
                    </a:lnTo>
                    <a:lnTo>
                      <a:pt x="703" y="894"/>
                    </a:lnTo>
                    <a:lnTo>
                      <a:pt x="699" y="894"/>
                    </a:lnTo>
                    <a:lnTo>
                      <a:pt x="699" y="894"/>
                    </a:lnTo>
                    <a:lnTo>
                      <a:pt x="698" y="894"/>
                    </a:lnTo>
                    <a:lnTo>
                      <a:pt x="698" y="894"/>
                    </a:lnTo>
                    <a:lnTo>
                      <a:pt x="697" y="894"/>
                    </a:lnTo>
                    <a:lnTo>
                      <a:pt x="697" y="894"/>
                    </a:lnTo>
                    <a:lnTo>
                      <a:pt x="694" y="902"/>
                    </a:lnTo>
                    <a:lnTo>
                      <a:pt x="694" y="902"/>
                    </a:lnTo>
                    <a:lnTo>
                      <a:pt x="693" y="907"/>
                    </a:lnTo>
                    <a:lnTo>
                      <a:pt x="691" y="910"/>
                    </a:lnTo>
                    <a:lnTo>
                      <a:pt x="691" y="910"/>
                    </a:lnTo>
                    <a:lnTo>
                      <a:pt x="689" y="912"/>
                    </a:lnTo>
                    <a:lnTo>
                      <a:pt x="686" y="915"/>
                    </a:lnTo>
                    <a:lnTo>
                      <a:pt x="686" y="915"/>
                    </a:lnTo>
                    <a:lnTo>
                      <a:pt x="685" y="916"/>
                    </a:lnTo>
                    <a:lnTo>
                      <a:pt x="685" y="918"/>
                    </a:lnTo>
                    <a:lnTo>
                      <a:pt x="679" y="924"/>
                    </a:lnTo>
                    <a:lnTo>
                      <a:pt x="679" y="924"/>
                    </a:lnTo>
                    <a:lnTo>
                      <a:pt x="682" y="923"/>
                    </a:lnTo>
                    <a:lnTo>
                      <a:pt x="683" y="920"/>
                    </a:lnTo>
                    <a:lnTo>
                      <a:pt x="683" y="920"/>
                    </a:lnTo>
                    <a:lnTo>
                      <a:pt x="683" y="920"/>
                    </a:lnTo>
                    <a:lnTo>
                      <a:pt x="683" y="923"/>
                    </a:lnTo>
                    <a:lnTo>
                      <a:pt x="677" y="928"/>
                    </a:lnTo>
                    <a:lnTo>
                      <a:pt x="677" y="928"/>
                    </a:lnTo>
                    <a:lnTo>
                      <a:pt x="671" y="926"/>
                    </a:lnTo>
                    <a:lnTo>
                      <a:pt x="669" y="923"/>
                    </a:lnTo>
                    <a:lnTo>
                      <a:pt x="663" y="916"/>
                    </a:lnTo>
                    <a:lnTo>
                      <a:pt x="663" y="916"/>
                    </a:lnTo>
                    <a:lnTo>
                      <a:pt x="661" y="912"/>
                    </a:lnTo>
                    <a:lnTo>
                      <a:pt x="659" y="911"/>
                    </a:lnTo>
                    <a:lnTo>
                      <a:pt x="659" y="911"/>
                    </a:lnTo>
                    <a:lnTo>
                      <a:pt x="658" y="908"/>
                    </a:lnTo>
                    <a:lnTo>
                      <a:pt x="658" y="904"/>
                    </a:lnTo>
                    <a:lnTo>
                      <a:pt x="662" y="898"/>
                    </a:lnTo>
                    <a:lnTo>
                      <a:pt x="662" y="898"/>
                    </a:lnTo>
                    <a:lnTo>
                      <a:pt x="663" y="898"/>
                    </a:lnTo>
                    <a:lnTo>
                      <a:pt x="662" y="896"/>
                    </a:lnTo>
                    <a:lnTo>
                      <a:pt x="662" y="896"/>
                    </a:lnTo>
                    <a:lnTo>
                      <a:pt x="661" y="896"/>
                    </a:lnTo>
                    <a:lnTo>
                      <a:pt x="658" y="896"/>
                    </a:lnTo>
                    <a:lnTo>
                      <a:pt x="654" y="894"/>
                    </a:lnTo>
                    <a:lnTo>
                      <a:pt x="654" y="894"/>
                    </a:lnTo>
                    <a:lnTo>
                      <a:pt x="649" y="891"/>
                    </a:lnTo>
                    <a:lnTo>
                      <a:pt x="649" y="891"/>
                    </a:lnTo>
                    <a:lnTo>
                      <a:pt x="645" y="890"/>
                    </a:lnTo>
                    <a:lnTo>
                      <a:pt x="641" y="887"/>
                    </a:lnTo>
                    <a:lnTo>
                      <a:pt x="640" y="886"/>
                    </a:lnTo>
                    <a:lnTo>
                      <a:pt x="640" y="886"/>
                    </a:lnTo>
                    <a:lnTo>
                      <a:pt x="637" y="882"/>
                    </a:lnTo>
                    <a:lnTo>
                      <a:pt x="637" y="882"/>
                    </a:lnTo>
                    <a:lnTo>
                      <a:pt x="637" y="879"/>
                    </a:lnTo>
                    <a:lnTo>
                      <a:pt x="636" y="879"/>
                    </a:lnTo>
                    <a:lnTo>
                      <a:pt x="629" y="873"/>
                    </a:lnTo>
                    <a:lnTo>
                      <a:pt x="629" y="873"/>
                    </a:lnTo>
                    <a:lnTo>
                      <a:pt x="630" y="875"/>
                    </a:lnTo>
                    <a:lnTo>
                      <a:pt x="629" y="875"/>
                    </a:lnTo>
                    <a:lnTo>
                      <a:pt x="629" y="877"/>
                    </a:lnTo>
                    <a:lnTo>
                      <a:pt x="629" y="877"/>
                    </a:lnTo>
                    <a:lnTo>
                      <a:pt x="630" y="875"/>
                    </a:lnTo>
                    <a:lnTo>
                      <a:pt x="630" y="875"/>
                    </a:lnTo>
                    <a:lnTo>
                      <a:pt x="630" y="877"/>
                    </a:lnTo>
                    <a:lnTo>
                      <a:pt x="630" y="877"/>
                    </a:lnTo>
                    <a:lnTo>
                      <a:pt x="633" y="878"/>
                    </a:lnTo>
                    <a:lnTo>
                      <a:pt x="634" y="878"/>
                    </a:lnTo>
                    <a:lnTo>
                      <a:pt x="634" y="878"/>
                    </a:lnTo>
                    <a:lnTo>
                      <a:pt x="633" y="878"/>
                    </a:lnTo>
                    <a:lnTo>
                      <a:pt x="633" y="878"/>
                    </a:lnTo>
                    <a:lnTo>
                      <a:pt x="630" y="878"/>
                    </a:lnTo>
                    <a:lnTo>
                      <a:pt x="630" y="878"/>
                    </a:lnTo>
                    <a:lnTo>
                      <a:pt x="629" y="878"/>
                    </a:lnTo>
                    <a:lnTo>
                      <a:pt x="629" y="878"/>
                    </a:lnTo>
                    <a:lnTo>
                      <a:pt x="626" y="878"/>
                    </a:lnTo>
                    <a:lnTo>
                      <a:pt x="626" y="878"/>
                    </a:lnTo>
                    <a:lnTo>
                      <a:pt x="628" y="878"/>
                    </a:lnTo>
                    <a:lnTo>
                      <a:pt x="628" y="878"/>
                    </a:lnTo>
                    <a:lnTo>
                      <a:pt x="628" y="878"/>
                    </a:lnTo>
                    <a:lnTo>
                      <a:pt x="628" y="878"/>
                    </a:lnTo>
                    <a:lnTo>
                      <a:pt x="625" y="879"/>
                    </a:lnTo>
                    <a:lnTo>
                      <a:pt x="625" y="879"/>
                    </a:lnTo>
                    <a:lnTo>
                      <a:pt x="628" y="879"/>
                    </a:lnTo>
                    <a:lnTo>
                      <a:pt x="628" y="879"/>
                    </a:lnTo>
                    <a:lnTo>
                      <a:pt x="625" y="881"/>
                    </a:lnTo>
                    <a:lnTo>
                      <a:pt x="621" y="881"/>
                    </a:lnTo>
                    <a:lnTo>
                      <a:pt x="617" y="881"/>
                    </a:lnTo>
                    <a:lnTo>
                      <a:pt x="613" y="878"/>
                    </a:lnTo>
                    <a:lnTo>
                      <a:pt x="613" y="879"/>
                    </a:lnTo>
                    <a:lnTo>
                      <a:pt x="613" y="879"/>
                    </a:lnTo>
                    <a:lnTo>
                      <a:pt x="612" y="879"/>
                    </a:lnTo>
                    <a:lnTo>
                      <a:pt x="608" y="881"/>
                    </a:lnTo>
                    <a:lnTo>
                      <a:pt x="608" y="881"/>
                    </a:lnTo>
                    <a:lnTo>
                      <a:pt x="607" y="883"/>
                    </a:lnTo>
                    <a:lnTo>
                      <a:pt x="604" y="886"/>
                    </a:lnTo>
                    <a:lnTo>
                      <a:pt x="600" y="890"/>
                    </a:lnTo>
                    <a:lnTo>
                      <a:pt x="600" y="890"/>
                    </a:lnTo>
                    <a:lnTo>
                      <a:pt x="600" y="890"/>
                    </a:lnTo>
                    <a:lnTo>
                      <a:pt x="599" y="890"/>
                    </a:lnTo>
                    <a:lnTo>
                      <a:pt x="599" y="890"/>
                    </a:lnTo>
                    <a:lnTo>
                      <a:pt x="599" y="890"/>
                    </a:lnTo>
                    <a:lnTo>
                      <a:pt x="599" y="890"/>
                    </a:lnTo>
                    <a:lnTo>
                      <a:pt x="596" y="890"/>
                    </a:lnTo>
                    <a:lnTo>
                      <a:pt x="596" y="890"/>
                    </a:lnTo>
                    <a:lnTo>
                      <a:pt x="595" y="890"/>
                    </a:lnTo>
                    <a:lnTo>
                      <a:pt x="595" y="890"/>
                    </a:lnTo>
                    <a:lnTo>
                      <a:pt x="593" y="890"/>
                    </a:lnTo>
                    <a:lnTo>
                      <a:pt x="593" y="890"/>
                    </a:lnTo>
                    <a:lnTo>
                      <a:pt x="591" y="893"/>
                    </a:lnTo>
                    <a:lnTo>
                      <a:pt x="589" y="894"/>
                    </a:lnTo>
                    <a:lnTo>
                      <a:pt x="585" y="894"/>
                    </a:lnTo>
                    <a:lnTo>
                      <a:pt x="585" y="894"/>
                    </a:lnTo>
                    <a:lnTo>
                      <a:pt x="584" y="894"/>
                    </a:lnTo>
                    <a:lnTo>
                      <a:pt x="584" y="894"/>
                    </a:lnTo>
                    <a:lnTo>
                      <a:pt x="584" y="894"/>
                    </a:lnTo>
                    <a:lnTo>
                      <a:pt x="584" y="894"/>
                    </a:lnTo>
                    <a:lnTo>
                      <a:pt x="578" y="893"/>
                    </a:lnTo>
                    <a:lnTo>
                      <a:pt x="574" y="891"/>
                    </a:lnTo>
                    <a:lnTo>
                      <a:pt x="574" y="891"/>
                    </a:lnTo>
                    <a:lnTo>
                      <a:pt x="568" y="890"/>
                    </a:lnTo>
                    <a:lnTo>
                      <a:pt x="564" y="887"/>
                    </a:lnTo>
                    <a:lnTo>
                      <a:pt x="562" y="890"/>
                    </a:lnTo>
                    <a:lnTo>
                      <a:pt x="562" y="890"/>
                    </a:lnTo>
                    <a:lnTo>
                      <a:pt x="563" y="890"/>
                    </a:lnTo>
                    <a:lnTo>
                      <a:pt x="563" y="890"/>
                    </a:lnTo>
                    <a:lnTo>
                      <a:pt x="563" y="891"/>
                    </a:lnTo>
                    <a:lnTo>
                      <a:pt x="556" y="896"/>
                    </a:lnTo>
                    <a:lnTo>
                      <a:pt x="547" y="896"/>
                    </a:lnTo>
                    <a:lnTo>
                      <a:pt x="547" y="896"/>
                    </a:lnTo>
                    <a:lnTo>
                      <a:pt x="543" y="898"/>
                    </a:lnTo>
                    <a:lnTo>
                      <a:pt x="540" y="900"/>
                    </a:lnTo>
                    <a:lnTo>
                      <a:pt x="537" y="903"/>
                    </a:lnTo>
                    <a:lnTo>
                      <a:pt x="534" y="907"/>
                    </a:lnTo>
                    <a:lnTo>
                      <a:pt x="534" y="907"/>
                    </a:lnTo>
                    <a:lnTo>
                      <a:pt x="533" y="911"/>
                    </a:lnTo>
                    <a:lnTo>
                      <a:pt x="533" y="911"/>
                    </a:lnTo>
                    <a:lnTo>
                      <a:pt x="531" y="911"/>
                    </a:lnTo>
                    <a:lnTo>
                      <a:pt x="531" y="912"/>
                    </a:lnTo>
                    <a:lnTo>
                      <a:pt x="531" y="912"/>
                    </a:lnTo>
                    <a:lnTo>
                      <a:pt x="531" y="918"/>
                    </a:lnTo>
                    <a:lnTo>
                      <a:pt x="529" y="922"/>
                    </a:lnTo>
                    <a:lnTo>
                      <a:pt x="525" y="930"/>
                    </a:lnTo>
                    <a:lnTo>
                      <a:pt x="525" y="930"/>
                    </a:lnTo>
                    <a:lnTo>
                      <a:pt x="522" y="935"/>
                    </a:lnTo>
                    <a:lnTo>
                      <a:pt x="522" y="935"/>
                    </a:lnTo>
                    <a:lnTo>
                      <a:pt x="522" y="939"/>
                    </a:lnTo>
                    <a:lnTo>
                      <a:pt x="521" y="941"/>
                    </a:lnTo>
                    <a:lnTo>
                      <a:pt x="517" y="945"/>
                    </a:lnTo>
                    <a:lnTo>
                      <a:pt x="517" y="945"/>
                    </a:lnTo>
                    <a:lnTo>
                      <a:pt x="515" y="947"/>
                    </a:lnTo>
                    <a:lnTo>
                      <a:pt x="511" y="949"/>
                    </a:lnTo>
                    <a:lnTo>
                      <a:pt x="511" y="949"/>
                    </a:lnTo>
                    <a:lnTo>
                      <a:pt x="511" y="949"/>
                    </a:lnTo>
                    <a:lnTo>
                      <a:pt x="509" y="953"/>
                    </a:lnTo>
                    <a:lnTo>
                      <a:pt x="505" y="957"/>
                    </a:lnTo>
                    <a:lnTo>
                      <a:pt x="505" y="957"/>
                    </a:lnTo>
                    <a:lnTo>
                      <a:pt x="501" y="963"/>
                    </a:lnTo>
                    <a:lnTo>
                      <a:pt x="496" y="965"/>
                    </a:lnTo>
                    <a:lnTo>
                      <a:pt x="496" y="965"/>
                    </a:lnTo>
                    <a:lnTo>
                      <a:pt x="496" y="965"/>
                    </a:lnTo>
                    <a:lnTo>
                      <a:pt x="490" y="965"/>
                    </a:lnTo>
                    <a:lnTo>
                      <a:pt x="490" y="965"/>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0" name="Freeform 32">
                <a:extLst>
                  <a:ext uri="{FF2B5EF4-FFF2-40B4-BE49-F238E27FC236}">
                    <a16:creationId xmlns:a16="http://schemas.microsoft.com/office/drawing/2014/main" xmlns="" id="{D7F1C885-5EF8-479A-ADCB-245C67F5DC76}"/>
                  </a:ext>
                </a:extLst>
              </p:cNvPr>
              <p:cNvSpPr>
                <a:spLocks/>
              </p:cNvSpPr>
              <p:nvPr/>
            </p:nvSpPr>
            <p:spPr bwMode="auto">
              <a:xfrm>
                <a:off x="4086241" y="3165684"/>
                <a:ext cx="616340" cy="685983"/>
              </a:xfrm>
              <a:custGeom>
                <a:avLst/>
                <a:gdLst>
                  <a:gd name="T0" fmla="*/ 202 w 354"/>
                  <a:gd name="T1" fmla="*/ 374 h 394"/>
                  <a:gd name="T2" fmla="*/ 193 w 354"/>
                  <a:gd name="T3" fmla="*/ 362 h 394"/>
                  <a:gd name="T4" fmla="*/ 161 w 354"/>
                  <a:gd name="T5" fmla="*/ 358 h 394"/>
                  <a:gd name="T6" fmla="*/ 161 w 354"/>
                  <a:gd name="T7" fmla="*/ 337 h 394"/>
                  <a:gd name="T8" fmla="*/ 153 w 354"/>
                  <a:gd name="T9" fmla="*/ 331 h 394"/>
                  <a:gd name="T10" fmla="*/ 139 w 354"/>
                  <a:gd name="T11" fmla="*/ 324 h 394"/>
                  <a:gd name="T12" fmla="*/ 118 w 354"/>
                  <a:gd name="T13" fmla="*/ 298 h 394"/>
                  <a:gd name="T14" fmla="*/ 126 w 354"/>
                  <a:gd name="T15" fmla="*/ 271 h 394"/>
                  <a:gd name="T16" fmla="*/ 95 w 354"/>
                  <a:gd name="T17" fmla="*/ 274 h 394"/>
                  <a:gd name="T18" fmla="*/ 79 w 354"/>
                  <a:gd name="T19" fmla="*/ 283 h 394"/>
                  <a:gd name="T20" fmla="*/ 44 w 354"/>
                  <a:gd name="T21" fmla="*/ 245 h 394"/>
                  <a:gd name="T22" fmla="*/ 56 w 354"/>
                  <a:gd name="T23" fmla="*/ 213 h 394"/>
                  <a:gd name="T24" fmla="*/ 56 w 354"/>
                  <a:gd name="T25" fmla="*/ 190 h 394"/>
                  <a:gd name="T26" fmla="*/ 63 w 354"/>
                  <a:gd name="T27" fmla="*/ 173 h 394"/>
                  <a:gd name="T28" fmla="*/ 65 w 354"/>
                  <a:gd name="T29" fmla="*/ 165 h 394"/>
                  <a:gd name="T30" fmla="*/ 66 w 354"/>
                  <a:gd name="T31" fmla="*/ 153 h 394"/>
                  <a:gd name="T32" fmla="*/ 63 w 354"/>
                  <a:gd name="T33" fmla="*/ 135 h 394"/>
                  <a:gd name="T34" fmla="*/ 53 w 354"/>
                  <a:gd name="T35" fmla="*/ 118 h 394"/>
                  <a:gd name="T36" fmla="*/ 49 w 354"/>
                  <a:gd name="T37" fmla="*/ 103 h 394"/>
                  <a:gd name="T38" fmla="*/ 38 w 354"/>
                  <a:gd name="T39" fmla="*/ 97 h 394"/>
                  <a:gd name="T40" fmla="*/ 28 w 354"/>
                  <a:gd name="T41" fmla="*/ 90 h 394"/>
                  <a:gd name="T42" fmla="*/ 21 w 354"/>
                  <a:gd name="T43" fmla="*/ 87 h 394"/>
                  <a:gd name="T44" fmla="*/ 12 w 354"/>
                  <a:gd name="T45" fmla="*/ 82 h 394"/>
                  <a:gd name="T46" fmla="*/ 16 w 354"/>
                  <a:gd name="T47" fmla="*/ 56 h 394"/>
                  <a:gd name="T48" fmla="*/ 73 w 354"/>
                  <a:gd name="T49" fmla="*/ 41 h 394"/>
                  <a:gd name="T50" fmla="*/ 94 w 354"/>
                  <a:gd name="T51" fmla="*/ 37 h 394"/>
                  <a:gd name="T52" fmla="*/ 108 w 354"/>
                  <a:gd name="T53" fmla="*/ 34 h 394"/>
                  <a:gd name="T54" fmla="*/ 136 w 354"/>
                  <a:gd name="T55" fmla="*/ 28 h 394"/>
                  <a:gd name="T56" fmla="*/ 164 w 354"/>
                  <a:gd name="T57" fmla="*/ 21 h 394"/>
                  <a:gd name="T58" fmla="*/ 188 w 354"/>
                  <a:gd name="T59" fmla="*/ 16 h 394"/>
                  <a:gd name="T60" fmla="*/ 208 w 354"/>
                  <a:gd name="T61" fmla="*/ 30 h 394"/>
                  <a:gd name="T62" fmla="*/ 209 w 354"/>
                  <a:gd name="T63" fmla="*/ 42 h 394"/>
                  <a:gd name="T64" fmla="*/ 209 w 354"/>
                  <a:gd name="T65" fmla="*/ 57 h 394"/>
                  <a:gd name="T66" fmla="*/ 188 w 354"/>
                  <a:gd name="T67" fmla="*/ 75 h 394"/>
                  <a:gd name="T68" fmla="*/ 200 w 354"/>
                  <a:gd name="T69" fmla="*/ 82 h 394"/>
                  <a:gd name="T70" fmla="*/ 216 w 354"/>
                  <a:gd name="T71" fmla="*/ 108 h 394"/>
                  <a:gd name="T72" fmla="*/ 239 w 354"/>
                  <a:gd name="T73" fmla="*/ 111 h 394"/>
                  <a:gd name="T74" fmla="*/ 250 w 354"/>
                  <a:gd name="T75" fmla="*/ 94 h 394"/>
                  <a:gd name="T76" fmla="*/ 267 w 354"/>
                  <a:gd name="T77" fmla="*/ 60 h 394"/>
                  <a:gd name="T78" fmla="*/ 264 w 354"/>
                  <a:gd name="T79" fmla="*/ 40 h 394"/>
                  <a:gd name="T80" fmla="*/ 267 w 354"/>
                  <a:gd name="T81" fmla="*/ 25 h 394"/>
                  <a:gd name="T82" fmla="*/ 268 w 354"/>
                  <a:gd name="T83" fmla="*/ 7 h 394"/>
                  <a:gd name="T84" fmla="*/ 284 w 354"/>
                  <a:gd name="T85" fmla="*/ 1 h 394"/>
                  <a:gd name="T86" fmla="*/ 301 w 354"/>
                  <a:gd name="T87" fmla="*/ 19 h 394"/>
                  <a:gd name="T88" fmla="*/ 315 w 354"/>
                  <a:gd name="T89" fmla="*/ 19 h 394"/>
                  <a:gd name="T90" fmla="*/ 325 w 354"/>
                  <a:gd name="T91" fmla="*/ 17 h 394"/>
                  <a:gd name="T92" fmla="*/ 332 w 354"/>
                  <a:gd name="T93" fmla="*/ 20 h 394"/>
                  <a:gd name="T94" fmla="*/ 342 w 354"/>
                  <a:gd name="T95" fmla="*/ 42 h 394"/>
                  <a:gd name="T96" fmla="*/ 315 w 354"/>
                  <a:gd name="T97" fmla="*/ 101 h 394"/>
                  <a:gd name="T98" fmla="*/ 324 w 354"/>
                  <a:gd name="T99" fmla="*/ 116 h 394"/>
                  <a:gd name="T100" fmla="*/ 328 w 354"/>
                  <a:gd name="T101" fmla="*/ 124 h 394"/>
                  <a:gd name="T102" fmla="*/ 342 w 354"/>
                  <a:gd name="T103" fmla="*/ 123 h 394"/>
                  <a:gd name="T104" fmla="*/ 344 w 354"/>
                  <a:gd name="T105" fmla="*/ 156 h 394"/>
                  <a:gd name="T106" fmla="*/ 316 w 354"/>
                  <a:gd name="T107" fmla="*/ 181 h 394"/>
                  <a:gd name="T108" fmla="*/ 329 w 354"/>
                  <a:gd name="T109" fmla="*/ 201 h 394"/>
                  <a:gd name="T110" fmla="*/ 313 w 354"/>
                  <a:gd name="T111" fmla="*/ 251 h 394"/>
                  <a:gd name="T112" fmla="*/ 313 w 354"/>
                  <a:gd name="T113" fmla="*/ 276 h 394"/>
                  <a:gd name="T114" fmla="*/ 284 w 354"/>
                  <a:gd name="T115" fmla="*/ 361 h 394"/>
                  <a:gd name="T116" fmla="*/ 250 w 354"/>
                  <a:gd name="T117" fmla="*/ 39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4" h="394">
                    <a:moveTo>
                      <a:pt x="233" y="394"/>
                    </a:moveTo>
                    <a:lnTo>
                      <a:pt x="226" y="387"/>
                    </a:lnTo>
                    <a:lnTo>
                      <a:pt x="226" y="387"/>
                    </a:lnTo>
                    <a:lnTo>
                      <a:pt x="227" y="391"/>
                    </a:lnTo>
                    <a:lnTo>
                      <a:pt x="230" y="393"/>
                    </a:lnTo>
                    <a:lnTo>
                      <a:pt x="230" y="393"/>
                    </a:lnTo>
                    <a:lnTo>
                      <a:pt x="229" y="393"/>
                    </a:lnTo>
                    <a:lnTo>
                      <a:pt x="225" y="387"/>
                    </a:lnTo>
                    <a:lnTo>
                      <a:pt x="225" y="387"/>
                    </a:lnTo>
                    <a:lnTo>
                      <a:pt x="222" y="382"/>
                    </a:lnTo>
                    <a:lnTo>
                      <a:pt x="218" y="379"/>
                    </a:lnTo>
                    <a:lnTo>
                      <a:pt x="209" y="379"/>
                    </a:lnTo>
                    <a:lnTo>
                      <a:pt x="202" y="374"/>
                    </a:lnTo>
                    <a:lnTo>
                      <a:pt x="202" y="374"/>
                    </a:lnTo>
                    <a:lnTo>
                      <a:pt x="204" y="376"/>
                    </a:lnTo>
                    <a:lnTo>
                      <a:pt x="202" y="374"/>
                    </a:lnTo>
                    <a:lnTo>
                      <a:pt x="202" y="374"/>
                    </a:lnTo>
                    <a:lnTo>
                      <a:pt x="200" y="372"/>
                    </a:lnTo>
                    <a:lnTo>
                      <a:pt x="200" y="370"/>
                    </a:lnTo>
                    <a:lnTo>
                      <a:pt x="200" y="370"/>
                    </a:lnTo>
                    <a:lnTo>
                      <a:pt x="200" y="372"/>
                    </a:lnTo>
                    <a:lnTo>
                      <a:pt x="202" y="372"/>
                    </a:lnTo>
                    <a:lnTo>
                      <a:pt x="197" y="368"/>
                    </a:lnTo>
                    <a:lnTo>
                      <a:pt x="197" y="368"/>
                    </a:lnTo>
                    <a:lnTo>
                      <a:pt x="197" y="365"/>
                    </a:lnTo>
                    <a:lnTo>
                      <a:pt x="196" y="364"/>
                    </a:lnTo>
                    <a:lnTo>
                      <a:pt x="196" y="364"/>
                    </a:lnTo>
                    <a:lnTo>
                      <a:pt x="193" y="362"/>
                    </a:lnTo>
                    <a:lnTo>
                      <a:pt x="192" y="362"/>
                    </a:lnTo>
                    <a:lnTo>
                      <a:pt x="192" y="362"/>
                    </a:lnTo>
                    <a:lnTo>
                      <a:pt x="189" y="362"/>
                    </a:lnTo>
                    <a:lnTo>
                      <a:pt x="189" y="362"/>
                    </a:lnTo>
                    <a:lnTo>
                      <a:pt x="186" y="362"/>
                    </a:lnTo>
                    <a:lnTo>
                      <a:pt x="184" y="361"/>
                    </a:lnTo>
                    <a:lnTo>
                      <a:pt x="182" y="361"/>
                    </a:lnTo>
                    <a:lnTo>
                      <a:pt x="182" y="361"/>
                    </a:lnTo>
                    <a:lnTo>
                      <a:pt x="177" y="360"/>
                    </a:lnTo>
                    <a:lnTo>
                      <a:pt x="177" y="360"/>
                    </a:lnTo>
                    <a:lnTo>
                      <a:pt x="173" y="361"/>
                    </a:lnTo>
                    <a:lnTo>
                      <a:pt x="168" y="362"/>
                    </a:lnTo>
                    <a:lnTo>
                      <a:pt x="161" y="358"/>
                    </a:lnTo>
                    <a:lnTo>
                      <a:pt x="161" y="358"/>
                    </a:lnTo>
                    <a:lnTo>
                      <a:pt x="160" y="354"/>
                    </a:lnTo>
                    <a:lnTo>
                      <a:pt x="160" y="354"/>
                    </a:lnTo>
                    <a:lnTo>
                      <a:pt x="160" y="353"/>
                    </a:lnTo>
                    <a:lnTo>
                      <a:pt x="160" y="353"/>
                    </a:lnTo>
                    <a:lnTo>
                      <a:pt x="161" y="354"/>
                    </a:lnTo>
                    <a:lnTo>
                      <a:pt x="157" y="349"/>
                    </a:lnTo>
                    <a:lnTo>
                      <a:pt x="157" y="348"/>
                    </a:lnTo>
                    <a:lnTo>
                      <a:pt x="157" y="348"/>
                    </a:lnTo>
                    <a:lnTo>
                      <a:pt x="157" y="344"/>
                    </a:lnTo>
                    <a:lnTo>
                      <a:pt x="159" y="341"/>
                    </a:lnTo>
                    <a:lnTo>
                      <a:pt x="161" y="339"/>
                    </a:lnTo>
                    <a:lnTo>
                      <a:pt x="161" y="339"/>
                    </a:lnTo>
                    <a:lnTo>
                      <a:pt x="161" y="337"/>
                    </a:lnTo>
                    <a:lnTo>
                      <a:pt x="161" y="337"/>
                    </a:lnTo>
                    <a:lnTo>
                      <a:pt x="163" y="335"/>
                    </a:lnTo>
                    <a:lnTo>
                      <a:pt x="163" y="335"/>
                    </a:lnTo>
                    <a:lnTo>
                      <a:pt x="160" y="333"/>
                    </a:lnTo>
                    <a:lnTo>
                      <a:pt x="157" y="332"/>
                    </a:lnTo>
                    <a:lnTo>
                      <a:pt x="157" y="332"/>
                    </a:lnTo>
                    <a:lnTo>
                      <a:pt x="157" y="332"/>
                    </a:lnTo>
                    <a:lnTo>
                      <a:pt x="157" y="332"/>
                    </a:lnTo>
                    <a:lnTo>
                      <a:pt x="159" y="332"/>
                    </a:lnTo>
                    <a:lnTo>
                      <a:pt x="153" y="329"/>
                    </a:lnTo>
                    <a:lnTo>
                      <a:pt x="153" y="329"/>
                    </a:lnTo>
                    <a:lnTo>
                      <a:pt x="155" y="331"/>
                    </a:lnTo>
                    <a:lnTo>
                      <a:pt x="155" y="331"/>
                    </a:lnTo>
                    <a:lnTo>
                      <a:pt x="153" y="331"/>
                    </a:lnTo>
                    <a:lnTo>
                      <a:pt x="153" y="331"/>
                    </a:lnTo>
                    <a:lnTo>
                      <a:pt x="149" y="329"/>
                    </a:lnTo>
                    <a:lnTo>
                      <a:pt x="147" y="328"/>
                    </a:lnTo>
                    <a:lnTo>
                      <a:pt x="147" y="328"/>
                    </a:lnTo>
                    <a:lnTo>
                      <a:pt x="147" y="328"/>
                    </a:lnTo>
                    <a:lnTo>
                      <a:pt x="144" y="328"/>
                    </a:lnTo>
                    <a:lnTo>
                      <a:pt x="144" y="328"/>
                    </a:lnTo>
                    <a:lnTo>
                      <a:pt x="139" y="324"/>
                    </a:lnTo>
                    <a:lnTo>
                      <a:pt x="139" y="324"/>
                    </a:lnTo>
                    <a:lnTo>
                      <a:pt x="139" y="324"/>
                    </a:lnTo>
                    <a:lnTo>
                      <a:pt x="139" y="324"/>
                    </a:lnTo>
                    <a:lnTo>
                      <a:pt x="139" y="325"/>
                    </a:lnTo>
                    <a:lnTo>
                      <a:pt x="139" y="325"/>
                    </a:lnTo>
                    <a:lnTo>
                      <a:pt x="139" y="324"/>
                    </a:lnTo>
                    <a:lnTo>
                      <a:pt x="139" y="324"/>
                    </a:lnTo>
                    <a:lnTo>
                      <a:pt x="136" y="324"/>
                    </a:lnTo>
                    <a:lnTo>
                      <a:pt x="135" y="324"/>
                    </a:lnTo>
                    <a:lnTo>
                      <a:pt x="135" y="324"/>
                    </a:lnTo>
                    <a:lnTo>
                      <a:pt x="128" y="319"/>
                    </a:lnTo>
                    <a:lnTo>
                      <a:pt x="124" y="313"/>
                    </a:lnTo>
                    <a:lnTo>
                      <a:pt x="120" y="308"/>
                    </a:lnTo>
                    <a:lnTo>
                      <a:pt x="118" y="303"/>
                    </a:lnTo>
                    <a:lnTo>
                      <a:pt x="118" y="300"/>
                    </a:lnTo>
                    <a:lnTo>
                      <a:pt x="118" y="300"/>
                    </a:lnTo>
                    <a:lnTo>
                      <a:pt x="118" y="299"/>
                    </a:lnTo>
                    <a:lnTo>
                      <a:pt x="118" y="299"/>
                    </a:lnTo>
                    <a:lnTo>
                      <a:pt x="119" y="301"/>
                    </a:lnTo>
                    <a:lnTo>
                      <a:pt x="122" y="303"/>
                    </a:lnTo>
                    <a:lnTo>
                      <a:pt x="118" y="298"/>
                    </a:lnTo>
                    <a:lnTo>
                      <a:pt x="118" y="299"/>
                    </a:lnTo>
                    <a:lnTo>
                      <a:pt x="118" y="299"/>
                    </a:lnTo>
                    <a:lnTo>
                      <a:pt x="116" y="296"/>
                    </a:lnTo>
                    <a:lnTo>
                      <a:pt x="115" y="292"/>
                    </a:lnTo>
                    <a:lnTo>
                      <a:pt x="115" y="292"/>
                    </a:lnTo>
                    <a:lnTo>
                      <a:pt x="115" y="288"/>
                    </a:lnTo>
                    <a:lnTo>
                      <a:pt x="116" y="286"/>
                    </a:lnTo>
                    <a:lnTo>
                      <a:pt x="119" y="283"/>
                    </a:lnTo>
                    <a:lnTo>
                      <a:pt x="119" y="283"/>
                    </a:lnTo>
                    <a:lnTo>
                      <a:pt x="119" y="279"/>
                    </a:lnTo>
                    <a:lnTo>
                      <a:pt x="122" y="275"/>
                    </a:lnTo>
                    <a:lnTo>
                      <a:pt x="123" y="274"/>
                    </a:lnTo>
                    <a:lnTo>
                      <a:pt x="123" y="274"/>
                    </a:lnTo>
                    <a:lnTo>
                      <a:pt x="126" y="271"/>
                    </a:lnTo>
                    <a:lnTo>
                      <a:pt x="126" y="271"/>
                    </a:lnTo>
                    <a:lnTo>
                      <a:pt x="127" y="268"/>
                    </a:lnTo>
                    <a:lnTo>
                      <a:pt x="127" y="266"/>
                    </a:lnTo>
                    <a:lnTo>
                      <a:pt x="127" y="266"/>
                    </a:lnTo>
                    <a:lnTo>
                      <a:pt x="126" y="264"/>
                    </a:lnTo>
                    <a:lnTo>
                      <a:pt x="126" y="264"/>
                    </a:lnTo>
                    <a:lnTo>
                      <a:pt x="123" y="262"/>
                    </a:lnTo>
                    <a:lnTo>
                      <a:pt x="123" y="262"/>
                    </a:lnTo>
                    <a:lnTo>
                      <a:pt x="118" y="266"/>
                    </a:lnTo>
                    <a:lnTo>
                      <a:pt x="111" y="268"/>
                    </a:lnTo>
                    <a:lnTo>
                      <a:pt x="103" y="271"/>
                    </a:lnTo>
                    <a:lnTo>
                      <a:pt x="94" y="271"/>
                    </a:lnTo>
                    <a:lnTo>
                      <a:pt x="94" y="271"/>
                    </a:lnTo>
                    <a:lnTo>
                      <a:pt x="95" y="274"/>
                    </a:lnTo>
                    <a:lnTo>
                      <a:pt x="95" y="274"/>
                    </a:lnTo>
                    <a:lnTo>
                      <a:pt x="98" y="276"/>
                    </a:lnTo>
                    <a:lnTo>
                      <a:pt x="99" y="284"/>
                    </a:lnTo>
                    <a:lnTo>
                      <a:pt x="99" y="284"/>
                    </a:lnTo>
                    <a:lnTo>
                      <a:pt x="97" y="287"/>
                    </a:lnTo>
                    <a:lnTo>
                      <a:pt x="93" y="288"/>
                    </a:lnTo>
                    <a:lnTo>
                      <a:pt x="93" y="288"/>
                    </a:lnTo>
                    <a:lnTo>
                      <a:pt x="89" y="287"/>
                    </a:lnTo>
                    <a:lnTo>
                      <a:pt x="86" y="286"/>
                    </a:lnTo>
                    <a:lnTo>
                      <a:pt x="86" y="286"/>
                    </a:lnTo>
                    <a:lnTo>
                      <a:pt x="85" y="284"/>
                    </a:lnTo>
                    <a:lnTo>
                      <a:pt x="85" y="284"/>
                    </a:lnTo>
                    <a:lnTo>
                      <a:pt x="79" y="283"/>
                    </a:lnTo>
                    <a:lnTo>
                      <a:pt x="79" y="283"/>
                    </a:lnTo>
                    <a:lnTo>
                      <a:pt x="75" y="279"/>
                    </a:lnTo>
                    <a:lnTo>
                      <a:pt x="75" y="279"/>
                    </a:lnTo>
                    <a:lnTo>
                      <a:pt x="71" y="275"/>
                    </a:lnTo>
                    <a:lnTo>
                      <a:pt x="71" y="275"/>
                    </a:lnTo>
                    <a:lnTo>
                      <a:pt x="70" y="274"/>
                    </a:lnTo>
                    <a:lnTo>
                      <a:pt x="67" y="272"/>
                    </a:lnTo>
                    <a:lnTo>
                      <a:pt x="67" y="272"/>
                    </a:lnTo>
                    <a:lnTo>
                      <a:pt x="60" y="264"/>
                    </a:lnTo>
                    <a:lnTo>
                      <a:pt x="50" y="257"/>
                    </a:lnTo>
                    <a:lnTo>
                      <a:pt x="50" y="257"/>
                    </a:lnTo>
                    <a:lnTo>
                      <a:pt x="46" y="254"/>
                    </a:lnTo>
                    <a:lnTo>
                      <a:pt x="46" y="254"/>
                    </a:lnTo>
                    <a:lnTo>
                      <a:pt x="46" y="254"/>
                    </a:lnTo>
                    <a:lnTo>
                      <a:pt x="44" y="245"/>
                    </a:lnTo>
                    <a:lnTo>
                      <a:pt x="44" y="245"/>
                    </a:lnTo>
                    <a:lnTo>
                      <a:pt x="46" y="241"/>
                    </a:lnTo>
                    <a:lnTo>
                      <a:pt x="46" y="241"/>
                    </a:lnTo>
                    <a:lnTo>
                      <a:pt x="48" y="239"/>
                    </a:lnTo>
                    <a:lnTo>
                      <a:pt x="48" y="239"/>
                    </a:lnTo>
                    <a:lnTo>
                      <a:pt x="45" y="237"/>
                    </a:lnTo>
                    <a:lnTo>
                      <a:pt x="44" y="234"/>
                    </a:lnTo>
                    <a:lnTo>
                      <a:pt x="44" y="231"/>
                    </a:lnTo>
                    <a:lnTo>
                      <a:pt x="45" y="227"/>
                    </a:lnTo>
                    <a:lnTo>
                      <a:pt x="45" y="227"/>
                    </a:lnTo>
                    <a:lnTo>
                      <a:pt x="48" y="225"/>
                    </a:lnTo>
                    <a:lnTo>
                      <a:pt x="48" y="225"/>
                    </a:lnTo>
                    <a:lnTo>
                      <a:pt x="54" y="217"/>
                    </a:lnTo>
                    <a:lnTo>
                      <a:pt x="56" y="213"/>
                    </a:lnTo>
                    <a:lnTo>
                      <a:pt x="58" y="208"/>
                    </a:lnTo>
                    <a:lnTo>
                      <a:pt x="58" y="208"/>
                    </a:lnTo>
                    <a:lnTo>
                      <a:pt x="60" y="202"/>
                    </a:lnTo>
                    <a:lnTo>
                      <a:pt x="60" y="202"/>
                    </a:lnTo>
                    <a:lnTo>
                      <a:pt x="61" y="201"/>
                    </a:lnTo>
                    <a:lnTo>
                      <a:pt x="60" y="201"/>
                    </a:lnTo>
                    <a:lnTo>
                      <a:pt x="54" y="196"/>
                    </a:lnTo>
                    <a:lnTo>
                      <a:pt x="54" y="196"/>
                    </a:lnTo>
                    <a:lnTo>
                      <a:pt x="54" y="192"/>
                    </a:lnTo>
                    <a:lnTo>
                      <a:pt x="56" y="189"/>
                    </a:lnTo>
                    <a:lnTo>
                      <a:pt x="56" y="189"/>
                    </a:lnTo>
                    <a:lnTo>
                      <a:pt x="56" y="189"/>
                    </a:lnTo>
                    <a:lnTo>
                      <a:pt x="56" y="189"/>
                    </a:lnTo>
                    <a:lnTo>
                      <a:pt x="56" y="190"/>
                    </a:lnTo>
                    <a:lnTo>
                      <a:pt x="58" y="185"/>
                    </a:lnTo>
                    <a:lnTo>
                      <a:pt x="58" y="185"/>
                    </a:lnTo>
                    <a:lnTo>
                      <a:pt x="58" y="186"/>
                    </a:lnTo>
                    <a:lnTo>
                      <a:pt x="58" y="186"/>
                    </a:lnTo>
                    <a:lnTo>
                      <a:pt x="58" y="185"/>
                    </a:lnTo>
                    <a:lnTo>
                      <a:pt x="58" y="185"/>
                    </a:lnTo>
                    <a:lnTo>
                      <a:pt x="61" y="180"/>
                    </a:lnTo>
                    <a:lnTo>
                      <a:pt x="61" y="180"/>
                    </a:lnTo>
                    <a:lnTo>
                      <a:pt x="61" y="180"/>
                    </a:lnTo>
                    <a:lnTo>
                      <a:pt x="61" y="180"/>
                    </a:lnTo>
                    <a:lnTo>
                      <a:pt x="61" y="180"/>
                    </a:lnTo>
                    <a:lnTo>
                      <a:pt x="61" y="179"/>
                    </a:lnTo>
                    <a:lnTo>
                      <a:pt x="63" y="173"/>
                    </a:lnTo>
                    <a:lnTo>
                      <a:pt x="63" y="173"/>
                    </a:lnTo>
                    <a:lnTo>
                      <a:pt x="62" y="175"/>
                    </a:lnTo>
                    <a:lnTo>
                      <a:pt x="62" y="175"/>
                    </a:lnTo>
                    <a:lnTo>
                      <a:pt x="63" y="169"/>
                    </a:lnTo>
                    <a:lnTo>
                      <a:pt x="63" y="168"/>
                    </a:lnTo>
                    <a:lnTo>
                      <a:pt x="69" y="163"/>
                    </a:lnTo>
                    <a:lnTo>
                      <a:pt x="69" y="163"/>
                    </a:lnTo>
                    <a:lnTo>
                      <a:pt x="69" y="163"/>
                    </a:lnTo>
                    <a:lnTo>
                      <a:pt x="69" y="163"/>
                    </a:lnTo>
                    <a:lnTo>
                      <a:pt x="67" y="163"/>
                    </a:lnTo>
                    <a:lnTo>
                      <a:pt x="66" y="164"/>
                    </a:lnTo>
                    <a:lnTo>
                      <a:pt x="66" y="164"/>
                    </a:lnTo>
                    <a:lnTo>
                      <a:pt x="65" y="167"/>
                    </a:lnTo>
                    <a:lnTo>
                      <a:pt x="65" y="167"/>
                    </a:lnTo>
                    <a:lnTo>
                      <a:pt x="65" y="165"/>
                    </a:lnTo>
                    <a:lnTo>
                      <a:pt x="65" y="165"/>
                    </a:lnTo>
                    <a:lnTo>
                      <a:pt x="65" y="161"/>
                    </a:lnTo>
                    <a:lnTo>
                      <a:pt x="65" y="160"/>
                    </a:lnTo>
                    <a:lnTo>
                      <a:pt x="65" y="160"/>
                    </a:lnTo>
                    <a:lnTo>
                      <a:pt x="65" y="160"/>
                    </a:lnTo>
                    <a:lnTo>
                      <a:pt x="65" y="160"/>
                    </a:lnTo>
                    <a:lnTo>
                      <a:pt x="65" y="160"/>
                    </a:lnTo>
                    <a:lnTo>
                      <a:pt x="67" y="156"/>
                    </a:lnTo>
                    <a:lnTo>
                      <a:pt x="67" y="156"/>
                    </a:lnTo>
                    <a:lnTo>
                      <a:pt x="66" y="156"/>
                    </a:lnTo>
                    <a:lnTo>
                      <a:pt x="66" y="156"/>
                    </a:lnTo>
                    <a:lnTo>
                      <a:pt x="66" y="155"/>
                    </a:lnTo>
                    <a:lnTo>
                      <a:pt x="66" y="155"/>
                    </a:lnTo>
                    <a:lnTo>
                      <a:pt x="66" y="153"/>
                    </a:lnTo>
                    <a:lnTo>
                      <a:pt x="66" y="153"/>
                    </a:lnTo>
                    <a:lnTo>
                      <a:pt x="67" y="151"/>
                    </a:lnTo>
                    <a:lnTo>
                      <a:pt x="67" y="148"/>
                    </a:lnTo>
                    <a:lnTo>
                      <a:pt x="70" y="144"/>
                    </a:lnTo>
                    <a:lnTo>
                      <a:pt x="70" y="144"/>
                    </a:lnTo>
                    <a:lnTo>
                      <a:pt x="71" y="140"/>
                    </a:lnTo>
                    <a:lnTo>
                      <a:pt x="71" y="140"/>
                    </a:lnTo>
                    <a:lnTo>
                      <a:pt x="69" y="139"/>
                    </a:lnTo>
                    <a:lnTo>
                      <a:pt x="66" y="138"/>
                    </a:lnTo>
                    <a:lnTo>
                      <a:pt x="66" y="138"/>
                    </a:lnTo>
                    <a:lnTo>
                      <a:pt x="66" y="138"/>
                    </a:lnTo>
                    <a:lnTo>
                      <a:pt x="62" y="134"/>
                    </a:lnTo>
                    <a:lnTo>
                      <a:pt x="62" y="134"/>
                    </a:lnTo>
                    <a:lnTo>
                      <a:pt x="63" y="135"/>
                    </a:lnTo>
                    <a:lnTo>
                      <a:pt x="63" y="135"/>
                    </a:lnTo>
                    <a:lnTo>
                      <a:pt x="62" y="135"/>
                    </a:lnTo>
                    <a:lnTo>
                      <a:pt x="58" y="135"/>
                    </a:lnTo>
                    <a:lnTo>
                      <a:pt x="53" y="131"/>
                    </a:lnTo>
                    <a:lnTo>
                      <a:pt x="53" y="131"/>
                    </a:lnTo>
                    <a:lnTo>
                      <a:pt x="53" y="131"/>
                    </a:lnTo>
                    <a:lnTo>
                      <a:pt x="53" y="131"/>
                    </a:lnTo>
                    <a:lnTo>
                      <a:pt x="56" y="132"/>
                    </a:lnTo>
                    <a:lnTo>
                      <a:pt x="50" y="127"/>
                    </a:lnTo>
                    <a:lnTo>
                      <a:pt x="50" y="127"/>
                    </a:lnTo>
                    <a:lnTo>
                      <a:pt x="50" y="124"/>
                    </a:lnTo>
                    <a:lnTo>
                      <a:pt x="50" y="122"/>
                    </a:lnTo>
                    <a:lnTo>
                      <a:pt x="53" y="118"/>
                    </a:lnTo>
                    <a:lnTo>
                      <a:pt x="53" y="118"/>
                    </a:lnTo>
                    <a:lnTo>
                      <a:pt x="53" y="118"/>
                    </a:lnTo>
                    <a:lnTo>
                      <a:pt x="53" y="118"/>
                    </a:lnTo>
                    <a:lnTo>
                      <a:pt x="56" y="112"/>
                    </a:lnTo>
                    <a:lnTo>
                      <a:pt x="56" y="112"/>
                    </a:lnTo>
                    <a:lnTo>
                      <a:pt x="57" y="111"/>
                    </a:lnTo>
                    <a:lnTo>
                      <a:pt x="57" y="108"/>
                    </a:lnTo>
                    <a:lnTo>
                      <a:pt x="57" y="108"/>
                    </a:lnTo>
                    <a:lnTo>
                      <a:pt x="57" y="107"/>
                    </a:lnTo>
                    <a:lnTo>
                      <a:pt x="56" y="107"/>
                    </a:lnTo>
                    <a:lnTo>
                      <a:pt x="56" y="107"/>
                    </a:lnTo>
                    <a:lnTo>
                      <a:pt x="50" y="103"/>
                    </a:lnTo>
                    <a:lnTo>
                      <a:pt x="50" y="103"/>
                    </a:lnTo>
                    <a:lnTo>
                      <a:pt x="49" y="103"/>
                    </a:lnTo>
                    <a:lnTo>
                      <a:pt x="49" y="103"/>
                    </a:lnTo>
                    <a:lnTo>
                      <a:pt x="50" y="104"/>
                    </a:lnTo>
                    <a:lnTo>
                      <a:pt x="50" y="104"/>
                    </a:lnTo>
                    <a:lnTo>
                      <a:pt x="50" y="103"/>
                    </a:lnTo>
                    <a:lnTo>
                      <a:pt x="50" y="103"/>
                    </a:lnTo>
                    <a:lnTo>
                      <a:pt x="46" y="102"/>
                    </a:lnTo>
                    <a:lnTo>
                      <a:pt x="46" y="102"/>
                    </a:lnTo>
                    <a:lnTo>
                      <a:pt x="42" y="99"/>
                    </a:lnTo>
                    <a:lnTo>
                      <a:pt x="42" y="99"/>
                    </a:lnTo>
                    <a:lnTo>
                      <a:pt x="44" y="101"/>
                    </a:lnTo>
                    <a:lnTo>
                      <a:pt x="44" y="101"/>
                    </a:lnTo>
                    <a:lnTo>
                      <a:pt x="42" y="99"/>
                    </a:lnTo>
                    <a:lnTo>
                      <a:pt x="42" y="99"/>
                    </a:lnTo>
                    <a:lnTo>
                      <a:pt x="37" y="97"/>
                    </a:lnTo>
                    <a:lnTo>
                      <a:pt x="38" y="97"/>
                    </a:lnTo>
                    <a:lnTo>
                      <a:pt x="34" y="94"/>
                    </a:lnTo>
                    <a:lnTo>
                      <a:pt x="34" y="94"/>
                    </a:lnTo>
                    <a:lnTo>
                      <a:pt x="34" y="94"/>
                    </a:lnTo>
                    <a:lnTo>
                      <a:pt x="34" y="94"/>
                    </a:lnTo>
                    <a:lnTo>
                      <a:pt x="36" y="95"/>
                    </a:lnTo>
                    <a:lnTo>
                      <a:pt x="36" y="95"/>
                    </a:lnTo>
                    <a:lnTo>
                      <a:pt x="34" y="95"/>
                    </a:lnTo>
                    <a:lnTo>
                      <a:pt x="34" y="95"/>
                    </a:lnTo>
                    <a:lnTo>
                      <a:pt x="30" y="93"/>
                    </a:lnTo>
                    <a:lnTo>
                      <a:pt x="32" y="93"/>
                    </a:lnTo>
                    <a:lnTo>
                      <a:pt x="28" y="90"/>
                    </a:lnTo>
                    <a:lnTo>
                      <a:pt x="28" y="90"/>
                    </a:lnTo>
                    <a:lnTo>
                      <a:pt x="28" y="90"/>
                    </a:lnTo>
                    <a:lnTo>
                      <a:pt x="28" y="90"/>
                    </a:lnTo>
                    <a:lnTo>
                      <a:pt x="29" y="91"/>
                    </a:lnTo>
                    <a:lnTo>
                      <a:pt x="29" y="91"/>
                    </a:lnTo>
                    <a:lnTo>
                      <a:pt x="28" y="91"/>
                    </a:lnTo>
                    <a:lnTo>
                      <a:pt x="28" y="91"/>
                    </a:lnTo>
                    <a:lnTo>
                      <a:pt x="25" y="89"/>
                    </a:lnTo>
                    <a:lnTo>
                      <a:pt x="25" y="89"/>
                    </a:lnTo>
                    <a:lnTo>
                      <a:pt x="23" y="86"/>
                    </a:lnTo>
                    <a:lnTo>
                      <a:pt x="23" y="87"/>
                    </a:lnTo>
                    <a:lnTo>
                      <a:pt x="21" y="87"/>
                    </a:lnTo>
                    <a:lnTo>
                      <a:pt x="21" y="87"/>
                    </a:lnTo>
                    <a:lnTo>
                      <a:pt x="23" y="87"/>
                    </a:lnTo>
                    <a:lnTo>
                      <a:pt x="23" y="87"/>
                    </a:lnTo>
                    <a:lnTo>
                      <a:pt x="21" y="87"/>
                    </a:lnTo>
                    <a:lnTo>
                      <a:pt x="21" y="87"/>
                    </a:lnTo>
                    <a:lnTo>
                      <a:pt x="19" y="86"/>
                    </a:lnTo>
                    <a:lnTo>
                      <a:pt x="19" y="85"/>
                    </a:lnTo>
                    <a:lnTo>
                      <a:pt x="16" y="82"/>
                    </a:lnTo>
                    <a:lnTo>
                      <a:pt x="16" y="83"/>
                    </a:lnTo>
                    <a:lnTo>
                      <a:pt x="16" y="83"/>
                    </a:lnTo>
                    <a:lnTo>
                      <a:pt x="16" y="83"/>
                    </a:lnTo>
                    <a:lnTo>
                      <a:pt x="16" y="83"/>
                    </a:lnTo>
                    <a:lnTo>
                      <a:pt x="16" y="83"/>
                    </a:lnTo>
                    <a:lnTo>
                      <a:pt x="16" y="83"/>
                    </a:lnTo>
                    <a:lnTo>
                      <a:pt x="16" y="83"/>
                    </a:lnTo>
                    <a:lnTo>
                      <a:pt x="12" y="82"/>
                    </a:lnTo>
                    <a:lnTo>
                      <a:pt x="12" y="82"/>
                    </a:lnTo>
                    <a:lnTo>
                      <a:pt x="12" y="82"/>
                    </a:lnTo>
                    <a:lnTo>
                      <a:pt x="12" y="82"/>
                    </a:lnTo>
                    <a:lnTo>
                      <a:pt x="8" y="82"/>
                    </a:lnTo>
                    <a:lnTo>
                      <a:pt x="8" y="82"/>
                    </a:lnTo>
                    <a:lnTo>
                      <a:pt x="5" y="82"/>
                    </a:lnTo>
                    <a:lnTo>
                      <a:pt x="3" y="81"/>
                    </a:lnTo>
                    <a:lnTo>
                      <a:pt x="1" y="79"/>
                    </a:lnTo>
                    <a:lnTo>
                      <a:pt x="0" y="75"/>
                    </a:lnTo>
                    <a:lnTo>
                      <a:pt x="0" y="74"/>
                    </a:lnTo>
                    <a:lnTo>
                      <a:pt x="0" y="74"/>
                    </a:lnTo>
                    <a:lnTo>
                      <a:pt x="1" y="67"/>
                    </a:lnTo>
                    <a:lnTo>
                      <a:pt x="4" y="64"/>
                    </a:lnTo>
                    <a:lnTo>
                      <a:pt x="8" y="60"/>
                    </a:lnTo>
                    <a:lnTo>
                      <a:pt x="12" y="57"/>
                    </a:lnTo>
                    <a:lnTo>
                      <a:pt x="12" y="57"/>
                    </a:lnTo>
                    <a:lnTo>
                      <a:pt x="16" y="56"/>
                    </a:lnTo>
                    <a:lnTo>
                      <a:pt x="17" y="54"/>
                    </a:lnTo>
                    <a:lnTo>
                      <a:pt x="23" y="53"/>
                    </a:lnTo>
                    <a:lnTo>
                      <a:pt x="23" y="53"/>
                    </a:lnTo>
                    <a:lnTo>
                      <a:pt x="38" y="49"/>
                    </a:lnTo>
                    <a:lnTo>
                      <a:pt x="56" y="45"/>
                    </a:lnTo>
                    <a:lnTo>
                      <a:pt x="56" y="45"/>
                    </a:lnTo>
                    <a:lnTo>
                      <a:pt x="57" y="45"/>
                    </a:lnTo>
                    <a:lnTo>
                      <a:pt x="57" y="45"/>
                    </a:lnTo>
                    <a:lnTo>
                      <a:pt x="58" y="45"/>
                    </a:lnTo>
                    <a:lnTo>
                      <a:pt x="60" y="45"/>
                    </a:lnTo>
                    <a:lnTo>
                      <a:pt x="60" y="44"/>
                    </a:lnTo>
                    <a:lnTo>
                      <a:pt x="60" y="44"/>
                    </a:lnTo>
                    <a:lnTo>
                      <a:pt x="65" y="42"/>
                    </a:lnTo>
                    <a:lnTo>
                      <a:pt x="73" y="41"/>
                    </a:lnTo>
                    <a:lnTo>
                      <a:pt x="73" y="41"/>
                    </a:lnTo>
                    <a:lnTo>
                      <a:pt x="74" y="41"/>
                    </a:lnTo>
                    <a:lnTo>
                      <a:pt x="74" y="41"/>
                    </a:lnTo>
                    <a:lnTo>
                      <a:pt x="74" y="41"/>
                    </a:lnTo>
                    <a:lnTo>
                      <a:pt x="78" y="40"/>
                    </a:lnTo>
                    <a:lnTo>
                      <a:pt x="82" y="38"/>
                    </a:lnTo>
                    <a:lnTo>
                      <a:pt x="82" y="38"/>
                    </a:lnTo>
                    <a:lnTo>
                      <a:pt x="85" y="40"/>
                    </a:lnTo>
                    <a:lnTo>
                      <a:pt x="85" y="40"/>
                    </a:lnTo>
                    <a:lnTo>
                      <a:pt x="86" y="40"/>
                    </a:lnTo>
                    <a:lnTo>
                      <a:pt x="86" y="38"/>
                    </a:lnTo>
                    <a:lnTo>
                      <a:pt x="86" y="38"/>
                    </a:lnTo>
                    <a:lnTo>
                      <a:pt x="90" y="37"/>
                    </a:lnTo>
                    <a:lnTo>
                      <a:pt x="94" y="37"/>
                    </a:lnTo>
                    <a:lnTo>
                      <a:pt x="94" y="37"/>
                    </a:lnTo>
                    <a:lnTo>
                      <a:pt x="95" y="37"/>
                    </a:lnTo>
                    <a:lnTo>
                      <a:pt x="95" y="37"/>
                    </a:lnTo>
                    <a:lnTo>
                      <a:pt x="97" y="37"/>
                    </a:lnTo>
                    <a:lnTo>
                      <a:pt x="97" y="37"/>
                    </a:lnTo>
                    <a:lnTo>
                      <a:pt x="97" y="37"/>
                    </a:lnTo>
                    <a:lnTo>
                      <a:pt x="101" y="34"/>
                    </a:lnTo>
                    <a:lnTo>
                      <a:pt x="106" y="34"/>
                    </a:lnTo>
                    <a:lnTo>
                      <a:pt x="106" y="34"/>
                    </a:lnTo>
                    <a:lnTo>
                      <a:pt x="107" y="34"/>
                    </a:lnTo>
                    <a:lnTo>
                      <a:pt x="107" y="34"/>
                    </a:lnTo>
                    <a:lnTo>
                      <a:pt x="108" y="34"/>
                    </a:lnTo>
                    <a:lnTo>
                      <a:pt x="108" y="34"/>
                    </a:lnTo>
                    <a:lnTo>
                      <a:pt x="108" y="34"/>
                    </a:lnTo>
                    <a:lnTo>
                      <a:pt x="112" y="32"/>
                    </a:lnTo>
                    <a:lnTo>
                      <a:pt x="116" y="32"/>
                    </a:lnTo>
                    <a:lnTo>
                      <a:pt x="116" y="32"/>
                    </a:lnTo>
                    <a:lnTo>
                      <a:pt x="119" y="32"/>
                    </a:lnTo>
                    <a:lnTo>
                      <a:pt x="120" y="32"/>
                    </a:lnTo>
                    <a:lnTo>
                      <a:pt x="122" y="30"/>
                    </a:lnTo>
                    <a:lnTo>
                      <a:pt x="122" y="30"/>
                    </a:lnTo>
                    <a:lnTo>
                      <a:pt x="122" y="30"/>
                    </a:lnTo>
                    <a:lnTo>
                      <a:pt x="127" y="29"/>
                    </a:lnTo>
                    <a:lnTo>
                      <a:pt x="135" y="28"/>
                    </a:lnTo>
                    <a:lnTo>
                      <a:pt x="135" y="28"/>
                    </a:lnTo>
                    <a:lnTo>
                      <a:pt x="136" y="28"/>
                    </a:lnTo>
                    <a:lnTo>
                      <a:pt x="136" y="28"/>
                    </a:lnTo>
                    <a:lnTo>
                      <a:pt x="136" y="28"/>
                    </a:lnTo>
                    <a:lnTo>
                      <a:pt x="140" y="25"/>
                    </a:lnTo>
                    <a:lnTo>
                      <a:pt x="144" y="25"/>
                    </a:lnTo>
                    <a:lnTo>
                      <a:pt x="144" y="25"/>
                    </a:lnTo>
                    <a:lnTo>
                      <a:pt x="147" y="25"/>
                    </a:lnTo>
                    <a:lnTo>
                      <a:pt x="148" y="25"/>
                    </a:lnTo>
                    <a:lnTo>
                      <a:pt x="149" y="24"/>
                    </a:lnTo>
                    <a:lnTo>
                      <a:pt x="149" y="24"/>
                    </a:lnTo>
                    <a:lnTo>
                      <a:pt x="149" y="24"/>
                    </a:lnTo>
                    <a:lnTo>
                      <a:pt x="156" y="23"/>
                    </a:lnTo>
                    <a:lnTo>
                      <a:pt x="163" y="21"/>
                    </a:lnTo>
                    <a:lnTo>
                      <a:pt x="163" y="21"/>
                    </a:lnTo>
                    <a:lnTo>
                      <a:pt x="164" y="21"/>
                    </a:lnTo>
                    <a:lnTo>
                      <a:pt x="164" y="21"/>
                    </a:lnTo>
                    <a:lnTo>
                      <a:pt x="164" y="21"/>
                    </a:lnTo>
                    <a:lnTo>
                      <a:pt x="168" y="20"/>
                    </a:lnTo>
                    <a:lnTo>
                      <a:pt x="172" y="19"/>
                    </a:lnTo>
                    <a:lnTo>
                      <a:pt x="172" y="19"/>
                    </a:lnTo>
                    <a:lnTo>
                      <a:pt x="175" y="19"/>
                    </a:lnTo>
                    <a:lnTo>
                      <a:pt x="175" y="19"/>
                    </a:lnTo>
                    <a:lnTo>
                      <a:pt x="176" y="19"/>
                    </a:lnTo>
                    <a:lnTo>
                      <a:pt x="176" y="19"/>
                    </a:lnTo>
                    <a:lnTo>
                      <a:pt x="176" y="19"/>
                    </a:lnTo>
                    <a:lnTo>
                      <a:pt x="180" y="17"/>
                    </a:lnTo>
                    <a:lnTo>
                      <a:pt x="184" y="16"/>
                    </a:lnTo>
                    <a:lnTo>
                      <a:pt x="184" y="16"/>
                    </a:lnTo>
                    <a:lnTo>
                      <a:pt x="186" y="16"/>
                    </a:lnTo>
                    <a:lnTo>
                      <a:pt x="186" y="16"/>
                    </a:lnTo>
                    <a:lnTo>
                      <a:pt x="188" y="16"/>
                    </a:lnTo>
                    <a:lnTo>
                      <a:pt x="188" y="16"/>
                    </a:lnTo>
                    <a:lnTo>
                      <a:pt x="188" y="16"/>
                    </a:lnTo>
                    <a:lnTo>
                      <a:pt x="190" y="15"/>
                    </a:lnTo>
                    <a:lnTo>
                      <a:pt x="196" y="13"/>
                    </a:lnTo>
                    <a:lnTo>
                      <a:pt x="196" y="13"/>
                    </a:lnTo>
                    <a:lnTo>
                      <a:pt x="198" y="13"/>
                    </a:lnTo>
                    <a:lnTo>
                      <a:pt x="198" y="13"/>
                    </a:lnTo>
                    <a:lnTo>
                      <a:pt x="205" y="16"/>
                    </a:lnTo>
                    <a:lnTo>
                      <a:pt x="209" y="20"/>
                    </a:lnTo>
                    <a:lnTo>
                      <a:pt x="210" y="24"/>
                    </a:lnTo>
                    <a:lnTo>
                      <a:pt x="210" y="25"/>
                    </a:lnTo>
                    <a:lnTo>
                      <a:pt x="206" y="30"/>
                    </a:lnTo>
                    <a:lnTo>
                      <a:pt x="206" y="30"/>
                    </a:lnTo>
                    <a:lnTo>
                      <a:pt x="208" y="30"/>
                    </a:lnTo>
                    <a:lnTo>
                      <a:pt x="208" y="30"/>
                    </a:lnTo>
                    <a:lnTo>
                      <a:pt x="206" y="32"/>
                    </a:lnTo>
                    <a:lnTo>
                      <a:pt x="206" y="32"/>
                    </a:lnTo>
                    <a:lnTo>
                      <a:pt x="205" y="34"/>
                    </a:lnTo>
                    <a:lnTo>
                      <a:pt x="205" y="34"/>
                    </a:lnTo>
                    <a:lnTo>
                      <a:pt x="205" y="37"/>
                    </a:lnTo>
                    <a:lnTo>
                      <a:pt x="205" y="37"/>
                    </a:lnTo>
                    <a:lnTo>
                      <a:pt x="205" y="37"/>
                    </a:lnTo>
                    <a:lnTo>
                      <a:pt x="205" y="37"/>
                    </a:lnTo>
                    <a:lnTo>
                      <a:pt x="205" y="37"/>
                    </a:lnTo>
                    <a:lnTo>
                      <a:pt x="205" y="37"/>
                    </a:lnTo>
                    <a:lnTo>
                      <a:pt x="205" y="37"/>
                    </a:lnTo>
                    <a:lnTo>
                      <a:pt x="209" y="42"/>
                    </a:lnTo>
                    <a:lnTo>
                      <a:pt x="209" y="42"/>
                    </a:lnTo>
                    <a:lnTo>
                      <a:pt x="209" y="41"/>
                    </a:lnTo>
                    <a:lnTo>
                      <a:pt x="208" y="40"/>
                    </a:lnTo>
                    <a:lnTo>
                      <a:pt x="208" y="40"/>
                    </a:lnTo>
                    <a:lnTo>
                      <a:pt x="210" y="41"/>
                    </a:lnTo>
                    <a:lnTo>
                      <a:pt x="212" y="44"/>
                    </a:lnTo>
                    <a:lnTo>
                      <a:pt x="212" y="48"/>
                    </a:lnTo>
                    <a:lnTo>
                      <a:pt x="212" y="50"/>
                    </a:lnTo>
                    <a:lnTo>
                      <a:pt x="212" y="52"/>
                    </a:lnTo>
                    <a:lnTo>
                      <a:pt x="212" y="52"/>
                    </a:lnTo>
                    <a:lnTo>
                      <a:pt x="210" y="56"/>
                    </a:lnTo>
                    <a:lnTo>
                      <a:pt x="210" y="56"/>
                    </a:lnTo>
                    <a:lnTo>
                      <a:pt x="210" y="53"/>
                    </a:lnTo>
                    <a:lnTo>
                      <a:pt x="209" y="57"/>
                    </a:lnTo>
                    <a:lnTo>
                      <a:pt x="209" y="57"/>
                    </a:lnTo>
                    <a:lnTo>
                      <a:pt x="206" y="60"/>
                    </a:lnTo>
                    <a:lnTo>
                      <a:pt x="206" y="60"/>
                    </a:lnTo>
                    <a:lnTo>
                      <a:pt x="201" y="65"/>
                    </a:lnTo>
                    <a:lnTo>
                      <a:pt x="197" y="70"/>
                    </a:lnTo>
                    <a:lnTo>
                      <a:pt x="197" y="70"/>
                    </a:lnTo>
                    <a:lnTo>
                      <a:pt x="196" y="74"/>
                    </a:lnTo>
                    <a:lnTo>
                      <a:pt x="193" y="77"/>
                    </a:lnTo>
                    <a:lnTo>
                      <a:pt x="193" y="77"/>
                    </a:lnTo>
                    <a:lnTo>
                      <a:pt x="193" y="77"/>
                    </a:lnTo>
                    <a:lnTo>
                      <a:pt x="194" y="74"/>
                    </a:lnTo>
                    <a:lnTo>
                      <a:pt x="190" y="77"/>
                    </a:lnTo>
                    <a:lnTo>
                      <a:pt x="190" y="77"/>
                    </a:lnTo>
                    <a:lnTo>
                      <a:pt x="190" y="75"/>
                    </a:lnTo>
                    <a:lnTo>
                      <a:pt x="188" y="75"/>
                    </a:lnTo>
                    <a:lnTo>
                      <a:pt x="188" y="75"/>
                    </a:lnTo>
                    <a:lnTo>
                      <a:pt x="190" y="78"/>
                    </a:lnTo>
                    <a:lnTo>
                      <a:pt x="188" y="79"/>
                    </a:lnTo>
                    <a:lnTo>
                      <a:pt x="188" y="81"/>
                    </a:lnTo>
                    <a:lnTo>
                      <a:pt x="188" y="81"/>
                    </a:lnTo>
                    <a:lnTo>
                      <a:pt x="190" y="79"/>
                    </a:lnTo>
                    <a:lnTo>
                      <a:pt x="192" y="78"/>
                    </a:lnTo>
                    <a:lnTo>
                      <a:pt x="192" y="79"/>
                    </a:lnTo>
                    <a:lnTo>
                      <a:pt x="192" y="78"/>
                    </a:lnTo>
                    <a:lnTo>
                      <a:pt x="192" y="78"/>
                    </a:lnTo>
                    <a:lnTo>
                      <a:pt x="196" y="83"/>
                    </a:lnTo>
                    <a:lnTo>
                      <a:pt x="196" y="83"/>
                    </a:lnTo>
                    <a:lnTo>
                      <a:pt x="200" y="82"/>
                    </a:lnTo>
                    <a:lnTo>
                      <a:pt x="200" y="82"/>
                    </a:lnTo>
                    <a:lnTo>
                      <a:pt x="202" y="82"/>
                    </a:lnTo>
                    <a:lnTo>
                      <a:pt x="205" y="85"/>
                    </a:lnTo>
                    <a:lnTo>
                      <a:pt x="205" y="85"/>
                    </a:lnTo>
                    <a:lnTo>
                      <a:pt x="209" y="87"/>
                    </a:lnTo>
                    <a:lnTo>
                      <a:pt x="209" y="87"/>
                    </a:lnTo>
                    <a:lnTo>
                      <a:pt x="213" y="93"/>
                    </a:lnTo>
                    <a:lnTo>
                      <a:pt x="216" y="97"/>
                    </a:lnTo>
                    <a:lnTo>
                      <a:pt x="217" y="102"/>
                    </a:lnTo>
                    <a:lnTo>
                      <a:pt x="217" y="102"/>
                    </a:lnTo>
                    <a:lnTo>
                      <a:pt x="217" y="106"/>
                    </a:lnTo>
                    <a:lnTo>
                      <a:pt x="216" y="108"/>
                    </a:lnTo>
                    <a:lnTo>
                      <a:pt x="216" y="108"/>
                    </a:lnTo>
                    <a:lnTo>
                      <a:pt x="216" y="108"/>
                    </a:lnTo>
                    <a:lnTo>
                      <a:pt x="216" y="108"/>
                    </a:lnTo>
                    <a:lnTo>
                      <a:pt x="216" y="106"/>
                    </a:lnTo>
                    <a:lnTo>
                      <a:pt x="213" y="110"/>
                    </a:lnTo>
                    <a:lnTo>
                      <a:pt x="213" y="110"/>
                    </a:lnTo>
                    <a:lnTo>
                      <a:pt x="218" y="114"/>
                    </a:lnTo>
                    <a:lnTo>
                      <a:pt x="218" y="114"/>
                    </a:lnTo>
                    <a:lnTo>
                      <a:pt x="225" y="120"/>
                    </a:lnTo>
                    <a:lnTo>
                      <a:pt x="229" y="123"/>
                    </a:lnTo>
                    <a:lnTo>
                      <a:pt x="233" y="124"/>
                    </a:lnTo>
                    <a:lnTo>
                      <a:pt x="233" y="124"/>
                    </a:lnTo>
                    <a:lnTo>
                      <a:pt x="234" y="123"/>
                    </a:lnTo>
                    <a:lnTo>
                      <a:pt x="235" y="122"/>
                    </a:lnTo>
                    <a:lnTo>
                      <a:pt x="235" y="116"/>
                    </a:lnTo>
                    <a:lnTo>
                      <a:pt x="239" y="111"/>
                    </a:lnTo>
                    <a:lnTo>
                      <a:pt x="239" y="111"/>
                    </a:lnTo>
                    <a:lnTo>
                      <a:pt x="242" y="110"/>
                    </a:lnTo>
                    <a:lnTo>
                      <a:pt x="246" y="110"/>
                    </a:lnTo>
                    <a:lnTo>
                      <a:pt x="246" y="110"/>
                    </a:lnTo>
                    <a:lnTo>
                      <a:pt x="247" y="108"/>
                    </a:lnTo>
                    <a:lnTo>
                      <a:pt x="247" y="108"/>
                    </a:lnTo>
                    <a:lnTo>
                      <a:pt x="249" y="106"/>
                    </a:lnTo>
                    <a:lnTo>
                      <a:pt x="251" y="103"/>
                    </a:lnTo>
                    <a:lnTo>
                      <a:pt x="251" y="103"/>
                    </a:lnTo>
                    <a:lnTo>
                      <a:pt x="251" y="103"/>
                    </a:lnTo>
                    <a:lnTo>
                      <a:pt x="251" y="103"/>
                    </a:lnTo>
                    <a:lnTo>
                      <a:pt x="250" y="101"/>
                    </a:lnTo>
                    <a:lnTo>
                      <a:pt x="250" y="95"/>
                    </a:lnTo>
                    <a:lnTo>
                      <a:pt x="250" y="94"/>
                    </a:lnTo>
                    <a:lnTo>
                      <a:pt x="250" y="94"/>
                    </a:lnTo>
                    <a:lnTo>
                      <a:pt x="250" y="94"/>
                    </a:lnTo>
                    <a:lnTo>
                      <a:pt x="250" y="93"/>
                    </a:lnTo>
                    <a:lnTo>
                      <a:pt x="250" y="93"/>
                    </a:lnTo>
                    <a:lnTo>
                      <a:pt x="250" y="90"/>
                    </a:lnTo>
                    <a:lnTo>
                      <a:pt x="251" y="87"/>
                    </a:lnTo>
                    <a:lnTo>
                      <a:pt x="251" y="87"/>
                    </a:lnTo>
                    <a:lnTo>
                      <a:pt x="251" y="81"/>
                    </a:lnTo>
                    <a:lnTo>
                      <a:pt x="253" y="77"/>
                    </a:lnTo>
                    <a:lnTo>
                      <a:pt x="258" y="67"/>
                    </a:lnTo>
                    <a:lnTo>
                      <a:pt x="258" y="67"/>
                    </a:lnTo>
                    <a:lnTo>
                      <a:pt x="259" y="65"/>
                    </a:lnTo>
                    <a:lnTo>
                      <a:pt x="259" y="65"/>
                    </a:lnTo>
                    <a:lnTo>
                      <a:pt x="263" y="61"/>
                    </a:lnTo>
                    <a:lnTo>
                      <a:pt x="267" y="60"/>
                    </a:lnTo>
                    <a:lnTo>
                      <a:pt x="268" y="60"/>
                    </a:lnTo>
                    <a:lnTo>
                      <a:pt x="268" y="60"/>
                    </a:lnTo>
                    <a:lnTo>
                      <a:pt x="268" y="60"/>
                    </a:lnTo>
                    <a:lnTo>
                      <a:pt x="268" y="60"/>
                    </a:lnTo>
                    <a:lnTo>
                      <a:pt x="268" y="57"/>
                    </a:lnTo>
                    <a:lnTo>
                      <a:pt x="267" y="54"/>
                    </a:lnTo>
                    <a:lnTo>
                      <a:pt x="267" y="54"/>
                    </a:lnTo>
                    <a:lnTo>
                      <a:pt x="264" y="52"/>
                    </a:lnTo>
                    <a:lnTo>
                      <a:pt x="263" y="48"/>
                    </a:lnTo>
                    <a:lnTo>
                      <a:pt x="262" y="45"/>
                    </a:lnTo>
                    <a:lnTo>
                      <a:pt x="262" y="44"/>
                    </a:lnTo>
                    <a:lnTo>
                      <a:pt x="266" y="38"/>
                    </a:lnTo>
                    <a:lnTo>
                      <a:pt x="266" y="38"/>
                    </a:lnTo>
                    <a:lnTo>
                      <a:pt x="264" y="40"/>
                    </a:lnTo>
                    <a:lnTo>
                      <a:pt x="263" y="41"/>
                    </a:lnTo>
                    <a:lnTo>
                      <a:pt x="263" y="41"/>
                    </a:lnTo>
                    <a:lnTo>
                      <a:pt x="263" y="40"/>
                    </a:lnTo>
                    <a:lnTo>
                      <a:pt x="263" y="40"/>
                    </a:lnTo>
                    <a:lnTo>
                      <a:pt x="264" y="33"/>
                    </a:lnTo>
                    <a:lnTo>
                      <a:pt x="266" y="30"/>
                    </a:lnTo>
                    <a:lnTo>
                      <a:pt x="268" y="28"/>
                    </a:lnTo>
                    <a:lnTo>
                      <a:pt x="268" y="28"/>
                    </a:lnTo>
                    <a:lnTo>
                      <a:pt x="268" y="28"/>
                    </a:lnTo>
                    <a:lnTo>
                      <a:pt x="268" y="28"/>
                    </a:lnTo>
                    <a:lnTo>
                      <a:pt x="268" y="28"/>
                    </a:lnTo>
                    <a:lnTo>
                      <a:pt x="268" y="28"/>
                    </a:lnTo>
                    <a:lnTo>
                      <a:pt x="270" y="28"/>
                    </a:lnTo>
                    <a:lnTo>
                      <a:pt x="267" y="25"/>
                    </a:lnTo>
                    <a:lnTo>
                      <a:pt x="267" y="25"/>
                    </a:lnTo>
                    <a:lnTo>
                      <a:pt x="268" y="26"/>
                    </a:lnTo>
                    <a:lnTo>
                      <a:pt x="268" y="26"/>
                    </a:lnTo>
                    <a:lnTo>
                      <a:pt x="266" y="23"/>
                    </a:lnTo>
                    <a:lnTo>
                      <a:pt x="264" y="20"/>
                    </a:lnTo>
                    <a:lnTo>
                      <a:pt x="264" y="16"/>
                    </a:lnTo>
                    <a:lnTo>
                      <a:pt x="264" y="16"/>
                    </a:lnTo>
                    <a:lnTo>
                      <a:pt x="267" y="12"/>
                    </a:lnTo>
                    <a:lnTo>
                      <a:pt x="267" y="12"/>
                    </a:lnTo>
                    <a:lnTo>
                      <a:pt x="266" y="12"/>
                    </a:lnTo>
                    <a:lnTo>
                      <a:pt x="266" y="12"/>
                    </a:lnTo>
                    <a:lnTo>
                      <a:pt x="267" y="11"/>
                    </a:lnTo>
                    <a:lnTo>
                      <a:pt x="267" y="11"/>
                    </a:lnTo>
                    <a:lnTo>
                      <a:pt x="268" y="7"/>
                    </a:lnTo>
                    <a:lnTo>
                      <a:pt x="270" y="5"/>
                    </a:lnTo>
                    <a:lnTo>
                      <a:pt x="271" y="3"/>
                    </a:lnTo>
                    <a:lnTo>
                      <a:pt x="275" y="3"/>
                    </a:lnTo>
                    <a:lnTo>
                      <a:pt x="275" y="3"/>
                    </a:lnTo>
                    <a:lnTo>
                      <a:pt x="275" y="3"/>
                    </a:lnTo>
                    <a:lnTo>
                      <a:pt x="276" y="3"/>
                    </a:lnTo>
                    <a:lnTo>
                      <a:pt x="279" y="3"/>
                    </a:lnTo>
                    <a:lnTo>
                      <a:pt x="279" y="3"/>
                    </a:lnTo>
                    <a:lnTo>
                      <a:pt x="276" y="4"/>
                    </a:lnTo>
                    <a:lnTo>
                      <a:pt x="276" y="5"/>
                    </a:lnTo>
                    <a:lnTo>
                      <a:pt x="280" y="1"/>
                    </a:lnTo>
                    <a:lnTo>
                      <a:pt x="283" y="1"/>
                    </a:lnTo>
                    <a:lnTo>
                      <a:pt x="284" y="1"/>
                    </a:lnTo>
                    <a:lnTo>
                      <a:pt x="284" y="1"/>
                    </a:lnTo>
                    <a:lnTo>
                      <a:pt x="286" y="0"/>
                    </a:lnTo>
                    <a:lnTo>
                      <a:pt x="290" y="0"/>
                    </a:lnTo>
                    <a:lnTo>
                      <a:pt x="290" y="0"/>
                    </a:lnTo>
                    <a:lnTo>
                      <a:pt x="291" y="0"/>
                    </a:lnTo>
                    <a:lnTo>
                      <a:pt x="295" y="3"/>
                    </a:lnTo>
                    <a:lnTo>
                      <a:pt x="295" y="3"/>
                    </a:lnTo>
                    <a:lnTo>
                      <a:pt x="296" y="8"/>
                    </a:lnTo>
                    <a:lnTo>
                      <a:pt x="298" y="15"/>
                    </a:lnTo>
                    <a:lnTo>
                      <a:pt x="298" y="15"/>
                    </a:lnTo>
                    <a:lnTo>
                      <a:pt x="298" y="19"/>
                    </a:lnTo>
                    <a:lnTo>
                      <a:pt x="298" y="19"/>
                    </a:lnTo>
                    <a:lnTo>
                      <a:pt x="299" y="19"/>
                    </a:lnTo>
                    <a:lnTo>
                      <a:pt x="299" y="19"/>
                    </a:lnTo>
                    <a:lnTo>
                      <a:pt x="301" y="19"/>
                    </a:lnTo>
                    <a:lnTo>
                      <a:pt x="301" y="19"/>
                    </a:lnTo>
                    <a:lnTo>
                      <a:pt x="300" y="21"/>
                    </a:lnTo>
                    <a:lnTo>
                      <a:pt x="305" y="17"/>
                    </a:lnTo>
                    <a:lnTo>
                      <a:pt x="307" y="17"/>
                    </a:lnTo>
                    <a:lnTo>
                      <a:pt x="307" y="17"/>
                    </a:lnTo>
                    <a:lnTo>
                      <a:pt x="309" y="17"/>
                    </a:lnTo>
                    <a:lnTo>
                      <a:pt x="309" y="17"/>
                    </a:lnTo>
                    <a:lnTo>
                      <a:pt x="313" y="17"/>
                    </a:lnTo>
                    <a:lnTo>
                      <a:pt x="313" y="17"/>
                    </a:lnTo>
                    <a:lnTo>
                      <a:pt x="316" y="17"/>
                    </a:lnTo>
                    <a:lnTo>
                      <a:pt x="316" y="17"/>
                    </a:lnTo>
                    <a:lnTo>
                      <a:pt x="317" y="17"/>
                    </a:lnTo>
                    <a:lnTo>
                      <a:pt x="317" y="17"/>
                    </a:lnTo>
                    <a:lnTo>
                      <a:pt x="315" y="19"/>
                    </a:lnTo>
                    <a:lnTo>
                      <a:pt x="320" y="17"/>
                    </a:lnTo>
                    <a:lnTo>
                      <a:pt x="320" y="17"/>
                    </a:lnTo>
                    <a:lnTo>
                      <a:pt x="320" y="17"/>
                    </a:lnTo>
                    <a:lnTo>
                      <a:pt x="320" y="16"/>
                    </a:lnTo>
                    <a:lnTo>
                      <a:pt x="320" y="16"/>
                    </a:lnTo>
                    <a:lnTo>
                      <a:pt x="321" y="16"/>
                    </a:lnTo>
                    <a:lnTo>
                      <a:pt x="321" y="16"/>
                    </a:lnTo>
                    <a:lnTo>
                      <a:pt x="323" y="16"/>
                    </a:lnTo>
                    <a:lnTo>
                      <a:pt x="323" y="16"/>
                    </a:lnTo>
                    <a:lnTo>
                      <a:pt x="325" y="16"/>
                    </a:lnTo>
                    <a:lnTo>
                      <a:pt x="325" y="16"/>
                    </a:lnTo>
                    <a:lnTo>
                      <a:pt x="327" y="16"/>
                    </a:lnTo>
                    <a:lnTo>
                      <a:pt x="327" y="16"/>
                    </a:lnTo>
                    <a:lnTo>
                      <a:pt x="325" y="17"/>
                    </a:lnTo>
                    <a:lnTo>
                      <a:pt x="323" y="19"/>
                    </a:lnTo>
                    <a:lnTo>
                      <a:pt x="323" y="19"/>
                    </a:lnTo>
                    <a:lnTo>
                      <a:pt x="321" y="21"/>
                    </a:lnTo>
                    <a:lnTo>
                      <a:pt x="328" y="15"/>
                    </a:lnTo>
                    <a:lnTo>
                      <a:pt x="329" y="15"/>
                    </a:lnTo>
                    <a:lnTo>
                      <a:pt x="329" y="15"/>
                    </a:lnTo>
                    <a:lnTo>
                      <a:pt x="332" y="15"/>
                    </a:lnTo>
                    <a:lnTo>
                      <a:pt x="332" y="15"/>
                    </a:lnTo>
                    <a:lnTo>
                      <a:pt x="335" y="15"/>
                    </a:lnTo>
                    <a:lnTo>
                      <a:pt x="335" y="15"/>
                    </a:lnTo>
                    <a:lnTo>
                      <a:pt x="336" y="15"/>
                    </a:lnTo>
                    <a:lnTo>
                      <a:pt x="336" y="15"/>
                    </a:lnTo>
                    <a:lnTo>
                      <a:pt x="333" y="16"/>
                    </a:lnTo>
                    <a:lnTo>
                      <a:pt x="332" y="20"/>
                    </a:lnTo>
                    <a:lnTo>
                      <a:pt x="338" y="13"/>
                    </a:lnTo>
                    <a:lnTo>
                      <a:pt x="340" y="13"/>
                    </a:lnTo>
                    <a:lnTo>
                      <a:pt x="340" y="13"/>
                    </a:lnTo>
                    <a:lnTo>
                      <a:pt x="342" y="13"/>
                    </a:lnTo>
                    <a:lnTo>
                      <a:pt x="342" y="13"/>
                    </a:lnTo>
                    <a:lnTo>
                      <a:pt x="345" y="15"/>
                    </a:lnTo>
                    <a:lnTo>
                      <a:pt x="348" y="15"/>
                    </a:lnTo>
                    <a:lnTo>
                      <a:pt x="348" y="15"/>
                    </a:lnTo>
                    <a:lnTo>
                      <a:pt x="348" y="15"/>
                    </a:lnTo>
                    <a:lnTo>
                      <a:pt x="349" y="15"/>
                    </a:lnTo>
                    <a:lnTo>
                      <a:pt x="354" y="24"/>
                    </a:lnTo>
                    <a:lnTo>
                      <a:pt x="354" y="24"/>
                    </a:lnTo>
                    <a:lnTo>
                      <a:pt x="349" y="33"/>
                    </a:lnTo>
                    <a:lnTo>
                      <a:pt x="342" y="42"/>
                    </a:lnTo>
                    <a:lnTo>
                      <a:pt x="328" y="60"/>
                    </a:lnTo>
                    <a:lnTo>
                      <a:pt x="328" y="60"/>
                    </a:lnTo>
                    <a:lnTo>
                      <a:pt x="316" y="71"/>
                    </a:lnTo>
                    <a:lnTo>
                      <a:pt x="307" y="85"/>
                    </a:lnTo>
                    <a:lnTo>
                      <a:pt x="307" y="85"/>
                    </a:lnTo>
                    <a:lnTo>
                      <a:pt x="309" y="90"/>
                    </a:lnTo>
                    <a:lnTo>
                      <a:pt x="313" y="95"/>
                    </a:lnTo>
                    <a:lnTo>
                      <a:pt x="315" y="99"/>
                    </a:lnTo>
                    <a:lnTo>
                      <a:pt x="315" y="99"/>
                    </a:lnTo>
                    <a:lnTo>
                      <a:pt x="316" y="101"/>
                    </a:lnTo>
                    <a:lnTo>
                      <a:pt x="316" y="101"/>
                    </a:lnTo>
                    <a:lnTo>
                      <a:pt x="316" y="102"/>
                    </a:lnTo>
                    <a:lnTo>
                      <a:pt x="316" y="102"/>
                    </a:lnTo>
                    <a:lnTo>
                      <a:pt x="315" y="101"/>
                    </a:lnTo>
                    <a:lnTo>
                      <a:pt x="315" y="101"/>
                    </a:lnTo>
                    <a:lnTo>
                      <a:pt x="315" y="101"/>
                    </a:lnTo>
                    <a:lnTo>
                      <a:pt x="317" y="104"/>
                    </a:lnTo>
                    <a:lnTo>
                      <a:pt x="317" y="103"/>
                    </a:lnTo>
                    <a:lnTo>
                      <a:pt x="317" y="103"/>
                    </a:lnTo>
                    <a:lnTo>
                      <a:pt x="320" y="108"/>
                    </a:lnTo>
                    <a:lnTo>
                      <a:pt x="320" y="108"/>
                    </a:lnTo>
                    <a:lnTo>
                      <a:pt x="320" y="110"/>
                    </a:lnTo>
                    <a:lnTo>
                      <a:pt x="320" y="110"/>
                    </a:lnTo>
                    <a:lnTo>
                      <a:pt x="320" y="110"/>
                    </a:lnTo>
                    <a:lnTo>
                      <a:pt x="323" y="112"/>
                    </a:lnTo>
                    <a:lnTo>
                      <a:pt x="323" y="112"/>
                    </a:lnTo>
                    <a:lnTo>
                      <a:pt x="323" y="112"/>
                    </a:lnTo>
                    <a:lnTo>
                      <a:pt x="324" y="116"/>
                    </a:lnTo>
                    <a:lnTo>
                      <a:pt x="324" y="116"/>
                    </a:lnTo>
                    <a:lnTo>
                      <a:pt x="324" y="116"/>
                    </a:lnTo>
                    <a:lnTo>
                      <a:pt x="324" y="116"/>
                    </a:lnTo>
                    <a:lnTo>
                      <a:pt x="324" y="116"/>
                    </a:lnTo>
                    <a:lnTo>
                      <a:pt x="324" y="116"/>
                    </a:lnTo>
                    <a:lnTo>
                      <a:pt x="323" y="116"/>
                    </a:lnTo>
                    <a:lnTo>
                      <a:pt x="325" y="119"/>
                    </a:lnTo>
                    <a:lnTo>
                      <a:pt x="327" y="119"/>
                    </a:lnTo>
                    <a:lnTo>
                      <a:pt x="327" y="119"/>
                    </a:lnTo>
                    <a:lnTo>
                      <a:pt x="329" y="123"/>
                    </a:lnTo>
                    <a:lnTo>
                      <a:pt x="329" y="123"/>
                    </a:lnTo>
                    <a:lnTo>
                      <a:pt x="329" y="126"/>
                    </a:lnTo>
                    <a:lnTo>
                      <a:pt x="329" y="126"/>
                    </a:lnTo>
                    <a:lnTo>
                      <a:pt x="328" y="124"/>
                    </a:lnTo>
                    <a:lnTo>
                      <a:pt x="331" y="128"/>
                    </a:lnTo>
                    <a:lnTo>
                      <a:pt x="332" y="128"/>
                    </a:lnTo>
                    <a:lnTo>
                      <a:pt x="332" y="128"/>
                    </a:lnTo>
                    <a:lnTo>
                      <a:pt x="333" y="131"/>
                    </a:lnTo>
                    <a:lnTo>
                      <a:pt x="333" y="131"/>
                    </a:lnTo>
                    <a:lnTo>
                      <a:pt x="333" y="130"/>
                    </a:lnTo>
                    <a:lnTo>
                      <a:pt x="333" y="130"/>
                    </a:lnTo>
                    <a:lnTo>
                      <a:pt x="333" y="128"/>
                    </a:lnTo>
                    <a:lnTo>
                      <a:pt x="335" y="126"/>
                    </a:lnTo>
                    <a:lnTo>
                      <a:pt x="335" y="126"/>
                    </a:lnTo>
                    <a:lnTo>
                      <a:pt x="337" y="124"/>
                    </a:lnTo>
                    <a:lnTo>
                      <a:pt x="338" y="123"/>
                    </a:lnTo>
                    <a:lnTo>
                      <a:pt x="342" y="123"/>
                    </a:lnTo>
                    <a:lnTo>
                      <a:pt x="342" y="123"/>
                    </a:lnTo>
                    <a:lnTo>
                      <a:pt x="344" y="124"/>
                    </a:lnTo>
                    <a:lnTo>
                      <a:pt x="344" y="124"/>
                    </a:lnTo>
                    <a:lnTo>
                      <a:pt x="346" y="124"/>
                    </a:lnTo>
                    <a:lnTo>
                      <a:pt x="349" y="126"/>
                    </a:lnTo>
                    <a:lnTo>
                      <a:pt x="350" y="127"/>
                    </a:lnTo>
                    <a:lnTo>
                      <a:pt x="352" y="130"/>
                    </a:lnTo>
                    <a:lnTo>
                      <a:pt x="352" y="132"/>
                    </a:lnTo>
                    <a:lnTo>
                      <a:pt x="352" y="132"/>
                    </a:lnTo>
                    <a:lnTo>
                      <a:pt x="349" y="142"/>
                    </a:lnTo>
                    <a:lnTo>
                      <a:pt x="346" y="148"/>
                    </a:lnTo>
                    <a:lnTo>
                      <a:pt x="346" y="148"/>
                    </a:lnTo>
                    <a:lnTo>
                      <a:pt x="345" y="153"/>
                    </a:lnTo>
                    <a:lnTo>
                      <a:pt x="344" y="156"/>
                    </a:lnTo>
                    <a:lnTo>
                      <a:pt x="344" y="156"/>
                    </a:lnTo>
                    <a:lnTo>
                      <a:pt x="342" y="160"/>
                    </a:lnTo>
                    <a:lnTo>
                      <a:pt x="342" y="160"/>
                    </a:lnTo>
                    <a:lnTo>
                      <a:pt x="341" y="164"/>
                    </a:lnTo>
                    <a:lnTo>
                      <a:pt x="340" y="168"/>
                    </a:lnTo>
                    <a:lnTo>
                      <a:pt x="336" y="172"/>
                    </a:lnTo>
                    <a:lnTo>
                      <a:pt x="332" y="175"/>
                    </a:lnTo>
                    <a:lnTo>
                      <a:pt x="331" y="175"/>
                    </a:lnTo>
                    <a:lnTo>
                      <a:pt x="327" y="175"/>
                    </a:lnTo>
                    <a:lnTo>
                      <a:pt x="327" y="175"/>
                    </a:lnTo>
                    <a:lnTo>
                      <a:pt x="324" y="179"/>
                    </a:lnTo>
                    <a:lnTo>
                      <a:pt x="321" y="180"/>
                    </a:lnTo>
                    <a:lnTo>
                      <a:pt x="317" y="181"/>
                    </a:lnTo>
                    <a:lnTo>
                      <a:pt x="317" y="181"/>
                    </a:lnTo>
                    <a:lnTo>
                      <a:pt x="316" y="181"/>
                    </a:lnTo>
                    <a:lnTo>
                      <a:pt x="316" y="181"/>
                    </a:lnTo>
                    <a:lnTo>
                      <a:pt x="317" y="182"/>
                    </a:lnTo>
                    <a:lnTo>
                      <a:pt x="319" y="186"/>
                    </a:lnTo>
                    <a:lnTo>
                      <a:pt x="319" y="186"/>
                    </a:lnTo>
                    <a:lnTo>
                      <a:pt x="320" y="186"/>
                    </a:lnTo>
                    <a:lnTo>
                      <a:pt x="320" y="186"/>
                    </a:lnTo>
                    <a:lnTo>
                      <a:pt x="321" y="188"/>
                    </a:lnTo>
                    <a:lnTo>
                      <a:pt x="323" y="188"/>
                    </a:lnTo>
                    <a:lnTo>
                      <a:pt x="328" y="190"/>
                    </a:lnTo>
                    <a:lnTo>
                      <a:pt x="328" y="190"/>
                    </a:lnTo>
                    <a:lnTo>
                      <a:pt x="329" y="193"/>
                    </a:lnTo>
                    <a:lnTo>
                      <a:pt x="331" y="197"/>
                    </a:lnTo>
                    <a:lnTo>
                      <a:pt x="331" y="198"/>
                    </a:lnTo>
                    <a:lnTo>
                      <a:pt x="329" y="201"/>
                    </a:lnTo>
                    <a:lnTo>
                      <a:pt x="329" y="201"/>
                    </a:lnTo>
                    <a:lnTo>
                      <a:pt x="325" y="213"/>
                    </a:lnTo>
                    <a:lnTo>
                      <a:pt x="321" y="226"/>
                    </a:lnTo>
                    <a:lnTo>
                      <a:pt x="321" y="226"/>
                    </a:lnTo>
                    <a:lnTo>
                      <a:pt x="320" y="230"/>
                    </a:lnTo>
                    <a:lnTo>
                      <a:pt x="320" y="230"/>
                    </a:lnTo>
                    <a:lnTo>
                      <a:pt x="316" y="234"/>
                    </a:lnTo>
                    <a:lnTo>
                      <a:pt x="316" y="234"/>
                    </a:lnTo>
                    <a:lnTo>
                      <a:pt x="312" y="238"/>
                    </a:lnTo>
                    <a:lnTo>
                      <a:pt x="311" y="241"/>
                    </a:lnTo>
                    <a:lnTo>
                      <a:pt x="311" y="241"/>
                    </a:lnTo>
                    <a:lnTo>
                      <a:pt x="311" y="242"/>
                    </a:lnTo>
                    <a:lnTo>
                      <a:pt x="313" y="251"/>
                    </a:lnTo>
                    <a:lnTo>
                      <a:pt x="313" y="251"/>
                    </a:lnTo>
                    <a:lnTo>
                      <a:pt x="313" y="251"/>
                    </a:lnTo>
                    <a:lnTo>
                      <a:pt x="313" y="251"/>
                    </a:lnTo>
                    <a:lnTo>
                      <a:pt x="312" y="255"/>
                    </a:lnTo>
                    <a:lnTo>
                      <a:pt x="312" y="255"/>
                    </a:lnTo>
                    <a:lnTo>
                      <a:pt x="309" y="262"/>
                    </a:lnTo>
                    <a:lnTo>
                      <a:pt x="309" y="262"/>
                    </a:lnTo>
                    <a:lnTo>
                      <a:pt x="307" y="268"/>
                    </a:lnTo>
                    <a:lnTo>
                      <a:pt x="305" y="272"/>
                    </a:lnTo>
                    <a:lnTo>
                      <a:pt x="305" y="272"/>
                    </a:lnTo>
                    <a:lnTo>
                      <a:pt x="311" y="275"/>
                    </a:lnTo>
                    <a:lnTo>
                      <a:pt x="311" y="275"/>
                    </a:lnTo>
                    <a:lnTo>
                      <a:pt x="312" y="275"/>
                    </a:lnTo>
                    <a:lnTo>
                      <a:pt x="313" y="276"/>
                    </a:lnTo>
                    <a:lnTo>
                      <a:pt x="313" y="276"/>
                    </a:lnTo>
                    <a:lnTo>
                      <a:pt x="316" y="278"/>
                    </a:lnTo>
                    <a:lnTo>
                      <a:pt x="319" y="280"/>
                    </a:lnTo>
                    <a:lnTo>
                      <a:pt x="320" y="284"/>
                    </a:lnTo>
                    <a:lnTo>
                      <a:pt x="320" y="286"/>
                    </a:lnTo>
                    <a:lnTo>
                      <a:pt x="320" y="288"/>
                    </a:lnTo>
                    <a:lnTo>
                      <a:pt x="320" y="288"/>
                    </a:lnTo>
                    <a:lnTo>
                      <a:pt x="316" y="296"/>
                    </a:lnTo>
                    <a:lnTo>
                      <a:pt x="313" y="303"/>
                    </a:lnTo>
                    <a:lnTo>
                      <a:pt x="313" y="303"/>
                    </a:lnTo>
                    <a:lnTo>
                      <a:pt x="309" y="311"/>
                    </a:lnTo>
                    <a:lnTo>
                      <a:pt x="309" y="311"/>
                    </a:lnTo>
                    <a:lnTo>
                      <a:pt x="309" y="311"/>
                    </a:lnTo>
                    <a:lnTo>
                      <a:pt x="296" y="336"/>
                    </a:lnTo>
                    <a:lnTo>
                      <a:pt x="284" y="361"/>
                    </a:lnTo>
                    <a:lnTo>
                      <a:pt x="283" y="362"/>
                    </a:lnTo>
                    <a:lnTo>
                      <a:pt x="283" y="362"/>
                    </a:lnTo>
                    <a:lnTo>
                      <a:pt x="280" y="369"/>
                    </a:lnTo>
                    <a:lnTo>
                      <a:pt x="280" y="369"/>
                    </a:lnTo>
                    <a:lnTo>
                      <a:pt x="278" y="374"/>
                    </a:lnTo>
                    <a:lnTo>
                      <a:pt x="275" y="381"/>
                    </a:lnTo>
                    <a:lnTo>
                      <a:pt x="271" y="385"/>
                    </a:lnTo>
                    <a:lnTo>
                      <a:pt x="264" y="389"/>
                    </a:lnTo>
                    <a:lnTo>
                      <a:pt x="264" y="389"/>
                    </a:lnTo>
                    <a:lnTo>
                      <a:pt x="259" y="387"/>
                    </a:lnTo>
                    <a:lnTo>
                      <a:pt x="259" y="387"/>
                    </a:lnTo>
                    <a:lnTo>
                      <a:pt x="257" y="389"/>
                    </a:lnTo>
                    <a:lnTo>
                      <a:pt x="254" y="390"/>
                    </a:lnTo>
                    <a:lnTo>
                      <a:pt x="250" y="391"/>
                    </a:lnTo>
                    <a:lnTo>
                      <a:pt x="247" y="391"/>
                    </a:lnTo>
                    <a:lnTo>
                      <a:pt x="246" y="393"/>
                    </a:lnTo>
                    <a:lnTo>
                      <a:pt x="246" y="393"/>
                    </a:lnTo>
                    <a:lnTo>
                      <a:pt x="243" y="393"/>
                    </a:lnTo>
                    <a:lnTo>
                      <a:pt x="243" y="393"/>
                    </a:lnTo>
                    <a:lnTo>
                      <a:pt x="241" y="393"/>
                    </a:lnTo>
                    <a:lnTo>
                      <a:pt x="241" y="393"/>
                    </a:lnTo>
                    <a:lnTo>
                      <a:pt x="238" y="393"/>
                    </a:lnTo>
                    <a:lnTo>
                      <a:pt x="238" y="393"/>
                    </a:lnTo>
                    <a:lnTo>
                      <a:pt x="241" y="391"/>
                    </a:lnTo>
                    <a:lnTo>
                      <a:pt x="242" y="389"/>
                    </a:lnTo>
                    <a:lnTo>
                      <a:pt x="237" y="394"/>
                    </a:lnTo>
                    <a:lnTo>
                      <a:pt x="233" y="394"/>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sp>
          <p:nvSpPr>
            <p:cNvPr id="27" name="TextBox 26">
              <a:extLst>
                <a:ext uri="{FF2B5EF4-FFF2-40B4-BE49-F238E27FC236}">
                  <a16:creationId xmlns:a16="http://schemas.microsoft.com/office/drawing/2014/main" xmlns="" id="{307D11D5-BFD5-47C3-B302-7FFC91709DB2}"/>
                </a:ext>
              </a:extLst>
            </p:cNvPr>
            <p:cNvSpPr txBox="1"/>
            <p:nvPr/>
          </p:nvSpPr>
          <p:spPr>
            <a:xfrm>
              <a:off x="7577250" y="2256636"/>
              <a:ext cx="828565" cy="387668"/>
            </a:xfrm>
            <a:prstGeom prst="rect">
              <a:avLst/>
            </a:prstGeom>
            <a:noFill/>
          </p:spPr>
          <p:txBody>
            <a:bodyPr wrap="none" lIns="91440" tIns="45720" rIns="91440" bIns="45720" rtlCol="0" anchor="t">
              <a:spAutoFit/>
            </a:bodyPr>
            <a:lstStyle/>
            <a:p>
              <a:r>
                <a:rPr lang="en-US" sz="1350" b="1">
                  <a:solidFill>
                    <a:srgbClr val="C00000"/>
                  </a:solidFill>
                </a:rPr>
                <a:t>LP 13%</a:t>
              </a:r>
            </a:p>
          </p:txBody>
        </p:sp>
        <p:sp>
          <p:nvSpPr>
            <p:cNvPr id="28" name="TextBox 27">
              <a:extLst>
                <a:ext uri="{FF2B5EF4-FFF2-40B4-BE49-F238E27FC236}">
                  <a16:creationId xmlns:a16="http://schemas.microsoft.com/office/drawing/2014/main" xmlns="" id="{897E86B9-C439-4E50-85B1-B74014D0E6DE}"/>
                </a:ext>
              </a:extLst>
            </p:cNvPr>
            <p:cNvSpPr txBox="1"/>
            <p:nvPr/>
          </p:nvSpPr>
          <p:spPr>
            <a:xfrm>
              <a:off x="7870503" y="3335575"/>
              <a:ext cx="815115" cy="387668"/>
            </a:xfrm>
            <a:prstGeom prst="rect">
              <a:avLst/>
            </a:prstGeom>
            <a:noFill/>
          </p:spPr>
          <p:txBody>
            <a:bodyPr wrap="none" lIns="91440" tIns="45720" rIns="91440" bIns="45720" rtlCol="0" anchor="t">
              <a:spAutoFit/>
            </a:bodyPr>
            <a:lstStyle/>
            <a:p>
              <a:r>
                <a:rPr lang="en-US" sz="1350" b="1">
                  <a:solidFill>
                    <a:srgbClr val="C00000"/>
                  </a:solidFill>
                </a:rPr>
                <a:t>MP 7%</a:t>
              </a:r>
            </a:p>
          </p:txBody>
        </p:sp>
        <p:sp>
          <p:nvSpPr>
            <p:cNvPr id="29" name="TextBox 28">
              <a:extLst>
                <a:ext uri="{FF2B5EF4-FFF2-40B4-BE49-F238E27FC236}">
                  <a16:creationId xmlns:a16="http://schemas.microsoft.com/office/drawing/2014/main" xmlns="" id="{DA969B27-4F7B-4159-A5D6-1341B09B06F4}"/>
                </a:ext>
              </a:extLst>
            </p:cNvPr>
            <p:cNvSpPr txBox="1"/>
            <p:nvPr/>
          </p:nvSpPr>
          <p:spPr>
            <a:xfrm>
              <a:off x="7000089" y="3138694"/>
              <a:ext cx="1106407" cy="387668"/>
            </a:xfrm>
            <a:prstGeom prst="rect">
              <a:avLst/>
            </a:prstGeom>
            <a:noFill/>
          </p:spPr>
          <p:txBody>
            <a:bodyPr wrap="square" lIns="91440" tIns="45720" rIns="91440" bIns="45720" rtlCol="0" anchor="t">
              <a:spAutoFit/>
            </a:bodyPr>
            <a:lstStyle/>
            <a:p>
              <a:r>
                <a:rPr lang="en-US" sz="1350" b="1">
                  <a:solidFill>
                    <a:srgbClr val="DA1245"/>
                  </a:solidFill>
                </a:rPr>
                <a:t>GP 33%</a:t>
              </a:r>
            </a:p>
          </p:txBody>
        </p:sp>
        <p:sp>
          <p:nvSpPr>
            <p:cNvPr id="30" name="TextBox 29">
              <a:extLst>
                <a:ext uri="{FF2B5EF4-FFF2-40B4-BE49-F238E27FC236}">
                  <a16:creationId xmlns:a16="http://schemas.microsoft.com/office/drawing/2014/main" xmlns="" id="{ABB0704E-C27E-42AC-8CBB-0F62E7AF3293}"/>
                </a:ext>
              </a:extLst>
            </p:cNvPr>
            <p:cNvSpPr txBox="1"/>
            <p:nvPr/>
          </p:nvSpPr>
          <p:spPr>
            <a:xfrm>
              <a:off x="5995330" y="3297820"/>
              <a:ext cx="1011112" cy="387668"/>
            </a:xfrm>
            <a:prstGeom prst="rect">
              <a:avLst/>
            </a:prstGeom>
            <a:noFill/>
          </p:spPr>
          <p:txBody>
            <a:bodyPr wrap="none" lIns="91440" tIns="45720" rIns="91440" bIns="45720" rtlCol="0" anchor="t">
              <a:spAutoFit/>
            </a:bodyPr>
            <a:lstStyle/>
            <a:p>
              <a:r>
                <a:rPr lang="en-US" sz="1350" b="1">
                  <a:solidFill>
                    <a:srgbClr val="C00000"/>
                  </a:solidFill>
                </a:rPr>
                <a:t>NW 7.5%</a:t>
              </a:r>
            </a:p>
          </p:txBody>
        </p:sp>
        <p:sp>
          <p:nvSpPr>
            <p:cNvPr id="31" name="TextBox 30">
              <a:extLst>
                <a:ext uri="{FF2B5EF4-FFF2-40B4-BE49-F238E27FC236}">
                  <a16:creationId xmlns:a16="http://schemas.microsoft.com/office/drawing/2014/main" xmlns="" id="{3AB3C4DC-68E1-429B-9EA4-0020FCB9FF0E}"/>
                </a:ext>
              </a:extLst>
            </p:cNvPr>
            <p:cNvSpPr txBox="1"/>
            <p:nvPr/>
          </p:nvSpPr>
          <p:spPr>
            <a:xfrm>
              <a:off x="6657567" y="4081615"/>
              <a:ext cx="716271" cy="387668"/>
            </a:xfrm>
            <a:prstGeom prst="rect">
              <a:avLst/>
            </a:prstGeom>
            <a:noFill/>
          </p:spPr>
          <p:txBody>
            <a:bodyPr wrap="none" rtlCol="0">
              <a:spAutoFit/>
            </a:bodyPr>
            <a:lstStyle/>
            <a:p>
              <a:r>
                <a:rPr lang="en-US" sz="1350" b="1">
                  <a:solidFill>
                    <a:srgbClr val="C00000"/>
                  </a:solidFill>
                </a:rPr>
                <a:t>FS 3%</a:t>
              </a:r>
            </a:p>
          </p:txBody>
        </p:sp>
        <p:sp>
          <p:nvSpPr>
            <p:cNvPr id="32" name="TextBox 31">
              <a:extLst>
                <a:ext uri="{FF2B5EF4-FFF2-40B4-BE49-F238E27FC236}">
                  <a16:creationId xmlns:a16="http://schemas.microsoft.com/office/drawing/2014/main" xmlns="" id="{748D0155-B152-4E62-B402-D227EB6EBDAC}"/>
                </a:ext>
              </a:extLst>
            </p:cNvPr>
            <p:cNvSpPr txBox="1"/>
            <p:nvPr/>
          </p:nvSpPr>
          <p:spPr>
            <a:xfrm rot="19725031">
              <a:off x="7794759" y="4095440"/>
              <a:ext cx="980367" cy="387668"/>
            </a:xfrm>
            <a:prstGeom prst="rect">
              <a:avLst/>
            </a:prstGeom>
            <a:noFill/>
          </p:spPr>
          <p:txBody>
            <a:bodyPr wrap="none" lIns="91440" tIns="45720" rIns="91440" bIns="45720" rtlCol="0" anchor="t">
              <a:spAutoFit/>
            </a:bodyPr>
            <a:lstStyle/>
            <a:p>
              <a:r>
                <a:rPr lang="en-US" sz="1350" b="1">
                  <a:solidFill>
                    <a:srgbClr val="C00000"/>
                  </a:solidFill>
                </a:rPr>
                <a:t>KZN 13%</a:t>
              </a:r>
            </a:p>
          </p:txBody>
        </p:sp>
        <p:sp>
          <p:nvSpPr>
            <p:cNvPr id="33" name="TextBox 32">
              <a:extLst>
                <a:ext uri="{FF2B5EF4-FFF2-40B4-BE49-F238E27FC236}">
                  <a16:creationId xmlns:a16="http://schemas.microsoft.com/office/drawing/2014/main" xmlns="" id="{E446CB10-1FE3-4C4C-97BC-A616E4EF5C11}"/>
                </a:ext>
              </a:extLst>
            </p:cNvPr>
            <p:cNvSpPr txBox="1"/>
            <p:nvPr/>
          </p:nvSpPr>
          <p:spPr>
            <a:xfrm>
              <a:off x="4679026" y="4509360"/>
              <a:ext cx="770919" cy="387668"/>
            </a:xfrm>
            <a:prstGeom prst="rect">
              <a:avLst/>
            </a:prstGeom>
            <a:noFill/>
          </p:spPr>
          <p:txBody>
            <a:bodyPr wrap="none" rtlCol="0">
              <a:spAutoFit/>
            </a:bodyPr>
            <a:lstStyle/>
            <a:p>
              <a:r>
                <a:rPr lang="en-US" sz="1350" b="1">
                  <a:solidFill>
                    <a:srgbClr val="C00000"/>
                  </a:solidFill>
                </a:rPr>
                <a:t>NC 4%</a:t>
              </a:r>
            </a:p>
          </p:txBody>
        </p:sp>
        <p:sp>
          <p:nvSpPr>
            <p:cNvPr id="34" name="TextBox 33">
              <a:extLst>
                <a:ext uri="{FF2B5EF4-FFF2-40B4-BE49-F238E27FC236}">
                  <a16:creationId xmlns:a16="http://schemas.microsoft.com/office/drawing/2014/main" xmlns="" id="{A84C0978-398E-4320-AC6E-881343613245}"/>
                </a:ext>
              </a:extLst>
            </p:cNvPr>
            <p:cNvSpPr txBox="1"/>
            <p:nvPr/>
          </p:nvSpPr>
          <p:spPr>
            <a:xfrm>
              <a:off x="4563846" y="5843789"/>
              <a:ext cx="925872" cy="387668"/>
            </a:xfrm>
            <a:prstGeom prst="rect">
              <a:avLst/>
            </a:prstGeom>
            <a:noFill/>
          </p:spPr>
          <p:txBody>
            <a:bodyPr wrap="none" rtlCol="0">
              <a:spAutoFit/>
            </a:bodyPr>
            <a:lstStyle/>
            <a:p>
              <a:r>
                <a:rPr lang="en-US" sz="1350" b="1">
                  <a:solidFill>
                    <a:srgbClr val="C00000"/>
                  </a:solidFill>
                </a:rPr>
                <a:t>WC 11%</a:t>
              </a:r>
            </a:p>
          </p:txBody>
        </p:sp>
        <p:sp>
          <p:nvSpPr>
            <p:cNvPr id="35" name="TextBox 34">
              <a:extLst>
                <a:ext uri="{FF2B5EF4-FFF2-40B4-BE49-F238E27FC236}">
                  <a16:creationId xmlns:a16="http://schemas.microsoft.com/office/drawing/2014/main" xmlns="" id="{BB428A5E-210D-43BA-AC70-ED368C42AF8C}"/>
                </a:ext>
              </a:extLst>
            </p:cNvPr>
            <p:cNvSpPr txBox="1"/>
            <p:nvPr/>
          </p:nvSpPr>
          <p:spPr>
            <a:xfrm>
              <a:off x="6606511" y="5396836"/>
              <a:ext cx="733257" cy="387668"/>
            </a:xfrm>
            <a:prstGeom prst="rect">
              <a:avLst/>
            </a:prstGeom>
            <a:noFill/>
          </p:spPr>
          <p:txBody>
            <a:bodyPr wrap="none" lIns="91440" tIns="45720" rIns="91440" bIns="45720" rtlCol="0" anchor="t">
              <a:spAutoFit/>
            </a:bodyPr>
            <a:lstStyle/>
            <a:p>
              <a:r>
                <a:rPr lang="en-US" sz="1350" b="1">
                  <a:solidFill>
                    <a:srgbClr val="C00000"/>
                  </a:solidFill>
                </a:rPr>
                <a:t>EC 8%</a:t>
              </a:r>
            </a:p>
          </p:txBody>
        </p:sp>
      </p:grpSp>
      <p:graphicFrame>
        <p:nvGraphicFramePr>
          <p:cNvPr id="4" name="Table 3">
            <a:extLst>
              <a:ext uri="{FF2B5EF4-FFF2-40B4-BE49-F238E27FC236}">
                <a16:creationId xmlns:a16="http://schemas.microsoft.com/office/drawing/2014/main" xmlns="" id="{573C2CBE-DD00-F43A-C300-2102EC36D70B}"/>
              </a:ext>
            </a:extLst>
          </p:cNvPr>
          <p:cNvGraphicFramePr>
            <a:graphicFrameLocks noGrp="1"/>
          </p:cNvGraphicFramePr>
          <p:nvPr>
            <p:extLst>
              <p:ext uri="{D42A27DB-BD31-4B8C-83A1-F6EECF244321}">
                <p14:modId xmlns:p14="http://schemas.microsoft.com/office/powerpoint/2010/main" xmlns="" val="2756477666"/>
              </p:ext>
            </p:extLst>
          </p:nvPr>
        </p:nvGraphicFramePr>
        <p:xfrm>
          <a:off x="124052" y="850420"/>
          <a:ext cx="3391949" cy="2477339"/>
        </p:xfrm>
        <a:graphic>
          <a:graphicData uri="http://schemas.openxmlformats.org/drawingml/2006/table">
            <a:tbl>
              <a:tblPr firstRow="1" firstCol="1" bandRow="1"/>
              <a:tblGrid>
                <a:gridCol w="1224925">
                  <a:extLst>
                    <a:ext uri="{9D8B030D-6E8A-4147-A177-3AD203B41FA5}">
                      <a16:colId xmlns:a16="http://schemas.microsoft.com/office/drawing/2014/main" xmlns="" val="1741476137"/>
                    </a:ext>
                  </a:extLst>
                </a:gridCol>
                <a:gridCol w="809468">
                  <a:extLst>
                    <a:ext uri="{9D8B030D-6E8A-4147-A177-3AD203B41FA5}">
                      <a16:colId xmlns:a16="http://schemas.microsoft.com/office/drawing/2014/main" xmlns="" val="3681252301"/>
                    </a:ext>
                  </a:extLst>
                </a:gridCol>
                <a:gridCol w="1357556">
                  <a:extLst>
                    <a:ext uri="{9D8B030D-6E8A-4147-A177-3AD203B41FA5}">
                      <a16:colId xmlns:a16="http://schemas.microsoft.com/office/drawing/2014/main" xmlns="" val="41377128"/>
                    </a:ext>
                  </a:extLst>
                </a:gridCol>
              </a:tblGrid>
              <a:tr h="334797">
                <a:tc>
                  <a:txBody>
                    <a:bodyPr/>
                    <a:lstStyle/>
                    <a:p>
                      <a:pPr algn="just">
                        <a:lnSpc>
                          <a:spcPct val="107000"/>
                        </a:lnSpc>
                        <a:spcAft>
                          <a:spcPts val="800"/>
                        </a:spcAft>
                      </a:pPr>
                      <a:r>
                        <a:rPr lang="en-ZA"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Province</a:t>
                      </a:r>
                      <a:endParaRPr lang="en-ZA" sz="12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B00"/>
                    </a:solidFill>
                  </a:tcPr>
                </a:tc>
                <a:tc>
                  <a:txBody>
                    <a:bodyPr/>
                    <a:lstStyle/>
                    <a:p>
                      <a:pPr algn="just">
                        <a:lnSpc>
                          <a:spcPct val="107000"/>
                        </a:lnSpc>
                        <a:spcAft>
                          <a:spcPts val="800"/>
                        </a:spcAft>
                      </a:pPr>
                      <a:r>
                        <a:rPr lang="en-ZA" sz="1200" b="1">
                          <a:solidFill>
                            <a:schemeClr val="bg1"/>
                          </a:solidFill>
                          <a:effectLst/>
                          <a:latin typeface="Arial" panose="020B0604020202020204" pitchFamily="34" charset="0"/>
                          <a:ea typeface="Times New Roman" panose="02020603050405020304" pitchFamily="18" charset="0"/>
                          <a:cs typeface="Arial" panose="020B0604020202020204" pitchFamily="34" charset="0"/>
                        </a:rPr>
                        <a:t>SMME's</a:t>
                      </a:r>
                      <a:endParaRPr lang="en-ZA"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B00"/>
                    </a:solidFill>
                  </a:tcPr>
                </a:tc>
                <a:tc>
                  <a:txBody>
                    <a:bodyPr/>
                    <a:lstStyle/>
                    <a:p>
                      <a:pPr algn="r">
                        <a:lnSpc>
                          <a:spcPct val="107000"/>
                        </a:lnSpc>
                        <a:spcAft>
                          <a:spcPts val="800"/>
                        </a:spcAft>
                      </a:pPr>
                      <a:r>
                        <a:rPr lang="en-US" sz="1200" b="1">
                          <a:solidFill>
                            <a:schemeClr val="bg1"/>
                          </a:solidFill>
                          <a:effectLst/>
                          <a:latin typeface="Arial" panose="020B0604020202020204" pitchFamily="34" charset="0"/>
                          <a:ea typeface="Calibri" panose="020F0502020204030204" pitchFamily="34" charset="0"/>
                          <a:cs typeface="Arial" panose="020B0604020202020204" pitchFamily="34" charset="0"/>
                        </a:rPr>
                        <a:t>Disbursement</a:t>
                      </a:r>
                      <a:endParaRPr lang="en-ZA" sz="1200" b="1">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B00"/>
                    </a:solidFill>
                  </a:tcPr>
                </a:tc>
                <a:extLst>
                  <a:ext uri="{0D108BD9-81ED-4DB2-BD59-A6C34878D82A}">
                    <a16:rowId xmlns:a16="http://schemas.microsoft.com/office/drawing/2014/main" xmlns="" val="405143103"/>
                  </a:ext>
                </a:extLst>
              </a:tr>
              <a:tr h="223127">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Eastern Cape</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6288</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43 054 554</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25851041"/>
                  </a:ext>
                </a:extLst>
              </a:tr>
              <a:tr h="217927">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Free State</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55</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14 390 607</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80239402"/>
                  </a:ext>
                </a:extLst>
              </a:tr>
              <a:tr h="205736">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Gauteng</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194</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182 824 815</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96654185"/>
                  </a:ext>
                </a:extLst>
              </a:tr>
              <a:tr h="205736">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KwaZulu Natal</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4112</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72 651 381</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38418944"/>
                  </a:ext>
                </a:extLst>
              </a:tr>
              <a:tr h="205736">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Limpopo</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6258</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72 673 348</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30169109"/>
                  </a:ext>
                </a:extLst>
              </a:tr>
              <a:tr h="205736">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Mpumalanga</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532</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38 780 032</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75949817"/>
                  </a:ext>
                </a:extLst>
              </a:tr>
              <a:tr h="205736">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ern Cape</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16</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21 443 506</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36740553"/>
                  </a:ext>
                </a:extLst>
              </a:tr>
              <a:tr h="205736">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 West</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6362</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41 172 510</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79915508"/>
                  </a:ext>
                </a:extLst>
              </a:tr>
              <a:tr h="261336">
                <a:tc>
                  <a:txBody>
                    <a:bodyPr/>
                    <a:lstStyle/>
                    <a:p>
                      <a:pPr algn="just">
                        <a:lnSpc>
                          <a:spcPct val="107000"/>
                        </a:lnSpc>
                        <a:spcAft>
                          <a:spcPts val="800"/>
                        </a:spcAft>
                      </a:pPr>
                      <a:r>
                        <a:rPr lang="en-ZA" sz="12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Western Cape</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25</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rgbClr val="000000"/>
                          </a:solidFill>
                          <a:effectLst/>
                          <a:latin typeface="Arial" panose="020B0604020202020204" pitchFamily="34" charset="0"/>
                          <a:cs typeface="Arial" panose="020B0604020202020204" pitchFamily="34" charset="0"/>
                        </a:rPr>
                        <a:t>R63 006 762</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96874545"/>
                  </a:ext>
                </a:extLst>
              </a:tr>
              <a:tr h="205736">
                <a:tc>
                  <a:txBody>
                    <a:bodyPr/>
                    <a:lstStyle/>
                    <a:p>
                      <a:pPr algn="just">
                        <a:lnSpc>
                          <a:spcPct val="107000"/>
                        </a:lnSpc>
                        <a:spcAft>
                          <a:spcPts val="800"/>
                        </a:spcAft>
                      </a:pPr>
                      <a:r>
                        <a:rPr lang="en-ZA" sz="1200" b="1">
                          <a:solidFill>
                            <a:srgbClr val="FD6B00"/>
                          </a:solidFill>
                          <a:effectLst/>
                          <a:latin typeface="Arial" panose="020B0604020202020204" pitchFamily="34" charset="0"/>
                          <a:ea typeface="Times New Roman" panose="02020603050405020304" pitchFamily="18" charset="0"/>
                          <a:cs typeface="Arial" panose="020B0604020202020204" pitchFamily="34" charset="0"/>
                        </a:rPr>
                        <a:t>Total</a:t>
                      </a:r>
                      <a:endParaRPr lang="en-ZA" sz="1200" b="1">
                        <a:solidFill>
                          <a:srgbClr val="FD6B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chemeClr val="accent6">
                              <a:lumMod val="75000"/>
                            </a:schemeClr>
                          </a:solidFill>
                          <a:effectLst/>
                          <a:latin typeface="Arial" panose="020B0604020202020204" pitchFamily="34" charset="0"/>
                          <a:cs typeface="Arial" panose="020B0604020202020204" pitchFamily="34" charset="0"/>
                        </a:rPr>
                        <a:t>23842</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rtl="0" fontAlgn="t"/>
                      <a:r>
                        <a:rPr lang="en-ZA" sz="1200" b="1" i="0" u="none" strike="noStrike">
                          <a:solidFill>
                            <a:schemeClr val="accent6">
                              <a:lumMod val="75000"/>
                            </a:schemeClr>
                          </a:solidFill>
                          <a:effectLst/>
                          <a:latin typeface="Arial" panose="020B0604020202020204" pitchFamily="34" charset="0"/>
                          <a:cs typeface="Arial" panose="020B0604020202020204" pitchFamily="34" charset="0"/>
                        </a:rPr>
                        <a:t>R549 997 516</a:t>
                      </a:r>
                    </a:p>
                  </a:txBody>
                  <a:tcPr marL="6350" marR="6350" marT="635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29095323"/>
                  </a:ext>
                </a:extLst>
              </a:tr>
            </a:tbl>
          </a:graphicData>
        </a:graphic>
      </p:graphicFrame>
      <p:cxnSp>
        <p:nvCxnSpPr>
          <p:cNvPr id="3" name="Straight Connector 2">
            <a:extLst>
              <a:ext uri="{FF2B5EF4-FFF2-40B4-BE49-F238E27FC236}">
                <a16:creationId xmlns:a16="http://schemas.microsoft.com/office/drawing/2014/main" xmlns="" id="{AC66B602-E9FE-C57A-B0F4-B36AB8750E7C}"/>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5" name="Picture 12">
            <a:extLst>
              <a:ext uri="{FF2B5EF4-FFF2-40B4-BE49-F238E27FC236}">
                <a16:creationId xmlns:a16="http://schemas.microsoft.com/office/drawing/2014/main" xmlns="" id="{3AA1F1AE-E794-C1A1-32C3-EA72128E8824}"/>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6" name="Picture 5" descr="Logo&#10;&#10;Description automatically generated">
            <a:extLst>
              <a:ext uri="{FF2B5EF4-FFF2-40B4-BE49-F238E27FC236}">
                <a16:creationId xmlns:a16="http://schemas.microsoft.com/office/drawing/2014/main" xmlns="" id="{980B1AA1-0B55-73A8-9AA9-69EDC53934E8}"/>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8" name="Picture 7" descr="Logo&#10;&#10;Description automatically generated">
            <a:extLst>
              <a:ext uri="{FF2B5EF4-FFF2-40B4-BE49-F238E27FC236}">
                <a16:creationId xmlns:a16="http://schemas.microsoft.com/office/drawing/2014/main" xmlns="" id="{73B6D05F-66E4-FC82-DC20-88B64BDE4E07}"/>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spTree>
    <p:extLst>
      <p:ext uri="{BB962C8B-B14F-4D97-AF65-F5344CB8AC3E}">
        <p14:creationId xmlns:p14="http://schemas.microsoft.com/office/powerpoint/2010/main" xmlns="" val="64752235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A6264CBA-9B2D-4DCF-B904-3E94AA9D5026}"/>
              </a:ext>
            </a:extLst>
          </p:cNvPr>
          <p:cNvSpPr>
            <a:spLocks noGrp="1"/>
          </p:cNvSpPr>
          <p:nvPr>
            <p:ph type="sldNum" sz="quarter" idx="2"/>
          </p:nvPr>
        </p:nvSpPr>
        <p:spPr/>
        <p:txBody>
          <a:bodyPr/>
          <a:lstStyle/>
          <a:p>
            <a:fld id="{93AE1883-0942-4AA3-9DB2-9C7C3A0314B1}" type="slidenum">
              <a:rPr lang="en-US" smtClean="0"/>
              <a:pPr/>
              <a:t>2</a:t>
            </a:fld>
            <a:endParaRPr lang="en-US"/>
          </a:p>
        </p:txBody>
      </p:sp>
      <p:sp>
        <p:nvSpPr>
          <p:cNvPr id="41" name="TextBox 9">
            <a:extLst>
              <a:ext uri="{FF2B5EF4-FFF2-40B4-BE49-F238E27FC236}">
                <a16:creationId xmlns:a16="http://schemas.microsoft.com/office/drawing/2014/main" xmlns="" id="{62EB00DC-9AD2-4ACD-8F08-571B166906F4}"/>
              </a:ext>
            </a:extLst>
          </p:cNvPr>
          <p:cNvSpPr txBox="1"/>
          <p:nvPr/>
        </p:nvSpPr>
        <p:spPr>
          <a:xfrm>
            <a:off x="616410" y="151198"/>
            <a:ext cx="7869370" cy="545086"/>
          </a:xfrm>
          <a:prstGeom prst="rect">
            <a:avLst/>
          </a:prstGeom>
        </p:spPr>
        <p:txBody>
          <a:bodyPr lIns="0" tIns="0" rIns="0" bIns="0" rtlCol="0" anchor="t">
            <a:spAutoFit/>
          </a:bodyPr>
          <a:lstStyle/>
          <a:p>
            <a:pPr marL="0" marR="0" lvl="0" indent="0" algn="l" defTabSz="457200" rtl="0" eaLnBrk="1" fontAlgn="auto" latinLnBrk="0" hangingPunct="1">
              <a:lnSpc>
                <a:spcPts val="4400"/>
              </a:lnSpc>
              <a:spcBef>
                <a:spcPts val="0"/>
              </a:spcBef>
              <a:spcAft>
                <a:spcPts val="0"/>
              </a:spcAft>
              <a:buClrTx/>
              <a:buSzTx/>
              <a:buFontTx/>
              <a:buNone/>
              <a:tabLst/>
              <a:defRPr/>
            </a:pPr>
            <a:r>
              <a:rPr kumimoji="0" lang="en-US" sz="3600" b="1" i="0" u="none" strike="noStrike" kern="1200" cap="none" spc="286" normalizeH="0" baseline="0" noProof="0" dirty="0">
                <a:ln>
                  <a:noFill/>
                </a:ln>
                <a:solidFill>
                  <a:srgbClr val="006530"/>
                </a:solidFill>
                <a:effectLst/>
                <a:uLnTx/>
                <a:uFillTx/>
                <a:latin typeface="Arial" panose="020B0604020202020204" pitchFamily="34" charset="0"/>
                <a:cs typeface="Arial" panose="020B0604020202020204" pitchFamily="34" charset="0"/>
              </a:rPr>
              <a:t>Presentation Outline</a:t>
            </a:r>
          </a:p>
        </p:txBody>
      </p:sp>
      <p:graphicFrame>
        <p:nvGraphicFramePr>
          <p:cNvPr id="42" name="Table 42">
            <a:extLst>
              <a:ext uri="{FF2B5EF4-FFF2-40B4-BE49-F238E27FC236}">
                <a16:creationId xmlns:a16="http://schemas.microsoft.com/office/drawing/2014/main" xmlns="" id="{B16E3B02-68D7-4E0B-A4ED-07AB5490E9F0}"/>
              </a:ext>
            </a:extLst>
          </p:cNvPr>
          <p:cNvGraphicFramePr>
            <a:graphicFrameLocks noGrp="1"/>
          </p:cNvGraphicFramePr>
          <p:nvPr>
            <p:extLst>
              <p:ext uri="{D42A27DB-BD31-4B8C-83A1-F6EECF244321}">
                <p14:modId xmlns:p14="http://schemas.microsoft.com/office/powerpoint/2010/main" xmlns="" val="630788010"/>
              </p:ext>
            </p:extLst>
          </p:nvPr>
        </p:nvGraphicFramePr>
        <p:xfrm>
          <a:off x="548141" y="696285"/>
          <a:ext cx="8369827" cy="6227248"/>
        </p:xfrm>
        <a:graphic>
          <a:graphicData uri="http://schemas.openxmlformats.org/drawingml/2006/table">
            <a:tbl>
              <a:tblPr firstRow="1" bandRow="1">
                <a:tableStyleId>{5940675A-B579-460E-94D1-54222C63F5DA}</a:tableStyleId>
              </a:tblPr>
              <a:tblGrid>
                <a:gridCol w="716546">
                  <a:extLst>
                    <a:ext uri="{9D8B030D-6E8A-4147-A177-3AD203B41FA5}">
                      <a16:colId xmlns:a16="http://schemas.microsoft.com/office/drawing/2014/main" xmlns="" val="3459849430"/>
                    </a:ext>
                  </a:extLst>
                </a:gridCol>
                <a:gridCol w="7653281">
                  <a:extLst>
                    <a:ext uri="{9D8B030D-6E8A-4147-A177-3AD203B41FA5}">
                      <a16:colId xmlns:a16="http://schemas.microsoft.com/office/drawing/2014/main" xmlns="" val="2994027611"/>
                    </a:ext>
                  </a:extLst>
                </a:gridCol>
              </a:tblGrid>
              <a:tr h="469978">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1</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Overview of Corporate Performance</a:t>
                      </a:r>
                      <a:r>
                        <a:rPr lang="en-US" sz="1800" b="1" i="0" u="none" strike="noStrike" kern="800" cap="none" spc="286" normalizeH="0" baseline="0">
                          <a:ln>
                            <a:noFill/>
                          </a:ln>
                          <a:solidFill>
                            <a:srgbClr val="006530"/>
                          </a:solidFill>
                          <a:effectLst/>
                          <a:uLnTx/>
                          <a:uFillTx/>
                          <a:latin typeface="Arial"/>
                          <a:ea typeface="+mn-ea"/>
                          <a:cs typeface="Arial"/>
                        </a:rPr>
                        <a:t> </a:t>
                      </a:r>
                      <a:endParaRPr kumimoji="0" lang="en-ZA"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872366415"/>
                  </a:ext>
                </a:extLst>
              </a:tr>
              <a:tr h="469978">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2</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lgn="l" defTabSz="914400" rtl="0" eaLnBrk="1" latinLnBrk="0" hangingPunct="1">
                        <a:buFont typeface="+mj-lt"/>
                        <a:buNone/>
                      </a:pPr>
                      <a:r>
                        <a:rPr kumimoji="0" lang="en-US" sz="1800" b="1" i="0" u="none" strike="noStrike" kern="800" cap="none" spc="286" normalizeH="0" baseline="0">
                          <a:ln>
                            <a:noFill/>
                          </a:ln>
                          <a:solidFill>
                            <a:srgbClr val="006530"/>
                          </a:solidFill>
                          <a:effectLst/>
                          <a:uLnTx/>
                          <a:uFillTx/>
                          <a:latin typeface="Arial"/>
                          <a:ea typeface="+mn-ea"/>
                          <a:cs typeface="Arial"/>
                        </a:rPr>
                        <a:t>Balanced Scorecard</a:t>
                      </a:r>
                      <a:endParaRPr kumimoji="0" lang="en-ZA" sz="1800" b="1" i="0" u="none" strike="noStrike" kern="800" cap="none" spc="286" normalizeH="0" baseline="0">
                        <a:ln>
                          <a:noFill/>
                        </a:ln>
                        <a:solidFill>
                          <a:srgbClr val="00653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989911289"/>
                  </a:ext>
                </a:extLst>
              </a:tr>
              <a:tr h="464647">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3</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Loan Book Perform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722458350"/>
                  </a:ext>
                </a:extLst>
              </a:tr>
              <a:tr h="469978">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4</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Development Impac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4200252409"/>
                  </a:ext>
                </a:extLst>
              </a:tr>
              <a:tr h="469978">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5</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Post Investment Monitoring</a:t>
                      </a:r>
                      <a:endParaRPr kumimoji="0" lang="en-ZA" sz="1800" b="1" i="0" u="none" strike="noStrike" kern="800" cap="none" spc="286" normalizeH="0" baseline="0">
                        <a:ln>
                          <a:noFill/>
                        </a:ln>
                        <a:solidFill>
                          <a:srgbClr val="00653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876390700"/>
                  </a:ext>
                </a:extLst>
              </a:tr>
              <a:tr h="439894">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6</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Financial Performance</a:t>
                      </a:r>
                      <a:endParaRPr kumimoji="0" lang="en-ZA" sz="1800" b="1" i="0" u="none" strike="noStrike" kern="800" cap="none" spc="286" normalizeH="0" baseline="0">
                        <a:ln>
                          <a:noFill/>
                        </a:ln>
                        <a:solidFill>
                          <a:srgbClr val="00653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165470374"/>
                  </a:ext>
                </a:extLst>
              </a:tr>
              <a:tr h="469978">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7</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Human Capital Management</a:t>
                      </a:r>
                      <a:endParaRPr kumimoji="0" lang="en-ZA" sz="1800" b="1" i="0" u="none" strike="noStrike" kern="800" cap="none" spc="286" normalizeH="0" baseline="0">
                        <a:ln>
                          <a:noFill/>
                        </a:ln>
                        <a:solidFill>
                          <a:srgbClr val="00653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963338167"/>
                  </a:ext>
                </a:extLst>
              </a:tr>
              <a:tr h="469978">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8</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Marketing &amp; Communications</a:t>
                      </a:r>
                      <a:endParaRPr kumimoji="0" lang="en-ZA" sz="1800" b="1" i="0" u="none" strike="noStrike" kern="800" cap="none" spc="286" normalizeH="0" baseline="0">
                        <a:ln>
                          <a:noFill/>
                        </a:ln>
                        <a:solidFill>
                          <a:srgbClr val="00653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449891729"/>
                  </a:ext>
                </a:extLst>
              </a:tr>
              <a:tr h="471242">
                <a:tc>
                  <a:txBody>
                    <a:bodyPr/>
                    <a:lstStyle/>
                    <a:p>
                      <a:r>
                        <a:rPr kumimoji="0" lang="en-US" sz="1800" b="1" i="0" u="none" strike="noStrike" kern="800" cap="none" spc="286" normalizeH="0" baseline="0">
                          <a:ln>
                            <a:noFill/>
                          </a:ln>
                          <a:solidFill>
                            <a:srgbClr val="FD6B00"/>
                          </a:solidFill>
                          <a:effectLst/>
                          <a:uLnTx/>
                          <a:uFillTx/>
                          <a:latin typeface="Arial"/>
                          <a:ea typeface="+mn-ea"/>
                          <a:cs typeface="Arial"/>
                        </a:rPr>
                        <a:t>9</a:t>
                      </a: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a:ea typeface="+mn-ea"/>
                          <a:cs typeface="Arial"/>
                        </a:rPr>
                        <a:t>Organisational Govern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574986486"/>
                  </a:ext>
                </a:extLst>
              </a:tr>
              <a:tr h="449743">
                <a:tc>
                  <a:txBody>
                    <a:bodyPr/>
                    <a:lstStyle/>
                    <a:p>
                      <a:r>
                        <a:rPr lang="en-ZA" sz="1800" b="1" i="0" u="none" strike="noStrike" kern="800" cap="none" spc="286" normalizeH="0" baseline="0">
                          <a:ln>
                            <a:noFill/>
                          </a:ln>
                          <a:solidFill>
                            <a:srgbClr val="FD6B00"/>
                          </a:solidFill>
                          <a:effectLst/>
                          <a:uLnTx/>
                          <a:uFillTx/>
                          <a:latin typeface="Arial"/>
                          <a:ea typeface="+mn-ea"/>
                          <a:cs typeface="Arial"/>
                        </a:rPr>
                        <a:t>10</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US" sz="1800" b="1" i="0" u="none" strike="noStrike" kern="800" cap="none" spc="286" normalizeH="0" baseline="0" dirty="0">
                          <a:ln>
                            <a:noFill/>
                          </a:ln>
                          <a:solidFill>
                            <a:srgbClr val="006530"/>
                          </a:solidFill>
                          <a:effectLst/>
                          <a:uLnTx/>
                          <a:uFillTx/>
                          <a:latin typeface="Arial"/>
                          <a:ea typeface="+mn-ea"/>
                          <a:cs typeface="Arial"/>
                        </a:rPr>
                        <a:t>Interventions to enhance Performance</a:t>
                      </a:r>
                      <a:endParaRPr kumimoji="0" lang="en-US" sz="1800" b="1" i="0" u="none" strike="noStrike" kern="800" cap="none" spc="286" normalizeH="0" baseline="0" dirty="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4028931843"/>
                  </a:ext>
                </a:extLst>
              </a:tr>
              <a:tr h="937996">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11</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dirty="0">
                          <a:ln>
                            <a:noFill/>
                          </a:ln>
                          <a:solidFill>
                            <a:srgbClr val="006530"/>
                          </a:solidFill>
                          <a:effectLst/>
                          <a:uLnTx/>
                          <a:uFillTx/>
                          <a:latin typeface="Arial" panose="020B0604020202020204" pitchFamily="34" charset="0"/>
                          <a:ea typeface="+mn-ea"/>
                          <a:cs typeface="+mn-cs"/>
                        </a:rPr>
                        <a:t>A list of Applications Received, Approved, Rejections &amp; Reasons for rejection</a:t>
                      </a:r>
                    </a:p>
                    <a:p>
                      <a:endParaRPr kumimoji="0" lang="en-US" sz="1800" b="1" i="0" u="none" strike="noStrike" kern="800" cap="none" spc="286" normalizeH="0" baseline="0" dirty="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924566669"/>
                  </a:ext>
                </a:extLst>
              </a:tr>
              <a:tr h="643858">
                <a:tc>
                  <a:txBody>
                    <a:bodyPr/>
                    <a:lstStyle/>
                    <a:p>
                      <a:pPr lvl="0">
                        <a:buNone/>
                      </a:pPr>
                      <a:endParaRPr kumimoji="0" lang="en-ZA" sz="1800" b="1" i="0" u="none" strike="noStrike" kern="800" cap="none" spc="286" normalizeH="0" baseline="0">
                        <a:ln>
                          <a:noFill/>
                        </a:ln>
                        <a:solidFill>
                          <a:srgbClr val="FD6B00"/>
                        </a:solidFill>
                        <a:effectLst/>
                        <a:uLnTx/>
                        <a:uFillTx/>
                        <a:latin typeface="Arial"/>
                        <a:ea typeface="+mn-ea"/>
                        <a:cs typeface="Arial"/>
                      </a:endParaRPr>
                    </a:p>
                  </a:txBody>
                  <a:tcPr>
                    <a:lnL w="0">
                      <a:noFill/>
                    </a:lnL>
                    <a:lnR w="0">
                      <a:noFill/>
                    </a:lnR>
                    <a:lnT w="0">
                      <a:noFill/>
                    </a:lnT>
                    <a:lnB w="0">
                      <a:noFill/>
                    </a:lnB>
                    <a:lnTlToBr w="0">
                      <a:noFill/>
                    </a:lnTlToBr>
                    <a:lnBlToTr w="0">
                      <a:noFill/>
                    </a:lnBlToTr>
                  </a:tcPr>
                </a:tc>
                <a:tc>
                  <a:txBody>
                    <a:bodyPr/>
                    <a:lstStyle/>
                    <a:p>
                      <a:pPr lvl="0">
                        <a:buNone/>
                      </a:pPr>
                      <a:endParaRPr kumimoji="0" lang="en-US" sz="1800" b="1" i="0" u="none" strike="noStrike" kern="800" cap="none" spc="286" normalizeH="0" baseline="0" dirty="0">
                        <a:ln>
                          <a:noFill/>
                        </a:ln>
                        <a:solidFill>
                          <a:srgbClr val="006530"/>
                        </a:solidFill>
                        <a:effectLst/>
                        <a:uLnTx/>
                        <a:uFillTx/>
                        <a:latin typeface="Arial"/>
                        <a:ea typeface="+mn-ea"/>
                        <a:cs typeface="Arial"/>
                      </a:endParaRPr>
                    </a:p>
                  </a:txBody>
                  <a:tcPr>
                    <a:lnL w="0">
                      <a:noFill/>
                    </a:lnL>
                    <a:lnR w="0">
                      <a:noFill/>
                    </a:lnR>
                    <a:lnT w="0">
                      <a:noFill/>
                    </a:lnT>
                    <a:lnB w="0">
                      <a:noFill/>
                    </a:lnB>
                    <a:lnTlToBr w="0">
                      <a:noFill/>
                    </a:lnTlToBr>
                    <a:lnBlToTr w="0">
                      <a:noFill/>
                    </a:lnBlToTr>
                  </a:tcPr>
                </a:tc>
                <a:extLst>
                  <a:ext uri="{0D108BD9-81ED-4DB2-BD59-A6C34878D82A}">
                    <a16:rowId xmlns:a16="http://schemas.microsoft.com/office/drawing/2014/main" xmlns="" val="3381180105"/>
                  </a:ext>
                </a:extLst>
              </a:tr>
            </a:tbl>
          </a:graphicData>
        </a:graphic>
      </p:graphicFrame>
      <p:pic>
        <p:nvPicPr>
          <p:cNvPr id="14" name="Picture 12">
            <a:extLst>
              <a:ext uri="{FF2B5EF4-FFF2-40B4-BE49-F238E27FC236}">
                <a16:creationId xmlns:a16="http://schemas.microsoft.com/office/drawing/2014/main" xmlns="" id="{E2B3875A-7349-498C-BD76-7DB17302EE16}"/>
              </a:ext>
            </a:extLst>
          </p:cNvPr>
          <p:cNvPicPr>
            <a:picLocks noChangeAspect="1"/>
          </p:cNvPicPr>
          <p:nvPr/>
        </p:nvPicPr>
        <p:blipFill>
          <a:blip r:embed="rId2" cstate="print"/>
          <a:srcRect l="4701" r="4701"/>
          <a:stretch>
            <a:fillRect/>
          </a:stretch>
        </p:blipFill>
        <p:spPr>
          <a:xfrm>
            <a:off x="548142" y="5485320"/>
            <a:ext cx="1676840" cy="1896493"/>
          </a:xfrm>
          <a:prstGeom prst="rect">
            <a:avLst/>
          </a:prstGeom>
        </p:spPr>
      </p:pic>
      <p:pic>
        <p:nvPicPr>
          <p:cNvPr id="15" name="Picture 14" descr="Logo&#10;&#10;Description automatically generated">
            <a:extLst>
              <a:ext uri="{FF2B5EF4-FFF2-40B4-BE49-F238E27FC236}">
                <a16:creationId xmlns:a16="http://schemas.microsoft.com/office/drawing/2014/main" xmlns="" id="{2E715140-AE59-466C-A9EE-D4481550B77D}"/>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089240"/>
            <a:ext cx="1627635" cy="688652"/>
          </a:xfrm>
          <a:prstGeom prst="rect">
            <a:avLst/>
          </a:prstGeom>
        </p:spPr>
      </p:pic>
      <p:pic>
        <p:nvPicPr>
          <p:cNvPr id="3" name="Picture 2" descr="Logo&#10;&#10;Description automatically generated">
            <a:extLst>
              <a:ext uri="{FF2B5EF4-FFF2-40B4-BE49-F238E27FC236}">
                <a16:creationId xmlns:a16="http://schemas.microsoft.com/office/drawing/2014/main" xmlns="" id="{5B535D13-46C7-1C21-92D1-FC435C65B19A}"/>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52741"/>
            <a:ext cx="1331683" cy="688652"/>
          </a:xfrm>
          <a:prstGeom prst="rect">
            <a:avLst/>
          </a:prstGeom>
        </p:spPr>
      </p:pic>
      <p:cxnSp>
        <p:nvCxnSpPr>
          <p:cNvPr id="5" name="Straight Connector 4">
            <a:extLst>
              <a:ext uri="{FF2B5EF4-FFF2-40B4-BE49-F238E27FC236}">
                <a16:creationId xmlns:a16="http://schemas.microsoft.com/office/drawing/2014/main" xmlns="" id="{C00D9426-21FD-3B1A-23F0-7E09628E6B50}"/>
              </a:ext>
            </a:extLst>
          </p:cNvPr>
          <p:cNvCxnSpPr/>
          <p:nvPr/>
        </p:nvCxnSpPr>
        <p:spPr>
          <a:xfrm>
            <a:off x="0" y="5913120"/>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6013364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0</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300436" cy="584775"/>
          </a:xfrm>
          <a:prstGeom prst="rect">
            <a:avLst/>
          </a:prstGeom>
          <a:noFill/>
        </p:spPr>
        <p:txBody>
          <a:bodyPr wrap="square" rtlCol="0">
            <a:spAutoFit/>
          </a:bodyPr>
          <a:lstStyle/>
          <a:p>
            <a:r>
              <a:rPr lang="en-US" sz="3200">
                <a:solidFill>
                  <a:prstClr val="white"/>
                </a:solidFill>
                <a:latin typeface="Arial" panose="020B0604020202020204" pitchFamily="34" charset="0"/>
                <a:cs typeface="Arial" panose="020B0604020202020204" pitchFamily="34" charset="0"/>
              </a:rPr>
              <a:t>Post Investment Monitoring: Portfolio Composition</a:t>
            </a:r>
          </a:p>
        </p:txBody>
      </p:sp>
      <p:sp>
        <p:nvSpPr>
          <p:cNvPr id="16" name="Content Placeholder 2">
            <a:extLst>
              <a:ext uri="{FF2B5EF4-FFF2-40B4-BE49-F238E27FC236}">
                <a16:creationId xmlns:a16="http://schemas.microsoft.com/office/drawing/2014/main" xmlns="" id="{9423AA7D-7F32-45CA-BCD3-28C3CEC8C71C}"/>
              </a:ext>
            </a:extLst>
          </p:cNvPr>
          <p:cNvSpPr txBox="1">
            <a:spLocks/>
          </p:cNvSpPr>
          <p:nvPr/>
        </p:nvSpPr>
        <p:spPr>
          <a:xfrm>
            <a:off x="548142" y="3743306"/>
            <a:ext cx="8284636" cy="2182001"/>
          </a:xfrm>
          <a:prstGeom prst="rect">
            <a:avLst/>
          </a:prstGeom>
        </p:spPr>
        <p:txBody>
          <a:bodyPr vert="horz" lIns="91440" tIns="45720" rIns="91440" bIns="45720" rtlCol="0" anchor="t">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kumimoji="0" lang="en-US" sz="1600" b="0" i="0" u="none" strike="noStrike" kern="1200" cap="none" spc="0" normalizeH="0" baseline="0" noProof="0" dirty="0">
                <a:ln>
                  <a:noFill/>
                </a:ln>
                <a:effectLst/>
                <a:uLnTx/>
                <a:uFillTx/>
                <a:latin typeface="Arial"/>
                <a:cs typeface="Arial"/>
              </a:rPr>
              <a:t>As at 31 December 2022, the portfolio had a total balance of </a:t>
            </a:r>
            <a:r>
              <a:rPr lang="en-US" sz="1600" dirty="0">
                <a:latin typeface="Arial"/>
                <a:cs typeface="Arial"/>
              </a:rPr>
              <a:t>R4.1bn </a:t>
            </a:r>
            <a:r>
              <a:rPr kumimoji="0" lang="en-US" sz="1600" b="0" i="0" u="none" strike="noStrike" kern="1200" cap="none" spc="0" normalizeH="0" baseline="0" noProof="0" dirty="0">
                <a:ln>
                  <a:noFill/>
                </a:ln>
                <a:effectLst/>
                <a:uLnTx/>
                <a:uFillTx/>
                <a:latin typeface="Arial"/>
                <a:cs typeface="Arial"/>
              </a:rPr>
              <a:t>(Including funds: R247 m) comprising a 3824 clients (3799 DL &amp; 25 WL).</a:t>
            </a:r>
            <a:r>
              <a:rPr lang="en-US" sz="1600" dirty="0">
                <a:latin typeface="Arial"/>
                <a:cs typeface="Arial"/>
              </a:rPr>
              <a:t>   </a:t>
            </a:r>
            <a:endParaRPr kumimoji="0" lang="en-US" sz="16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defRPr/>
            </a:pPr>
            <a:r>
              <a:rPr kumimoji="0" lang="en-US" sz="1600" b="0" i="0" u="none" strike="noStrike" kern="1200" cap="none" spc="0" normalizeH="0" baseline="0" noProof="0" dirty="0">
                <a:ln>
                  <a:noFill/>
                </a:ln>
                <a:effectLst/>
                <a:uLnTx/>
                <a:uFillTx/>
                <a:latin typeface="Arial"/>
                <a:cs typeface="Arial"/>
              </a:rPr>
              <a:t>The total portfolio is made up of </a:t>
            </a:r>
            <a:r>
              <a:rPr lang="en-US" sz="1600" dirty="0">
                <a:latin typeface="Arial"/>
                <a:cs typeface="Arial"/>
              </a:rPr>
              <a:t>R1.4bn</a:t>
            </a:r>
            <a:r>
              <a:rPr kumimoji="0" lang="en-US" sz="1600" b="0" i="0" u="none" strike="noStrike" kern="1200" cap="none" spc="0" normalizeH="0" baseline="0" noProof="0" dirty="0">
                <a:ln>
                  <a:noFill/>
                </a:ln>
                <a:effectLst/>
                <a:uLnTx/>
                <a:uFillTx/>
                <a:latin typeface="Arial"/>
                <a:cs typeface="Arial"/>
              </a:rPr>
              <a:t> WL representing </a:t>
            </a:r>
            <a:r>
              <a:rPr lang="en-US" sz="1600" dirty="0">
                <a:latin typeface="Arial"/>
                <a:cs typeface="Arial"/>
              </a:rPr>
              <a:t>36</a:t>
            </a:r>
            <a:r>
              <a:rPr kumimoji="0" lang="en-US" sz="1600" b="0" i="0" u="none" strike="noStrike" kern="1200" cap="none" spc="0" normalizeH="0" baseline="0" noProof="0" dirty="0">
                <a:ln>
                  <a:noFill/>
                </a:ln>
                <a:effectLst/>
                <a:uLnTx/>
                <a:uFillTx/>
                <a:latin typeface="Arial"/>
                <a:cs typeface="Arial"/>
              </a:rPr>
              <a:t>% and R2.7bn in DL representing </a:t>
            </a:r>
            <a:r>
              <a:rPr lang="en-US" sz="1600" dirty="0">
                <a:latin typeface="Arial"/>
                <a:cs typeface="Arial"/>
              </a:rPr>
              <a:t>64</a:t>
            </a:r>
            <a:r>
              <a:rPr kumimoji="0" lang="en-US" sz="1600" b="0" i="0" u="none" strike="noStrike" kern="1200" cap="none" spc="0" normalizeH="0" baseline="0" noProof="0" dirty="0">
                <a:ln>
                  <a:noFill/>
                </a:ln>
                <a:effectLst/>
                <a:uLnTx/>
                <a:uFillTx/>
                <a:latin typeface="Arial"/>
                <a:cs typeface="Arial"/>
              </a:rPr>
              <a:t>%.</a:t>
            </a:r>
            <a:endParaRPr lang="en-US" sz="1600" b="0" i="0" u="none" strike="noStrike" kern="1200" cap="none" spc="0" normalizeH="0" baseline="0" noProof="0" dirty="0">
              <a:ln>
                <a:noFill/>
              </a:ln>
              <a:effectLst/>
              <a:uLnTx/>
              <a:uFillTx/>
              <a:latin typeface="Arial"/>
              <a:cs typeface="Arial"/>
            </a:endParaRPr>
          </a:p>
          <a:p>
            <a:pPr>
              <a:defRPr/>
            </a:pPr>
            <a:r>
              <a:rPr kumimoji="0" lang="en-US" sz="1600" b="0" i="0" u="none" strike="noStrike" kern="1200" cap="none" spc="0" normalizeH="0" baseline="0" noProof="0" dirty="0">
                <a:ln>
                  <a:noFill/>
                </a:ln>
                <a:effectLst/>
                <a:uLnTx/>
                <a:uFillTx/>
                <a:latin typeface="Arial"/>
                <a:cs typeface="Arial"/>
              </a:rPr>
              <a:t>The WL book declined by 13% (R185m) quarter on quarter because of the net effect of repayments and disbursements.</a:t>
            </a:r>
            <a:endParaRPr lang="en-US" sz="1600" b="0" i="0" u="none" strike="noStrike" kern="1200" cap="none" spc="0" normalizeH="0" baseline="0" noProof="0" dirty="0">
              <a:ln>
                <a:noFill/>
              </a:ln>
              <a:effectLst/>
              <a:uLnTx/>
              <a:uFillTx/>
              <a:latin typeface="Arial"/>
              <a:cs typeface="Arial"/>
            </a:endParaRPr>
          </a:p>
          <a:p>
            <a:pPr>
              <a:defRPr/>
            </a:pPr>
            <a:r>
              <a:rPr kumimoji="0" lang="en-US" sz="1600" b="0" i="0" u="none" strike="noStrike" kern="1200" cap="none" spc="0" normalizeH="0" baseline="0" noProof="0" dirty="0">
                <a:ln>
                  <a:noFill/>
                </a:ln>
                <a:effectLst/>
                <a:uLnTx/>
                <a:uFillTx/>
                <a:latin typeface="Arial"/>
                <a:cs typeface="Arial"/>
              </a:rPr>
              <a:t>DL book has increased by 6% (R157m) quarter on quarter as a result of new disbursements and repayments.</a:t>
            </a:r>
            <a:endParaRPr lang="en-US" sz="1600" b="0" i="0" u="none" strike="noStrike" kern="1200" cap="none" spc="0" normalizeH="0" baseline="0" noProof="0" dirty="0">
              <a:ln>
                <a:noFill/>
              </a:ln>
              <a:effectLst/>
              <a:uLnTx/>
              <a:uFillTx/>
              <a:latin typeface="Arial"/>
              <a:cs typeface="Arial"/>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16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GB" sz="16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7CA01043-602B-5E24-608A-3DED76D93435}"/>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C8DBE53E-0603-A965-FCD6-A089B9D0737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6273FBCE-0915-5BD3-D3A1-A808E82C8B5E}"/>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96103ED0-0533-1A7C-F03F-07CF39DE00E2}"/>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8" name="Picture 9" descr="Chart, bar chart&#10;&#10;Description automatically generated">
            <a:extLst>
              <a:ext uri="{FF2B5EF4-FFF2-40B4-BE49-F238E27FC236}">
                <a16:creationId xmlns:a16="http://schemas.microsoft.com/office/drawing/2014/main" xmlns="" id="{AB1D7486-2BF0-7295-60E2-F4DB4DA500F4}"/>
              </a:ext>
            </a:extLst>
          </p:cNvPr>
          <p:cNvPicPr>
            <a:picLocks noChangeAspect="1"/>
          </p:cNvPicPr>
          <p:nvPr/>
        </p:nvPicPr>
        <p:blipFill>
          <a:blip r:embed="rId6" cstate="print"/>
          <a:stretch>
            <a:fillRect/>
          </a:stretch>
        </p:blipFill>
        <p:spPr>
          <a:xfrm>
            <a:off x="679269" y="936207"/>
            <a:ext cx="7733211" cy="2660398"/>
          </a:xfrm>
          <a:prstGeom prst="rect">
            <a:avLst/>
          </a:prstGeom>
        </p:spPr>
      </p:pic>
    </p:spTree>
    <p:extLst>
      <p:ext uri="{BB962C8B-B14F-4D97-AF65-F5344CB8AC3E}">
        <p14:creationId xmlns:p14="http://schemas.microsoft.com/office/powerpoint/2010/main" xmlns="" val="1679743407"/>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sp>
        <p:nvSpPr>
          <p:cNvPr id="4" name="Slide Number Placeholder 3"/>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2</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Total Collections</a:t>
            </a:r>
          </a:p>
        </p:txBody>
      </p:sp>
      <p:sp>
        <p:nvSpPr>
          <p:cNvPr id="15" name="TextBox 14">
            <a:extLst>
              <a:ext uri="{FF2B5EF4-FFF2-40B4-BE49-F238E27FC236}">
                <a16:creationId xmlns:a16="http://schemas.microsoft.com/office/drawing/2014/main" xmlns="" id="{FA1C34ED-A104-41BB-A7B0-D622E84AAF82}"/>
              </a:ext>
            </a:extLst>
          </p:cNvPr>
          <p:cNvSpPr txBox="1"/>
          <p:nvPr/>
        </p:nvSpPr>
        <p:spPr>
          <a:xfrm>
            <a:off x="-20905" y="3855446"/>
            <a:ext cx="9143999" cy="2300014"/>
          </a:xfrm>
          <a:prstGeom prst="roundRect">
            <a:avLst>
              <a:gd name="adj" fmla="val 5851"/>
            </a:avLst>
          </a:prstGeom>
          <a:noFill/>
          <a:ln>
            <a:noFill/>
          </a:ln>
        </p:spPr>
        <p:txBody>
          <a:bodyPr wrap="square" lIns="91440" tIns="45720" rIns="91440" bIns="45720" rtlCol="0" anchor="t">
            <a:spAutoFit/>
          </a:bodyPr>
          <a:lstStyle/>
          <a:p>
            <a:pPr marL="171450" indent="-171450">
              <a:lnSpc>
                <a:spcPct val="150000"/>
              </a:lnSpc>
              <a:buFont typeface="Arial" panose="020B0604020202020204" pitchFamily="34" charset="0"/>
              <a:buChar char="•"/>
            </a:pPr>
            <a:r>
              <a:rPr lang="en-US" sz="1350">
                <a:latin typeface="Arial"/>
                <a:cs typeface="Arial"/>
              </a:rPr>
              <a:t>The overall collection rate of 78.9 % is below the target of 87%</a:t>
            </a:r>
          </a:p>
          <a:p>
            <a:pPr marL="628650" lvl="1" indent="-171450">
              <a:lnSpc>
                <a:spcPct val="150000"/>
              </a:lnSpc>
              <a:buFont typeface="Arial" panose="020B0604020202020204" pitchFamily="34" charset="0"/>
              <a:buChar char="•"/>
            </a:pPr>
            <a:r>
              <a:rPr lang="en-US" sz="1350">
                <a:latin typeface="Arial"/>
                <a:cs typeface="Arial"/>
              </a:rPr>
              <a:t>The WL total collections of 180% resulted from successful collection strategies where funding partners were encouraged to rectify previous arrear positions.</a:t>
            </a:r>
          </a:p>
          <a:p>
            <a:pPr marL="171450" indent="-171450">
              <a:lnSpc>
                <a:spcPct val="150000"/>
              </a:lnSpc>
              <a:buFont typeface="Arial" panose="020B0604020202020204" pitchFamily="34" charset="0"/>
              <a:buChar char="•"/>
            </a:pPr>
            <a:r>
              <a:rPr lang="en-US" sz="1350">
                <a:latin typeface="Arial"/>
                <a:cs typeface="Arial"/>
              </a:rPr>
              <a:t>The DL on-time collection rate of 35.1%, (Q2) 40.6 % reflects the difficulties that SMME face in trying to meet their monthly loan obligations. </a:t>
            </a:r>
            <a:endParaRPr lang="en-US" sz="1350">
              <a:latin typeface="Arial" panose="020B0604020202020204" pitchFamily="34" charset="0"/>
              <a:cs typeface="Arial" panose="020B0604020202020204" pitchFamily="34" charset="0"/>
            </a:endParaRPr>
          </a:p>
          <a:p>
            <a:pPr marL="628650" lvl="1" indent="-171450">
              <a:lnSpc>
                <a:spcPct val="150000"/>
              </a:lnSpc>
              <a:buFont typeface="Arial" panose="020B0604020202020204" pitchFamily="34" charset="0"/>
              <a:buChar char="•"/>
            </a:pPr>
            <a:r>
              <a:rPr lang="en-US" sz="1350">
                <a:latin typeface="Arial"/>
                <a:cs typeface="Arial"/>
              </a:rPr>
              <a:t>Factors that are impacting the clients relate to cash flow challenges, which are exacerbated by the impact of load shedding, increase in interest rates and the high production price index. </a:t>
            </a:r>
            <a:endParaRPr lang="en-US" sz="1350">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59FEE4DD-FA2A-965C-42DC-220DBEFF55AC}"/>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A00CABBD-4453-C974-1954-4737ACA7FEE3}"/>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2ED29474-E22D-C962-F28E-222012604DC8}"/>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726478" y="6222423"/>
            <a:ext cx="1027134" cy="531161"/>
          </a:xfrm>
          <a:prstGeom prst="rect">
            <a:avLst/>
          </a:prstGeom>
        </p:spPr>
      </p:pic>
      <p:cxnSp>
        <p:nvCxnSpPr>
          <p:cNvPr id="8" name="Straight Connector 7">
            <a:extLst>
              <a:ext uri="{FF2B5EF4-FFF2-40B4-BE49-F238E27FC236}">
                <a16:creationId xmlns:a16="http://schemas.microsoft.com/office/drawing/2014/main" xmlns="" id="{A780324E-F8E9-53B7-2B2F-FEB233567BE0}"/>
              </a:ext>
            </a:extLst>
          </p:cNvPr>
          <p:cNvCxnSpPr/>
          <p:nvPr/>
        </p:nvCxnSpPr>
        <p:spPr>
          <a:xfrm>
            <a:off x="0" y="6140089"/>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aphicFrame>
        <p:nvGraphicFramePr>
          <p:cNvPr id="9" name="Table 8">
            <a:extLst>
              <a:ext uri="{FF2B5EF4-FFF2-40B4-BE49-F238E27FC236}">
                <a16:creationId xmlns:a16="http://schemas.microsoft.com/office/drawing/2014/main" xmlns="" id="{0EBDC187-A4C1-6696-15A1-BBC8680E384C}"/>
              </a:ext>
            </a:extLst>
          </p:cNvPr>
          <p:cNvGraphicFramePr>
            <a:graphicFrameLocks noGrp="1"/>
          </p:cNvGraphicFramePr>
          <p:nvPr>
            <p:extLst>
              <p:ext uri="{D42A27DB-BD31-4B8C-83A1-F6EECF244321}">
                <p14:modId xmlns:p14="http://schemas.microsoft.com/office/powerpoint/2010/main" xmlns="" val="842300867"/>
              </p:ext>
            </p:extLst>
          </p:nvPr>
        </p:nvGraphicFramePr>
        <p:xfrm>
          <a:off x="313151" y="771547"/>
          <a:ext cx="8563217" cy="2578248"/>
        </p:xfrm>
        <a:graphic>
          <a:graphicData uri="http://schemas.openxmlformats.org/drawingml/2006/table">
            <a:tbl>
              <a:tblPr firstRow="1" firstCol="1" bandRow="1"/>
              <a:tblGrid>
                <a:gridCol w="1665070">
                  <a:extLst>
                    <a:ext uri="{9D8B030D-6E8A-4147-A177-3AD203B41FA5}">
                      <a16:colId xmlns:a16="http://schemas.microsoft.com/office/drawing/2014/main" xmlns="" val="1397950898"/>
                    </a:ext>
                  </a:extLst>
                </a:gridCol>
                <a:gridCol w="951469">
                  <a:extLst>
                    <a:ext uri="{9D8B030D-6E8A-4147-A177-3AD203B41FA5}">
                      <a16:colId xmlns:a16="http://schemas.microsoft.com/office/drawing/2014/main" xmlns="" val="498996279"/>
                    </a:ext>
                  </a:extLst>
                </a:gridCol>
                <a:gridCol w="951469">
                  <a:extLst>
                    <a:ext uri="{9D8B030D-6E8A-4147-A177-3AD203B41FA5}">
                      <a16:colId xmlns:a16="http://schemas.microsoft.com/office/drawing/2014/main" xmlns="" val="478254528"/>
                    </a:ext>
                  </a:extLst>
                </a:gridCol>
                <a:gridCol w="979452">
                  <a:extLst>
                    <a:ext uri="{9D8B030D-6E8A-4147-A177-3AD203B41FA5}">
                      <a16:colId xmlns:a16="http://schemas.microsoft.com/office/drawing/2014/main" xmlns="" val="4033990552"/>
                    </a:ext>
                  </a:extLst>
                </a:gridCol>
                <a:gridCol w="979452">
                  <a:extLst>
                    <a:ext uri="{9D8B030D-6E8A-4147-A177-3AD203B41FA5}">
                      <a16:colId xmlns:a16="http://schemas.microsoft.com/office/drawing/2014/main" xmlns="" val="2266726498"/>
                    </a:ext>
                  </a:extLst>
                </a:gridCol>
                <a:gridCol w="979452">
                  <a:extLst>
                    <a:ext uri="{9D8B030D-6E8A-4147-A177-3AD203B41FA5}">
                      <a16:colId xmlns:a16="http://schemas.microsoft.com/office/drawing/2014/main" xmlns="" val="2359173887"/>
                    </a:ext>
                  </a:extLst>
                </a:gridCol>
                <a:gridCol w="1035423">
                  <a:extLst>
                    <a:ext uri="{9D8B030D-6E8A-4147-A177-3AD203B41FA5}">
                      <a16:colId xmlns:a16="http://schemas.microsoft.com/office/drawing/2014/main" xmlns="" val="1340341650"/>
                    </a:ext>
                  </a:extLst>
                </a:gridCol>
                <a:gridCol w="1021430">
                  <a:extLst>
                    <a:ext uri="{9D8B030D-6E8A-4147-A177-3AD203B41FA5}">
                      <a16:colId xmlns:a16="http://schemas.microsoft.com/office/drawing/2014/main" xmlns="" val="3147115521"/>
                    </a:ext>
                  </a:extLst>
                </a:gridCol>
              </a:tblGrid>
              <a:tr h="1089337">
                <a:tc>
                  <a:txBody>
                    <a:bodyPr/>
                    <a:lstStyle/>
                    <a:p>
                      <a:pP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Loan Programme</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Instalment Raised for the Quarter</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On-time collections</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Advance collections</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Arrear Collections</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Total Collections</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on-time collections as % of instalments raised</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Total Collections as a % of instalments raised</a:t>
                      </a:r>
                      <a:endParaRPr lang="en-ZA" sz="1200">
                        <a:effectLst/>
                        <a:latin typeface="Arial"/>
                        <a:ea typeface="Calibri" panose="020F0502020204030204" pitchFamily="34" charset="0"/>
                        <a:cs typeface="Arial"/>
                      </a:endParaRPr>
                    </a:p>
                  </a:txBody>
                  <a:tcPr marL="68580" marR="68580" marT="0"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3184154830"/>
                  </a:ext>
                </a:extLst>
              </a:tr>
              <a:tr h="314175">
                <a:tc gridSpan="5">
                  <a:txBody>
                    <a:bodyPr/>
                    <a:lstStyle/>
                    <a:p>
                      <a:pPr>
                        <a:lnSpc>
                          <a:spcPct val="105000"/>
                        </a:lnSpc>
                        <a:spcAft>
                          <a:spcPts val="800"/>
                        </a:spcAft>
                      </a:pPr>
                      <a:r>
                        <a:rPr lang="en-ZA" sz="1200" b="1">
                          <a:solidFill>
                            <a:srgbClr val="000000"/>
                          </a:solidFill>
                          <a:effectLst/>
                          <a:latin typeface="Arial"/>
                          <a:ea typeface="Calibri" panose="020F0502020204030204" pitchFamily="34" charset="0"/>
                          <a:cs typeface="Arial"/>
                        </a:rPr>
                        <a:t> </a:t>
                      </a:r>
                      <a:r>
                        <a:rPr lang="en-US" sz="1200" b="1">
                          <a:solidFill>
                            <a:srgbClr val="000000"/>
                          </a:solidFill>
                          <a:effectLst/>
                          <a:latin typeface="Arial"/>
                          <a:ea typeface="Calibri" panose="020F0502020204030204" pitchFamily="34" charset="0"/>
                          <a:cs typeface="Arial"/>
                        </a:rPr>
                        <a:t>Q3 FY2022- 23 Total Portfolio</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2">
                  <a:txBody>
                    <a:bodyPr/>
                    <a:lstStyle/>
                    <a:p>
                      <a:pPr algn="r">
                        <a:lnSpc>
                          <a:spcPct val="105000"/>
                        </a:lnSpc>
                        <a:spcAft>
                          <a:spcPts val="800"/>
                        </a:spcAft>
                      </a:pPr>
                      <a:r>
                        <a:rPr lang="en-ZA" sz="1200" b="1">
                          <a:solidFill>
                            <a:srgbClr val="FF0000"/>
                          </a:solidFill>
                          <a:effectLst/>
                          <a:latin typeface="Arial"/>
                          <a:ea typeface="Calibri" panose="020F0502020204030204" pitchFamily="34" charset="0"/>
                          <a:cs typeface="Arial"/>
                        </a:rPr>
                        <a:t>Target </a:t>
                      </a:r>
                      <a:endParaRPr lang="en-ZA" sz="1200">
                        <a:effectLst/>
                        <a:latin typeface="Calibri"/>
                        <a:ea typeface="Calibri" panose="020F0502020204030204" pitchFamily="34" charset="0"/>
                        <a:cs typeface="Arial" panose="020B0604020202020204" pitchFamily="34"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hMerge="1">
                  <a:txBody>
                    <a:bodyPr/>
                    <a:lstStyle/>
                    <a:p>
                      <a:endParaRPr lang="en-ZA"/>
                    </a:p>
                  </a:txBody>
                  <a:tcPr/>
                </a:tc>
                <a:tc>
                  <a:txBody>
                    <a:bodyPr/>
                    <a:lstStyle/>
                    <a:p>
                      <a:pPr algn="ctr">
                        <a:lnSpc>
                          <a:spcPct val="105000"/>
                        </a:lnSpc>
                        <a:spcAft>
                          <a:spcPts val="800"/>
                        </a:spcAft>
                        <a:tabLst>
                          <a:tab pos="900430" algn="l"/>
                        </a:tabLst>
                      </a:pPr>
                      <a:r>
                        <a:rPr lang="en-ZA" sz="1200" b="1">
                          <a:solidFill>
                            <a:srgbClr val="FF0000"/>
                          </a:solidFill>
                          <a:effectLst/>
                          <a:latin typeface="Arial"/>
                          <a:ea typeface="Calibri" panose="020F0502020204030204" pitchFamily="34" charset="0"/>
                          <a:cs typeface="Arial"/>
                        </a:rPr>
                        <a:t>87%</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extLst>
                  <a:ext uri="{0D108BD9-81ED-4DB2-BD59-A6C34878D82A}">
                    <a16:rowId xmlns:a16="http://schemas.microsoft.com/office/drawing/2014/main" xmlns="" val="643787896"/>
                  </a:ext>
                </a:extLst>
              </a:tr>
              <a:tr h="369259">
                <a:tc>
                  <a:txBody>
                    <a:bodyPr/>
                    <a:lstStyle/>
                    <a:p>
                      <a:pPr>
                        <a:lnSpc>
                          <a:spcPct val="105000"/>
                        </a:lnSpc>
                        <a:spcAft>
                          <a:spcPts val="800"/>
                        </a:spcAft>
                      </a:pPr>
                      <a:r>
                        <a:rPr lang="en-ZA" sz="1200" b="1">
                          <a:solidFill>
                            <a:srgbClr val="000000"/>
                          </a:solidFill>
                          <a:effectLst/>
                          <a:latin typeface="Arial"/>
                          <a:ea typeface="Calibri" panose="020F0502020204030204" pitchFamily="34" charset="0"/>
                          <a:cs typeface="Arial"/>
                        </a:rPr>
                        <a:t>Direct Lending </a:t>
                      </a:r>
                      <a:endParaRPr lang="en-ZA" sz="1200">
                        <a:effectLst/>
                        <a:latin typeface="Calibri"/>
                        <a:ea typeface="Calibri" panose="020F0502020204030204" pitchFamily="34" charset="0"/>
                        <a:cs typeface="Arial" panose="020B0604020202020204" pitchFamily="34"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a:solidFill>
                            <a:srgbClr val="000000"/>
                          </a:solidFill>
                          <a:effectLst/>
                          <a:latin typeface="Arial"/>
                          <a:ea typeface="Calibri" panose="020F0502020204030204" pitchFamily="34" charset="0"/>
                          <a:cs typeface="Arial"/>
                        </a:rPr>
                        <a:t>R187.2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a:solidFill>
                            <a:srgbClr val="000000"/>
                          </a:solidFill>
                          <a:effectLst/>
                          <a:latin typeface="Arial"/>
                          <a:ea typeface="Calibri" panose="020F0502020204030204" pitchFamily="34" charset="0"/>
                          <a:cs typeface="Arial"/>
                        </a:rPr>
                        <a:t>R65.7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a:solidFill>
                            <a:srgbClr val="000000"/>
                          </a:solidFill>
                          <a:effectLst/>
                          <a:latin typeface="Arial"/>
                          <a:ea typeface="Calibri" panose="020F0502020204030204" pitchFamily="34" charset="0"/>
                          <a:cs typeface="Arial"/>
                        </a:rPr>
                        <a:t>R0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a:solidFill>
                            <a:srgbClr val="000000"/>
                          </a:solidFill>
                          <a:effectLst/>
                          <a:latin typeface="Arial"/>
                          <a:ea typeface="Calibri" panose="020F0502020204030204" pitchFamily="34" charset="0"/>
                          <a:cs typeface="Arial"/>
                        </a:rPr>
                        <a:t>R20.3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AC090"/>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a:solidFill>
                            <a:srgbClr val="000000"/>
                          </a:solidFill>
                          <a:effectLst/>
                          <a:latin typeface="Arial"/>
                          <a:ea typeface="Calibri" panose="020F0502020204030204" pitchFamily="34" charset="0"/>
                          <a:cs typeface="Arial"/>
                        </a:rPr>
                        <a:t>R86.0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AC090"/>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35.1%</a:t>
                      </a:r>
                      <a:endParaRPr lang="en-ZA" sz="1200">
                        <a:effectLst/>
                        <a:latin typeface="Calibri"/>
                        <a:ea typeface="Calibri" panose="020F0502020204030204" pitchFamily="34" charset="0"/>
                        <a:cs typeface="Arial" panose="020B0604020202020204" pitchFamily="34"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46.0%</a:t>
                      </a:r>
                      <a:endParaRPr lang="en-ZA" sz="1200">
                        <a:effectLst/>
                        <a:latin typeface="Calibri"/>
                        <a:ea typeface="Calibri" panose="020F0502020204030204" pitchFamily="34" charset="0"/>
                        <a:cs typeface="Arial" panose="020B0604020202020204" pitchFamily="34" charset="0"/>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66978507"/>
                  </a:ext>
                </a:extLst>
              </a:tr>
              <a:tr h="436218">
                <a:tc>
                  <a:txBody>
                    <a:bodyPr/>
                    <a:lstStyle/>
                    <a:p>
                      <a:pP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Wholesale Lending</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R60.9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R104.8m</a:t>
                      </a:r>
                      <a:r>
                        <a:rPr lang="en-ZA" sz="1200" b="0" i="0" u="none" strike="noStrike" noProof="0">
                          <a:solidFill>
                            <a:srgbClr val="000000"/>
                          </a:solidFill>
                          <a:effectLst/>
                          <a:latin typeface="Arial"/>
                        </a:rPr>
                        <a:t>*</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R0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R5.0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R109.8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172.2%</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a:ea typeface="Calibri" panose="020F0502020204030204" pitchFamily="34" charset="0"/>
                          <a:cs typeface="Arial"/>
                        </a:rPr>
                        <a:t>180.4%</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extLst>
                  <a:ext uri="{0D108BD9-81ED-4DB2-BD59-A6C34878D82A}">
                    <a16:rowId xmlns:a16="http://schemas.microsoft.com/office/drawing/2014/main" xmlns="" val="2473987850"/>
                  </a:ext>
                </a:extLst>
              </a:tr>
              <a:tr h="369259">
                <a:tc>
                  <a:txBody>
                    <a:bodyPr/>
                    <a:lstStyle/>
                    <a:p>
                      <a:pP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Total</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5000"/>
                        </a:lnSpc>
                        <a:spcAft>
                          <a:spcPts val="800"/>
                        </a:spcAft>
                        <a:tabLst>
                          <a:tab pos="900430" algn="l"/>
                        </a:tabLst>
                      </a:pPr>
                      <a:r>
                        <a:rPr lang="en-ZA" sz="1200" b="1">
                          <a:solidFill>
                            <a:srgbClr val="000000"/>
                          </a:solidFill>
                          <a:effectLst/>
                          <a:latin typeface="Arial"/>
                          <a:ea typeface="Calibri" panose="020F0502020204030204" pitchFamily="34" charset="0"/>
                          <a:cs typeface="Arial"/>
                        </a:rPr>
                        <a:t>R248.1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a:solidFill>
                            <a:srgbClr val="000000"/>
                          </a:solidFill>
                          <a:effectLst/>
                          <a:latin typeface="Arial"/>
                          <a:ea typeface="Calibri" panose="020F0502020204030204" pitchFamily="34" charset="0"/>
                          <a:cs typeface="Arial"/>
                        </a:rPr>
                        <a:t>R170.5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a:solidFill>
                            <a:srgbClr val="000000"/>
                          </a:solidFill>
                          <a:effectLst/>
                          <a:latin typeface="Arial"/>
                          <a:ea typeface="Calibri" panose="020F0502020204030204" pitchFamily="34" charset="0"/>
                          <a:cs typeface="Arial"/>
                        </a:rPr>
                        <a:t>R0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a:solidFill>
                            <a:srgbClr val="000000"/>
                          </a:solidFill>
                          <a:effectLst/>
                          <a:latin typeface="Arial"/>
                          <a:ea typeface="Calibri" panose="020F0502020204030204" pitchFamily="34" charset="0"/>
                          <a:cs typeface="Arial"/>
                        </a:rPr>
                        <a:t>R25.4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a:solidFill>
                            <a:srgbClr val="000000"/>
                          </a:solidFill>
                          <a:effectLst/>
                          <a:latin typeface="Arial"/>
                          <a:ea typeface="Calibri" panose="020F0502020204030204" pitchFamily="34" charset="0"/>
                          <a:cs typeface="Arial"/>
                        </a:rPr>
                        <a:t>R195.8m</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a:solidFill>
                            <a:srgbClr val="000000"/>
                          </a:solidFill>
                          <a:effectLst/>
                          <a:latin typeface="Arial"/>
                          <a:ea typeface="Calibri" panose="020F0502020204030204" pitchFamily="34" charset="0"/>
                          <a:cs typeface="Arial"/>
                        </a:rPr>
                        <a:t>68.7%</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a:solidFill>
                            <a:srgbClr val="000000"/>
                          </a:solidFill>
                          <a:effectLst/>
                          <a:latin typeface="Arial"/>
                          <a:ea typeface="Calibri" panose="020F0502020204030204" pitchFamily="34" charset="0"/>
                          <a:cs typeface="Arial"/>
                        </a:rPr>
                        <a:t>78.9%</a:t>
                      </a:r>
                      <a:endParaRPr lang="en-ZA" sz="1200">
                        <a:effectLst/>
                        <a:latin typeface="Arial"/>
                        <a:ea typeface="Calibri" panose="020F0502020204030204" pitchFamily="34" charset="0"/>
                        <a:cs typeface="Arial"/>
                      </a:endParaRPr>
                    </a:p>
                  </a:txBody>
                  <a:tcPr marL="68580" marR="68580" marT="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3743528296"/>
                  </a:ext>
                </a:extLst>
              </a:tr>
            </a:tbl>
          </a:graphicData>
        </a:graphic>
      </p:graphicFrame>
      <p:sp>
        <p:nvSpPr>
          <p:cNvPr id="10" name="TextBox 9">
            <a:extLst>
              <a:ext uri="{FF2B5EF4-FFF2-40B4-BE49-F238E27FC236}">
                <a16:creationId xmlns:a16="http://schemas.microsoft.com/office/drawing/2014/main" xmlns="" id="{33996B5D-18C0-C16B-8393-FD92B9A61B02}"/>
              </a:ext>
            </a:extLst>
          </p:cNvPr>
          <p:cNvSpPr txBox="1"/>
          <p:nvPr/>
        </p:nvSpPr>
        <p:spPr>
          <a:xfrm>
            <a:off x="267633" y="3340867"/>
            <a:ext cx="8608736" cy="430887"/>
          </a:xfrm>
          <a:prstGeom prst="rect">
            <a:avLst/>
          </a:prstGeom>
          <a:noFill/>
        </p:spPr>
        <p:txBody>
          <a:bodyPr wrap="square" lIns="91440" tIns="45720" rIns="91440" bIns="45720" anchor="t">
            <a:spAutoFit/>
          </a:bodyPr>
          <a:lstStyle/>
          <a:p>
            <a:r>
              <a:rPr lang="en-US" sz="1100">
                <a:solidFill>
                  <a:schemeClr val="tx2"/>
                </a:solidFill>
                <a:latin typeface="Arial"/>
                <a:cs typeface="Arial"/>
              </a:rPr>
              <a:t>* R12 m and R30 m received from Phakamani and </a:t>
            </a:r>
            <a:r>
              <a:rPr lang="pt-BR" sz="1100">
                <a:solidFill>
                  <a:schemeClr val="tx2"/>
                </a:solidFill>
                <a:latin typeface="Arial"/>
                <a:cs typeface="Arial"/>
              </a:rPr>
              <a:t>Micro finance (Charl Van Vuuren) respectively in Q3. </a:t>
            </a:r>
            <a:r>
              <a:rPr lang="pt-BR" sz="1100" err="1">
                <a:solidFill>
                  <a:schemeClr val="tx2"/>
                </a:solidFill>
                <a:latin typeface="Arial"/>
                <a:cs typeface="Arial"/>
              </a:rPr>
              <a:t>These</a:t>
            </a:r>
            <a:r>
              <a:rPr lang="pt-BR" sz="1100">
                <a:solidFill>
                  <a:schemeClr val="tx2"/>
                </a:solidFill>
                <a:latin typeface="Arial"/>
                <a:cs typeface="Arial"/>
              </a:rPr>
              <a:t> are </a:t>
            </a:r>
            <a:r>
              <a:rPr lang="pt-BR" sz="1100" err="1">
                <a:solidFill>
                  <a:schemeClr val="tx2"/>
                </a:solidFill>
                <a:latin typeface="Arial"/>
                <a:cs typeface="Arial"/>
              </a:rPr>
              <a:t>revolving</a:t>
            </a:r>
            <a:r>
              <a:rPr lang="pt-BR" sz="1100">
                <a:solidFill>
                  <a:schemeClr val="tx2"/>
                </a:solidFill>
                <a:latin typeface="Arial"/>
                <a:cs typeface="Arial"/>
              </a:rPr>
              <a:t> </a:t>
            </a:r>
            <a:r>
              <a:rPr lang="pt-BR" sz="1100" err="1">
                <a:solidFill>
                  <a:schemeClr val="tx2"/>
                </a:solidFill>
                <a:latin typeface="Arial"/>
                <a:cs typeface="Arial"/>
              </a:rPr>
              <a:t>facilities</a:t>
            </a:r>
            <a:r>
              <a:rPr lang="pt-BR" sz="1100">
                <a:solidFill>
                  <a:schemeClr val="tx2"/>
                </a:solidFill>
                <a:latin typeface="Arial"/>
                <a:cs typeface="Arial"/>
              </a:rPr>
              <a:t> </a:t>
            </a:r>
            <a:r>
              <a:rPr lang="pt-BR" sz="1100" err="1">
                <a:solidFill>
                  <a:schemeClr val="tx2"/>
                </a:solidFill>
                <a:latin typeface="Arial"/>
                <a:cs typeface="Arial"/>
              </a:rPr>
              <a:t>with</a:t>
            </a:r>
            <a:r>
              <a:rPr lang="pt-BR" sz="1100">
                <a:solidFill>
                  <a:schemeClr val="tx2"/>
                </a:solidFill>
                <a:latin typeface="Arial"/>
                <a:cs typeface="Arial"/>
              </a:rPr>
              <a:t> </a:t>
            </a:r>
            <a:r>
              <a:rPr lang="pt-BR" sz="1100" err="1">
                <a:solidFill>
                  <a:schemeClr val="tx2"/>
                </a:solidFill>
                <a:latin typeface="Arial"/>
                <a:cs typeface="Arial"/>
              </a:rPr>
              <a:t>sefa</a:t>
            </a:r>
            <a:r>
              <a:rPr lang="pt-BR" sz="1100">
                <a:solidFill>
                  <a:schemeClr val="tx2"/>
                </a:solidFill>
                <a:latin typeface="Arial"/>
                <a:cs typeface="Arial"/>
              </a:rPr>
              <a:t>, </a:t>
            </a:r>
            <a:r>
              <a:rPr lang="pt-BR" sz="1100" err="1">
                <a:solidFill>
                  <a:schemeClr val="tx2"/>
                </a:solidFill>
                <a:latin typeface="Arial"/>
                <a:cs typeface="Arial"/>
              </a:rPr>
              <a:t>and</a:t>
            </a:r>
            <a:r>
              <a:rPr lang="pt-BR" sz="1100">
                <a:solidFill>
                  <a:schemeClr val="tx2"/>
                </a:solidFill>
                <a:latin typeface="Arial"/>
                <a:cs typeface="Arial"/>
              </a:rPr>
              <a:t> </a:t>
            </a:r>
            <a:r>
              <a:rPr lang="pt-BR" sz="1100" err="1">
                <a:solidFill>
                  <a:schemeClr val="tx2"/>
                </a:solidFill>
                <a:latin typeface="Arial"/>
                <a:cs typeface="Arial"/>
              </a:rPr>
              <a:t>clients</a:t>
            </a:r>
            <a:r>
              <a:rPr lang="pt-BR" sz="1100">
                <a:solidFill>
                  <a:schemeClr val="tx2"/>
                </a:solidFill>
                <a:latin typeface="Arial"/>
                <a:cs typeface="Arial"/>
              </a:rPr>
              <a:t> </a:t>
            </a:r>
            <a:r>
              <a:rPr lang="pt-BR" sz="1100" err="1">
                <a:solidFill>
                  <a:schemeClr val="tx2"/>
                </a:solidFill>
                <a:latin typeface="Arial"/>
                <a:cs typeface="Arial"/>
              </a:rPr>
              <a:t>repay</a:t>
            </a:r>
            <a:r>
              <a:rPr lang="pt-BR" sz="1100">
                <a:solidFill>
                  <a:schemeClr val="tx2"/>
                </a:solidFill>
                <a:latin typeface="Arial"/>
                <a:cs typeface="Arial"/>
              </a:rPr>
              <a:t> </a:t>
            </a:r>
            <a:r>
              <a:rPr lang="pt-BR" sz="1100" err="1">
                <a:solidFill>
                  <a:schemeClr val="tx2"/>
                </a:solidFill>
                <a:latin typeface="Arial"/>
                <a:cs typeface="Arial"/>
              </a:rPr>
              <a:t>the</a:t>
            </a:r>
            <a:r>
              <a:rPr lang="pt-BR" sz="1100">
                <a:solidFill>
                  <a:schemeClr val="tx2"/>
                </a:solidFill>
                <a:latin typeface="Arial"/>
                <a:cs typeface="Arial"/>
              </a:rPr>
              <a:t> capital </a:t>
            </a:r>
            <a:r>
              <a:rPr lang="pt-BR" sz="1100" err="1">
                <a:solidFill>
                  <a:schemeClr val="tx2"/>
                </a:solidFill>
                <a:latin typeface="Arial"/>
                <a:cs typeface="Arial"/>
              </a:rPr>
              <a:t>based</a:t>
            </a:r>
            <a:r>
              <a:rPr lang="pt-BR" sz="1100">
                <a:solidFill>
                  <a:schemeClr val="tx2"/>
                </a:solidFill>
                <a:latin typeface="Arial"/>
                <a:cs typeface="Arial"/>
              </a:rPr>
              <a:t> </a:t>
            </a:r>
            <a:r>
              <a:rPr lang="pt-BR" sz="1100" err="1">
                <a:solidFill>
                  <a:schemeClr val="tx2"/>
                </a:solidFill>
                <a:latin typeface="Arial"/>
                <a:cs typeface="Arial"/>
              </a:rPr>
              <a:t>on</a:t>
            </a:r>
            <a:r>
              <a:rPr lang="pt-BR" sz="1100">
                <a:solidFill>
                  <a:schemeClr val="tx2"/>
                </a:solidFill>
                <a:latin typeface="Arial"/>
                <a:cs typeface="Arial"/>
              </a:rPr>
              <a:t> </a:t>
            </a:r>
            <a:r>
              <a:rPr lang="pt-BR" sz="1100" err="1">
                <a:solidFill>
                  <a:schemeClr val="tx2"/>
                </a:solidFill>
                <a:latin typeface="Arial"/>
                <a:cs typeface="Arial"/>
              </a:rPr>
              <a:t>their</a:t>
            </a:r>
            <a:r>
              <a:rPr lang="pt-BR" sz="1100">
                <a:solidFill>
                  <a:schemeClr val="tx2"/>
                </a:solidFill>
                <a:latin typeface="Arial"/>
                <a:cs typeface="Arial"/>
              </a:rPr>
              <a:t> </a:t>
            </a:r>
            <a:r>
              <a:rPr lang="pt-BR" sz="1100" err="1">
                <a:solidFill>
                  <a:schemeClr val="tx2"/>
                </a:solidFill>
                <a:latin typeface="Arial"/>
                <a:cs typeface="Arial"/>
              </a:rPr>
              <a:t>requirements</a:t>
            </a:r>
            <a:r>
              <a:rPr lang="pt-BR" sz="1100">
                <a:solidFill>
                  <a:schemeClr val="tx2"/>
                </a:solidFill>
                <a:latin typeface="Arial"/>
                <a:cs typeface="Arial"/>
              </a:rPr>
              <a:t> </a:t>
            </a:r>
            <a:r>
              <a:rPr lang="pt-BR" sz="1100" err="1">
                <a:solidFill>
                  <a:schemeClr val="tx2"/>
                </a:solidFill>
                <a:latin typeface="Arial"/>
                <a:cs typeface="Arial"/>
              </a:rPr>
              <a:t>and</a:t>
            </a:r>
            <a:r>
              <a:rPr lang="pt-BR" sz="1100">
                <a:solidFill>
                  <a:schemeClr val="tx2"/>
                </a:solidFill>
                <a:latin typeface="Arial"/>
                <a:cs typeface="Arial"/>
              </a:rPr>
              <a:t> </a:t>
            </a:r>
            <a:r>
              <a:rPr lang="pt-BR" sz="1100" err="1">
                <a:solidFill>
                  <a:schemeClr val="tx2"/>
                </a:solidFill>
                <a:latin typeface="Arial"/>
                <a:cs typeface="Arial"/>
              </a:rPr>
              <a:t>not</a:t>
            </a:r>
            <a:r>
              <a:rPr lang="pt-BR" sz="1100">
                <a:solidFill>
                  <a:schemeClr val="tx2"/>
                </a:solidFill>
                <a:latin typeface="Arial"/>
                <a:cs typeface="Arial"/>
              </a:rPr>
              <a:t> in </a:t>
            </a:r>
            <a:r>
              <a:rPr lang="pt-BR" sz="1100" err="1">
                <a:solidFill>
                  <a:schemeClr val="tx2"/>
                </a:solidFill>
                <a:latin typeface="Arial"/>
                <a:cs typeface="Arial"/>
              </a:rPr>
              <a:t>line</a:t>
            </a:r>
            <a:r>
              <a:rPr lang="pt-BR" sz="1100">
                <a:solidFill>
                  <a:schemeClr val="tx2"/>
                </a:solidFill>
                <a:latin typeface="Arial"/>
                <a:cs typeface="Arial"/>
              </a:rPr>
              <a:t> </a:t>
            </a:r>
            <a:r>
              <a:rPr lang="pt-BR" sz="1100" err="1">
                <a:solidFill>
                  <a:schemeClr val="tx2"/>
                </a:solidFill>
                <a:latin typeface="Arial"/>
                <a:cs typeface="Arial"/>
              </a:rPr>
              <a:t>with</a:t>
            </a:r>
            <a:r>
              <a:rPr lang="pt-BR" sz="1100">
                <a:solidFill>
                  <a:schemeClr val="tx2"/>
                </a:solidFill>
                <a:latin typeface="Arial"/>
                <a:cs typeface="Arial"/>
              </a:rPr>
              <a:t> </a:t>
            </a:r>
            <a:r>
              <a:rPr lang="pt-BR" sz="1100" err="1">
                <a:solidFill>
                  <a:schemeClr val="tx2"/>
                </a:solidFill>
                <a:latin typeface="Arial"/>
                <a:cs typeface="Arial"/>
              </a:rPr>
              <a:t>the</a:t>
            </a:r>
            <a:r>
              <a:rPr lang="pt-BR" sz="1100">
                <a:solidFill>
                  <a:schemeClr val="tx2"/>
                </a:solidFill>
                <a:latin typeface="Arial"/>
                <a:cs typeface="Arial"/>
              </a:rPr>
              <a:t> </a:t>
            </a:r>
            <a:r>
              <a:rPr lang="pt-BR" sz="1100" err="1">
                <a:solidFill>
                  <a:schemeClr val="tx2"/>
                </a:solidFill>
                <a:latin typeface="Arial"/>
                <a:cs typeface="Arial"/>
              </a:rPr>
              <a:t>loan</a:t>
            </a:r>
            <a:r>
              <a:rPr lang="pt-BR" sz="1100">
                <a:solidFill>
                  <a:schemeClr val="tx2"/>
                </a:solidFill>
                <a:latin typeface="Arial"/>
                <a:cs typeface="Arial"/>
              </a:rPr>
              <a:t> </a:t>
            </a:r>
            <a:r>
              <a:rPr lang="pt-BR" sz="1100" err="1">
                <a:solidFill>
                  <a:schemeClr val="tx2"/>
                </a:solidFill>
                <a:latin typeface="Arial"/>
                <a:cs typeface="Arial"/>
              </a:rPr>
              <a:t>agreement</a:t>
            </a:r>
            <a:r>
              <a:rPr lang="pt-BR" sz="1100">
                <a:solidFill>
                  <a:schemeClr val="tx2"/>
                </a:solidFill>
                <a:latin typeface="Arial"/>
                <a:cs typeface="Arial"/>
              </a:rPr>
              <a:t>..</a:t>
            </a:r>
            <a:endParaRPr lang="en-US" sz="1100">
              <a:solidFill>
                <a:schemeClr val="tx2"/>
              </a:solidFill>
              <a:latin typeface="Arial"/>
              <a:cs typeface="Arial"/>
            </a:endParaRPr>
          </a:p>
        </p:txBody>
      </p:sp>
    </p:spTree>
    <p:extLst>
      <p:ext uri="{BB962C8B-B14F-4D97-AF65-F5344CB8AC3E}">
        <p14:creationId xmlns:p14="http://schemas.microsoft.com/office/powerpoint/2010/main" xmlns="" val="167837952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3</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Financial Performance</a:t>
            </a:r>
          </a:p>
        </p:txBody>
      </p:sp>
      <p:sp>
        <p:nvSpPr>
          <p:cNvPr id="13" name="Text Box 5">
            <a:extLst>
              <a:ext uri="{FF2B5EF4-FFF2-40B4-BE49-F238E27FC236}">
                <a16:creationId xmlns:a16="http://schemas.microsoft.com/office/drawing/2014/main" xmlns="" id="{AC1BC541-A7E9-4173-A223-CD5197866465}"/>
              </a:ext>
            </a:extLst>
          </p:cNvPr>
          <p:cNvSpPr txBox="1">
            <a:spLocks noChangeArrowheads="1"/>
          </p:cNvSpPr>
          <p:nvPr/>
        </p:nvSpPr>
        <p:spPr bwMode="gray">
          <a:xfrm>
            <a:off x="196970" y="5734801"/>
            <a:ext cx="8750060" cy="4564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lvl1pPr algn="l" eaLnBrk="0" hangingPunct="0">
              <a:defRPr sz="2400">
                <a:solidFill>
                  <a:schemeClr val="tx1"/>
                </a:solidFill>
                <a:latin typeface="Arial" panose="020B0604020202020204" pitchFamily="34" charset="0"/>
                <a:ea typeface="Arial Unicode MS" pitchFamily="34" charset="-128"/>
              </a:defRPr>
            </a:lvl1pPr>
            <a:lvl2pPr marL="238125" indent="-236538"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just">
              <a:lnSpc>
                <a:spcPct val="107000"/>
              </a:lnSpc>
              <a:spcAft>
                <a:spcPts val="800"/>
              </a:spcAft>
              <a:tabLst>
                <a:tab pos="900430" algn="l"/>
              </a:tabLst>
            </a:pPr>
            <a:r>
              <a:rPr lang="en-ZA" sz="600" b="1">
                <a:solidFill>
                  <a:srgbClr val="FF0000"/>
                </a:solidFill>
                <a:effectLst/>
                <a:ea typeface="Calibri" panose="020F0502020204030204" pitchFamily="34" charset="0"/>
                <a:cs typeface="Arial" panose="020B0604020202020204" pitchFamily="34" charset="0"/>
              </a:rPr>
              <a:t>*</a:t>
            </a:r>
            <a:r>
              <a:rPr lang="en-ZA" sz="600" b="1">
                <a:solidFill>
                  <a:srgbClr val="2B579A"/>
                </a:solidFill>
                <a:effectLst/>
                <a:ea typeface="Calibri" panose="020F0502020204030204" pitchFamily="34" charset="0"/>
                <a:cs typeface="Arial" panose="020B0604020202020204" pitchFamily="34" charset="0"/>
              </a:rPr>
              <a:t> </a:t>
            </a:r>
            <a:r>
              <a:rPr lang="en-ZA" sz="600" b="1">
                <a:solidFill>
                  <a:srgbClr val="FD6B00"/>
                </a:solidFill>
                <a:effectLst/>
                <a:ea typeface="Calibri" panose="020F0502020204030204" pitchFamily="34" charset="0"/>
                <a:cs typeface="Arial" panose="020B0604020202020204" pitchFamily="34" charset="0"/>
              </a:rPr>
              <a:t>Cost to income ratios exclude finance charges on the IDC loan, impairments and income tax and includes the MTEF allocation.</a:t>
            </a:r>
            <a:r>
              <a:rPr lang="en-ZA" sz="600">
                <a:solidFill>
                  <a:srgbClr val="FD6B00"/>
                </a:solidFill>
                <a:effectLst/>
                <a:ea typeface="Calibri" panose="020F0502020204030204" pitchFamily="34" charset="0"/>
                <a:cs typeface="Arial" panose="020B0604020202020204" pitchFamily="34" charset="0"/>
              </a:rPr>
              <a:t> </a:t>
            </a:r>
          </a:p>
          <a:p>
            <a:pPr algn="just">
              <a:lnSpc>
                <a:spcPct val="107000"/>
              </a:lnSpc>
              <a:spcAft>
                <a:spcPts val="800"/>
              </a:spcAft>
              <a:tabLst>
                <a:tab pos="900430" algn="l"/>
              </a:tabLst>
            </a:pPr>
            <a:r>
              <a:rPr lang="en-US" altLang="en-US" sz="600" b="1">
                <a:solidFill>
                  <a:srgbClr val="FF0000"/>
                </a:solidFill>
                <a:cs typeface="Arial" panose="020B0604020202020204" pitchFamily="34" charset="0"/>
              </a:rPr>
              <a:t>**</a:t>
            </a:r>
            <a:r>
              <a:rPr lang="en-US" altLang="en-US" sz="600" b="1">
                <a:solidFill>
                  <a:srgbClr val="2B579A"/>
                </a:solidFill>
                <a:cs typeface="Arial" panose="020B0604020202020204" pitchFamily="34" charset="0"/>
              </a:rPr>
              <a:t> </a:t>
            </a:r>
            <a:r>
              <a:rPr lang="en-US" altLang="en-US" sz="600" b="1">
                <a:solidFill>
                  <a:srgbClr val="FD6B00"/>
                </a:solidFill>
                <a:cs typeface="Arial" panose="020B0604020202020204" pitchFamily="34" charset="0"/>
              </a:rPr>
              <a:t>Accumulated Impairment provision excluding Direct Lending disbursement prior to the 1st of April 2016</a:t>
            </a:r>
            <a:endParaRPr lang="en-ZA" sz="600" b="1">
              <a:solidFill>
                <a:srgbClr val="FD6B00"/>
              </a:solidFill>
              <a:cs typeface="Arial" panose="020B0604020202020204" pitchFamily="34" charset="0"/>
            </a:endParaRPr>
          </a:p>
          <a:p>
            <a:pPr lvl="1" eaLnBrk="1" hangingPunct="1">
              <a:lnSpc>
                <a:spcPct val="0"/>
              </a:lnSpc>
              <a:buClr>
                <a:srgbClr val="F0AB00"/>
              </a:buClr>
            </a:pPr>
            <a:endParaRPr lang="en-US" altLang="en-US" sz="1600">
              <a:solidFill>
                <a:schemeClr val="hlink"/>
              </a:solidFill>
              <a:cs typeface="Arial" panose="020B0604020202020204" pitchFamily="34" charset="0"/>
            </a:endParaRPr>
          </a:p>
        </p:txBody>
      </p:sp>
      <p:graphicFrame>
        <p:nvGraphicFramePr>
          <p:cNvPr id="3" name="Table 2">
            <a:extLst>
              <a:ext uri="{FF2B5EF4-FFF2-40B4-BE49-F238E27FC236}">
                <a16:creationId xmlns:a16="http://schemas.microsoft.com/office/drawing/2014/main" xmlns="" id="{212AEE4F-C155-E33D-3F3D-C05EE2805E3A}"/>
              </a:ext>
            </a:extLst>
          </p:cNvPr>
          <p:cNvGraphicFramePr>
            <a:graphicFrameLocks noGrp="1"/>
          </p:cNvGraphicFramePr>
          <p:nvPr>
            <p:extLst>
              <p:ext uri="{D42A27DB-BD31-4B8C-83A1-F6EECF244321}">
                <p14:modId xmlns:p14="http://schemas.microsoft.com/office/powerpoint/2010/main" xmlns="" val="2356278417"/>
              </p:ext>
            </p:extLst>
          </p:nvPr>
        </p:nvGraphicFramePr>
        <p:xfrm>
          <a:off x="23444" y="771547"/>
          <a:ext cx="8750062" cy="1933088"/>
        </p:xfrm>
        <a:graphic>
          <a:graphicData uri="http://schemas.openxmlformats.org/drawingml/2006/table">
            <a:tbl>
              <a:tblPr firstRow="1" firstCol="1" bandRow="1">
                <a:tableStyleId>{8799B23B-EC83-4686-B30A-512413B5E67A}</a:tableStyleId>
              </a:tblPr>
              <a:tblGrid>
                <a:gridCol w="5002523">
                  <a:extLst>
                    <a:ext uri="{9D8B030D-6E8A-4147-A177-3AD203B41FA5}">
                      <a16:colId xmlns:a16="http://schemas.microsoft.com/office/drawing/2014/main" xmlns="" val="1703270767"/>
                    </a:ext>
                  </a:extLst>
                </a:gridCol>
                <a:gridCol w="1676820">
                  <a:extLst>
                    <a:ext uri="{9D8B030D-6E8A-4147-A177-3AD203B41FA5}">
                      <a16:colId xmlns:a16="http://schemas.microsoft.com/office/drawing/2014/main" xmlns="" val="3265139708"/>
                    </a:ext>
                  </a:extLst>
                </a:gridCol>
                <a:gridCol w="2070719">
                  <a:extLst>
                    <a:ext uri="{9D8B030D-6E8A-4147-A177-3AD203B41FA5}">
                      <a16:colId xmlns:a16="http://schemas.microsoft.com/office/drawing/2014/main" xmlns="" val="1679510522"/>
                    </a:ext>
                  </a:extLst>
                </a:gridCol>
              </a:tblGrid>
              <a:tr h="419668">
                <a:tc>
                  <a:txBody>
                    <a:bodyPr/>
                    <a:lstStyle/>
                    <a:p>
                      <a:pPr>
                        <a:lnSpc>
                          <a:spcPct val="107000"/>
                        </a:lnSpc>
                        <a:spcAft>
                          <a:spcPts val="800"/>
                        </a:spcAft>
                      </a:pPr>
                      <a:r>
                        <a:rPr lang="en-ZA" sz="1200" b="1">
                          <a:effectLst/>
                          <a:latin typeface="Arial" panose="020B0604020202020204" pitchFamily="34" charset="0"/>
                          <a:cs typeface="Arial" panose="020B0604020202020204" pitchFamily="34" charset="0"/>
                        </a:rPr>
                        <a:t>Strategic Indicator</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800"/>
                        </a:spcAft>
                      </a:pPr>
                      <a:r>
                        <a:rPr lang="en-ZA" sz="1200" b="1">
                          <a:effectLst/>
                          <a:latin typeface="Arial" panose="020B0604020202020204" pitchFamily="34" charset="0"/>
                          <a:cs typeface="Arial" panose="020B0604020202020204" pitchFamily="34" charset="0"/>
                        </a:rPr>
                        <a:t>Annual Target</a:t>
                      </a:r>
                      <a:endParaRPr lang="en-ZA" sz="1200" b="1">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800"/>
                        </a:spcAft>
                      </a:pPr>
                      <a:r>
                        <a:rPr lang="en-ZA" sz="1200" b="1">
                          <a:effectLst/>
                          <a:latin typeface="Arial" panose="020B0604020202020204" pitchFamily="34" charset="0"/>
                          <a:cs typeface="Arial" panose="020B0604020202020204" pitchFamily="34" charset="0"/>
                        </a:rPr>
                        <a:t>Q3 Achieved</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695235256"/>
                  </a:ext>
                </a:extLst>
              </a:tr>
              <a:tr h="385551">
                <a:tc>
                  <a:txBody>
                    <a:bodyPr/>
                    <a:lstStyle/>
                    <a:p>
                      <a:pPr>
                        <a:lnSpc>
                          <a:spcPct val="107000"/>
                        </a:lnSpc>
                        <a:spcAft>
                          <a:spcPts val="800"/>
                        </a:spcAft>
                      </a:pPr>
                      <a:r>
                        <a:rPr lang="en-ZA" sz="1200" b="1">
                          <a:solidFill>
                            <a:schemeClr val="bg1"/>
                          </a:solidFill>
                          <a:effectLst/>
                          <a:latin typeface="Arial" panose="020B0604020202020204" pitchFamily="34" charset="0"/>
                          <a:cs typeface="Arial" panose="020B0604020202020204" pitchFamily="34" charset="0"/>
                        </a:rPr>
                        <a:t>Cost-to-income ratio before impairments*</a:t>
                      </a:r>
                      <a:endParaRPr lang="en-ZA"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3690"/>
                      </a:srgbClr>
                    </a:solidFill>
                  </a:tcPr>
                </a:tc>
                <a:tc>
                  <a:txBody>
                    <a:bodyPr/>
                    <a:lstStyle/>
                    <a:p>
                      <a:pPr algn="ctr">
                        <a:lnSpc>
                          <a:spcPct val="107000"/>
                        </a:lnSpc>
                        <a:spcAft>
                          <a:spcPts val="800"/>
                        </a:spcAft>
                      </a:pPr>
                      <a:r>
                        <a:rPr lang="en-ZA" sz="1200">
                          <a:solidFill>
                            <a:schemeClr val="bg1"/>
                          </a:solidFill>
                          <a:effectLst/>
                          <a:latin typeface="Arial" panose="020B0604020202020204" pitchFamily="34" charset="0"/>
                          <a:cs typeface="Arial" panose="020B0604020202020204" pitchFamily="34" charset="0"/>
                        </a:rPr>
                        <a:t>87%</a:t>
                      </a:r>
                      <a:endParaRPr lang="en-ZA"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3690"/>
                      </a:srgbClr>
                    </a:solidFill>
                  </a:tcPr>
                </a:tc>
                <a:tc>
                  <a:txBody>
                    <a:bodyPr/>
                    <a:lstStyle/>
                    <a:p>
                      <a:pPr algn="ctr">
                        <a:lnSpc>
                          <a:spcPct val="107000"/>
                        </a:lnSpc>
                        <a:spcAft>
                          <a:spcPts val="800"/>
                        </a:spcAft>
                      </a:pPr>
                      <a:r>
                        <a:rPr lang="en-ZA" sz="1200">
                          <a:solidFill>
                            <a:schemeClr val="bg1"/>
                          </a:solidFill>
                          <a:effectLst/>
                          <a:latin typeface="Arial" panose="020B0604020202020204" pitchFamily="34" charset="0"/>
                          <a:cs typeface="Arial" panose="020B0604020202020204" pitchFamily="34" charset="0"/>
                        </a:rPr>
                        <a:t>62%</a:t>
                      </a:r>
                      <a:endParaRPr lang="en-ZA"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7144"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3690"/>
                      </a:srgbClr>
                    </a:solidFill>
                  </a:tcPr>
                </a:tc>
                <a:extLst>
                  <a:ext uri="{0D108BD9-81ED-4DB2-BD59-A6C34878D82A}">
                    <a16:rowId xmlns:a16="http://schemas.microsoft.com/office/drawing/2014/main" xmlns="" val="3851658658"/>
                  </a:ext>
                </a:extLst>
              </a:tr>
              <a:tr h="536715">
                <a:tc>
                  <a:txBody>
                    <a:bodyPr/>
                    <a:lstStyle/>
                    <a:p>
                      <a:pPr>
                        <a:lnSpc>
                          <a:spcPct val="107000"/>
                        </a:lnSpc>
                        <a:spcAft>
                          <a:spcPts val="800"/>
                        </a:spcAft>
                      </a:pPr>
                      <a:r>
                        <a:rPr lang="en-GB" sz="1200" b="1">
                          <a:effectLst/>
                          <a:latin typeface="Arial" panose="020B0604020202020204" pitchFamily="34" charset="0"/>
                          <a:cs typeface="Arial" panose="020B0604020202020204" pitchFamily="34" charset="0"/>
                        </a:rPr>
                        <a:t>Accumulated Impairment provision as a percentage of total loans and advances (excluding Direct Lending disbursement prior to the 1st of April 2016) </a:t>
                      </a:r>
                      <a:r>
                        <a:rPr lang="en-ZA" sz="1200" b="1">
                          <a:solidFill>
                            <a:srgbClr val="FF0000"/>
                          </a:solidFill>
                          <a:effectLst/>
                          <a:latin typeface="Arial" panose="020B0604020202020204" pitchFamily="34" charset="0"/>
                          <a:cs typeface="+mn-cs"/>
                        </a:rPr>
                        <a:t>**</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7000"/>
                        </a:lnSpc>
                        <a:spcAft>
                          <a:spcPts val="800"/>
                        </a:spcAft>
                      </a:pPr>
                      <a:r>
                        <a:rPr lang="en-ZA" sz="1200">
                          <a:effectLst/>
                          <a:latin typeface="Arial" panose="020B0604020202020204" pitchFamily="34" charset="0"/>
                          <a:cs typeface="Arial" panose="020B0604020202020204" pitchFamily="34" charset="0"/>
                        </a:rPr>
                        <a:t>38%</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7000"/>
                        </a:lnSpc>
                        <a:spcAft>
                          <a:spcPts val="800"/>
                        </a:spcAft>
                      </a:pPr>
                      <a:r>
                        <a:rPr lang="en-ZA" sz="1200">
                          <a:effectLst/>
                          <a:latin typeface="Arial" panose="020B0604020202020204" pitchFamily="34" charset="0"/>
                          <a:cs typeface="Arial" panose="020B0604020202020204" pitchFamily="34" charset="0"/>
                        </a:rPr>
                        <a:t>42.7%</a:t>
                      </a:r>
                      <a:endParaRPr lang="en-ZA" sz="1200">
                        <a:effectLst/>
                        <a:latin typeface="Arial" panose="020B0604020202020204" pitchFamily="34" charset="0"/>
                        <a:ea typeface="Calibri" panose="020F0502020204030204" pitchFamily="34" charset="0"/>
                        <a:cs typeface="Arial" panose="020B0604020202020204" pitchFamily="34" charset="0"/>
                      </a:endParaRPr>
                    </a:p>
                  </a:txBody>
                  <a:tcPr marL="51435" marR="51435" marT="7144"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823887641"/>
                  </a:ext>
                </a:extLst>
              </a:tr>
              <a:tr h="547918">
                <a:tc>
                  <a:txBody>
                    <a:bodyPr/>
                    <a:lstStyle/>
                    <a:p>
                      <a:pPr>
                        <a:lnSpc>
                          <a:spcPct val="107000"/>
                        </a:lnSpc>
                        <a:spcAft>
                          <a:spcPts val="800"/>
                        </a:spcAft>
                      </a:pPr>
                      <a:r>
                        <a:rPr lang="en-GB" sz="1200" b="1">
                          <a:solidFill>
                            <a:schemeClr val="bg1"/>
                          </a:solidFill>
                          <a:effectLst/>
                          <a:latin typeface="Arial" panose="020B0604020202020204" pitchFamily="34" charset="0"/>
                          <a:cs typeface="Arial" panose="020B0604020202020204" pitchFamily="34" charset="0"/>
                        </a:rPr>
                        <a:t>Percentage Growth in Revenue (excl. Grant income and MTEF)</a:t>
                      </a:r>
                      <a:endParaRPr lang="en-ZA"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1000"/>
                      </a:srgbClr>
                    </a:solidFill>
                  </a:tcPr>
                </a:tc>
                <a:tc>
                  <a:txBody>
                    <a:bodyPr/>
                    <a:lstStyle/>
                    <a:p>
                      <a:pPr algn="ctr">
                        <a:lnSpc>
                          <a:spcPct val="107000"/>
                        </a:lnSpc>
                        <a:spcAft>
                          <a:spcPts val="800"/>
                        </a:spcAft>
                      </a:pPr>
                      <a:r>
                        <a:rPr lang="en-ZA" sz="1200">
                          <a:solidFill>
                            <a:schemeClr val="bg1"/>
                          </a:solidFill>
                          <a:effectLst/>
                          <a:latin typeface="Arial" panose="020B0604020202020204" pitchFamily="34" charset="0"/>
                          <a:cs typeface="Arial" panose="020B0604020202020204" pitchFamily="34" charset="0"/>
                        </a:rPr>
                        <a:t>10%</a:t>
                      </a:r>
                      <a:endParaRPr lang="en-ZA"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1000"/>
                      </a:srgbClr>
                    </a:solidFill>
                  </a:tcPr>
                </a:tc>
                <a:tc>
                  <a:txBody>
                    <a:bodyPr/>
                    <a:lstStyle/>
                    <a:p>
                      <a:pPr algn="ctr">
                        <a:lnSpc>
                          <a:spcPct val="107000"/>
                        </a:lnSpc>
                        <a:spcAft>
                          <a:spcPts val="800"/>
                        </a:spcAft>
                      </a:pPr>
                      <a:r>
                        <a:rPr lang="en-ZA" sz="1200">
                          <a:solidFill>
                            <a:schemeClr val="bg1"/>
                          </a:solidFill>
                          <a:effectLst/>
                          <a:latin typeface="Arial" panose="020B0604020202020204" pitchFamily="34" charset="0"/>
                          <a:cs typeface="Arial" panose="020B0604020202020204" pitchFamily="34" charset="0"/>
                        </a:rPr>
                        <a:t>34%</a:t>
                      </a:r>
                      <a:endParaRPr lang="en-ZA" sz="120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7144"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1000"/>
                      </a:srgbClr>
                    </a:solidFill>
                  </a:tcPr>
                </a:tc>
                <a:extLst>
                  <a:ext uri="{0D108BD9-81ED-4DB2-BD59-A6C34878D82A}">
                    <a16:rowId xmlns:a16="http://schemas.microsoft.com/office/drawing/2014/main" xmlns="" val="378197735"/>
                  </a:ext>
                </a:extLst>
              </a:tr>
            </a:tbl>
          </a:graphicData>
        </a:graphic>
      </p:graphicFrame>
      <p:sp>
        <p:nvSpPr>
          <p:cNvPr id="4" name="Rectangle 3">
            <a:extLst>
              <a:ext uri="{FF2B5EF4-FFF2-40B4-BE49-F238E27FC236}">
                <a16:creationId xmlns:a16="http://schemas.microsoft.com/office/drawing/2014/main" xmlns="" id="{0A86897B-64FF-F5A6-4599-98D6526FE6BE}"/>
              </a:ext>
            </a:extLst>
          </p:cNvPr>
          <p:cNvSpPr/>
          <p:nvPr/>
        </p:nvSpPr>
        <p:spPr>
          <a:xfrm rot="10800000" flipV="1">
            <a:off x="23446" y="2702429"/>
            <a:ext cx="8750060" cy="3216265"/>
          </a:xfrm>
          <a:prstGeom prst="rect">
            <a:avLst/>
          </a:prstGeom>
        </p:spPr>
        <p:txBody>
          <a:bodyPr wrap="square">
            <a:spAutoFit/>
          </a:bodyPr>
          <a:lstStyle/>
          <a:p>
            <a:pPr marL="257188" indent="-257188" defTabSz="685835">
              <a:lnSpc>
                <a:spcPct val="150000"/>
              </a:lnSpc>
              <a:buFont typeface="+mj-lt"/>
              <a:buAutoNum type="alphaLcPeriod"/>
              <a:defRPr/>
            </a:pPr>
            <a:r>
              <a:rPr lang="en-US" sz="1400">
                <a:solidFill>
                  <a:prstClr val="black"/>
                </a:solidFill>
                <a:latin typeface="Arial" panose="020B0604020202020204" pitchFamily="34" charset="0"/>
                <a:cs typeface="Arial" panose="020B0604020202020204" pitchFamily="34" charset="0"/>
              </a:rPr>
              <a:t>The improvement in the cost-to-income ratio in Q3 is attributed to full receipt of the annual MTEF allocation from the </a:t>
            </a:r>
            <a:r>
              <a:rPr lang="en-US" sz="1400" err="1">
                <a:solidFill>
                  <a:prstClr val="black"/>
                </a:solidFill>
                <a:latin typeface="Arial" panose="020B0604020202020204" pitchFamily="34" charset="0"/>
                <a:cs typeface="Arial" panose="020B0604020202020204" pitchFamily="34" charset="0"/>
              </a:rPr>
              <a:t>dtic</a:t>
            </a:r>
            <a:r>
              <a:rPr lang="en-US" sz="1400">
                <a:solidFill>
                  <a:prstClr val="black"/>
                </a:solidFill>
                <a:latin typeface="Arial" panose="020B0604020202020204" pitchFamily="34" charset="0"/>
                <a:cs typeface="Arial" panose="020B0604020202020204" pitchFamily="34" charset="0"/>
              </a:rPr>
              <a:t>, through the IDC. </a:t>
            </a:r>
          </a:p>
          <a:p>
            <a:pPr marL="714388" lvl="1" indent="-257188" defTabSz="685835">
              <a:lnSpc>
                <a:spcPct val="150000"/>
              </a:lnSpc>
              <a:buFont typeface="+mj-lt"/>
              <a:buAutoNum type="alphaLcPeriod"/>
              <a:defRPr/>
            </a:pPr>
            <a:r>
              <a:rPr lang="en-US" sz="1400">
                <a:solidFill>
                  <a:prstClr val="black"/>
                </a:solidFill>
                <a:latin typeface="Arial" panose="020B0604020202020204" pitchFamily="34" charset="0"/>
                <a:cs typeface="Arial" panose="020B0604020202020204" pitchFamily="34" charset="0"/>
              </a:rPr>
              <a:t>A total of R148.7 million relating to MTEF was received in Q3 of the current financial year.</a:t>
            </a:r>
            <a:endParaRPr lang="en-GB" sz="1400">
              <a:solidFill>
                <a:prstClr val="black"/>
              </a:solidFill>
              <a:latin typeface="Arial" panose="020B0604020202020204" pitchFamily="34" charset="0"/>
              <a:cs typeface="Arial" panose="020B0604020202020204" pitchFamily="34" charset="0"/>
            </a:endParaRPr>
          </a:p>
          <a:p>
            <a:pPr marL="257188" indent="-257188" defTabSz="685835">
              <a:lnSpc>
                <a:spcPct val="150000"/>
              </a:lnSpc>
              <a:buFont typeface="+mj-lt"/>
              <a:buAutoNum type="alphaLcPeriod"/>
              <a:defRPr/>
            </a:pPr>
            <a:r>
              <a:rPr lang="en-US" sz="1400">
                <a:solidFill>
                  <a:prstClr val="black"/>
                </a:solidFill>
                <a:latin typeface="Arial" panose="020B0604020202020204" pitchFamily="34" charset="0"/>
                <a:cs typeface="Arial" panose="020B0604020202020204" pitchFamily="34" charset="0"/>
              </a:rPr>
              <a:t>The interest from lending for the year-to-date amounted to R119.9 million against a budget year-to-date amount of R110.8 million resulting in a positive variance of R9.9 million (8%). </a:t>
            </a:r>
          </a:p>
          <a:p>
            <a:pPr marL="257188" indent="-257188">
              <a:lnSpc>
                <a:spcPct val="150000"/>
              </a:lnSpc>
              <a:buFont typeface="+mj-lt"/>
              <a:buAutoNum type="alphaLcPeriod"/>
              <a:defRPr/>
            </a:pPr>
            <a:r>
              <a:rPr lang="en-US" sz="1400">
                <a:latin typeface="Arial" panose="020B0604020202020204" pitchFamily="34" charset="0"/>
                <a:cs typeface="Arial" panose="020B0604020202020204" pitchFamily="34" charset="0"/>
              </a:rPr>
              <a:t>Savings in operating expenses for period year-to-date amounted to R81.0 million compared to a budgeted of R132.3 million, resulting in a </a:t>
            </a:r>
            <a:r>
              <a:rPr lang="en-US" sz="1400" err="1">
                <a:latin typeface="Arial" panose="020B0604020202020204" pitchFamily="34" charset="0"/>
                <a:cs typeface="Arial" panose="020B0604020202020204" pitchFamily="34" charset="0"/>
              </a:rPr>
              <a:t>favourable</a:t>
            </a:r>
            <a:r>
              <a:rPr lang="en-US" sz="1400">
                <a:latin typeface="Arial" panose="020B0604020202020204" pitchFamily="34" charset="0"/>
                <a:cs typeface="Arial" panose="020B0604020202020204" pitchFamily="34" charset="0"/>
              </a:rPr>
              <a:t> variance of R51.3 million.</a:t>
            </a:r>
          </a:p>
          <a:p>
            <a:pPr marL="714388" lvl="1" indent="-257188">
              <a:buFont typeface="+mj-lt"/>
              <a:buAutoNum type="alphaLcPeriod"/>
              <a:defRPr/>
            </a:pPr>
            <a:r>
              <a:rPr lang="en-US" sz="1400">
                <a:latin typeface="Arial" panose="020B0604020202020204" pitchFamily="34" charset="0"/>
                <a:cs typeface="Arial" panose="020B0604020202020204" pitchFamily="34" charset="0"/>
              </a:rPr>
              <a:t>the positive variance was a result of  technical provision movements (related to KCG); investment property repairs and maintenance; consulting fees; depreciation; legal fees and training.</a:t>
            </a:r>
          </a:p>
          <a:p>
            <a:pPr marL="714388" lvl="1" indent="-257188">
              <a:buFont typeface="+mj-lt"/>
              <a:buAutoNum type="alphaLcPeriod"/>
              <a:defRPr/>
            </a:pPr>
            <a:endParaRPr lang="en-US" sz="1400">
              <a:latin typeface="Arial" panose="020B0604020202020204" pitchFamily="34" charset="0"/>
              <a:cs typeface="Arial" panose="020B0604020202020204" pitchFamily="34" charset="0"/>
            </a:endParaRPr>
          </a:p>
          <a:p>
            <a:pPr marL="714388" lvl="1" indent="-257188">
              <a:buFont typeface="+mj-lt"/>
              <a:buAutoNum type="alphaLcPeriod"/>
              <a:defRPr/>
            </a:pPr>
            <a:endParaRPr lang="en-GB" sz="1400">
              <a:latin typeface="Arial" panose="020B0604020202020204" pitchFamily="34" charset="0"/>
              <a:cs typeface="Arial" panose="020B0604020202020204" pitchFamily="34" charset="0"/>
            </a:endParaRPr>
          </a:p>
        </p:txBody>
      </p:sp>
      <p:pic>
        <p:nvPicPr>
          <p:cNvPr id="5" name="Picture 12">
            <a:extLst>
              <a:ext uri="{FF2B5EF4-FFF2-40B4-BE49-F238E27FC236}">
                <a16:creationId xmlns:a16="http://schemas.microsoft.com/office/drawing/2014/main" xmlns="" id="{3010D826-C7E5-14F9-8449-1F1B477F1642}"/>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6" name="Picture 5" descr="Logo&#10;&#10;Description automatically generated">
            <a:extLst>
              <a:ext uri="{FF2B5EF4-FFF2-40B4-BE49-F238E27FC236}">
                <a16:creationId xmlns:a16="http://schemas.microsoft.com/office/drawing/2014/main" xmlns="" id="{82F8B982-1B77-D7B1-BA58-6BC4C105D1B8}"/>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8" name="Picture 7" descr="Logo&#10;&#10;Description automatically generated">
            <a:extLst>
              <a:ext uri="{FF2B5EF4-FFF2-40B4-BE49-F238E27FC236}">
                <a16:creationId xmlns:a16="http://schemas.microsoft.com/office/drawing/2014/main" xmlns="" id="{337C2CC4-0A25-6E07-A0CC-7210639870DA}"/>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5" name="Straight Connector 14">
            <a:extLst>
              <a:ext uri="{FF2B5EF4-FFF2-40B4-BE49-F238E27FC236}">
                <a16:creationId xmlns:a16="http://schemas.microsoft.com/office/drawing/2014/main" xmlns="" id="{7C976757-D451-7CB6-D23C-A8A2C46B16ED}"/>
              </a:ext>
            </a:extLst>
          </p:cNvPr>
          <p:cNvCxnSpPr/>
          <p:nvPr/>
        </p:nvCxnSpPr>
        <p:spPr>
          <a:xfrm>
            <a:off x="0" y="6064933"/>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07598581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4</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169084" y="6843"/>
            <a:ext cx="8998362"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Human Capital Management</a:t>
            </a:r>
          </a:p>
        </p:txBody>
      </p:sp>
      <p:sp>
        <p:nvSpPr>
          <p:cNvPr id="6" name="TextBox 5">
            <a:extLst>
              <a:ext uri="{FF2B5EF4-FFF2-40B4-BE49-F238E27FC236}">
                <a16:creationId xmlns:a16="http://schemas.microsoft.com/office/drawing/2014/main" xmlns="" id="{6827354B-662E-F900-D1F8-AFD31A6220E6}"/>
              </a:ext>
            </a:extLst>
          </p:cNvPr>
          <p:cNvSpPr txBox="1"/>
          <p:nvPr/>
        </p:nvSpPr>
        <p:spPr>
          <a:xfrm>
            <a:off x="0" y="800372"/>
            <a:ext cx="3336759" cy="2631490"/>
          </a:xfrm>
          <a:prstGeom prst="rect">
            <a:avLst/>
          </a:prstGeom>
          <a:solidFill>
            <a:sysClr val="window" lastClr="FFFFFF">
              <a:lumMod val="85000"/>
            </a:sysClr>
          </a:solidFill>
          <a:ln>
            <a:solidFill>
              <a:schemeClr val="tx1"/>
            </a:solidFill>
          </a:ln>
        </p:spPr>
        <p:txBody>
          <a:bodyPr wrap="square" rtlCol="0">
            <a:spAutoFit/>
          </a:bodyPr>
          <a:lstStyle/>
          <a:p>
            <a:pPr marL="57153" indent="-57153" algn="just" defTabSz="609630">
              <a:buFont typeface="Arial" panose="020B0604020202020204" pitchFamily="34" charset="0"/>
              <a:buChar char="•"/>
              <a:defRPr/>
            </a:pPr>
            <a:endParaRPr lang="en-ZA" sz="1100">
              <a:solidFill>
                <a:prstClr val="black"/>
              </a:solidFill>
              <a:latin typeface="Arial" panose="020B0604020202020204" pitchFamily="34" charset="0"/>
              <a:cs typeface="Arial" panose="020B0604020202020204" pitchFamily="34" charset="0"/>
              <a:sym typeface="Arial"/>
            </a:endParaRPr>
          </a:p>
          <a:p>
            <a:pPr marL="57153" indent="-57153" algn="just" defTabSz="609630">
              <a:buFont typeface="Arial" panose="020B0604020202020204" pitchFamily="34" charset="0"/>
              <a:buChar char="•"/>
              <a:defRPr/>
            </a:pPr>
            <a:r>
              <a:rPr lang="en-ZA" sz="1100">
                <a:solidFill>
                  <a:prstClr val="black"/>
                </a:solidFill>
                <a:latin typeface="Arial" panose="020B0604020202020204" pitchFamily="34" charset="0"/>
                <a:cs typeface="Arial" panose="020B0604020202020204" pitchFamily="34" charset="0"/>
                <a:sym typeface="Arial"/>
              </a:rPr>
              <a:t>Total Headcount is </a:t>
            </a:r>
            <a:r>
              <a:rPr lang="en-ZA" sz="1100" b="1">
                <a:solidFill>
                  <a:prstClr val="black"/>
                </a:solidFill>
                <a:latin typeface="Arial" panose="020B0604020202020204" pitchFamily="34" charset="0"/>
                <a:cs typeface="Arial" panose="020B0604020202020204" pitchFamily="34" charset="0"/>
                <a:sym typeface="Arial"/>
              </a:rPr>
              <a:t>332 as at December 2022</a:t>
            </a:r>
          </a:p>
          <a:p>
            <a:pPr marL="57153" indent="-57153" algn="just" defTabSz="609630">
              <a:buFont typeface="Arial" panose="020B0604020202020204" pitchFamily="34" charset="0"/>
              <a:buChar char="•"/>
              <a:defRPr/>
            </a:pPr>
            <a:endParaRPr lang="en-ZA" sz="1100" b="1">
              <a:solidFill>
                <a:prstClr val="black"/>
              </a:solidFill>
              <a:latin typeface="Arial" panose="020B0604020202020204" pitchFamily="34" charset="0"/>
              <a:cs typeface="Arial" panose="020B0604020202020204" pitchFamily="34" charset="0"/>
              <a:sym typeface="Arial"/>
            </a:endParaRPr>
          </a:p>
          <a:p>
            <a:pPr marL="57153" indent="-57153" algn="just" defTabSz="609630">
              <a:buFont typeface="Arial" panose="020B0604020202020204" pitchFamily="34" charset="0"/>
              <a:buChar char="•"/>
              <a:defRPr/>
            </a:pPr>
            <a:r>
              <a:rPr lang="en-ZA" sz="1100" b="1">
                <a:solidFill>
                  <a:prstClr val="black"/>
                </a:solidFill>
                <a:latin typeface="Arial" panose="020B0604020202020204" pitchFamily="34" charset="0"/>
                <a:cs typeface="Arial" panose="020B0604020202020204" pitchFamily="34" charset="0"/>
                <a:sym typeface="Arial"/>
              </a:rPr>
              <a:t>Front End</a:t>
            </a:r>
            <a:r>
              <a:rPr lang="en-ZA" sz="1100">
                <a:solidFill>
                  <a:prstClr val="black"/>
                </a:solidFill>
                <a:latin typeface="Arial" panose="020B0604020202020204" pitchFamily="34" charset="0"/>
                <a:cs typeface="Arial" panose="020B0604020202020204" pitchFamily="34" charset="0"/>
                <a:sym typeface="Arial"/>
              </a:rPr>
              <a:t> business functions include Direct Lending, Wholesale, Credit Risk Management, Properties, Post Investment Monitoring and Workout</a:t>
            </a:r>
          </a:p>
          <a:p>
            <a:pPr marL="57153" indent="-57153" algn="just" defTabSz="609630">
              <a:buFont typeface="Arial" panose="020B0604020202020204" pitchFamily="34" charset="0"/>
              <a:buChar char="•"/>
              <a:defRPr/>
            </a:pPr>
            <a:endParaRPr lang="en-ZA" sz="1100">
              <a:solidFill>
                <a:prstClr val="black"/>
              </a:solidFill>
              <a:latin typeface="Arial" panose="020B0604020202020204" pitchFamily="34" charset="0"/>
              <a:cs typeface="Arial" panose="020B0604020202020204" pitchFamily="34" charset="0"/>
              <a:sym typeface="Arial"/>
            </a:endParaRPr>
          </a:p>
          <a:p>
            <a:pPr marL="57153" indent="-57153" algn="just" defTabSz="609630">
              <a:buFont typeface="Arial" panose="020B0604020202020204" pitchFamily="34" charset="0"/>
              <a:buChar char="•"/>
              <a:defRPr/>
            </a:pPr>
            <a:r>
              <a:rPr lang="en-ZA" sz="1100" b="1">
                <a:solidFill>
                  <a:prstClr val="black"/>
                </a:solidFill>
                <a:latin typeface="Arial" panose="020B0604020202020204" pitchFamily="34" charset="0"/>
                <a:cs typeface="Arial" panose="020B0604020202020204" pitchFamily="34" charset="0"/>
                <a:sym typeface="Arial"/>
              </a:rPr>
              <a:t>Services</a:t>
            </a:r>
            <a:r>
              <a:rPr lang="en-ZA" sz="1100">
                <a:solidFill>
                  <a:prstClr val="black"/>
                </a:solidFill>
                <a:latin typeface="Arial" panose="020B0604020202020204" pitchFamily="34" charset="0"/>
                <a:cs typeface="Arial" panose="020B0604020202020204" pitchFamily="34" charset="0"/>
                <a:sym typeface="Arial"/>
              </a:rPr>
              <a:t> business functions include; Human Capital Management &amp; Facilities, Finance and Procurement, Strategy, Legal Services , Enterprise Risk, Compliance, IT, Company Secretary, Marketing &amp; Comms, Internal Audit.</a:t>
            </a:r>
          </a:p>
          <a:p>
            <a:pPr marL="57153" indent="-57153" algn="just" defTabSz="609630">
              <a:buFont typeface="Arial" panose="020B0604020202020204" pitchFamily="34" charset="0"/>
              <a:buChar char="•"/>
              <a:defRPr/>
            </a:pPr>
            <a:endParaRPr lang="en-ZA" sz="1100">
              <a:solidFill>
                <a:prstClr val="black"/>
              </a:solidFill>
              <a:latin typeface="Arial" panose="020B0604020202020204" pitchFamily="34" charset="0"/>
              <a:cs typeface="Arial" panose="020B0604020202020204" pitchFamily="34" charset="0"/>
              <a:sym typeface="Arial"/>
            </a:endParaRPr>
          </a:p>
          <a:p>
            <a:pPr marL="57153" indent="-57153" algn="just" defTabSz="609630">
              <a:buFont typeface="Arial" panose="020B0604020202020204" pitchFamily="34" charset="0"/>
              <a:buChar char="•"/>
              <a:defRPr/>
            </a:pPr>
            <a:endParaRPr lang="en-ZA" sz="1100">
              <a:solidFill>
                <a:prstClr val="black"/>
              </a:solidFill>
              <a:latin typeface="Arial" panose="020B0604020202020204" pitchFamily="34" charset="0"/>
              <a:cs typeface="Arial" panose="020B0604020202020204" pitchFamily="34" charset="0"/>
              <a:sym typeface="Arial"/>
            </a:endParaRPr>
          </a:p>
        </p:txBody>
      </p:sp>
      <p:graphicFrame>
        <p:nvGraphicFramePr>
          <p:cNvPr id="8" name="Chart 7">
            <a:extLst>
              <a:ext uri="{FF2B5EF4-FFF2-40B4-BE49-F238E27FC236}">
                <a16:creationId xmlns:a16="http://schemas.microsoft.com/office/drawing/2014/main" xmlns="" id="{D3A9CB45-A10A-E175-CCF5-6039926B5897}"/>
              </a:ext>
            </a:extLst>
          </p:cNvPr>
          <p:cNvGraphicFramePr>
            <a:graphicFrameLocks/>
          </p:cNvGraphicFramePr>
          <p:nvPr>
            <p:extLst>
              <p:ext uri="{D42A27DB-BD31-4B8C-83A1-F6EECF244321}">
                <p14:modId xmlns:p14="http://schemas.microsoft.com/office/powerpoint/2010/main" xmlns="" val="714040154"/>
              </p:ext>
            </p:extLst>
          </p:nvPr>
        </p:nvGraphicFramePr>
        <p:xfrm>
          <a:off x="3381320" y="3855789"/>
          <a:ext cx="2979378" cy="286568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hart 8">
            <a:extLst>
              <a:ext uri="{FF2B5EF4-FFF2-40B4-BE49-F238E27FC236}">
                <a16:creationId xmlns:a16="http://schemas.microsoft.com/office/drawing/2014/main" xmlns="" id="{AE236F22-10BF-FDB8-C1F3-0D52D5B13D00}"/>
              </a:ext>
            </a:extLst>
          </p:cNvPr>
          <p:cNvGraphicFramePr>
            <a:graphicFrameLocks/>
          </p:cNvGraphicFramePr>
          <p:nvPr>
            <p:extLst>
              <p:ext uri="{D42A27DB-BD31-4B8C-83A1-F6EECF244321}">
                <p14:modId xmlns:p14="http://schemas.microsoft.com/office/powerpoint/2010/main" xmlns="" val="4065870282"/>
              </p:ext>
            </p:extLst>
          </p:nvPr>
        </p:nvGraphicFramePr>
        <p:xfrm>
          <a:off x="-1" y="3841226"/>
          <a:ext cx="3336759" cy="28802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xmlns="" id="{717C6112-75B8-CAE1-20E1-3E220372B931}"/>
              </a:ext>
            </a:extLst>
          </p:cNvPr>
          <p:cNvGraphicFramePr>
            <a:graphicFrameLocks/>
          </p:cNvGraphicFramePr>
          <p:nvPr>
            <p:extLst>
              <p:ext uri="{D42A27DB-BD31-4B8C-83A1-F6EECF244321}">
                <p14:modId xmlns:p14="http://schemas.microsoft.com/office/powerpoint/2010/main" xmlns="" val="1419698026"/>
              </p:ext>
            </p:extLst>
          </p:nvPr>
        </p:nvGraphicFramePr>
        <p:xfrm>
          <a:off x="6456949" y="793596"/>
          <a:ext cx="2687051" cy="262862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Chart 12">
            <a:extLst>
              <a:ext uri="{FF2B5EF4-FFF2-40B4-BE49-F238E27FC236}">
                <a16:creationId xmlns:a16="http://schemas.microsoft.com/office/drawing/2014/main" xmlns="" id="{26C42EC4-A539-7FB9-54DF-89C0E5D3E08F}"/>
              </a:ext>
            </a:extLst>
          </p:cNvPr>
          <p:cNvGraphicFramePr>
            <a:graphicFrameLocks/>
          </p:cNvGraphicFramePr>
          <p:nvPr>
            <p:extLst>
              <p:ext uri="{D42A27DB-BD31-4B8C-83A1-F6EECF244321}">
                <p14:modId xmlns:p14="http://schemas.microsoft.com/office/powerpoint/2010/main" xmlns="" val="4250118693"/>
              </p:ext>
            </p:extLst>
          </p:nvPr>
        </p:nvGraphicFramePr>
        <p:xfrm>
          <a:off x="6405261" y="3855788"/>
          <a:ext cx="2762186" cy="286568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hart 17">
            <a:extLst>
              <a:ext uri="{FF2B5EF4-FFF2-40B4-BE49-F238E27FC236}">
                <a16:creationId xmlns:a16="http://schemas.microsoft.com/office/drawing/2014/main" xmlns="" id="{604DC5CF-E14E-77FF-6AB6-0FC9A110CE4E}"/>
              </a:ext>
            </a:extLst>
          </p:cNvPr>
          <p:cNvGraphicFramePr>
            <a:graphicFrameLocks/>
          </p:cNvGraphicFramePr>
          <p:nvPr>
            <p:extLst>
              <p:ext uri="{D42A27DB-BD31-4B8C-83A1-F6EECF244321}">
                <p14:modId xmlns:p14="http://schemas.microsoft.com/office/powerpoint/2010/main" xmlns="" val="1127478226"/>
              </p:ext>
            </p:extLst>
          </p:nvPr>
        </p:nvGraphicFramePr>
        <p:xfrm>
          <a:off x="3381319" y="800372"/>
          <a:ext cx="2979378" cy="2628628"/>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xmlns="" val="100234566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5</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169084" y="6843"/>
            <a:ext cx="8998362"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Human Capital Management</a:t>
            </a:r>
          </a:p>
        </p:txBody>
      </p:sp>
      <p:sp>
        <p:nvSpPr>
          <p:cNvPr id="6" name="TextBox 5">
            <a:extLst>
              <a:ext uri="{FF2B5EF4-FFF2-40B4-BE49-F238E27FC236}">
                <a16:creationId xmlns:a16="http://schemas.microsoft.com/office/drawing/2014/main" xmlns="" id="{C9ED1687-FC13-BA88-616D-D8E44660790C}"/>
              </a:ext>
            </a:extLst>
          </p:cNvPr>
          <p:cNvSpPr txBox="1"/>
          <p:nvPr/>
        </p:nvSpPr>
        <p:spPr>
          <a:xfrm>
            <a:off x="96252" y="784158"/>
            <a:ext cx="8887326" cy="5555880"/>
          </a:xfrm>
          <a:prstGeom prst="rect">
            <a:avLst/>
          </a:prstGeom>
          <a:noFill/>
        </p:spPr>
        <p:txBody>
          <a:bodyPr wrap="square" lIns="60960" tIns="30480" rIns="60960" bIns="30480" anchor="t">
            <a:spAutoFit/>
          </a:bodyPr>
          <a:lstStyle/>
          <a:p>
            <a:pPr marL="495308" indent="-342900" algn="just" defTabSz="609630" fontAlgn="base">
              <a:lnSpc>
                <a:spcPct val="150000"/>
              </a:lnSpc>
              <a:buClr>
                <a:srgbClr val="000000"/>
              </a:buClr>
              <a:buFont typeface="Wingdings" panose="05000000000000000000" pitchFamily="2" charset="2"/>
              <a:buChar char="q"/>
            </a:pPr>
            <a:r>
              <a:rPr lang="en-ZA" sz="1600" kern="0">
                <a:solidFill>
                  <a:srgbClr val="000000"/>
                </a:solidFill>
                <a:latin typeface="Arial"/>
                <a:ea typeface="Times New Roman" panose="02020603050405020304" pitchFamily="18" charset="0"/>
                <a:cs typeface="Times New Roman"/>
                <a:sym typeface="Arial"/>
              </a:rPr>
              <a:t>There is an increasing need for </a:t>
            </a:r>
            <a:r>
              <a:rPr lang="en-ZA" sz="1600" b="1" kern="0">
                <a:solidFill>
                  <a:srgbClr val="000000"/>
                </a:solidFill>
                <a:latin typeface="Arial"/>
                <a:ea typeface="Times New Roman" panose="02020603050405020304" pitchFamily="18" charset="0"/>
                <a:cs typeface="Times New Roman"/>
                <a:sym typeface="Arial"/>
              </a:rPr>
              <a:t>sefa</a:t>
            </a:r>
            <a:r>
              <a:rPr lang="en-ZA" sz="1600" kern="0">
                <a:solidFill>
                  <a:srgbClr val="000000"/>
                </a:solidFill>
                <a:latin typeface="Arial"/>
                <a:ea typeface="Times New Roman" panose="02020603050405020304" pitchFamily="18" charset="0"/>
                <a:cs typeface="Times New Roman"/>
                <a:sym typeface="Arial"/>
              </a:rPr>
              <a:t> to fill critical vacancies in support of new products and to ensure business continuity especially in the front end functions.</a:t>
            </a:r>
          </a:p>
          <a:p>
            <a:pPr marL="495308" indent="-342900" algn="just" defTabSz="609630" fontAlgn="base">
              <a:lnSpc>
                <a:spcPct val="150000"/>
              </a:lnSpc>
              <a:buClr>
                <a:srgbClr val="000000"/>
              </a:buClr>
              <a:buFont typeface="Wingdings" panose="05000000000000000000" pitchFamily="2" charset="2"/>
              <a:buChar char="q"/>
            </a:pPr>
            <a:r>
              <a:rPr lang="en-ZA" sz="1600" kern="0">
                <a:solidFill>
                  <a:srgbClr val="000000"/>
                </a:solidFill>
                <a:latin typeface="Arial"/>
                <a:ea typeface="Times New Roman" panose="02020603050405020304" pitchFamily="18" charset="0"/>
                <a:cs typeface="Times New Roman"/>
                <a:sym typeface="Arial"/>
              </a:rPr>
              <a:t>The HCM Division  has noted the following risks associated with the issuing of  Fixed Term Contracts (FTCs) in light of the pending </a:t>
            </a:r>
            <a:r>
              <a:rPr lang="en-ZA" sz="1600" b="1" kern="0">
                <a:solidFill>
                  <a:srgbClr val="000000"/>
                </a:solidFill>
                <a:latin typeface="Arial"/>
                <a:ea typeface="Times New Roman" panose="02020603050405020304" pitchFamily="18" charset="0"/>
                <a:cs typeface="Times New Roman"/>
                <a:sym typeface="Arial"/>
              </a:rPr>
              <a:t>sefa</a:t>
            </a:r>
            <a:r>
              <a:rPr lang="en-ZA" sz="1600" kern="0">
                <a:solidFill>
                  <a:srgbClr val="000000"/>
                </a:solidFill>
                <a:latin typeface="Arial"/>
                <a:ea typeface="Times New Roman" panose="02020603050405020304" pitchFamily="18" charset="0"/>
                <a:cs typeface="Times New Roman"/>
                <a:sym typeface="Arial"/>
              </a:rPr>
              <a:t>/seda/CBDA Merger:</a:t>
            </a:r>
          </a:p>
          <a:p>
            <a:pPr marL="1066808" lvl="1" indent="-457200" algn="just" defTabSz="609630" fontAlgn="base">
              <a:lnSpc>
                <a:spcPct val="150000"/>
              </a:lnSpc>
              <a:buClr>
                <a:srgbClr val="000000"/>
              </a:buClr>
              <a:buFont typeface="+mj-lt"/>
              <a:buAutoNum type="alphaLcParenR"/>
            </a:pPr>
            <a:r>
              <a:rPr lang="en-ZA" sz="1600" kern="0">
                <a:solidFill>
                  <a:srgbClr val="000000"/>
                </a:solidFill>
                <a:latin typeface="Arial"/>
                <a:ea typeface="Times New Roman" panose="02020603050405020304" pitchFamily="18" charset="0"/>
                <a:cs typeface="Times New Roman"/>
                <a:sym typeface="Arial"/>
              </a:rPr>
              <a:t>An increasing number of staff on FTCs  in comparison to permanent employees. The FTC representation is at 49% whilst that of permanent staff is at 51%.</a:t>
            </a:r>
          </a:p>
          <a:p>
            <a:pPr marL="1066808" lvl="1" indent="-457200" algn="just" defTabSz="609630" fontAlgn="base">
              <a:lnSpc>
                <a:spcPct val="150000"/>
              </a:lnSpc>
              <a:buClr>
                <a:srgbClr val="000000"/>
              </a:buClr>
              <a:buFont typeface="+mj-lt"/>
              <a:buAutoNum type="alphaLcParenR"/>
            </a:pPr>
            <a:r>
              <a:rPr lang="en-ZA" sz="1600" kern="0">
                <a:solidFill>
                  <a:srgbClr val="000000"/>
                </a:solidFill>
                <a:latin typeface="Arial"/>
                <a:ea typeface="Times New Roman" panose="02020603050405020304" pitchFamily="18" charset="0"/>
                <a:cs typeface="Times New Roman"/>
                <a:sym typeface="Arial"/>
              </a:rPr>
              <a:t>Talent retention is a significant threat to the </a:t>
            </a:r>
            <a:r>
              <a:rPr lang="en-ZA" sz="1600" b="1" kern="0">
                <a:solidFill>
                  <a:srgbClr val="000000"/>
                </a:solidFill>
                <a:latin typeface="Arial"/>
                <a:ea typeface="Times New Roman" panose="02020603050405020304" pitchFamily="18" charset="0"/>
                <a:cs typeface="Times New Roman"/>
                <a:sym typeface="Arial"/>
              </a:rPr>
              <a:t>sefa’s</a:t>
            </a:r>
            <a:r>
              <a:rPr lang="en-ZA" sz="1600" kern="0">
                <a:solidFill>
                  <a:srgbClr val="000000"/>
                </a:solidFill>
                <a:latin typeface="Arial"/>
                <a:ea typeface="Times New Roman" panose="02020603050405020304" pitchFamily="18" charset="0"/>
                <a:cs typeface="Times New Roman"/>
                <a:sym typeface="Arial"/>
              </a:rPr>
              <a:t> as critical positions are being filled with FTCs.</a:t>
            </a:r>
          </a:p>
          <a:p>
            <a:pPr marL="1066808" lvl="1" indent="-457200" algn="just" defTabSz="609630" fontAlgn="base">
              <a:lnSpc>
                <a:spcPct val="150000"/>
              </a:lnSpc>
              <a:buClr>
                <a:srgbClr val="000000"/>
              </a:buClr>
              <a:buFont typeface="+mj-lt"/>
              <a:buAutoNum type="alphaLcParenR"/>
            </a:pPr>
            <a:r>
              <a:rPr lang="en-ZA" sz="1600" b="1" kern="0">
                <a:solidFill>
                  <a:srgbClr val="000000"/>
                </a:solidFill>
                <a:latin typeface="Arial"/>
                <a:ea typeface="Times New Roman" panose="02020603050405020304" pitchFamily="18" charset="0"/>
                <a:cs typeface="Times New Roman"/>
                <a:sym typeface="Arial"/>
              </a:rPr>
              <a:t>sefa</a:t>
            </a:r>
            <a:r>
              <a:rPr lang="en-ZA" sz="1600" kern="0">
                <a:solidFill>
                  <a:srgbClr val="000000"/>
                </a:solidFill>
                <a:latin typeface="Arial"/>
                <a:ea typeface="Times New Roman" panose="02020603050405020304" pitchFamily="18" charset="0"/>
                <a:cs typeface="Times New Roman"/>
                <a:sym typeface="Arial"/>
              </a:rPr>
              <a:t> is faced with the risk of inability to retain employees in these critical positions due to the short term nature of the employment contracts</a:t>
            </a:r>
          </a:p>
          <a:p>
            <a:pPr marL="1066808" lvl="1" indent="-457200" algn="just" defTabSz="609630" fontAlgn="base">
              <a:lnSpc>
                <a:spcPct val="150000"/>
              </a:lnSpc>
              <a:buClr>
                <a:srgbClr val="000000"/>
              </a:buClr>
              <a:buFont typeface="+mj-lt"/>
              <a:buAutoNum type="alphaLcParenR"/>
            </a:pPr>
            <a:r>
              <a:rPr lang="en-ZA" sz="1600" kern="0">
                <a:solidFill>
                  <a:srgbClr val="000000"/>
                </a:solidFill>
                <a:latin typeface="Arial"/>
                <a:ea typeface="Times New Roman" panose="02020603050405020304" pitchFamily="18" charset="0"/>
                <a:cs typeface="Times New Roman"/>
                <a:sym typeface="Arial"/>
              </a:rPr>
              <a:t>Labour turnover  for Management and Executive level position is at 5% and across all job levels it is at 6% which is a significant increase from the 0% (Management) and 3.3% (all job levels) labour turnover reported in Q2 of FY2022.23.</a:t>
            </a:r>
            <a:endParaRPr lang="en-ZA" sz="1600" kern="0">
              <a:solidFill>
                <a:srgbClr val="000000"/>
              </a:solidFill>
              <a:latin typeface="Arial"/>
              <a:ea typeface="Calibri" panose="020F0502020204030204" pitchFamily="34" charset="0"/>
              <a:cs typeface="Times New Roman"/>
              <a:sym typeface="Arial"/>
            </a:endParaRPr>
          </a:p>
          <a:p>
            <a:pPr marL="495308" indent="-342900" algn="just" defTabSz="609630" fontAlgn="base">
              <a:lnSpc>
                <a:spcPct val="150000"/>
              </a:lnSpc>
              <a:buClr>
                <a:srgbClr val="000000"/>
              </a:buClr>
              <a:buFont typeface="Wingdings" panose="05000000000000000000" pitchFamily="2" charset="2"/>
              <a:buChar char="q"/>
            </a:pPr>
            <a:r>
              <a:rPr lang="en-ZA" sz="1600" kern="0">
                <a:solidFill>
                  <a:srgbClr val="000000"/>
                </a:solidFill>
                <a:latin typeface="Arial"/>
                <a:cs typeface="Times New Roman"/>
                <a:sym typeface="Arial"/>
              </a:rPr>
              <a:t>The HCM Division continues to find ways to retain staff through extension of the FTC  and job enrichment opportunities for staff.</a:t>
            </a:r>
          </a:p>
        </p:txBody>
      </p:sp>
    </p:spTree>
    <p:extLst>
      <p:ext uri="{BB962C8B-B14F-4D97-AF65-F5344CB8AC3E}">
        <p14:creationId xmlns:p14="http://schemas.microsoft.com/office/powerpoint/2010/main" xmlns="" val="2788789756"/>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6</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169084" y="-38127"/>
            <a:ext cx="8998362"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Marketing and Communications</a:t>
            </a:r>
          </a:p>
        </p:txBody>
      </p:sp>
      <p:grpSp>
        <p:nvGrpSpPr>
          <p:cNvPr id="53" name="Group 52">
            <a:extLst>
              <a:ext uri="{FF2B5EF4-FFF2-40B4-BE49-F238E27FC236}">
                <a16:creationId xmlns:a16="http://schemas.microsoft.com/office/drawing/2014/main" xmlns="" id="{85F88AD1-A4CA-AA90-B949-D4ED8A867C84}"/>
              </a:ext>
            </a:extLst>
          </p:cNvPr>
          <p:cNvGrpSpPr/>
          <p:nvPr/>
        </p:nvGrpSpPr>
        <p:grpSpPr>
          <a:xfrm>
            <a:off x="6406320" y="904225"/>
            <a:ext cx="2657967" cy="3667221"/>
            <a:chOff x="270940" y="2563594"/>
            <a:chExt cx="3667285" cy="5597841"/>
          </a:xfrm>
          <a:effectLst>
            <a:outerShdw blurRad="50800" dist="76200" dir="2700000" algn="tl" rotWithShape="0">
              <a:prstClr val="black">
                <a:alpha val="55000"/>
              </a:prstClr>
            </a:outerShdw>
          </a:effectLst>
        </p:grpSpPr>
        <p:sp>
          <p:nvSpPr>
            <p:cNvPr id="63" name="Rectangle: Top Corners Rounded 62">
              <a:extLst>
                <a:ext uri="{FF2B5EF4-FFF2-40B4-BE49-F238E27FC236}">
                  <a16:creationId xmlns:a16="http://schemas.microsoft.com/office/drawing/2014/main" xmlns="" id="{866B50D8-322F-7317-0815-C7E7C6DE86D6}"/>
                </a:ext>
              </a:extLst>
            </p:cNvPr>
            <p:cNvSpPr/>
            <p:nvPr/>
          </p:nvSpPr>
          <p:spPr>
            <a:xfrm rot="10800000">
              <a:off x="270940" y="2563594"/>
              <a:ext cx="3576263" cy="5263697"/>
            </a:xfrm>
            <a:prstGeom prst="round2SameRect">
              <a:avLst>
                <a:gd name="adj1" fmla="val 10500"/>
                <a:gd name="adj2" fmla="val 0"/>
              </a:avLst>
            </a:prstGeom>
            <a:gradFill rotWithShape="0">
              <a:gsLst>
                <a:gs pos="54000">
                  <a:srgbClr val="D30039"/>
                </a:gs>
                <a:gs pos="66000">
                  <a:srgbClr val="D30039"/>
                </a:gs>
              </a:gsLst>
            </a:gra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64" name="Rectangle: Top Corners Rounded 4">
              <a:extLst>
                <a:ext uri="{FF2B5EF4-FFF2-40B4-BE49-F238E27FC236}">
                  <a16:creationId xmlns:a16="http://schemas.microsoft.com/office/drawing/2014/main" xmlns="" id="{71E75FAE-1557-B739-6C8F-3455ADEE6CC2}"/>
                </a:ext>
              </a:extLst>
            </p:cNvPr>
            <p:cNvSpPr txBox="1"/>
            <p:nvPr/>
          </p:nvSpPr>
          <p:spPr>
            <a:xfrm>
              <a:off x="270940" y="2618583"/>
              <a:ext cx="3667285" cy="55428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0" tIns="177800" rIns="177800" bIns="177800" numCol="1" spcCol="1270" anchor="t" anchorCtr="0">
              <a:noAutofit/>
            </a:bodyPr>
            <a:lstStyle/>
            <a:p>
              <a:pPr marL="0" marR="0" lvl="0" indent="0" defTabSz="1111250" eaLnBrk="1" fontAlgn="auto" latinLnBrk="0" hangingPunct="1">
                <a:lnSpc>
                  <a:spcPct val="90000"/>
                </a:lnSpc>
                <a:spcBef>
                  <a:spcPct val="0"/>
                </a:spcBef>
                <a:spcAft>
                  <a:spcPct val="35000"/>
                </a:spcAft>
                <a:buClrTx/>
                <a:buSzTx/>
                <a:buFontTx/>
                <a:buNone/>
                <a:tabLst/>
                <a:defRPr/>
              </a:pPr>
              <a:r>
                <a:rPr lang="en-ZA" b="1" kern="1200" noProof="0">
                  <a:solidFill>
                    <a:srgbClr val="FFFFFF"/>
                  </a:solidFill>
                  <a:latin typeface="Arial" panose="020B0604020202020204" pitchFamily="34" charset="0"/>
                  <a:cs typeface="Arial" panose="020B0604020202020204" pitchFamily="34" charset="0"/>
                  <a:sym typeface="Arial"/>
                </a:rPr>
                <a:t>Brand Management,</a:t>
              </a:r>
            </a:p>
            <a:p>
              <a:pPr marL="0" marR="0" lvl="0" indent="0" defTabSz="1111250" eaLnBrk="1" fontAlgn="auto" latinLnBrk="0" hangingPunct="1">
                <a:lnSpc>
                  <a:spcPct val="90000"/>
                </a:lnSpc>
                <a:spcBef>
                  <a:spcPct val="0"/>
                </a:spcBef>
                <a:spcAft>
                  <a:spcPct val="35000"/>
                </a:spcAft>
                <a:buClrTx/>
                <a:buSzTx/>
                <a:buFontTx/>
                <a:buNone/>
                <a:tabLst/>
                <a:defRPr/>
              </a:pPr>
              <a:r>
                <a:rPr lang="en-ZA" b="1" kern="1200">
                  <a:latin typeface="Arial" panose="020B0604020202020204" pitchFamily="34" charset="0"/>
                  <a:cs typeface="Arial" panose="020B0604020202020204" pitchFamily="34" charset="0"/>
                </a:rPr>
                <a:t>Marketing, &amp; Internal Communications</a:t>
              </a:r>
            </a:p>
            <a:p>
              <a:pPr marL="0" marR="0" lvl="0" indent="0" defTabSz="914400" eaLnBrk="1" fontAlgn="auto" latinLnBrk="0" hangingPunct="1">
                <a:lnSpc>
                  <a:spcPct val="100000"/>
                </a:lnSpc>
                <a:spcBef>
                  <a:spcPct val="0"/>
                </a:spcBef>
                <a:spcAft>
                  <a:spcPts val="0"/>
                </a:spcAft>
                <a:buClrTx/>
                <a:buSzTx/>
                <a:buFontTx/>
                <a:buNone/>
                <a:tabLst/>
                <a:defRPr/>
              </a:pPr>
              <a:r>
                <a:rPr lang="en-ZA" sz="1600" b="0" kern="1200">
                  <a:latin typeface="Arial" panose="020B0604020202020204" pitchFamily="34" charset="0"/>
                  <a:cs typeface="Arial" panose="020B0604020202020204" pitchFamily="34" charset="0"/>
                </a:rPr>
                <a:t>Production of 2 </a:t>
              </a:r>
              <a:r>
                <a:rPr lang="en-ZA" sz="1600" b="1" kern="1200">
                  <a:latin typeface="Arial" panose="020B0604020202020204" pitchFamily="34" charset="0"/>
                  <a:cs typeface="Arial" panose="020B0604020202020204" pitchFamily="34" charset="0"/>
                </a:rPr>
                <a:t>sefa</a:t>
              </a:r>
              <a:r>
                <a:rPr lang="en-ZA" sz="1600" b="0" kern="1200">
                  <a:latin typeface="Arial" panose="020B0604020202020204" pitchFamily="34" charset="0"/>
                  <a:cs typeface="Arial" panose="020B0604020202020204" pitchFamily="34" charset="0"/>
                </a:rPr>
                <a:t> publications:</a:t>
              </a:r>
            </a:p>
            <a:p>
              <a:pPr marL="358775" lvl="0" indent="-358775" defTabSz="914400">
                <a:lnSpc>
                  <a:spcPct val="100000"/>
                </a:lnSpc>
                <a:spcBef>
                  <a:spcPct val="0"/>
                </a:spcBef>
                <a:spcAft>
                  <a:spcPts val="0"/>
                </a:spcAft>
                <a:buNone/>
              </a:pP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1. The </a:t>
              </a:r>
              <a:r>
                <a:rPr lang="en-US" sz="1600" kern="1200" err="1">
                  <a:solidFill>
                    <a:srgbClr val="FFFFFF"/>
                  </a:solidFill>
                  <a:effectLst/>
                  <a:latin typeface="Arial" panose="020B0604020202020204" pitchFamily="34" charset="0"/>
                  <a:ea typeface="Cambria" panose="02040503050406030204" pitchFamily="18" charset="0"/>
                  <a:cs typeface="Arial" panose="020B0604020202020204" pitchFamily="34" charset="0"/>
                </a:rPr>
                <a:t>sefaZen</a:t>
              </a: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 “Internal Digi Mag”  </a:t>
              </a:r>
            </a:p>
            <a:p>
              <a:pPr marL="358775" lvl="0" indent="-358775" defTabSz="914400">
                <a:lnSpc>
                  <a:spcPct val="100000"/>
                </a:lnSpc>
                <a:spcBef>
                  <a:spcPct val="0"/>
                </a:spcBef>
                <a:spcAft>
                  <a:spcPts val="0"/>
                </a:spcAft>
                <a:buNone/>
              </a:pP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2. </a:t>
              </a:r>
              <a:r>
                <a:rPr lang="en-US" sz="1600" kern="1200" err="1">
                  <a:solidFill>
                    <a:srgbClr val="FFFFFF"/>
                  </a:solidFill>
                  <a:effectLst/>
                  <a:latin typeface="Arial" panose="020B0604020202020204" pitchFamily="34" charset="0"/>
                  <a:ea typeface="Cambria" panose="02040503050406030204" pitchFamily="18" charset="0"/>
                  <a:cs typeface="Arial" panose="020B0604020202020204" pitchFamily="34" charset="0"/>
                </a:rPr>
                <a:t>Asibonisane</a:t>
              </a: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 </a:t>
              </a:r>
            </a:p>
            <a:p>
              <a:pPr marL="358775" lvl="0" indent="-358775" defTabSz="914400">
                <a:lnSpc>
                  <a:spcPct val="100000"/>
                </a:lnSpc>
                <a:spcBef>
                  <a:spcPct val="0"/>
                </a:spcBef>
                <a:spcAft>
                  <a:spcPts val="0"/>
                </a:spcAft>
                <a:buNone/>
              </a:pPr>
              <a:r>
                <a:rPr lang="en-US" sz="1600">
                  <a:solidFill>
                    <a:srgbClr val="FFFFFF"/>
                  </a:solidFill>
                  <a:latin typeface="Arial" panose="020B0604020202020204" pitchFamily="34" charset="0"/>
                  <a:ea typeface="Cambria" panose="02040503050406030204" pitchFamily="18" charset="0"/>
                  <a:cs typeface="Arial" panose="020B0604020202020204" pitchFamily="34" charset="0"/>
                </a:rPr>
                <a:t>    </a:t>
              </a: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e-newsletter </a:t>
              </a:r>
            </a:p>
            <a:p>
              <a:pPr marL="358775" lvl="0" indent="-358775" defTabSz="914400">
                <a:lnSpc>
                  <a:spcPct val="100000"/>
                </a:lnSpc>
                <a:spcBef>
                  <a:spcPct val="0"/>
                </a:spcBef>
                <a:spcAft>
                  <a:spcPts val="0"/>
                </a:spcAft>
                <a:buNone/>
              </a:pPr>
              <a:endPar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endParaRPr>
            </a:p>
            <a:p>
              <a:pPr marL="358775" lvl="0" indent="-358775" algn="l" defTabSz="914400">
                <a:lnSpc>
                  <a:spcPct val="100000"/>
                </a:lnSpc>
                <a:spcBef>
                  <a:spcPct val="0"/>
                </a:spcBef>
                <a:spcAft>
                  <a:spcPts val="0"/>
                </a:spcAft>
                <a:buNone/>
              </a:pPr>
              <a:endParaRPr lang="en-ZA" kern="1200">
                <a:solidFill>
                  <a:srgbClr val="FFFFFF"/>
                </a:solidFill>
                <a:effectLst/>
                <a:latin typeface="Arial" panose="020B0604020202020204" pitchFamily="34" charset="0"/>
                <a:ea typeface="Cambria" panose="02040503050406030204" pitchFamily="18" charset="0"/>
                <a:cs typeface="Arial" panose="020B0604020202020204" pitchFamily="34" charset="0"/>
              </a:endParaRPr>
            </a:p>
            <a:p>
              <a:pPr marL="0" lvl="0" algn="ctr" defTabSz="1111250">
                <a:lnSpc>
                  <a:spcPct val="90000"/>
                </a:lnSpc>
                <a:spcBef>
                  <a:spcPct val="0"/>
                </a:spcBef>
                <a:spcAft>
                  <a:spcPct val="35000"/>
                </a:spcAft>
                <a:buNone/>
              </a:pPr>
              <a:endParaRPr lang="en-ZA" kern="1200">
                <a:latin typeface="Arial" panose="020B0604020202020204" pitchFamily="34" charset="0"/>
                <a:cs typeface="Arial" panose="020B0604020202020204" pitchFamily="34" charset="0"/>
              </a:endParaRPr>
            </a:p>
            <a:p>
              <a:pPr marL="0" lvl="0" algn="ctr" defTabSz="1111250">
                <a:lnSpc>
                  <a:spcPct val="90000"/>
                </a:lnSpc>
                <a:spcBef>
                  <a:spcPct val="0"/>
                </a:spcBef>
                <a:spcAft>
                  <a:spcPct val="35000"/>
                </a:spcAft>
                <a:buNone/>
              </a:pPr>
              <a:endParaRPr lang="en-ZA" kern="1200">
                <a:latin typeface="Arial" panose="020B0604020202020204" pitchFamily="34" charset="0"/>
                <a:cs typeface="Arial" panose="020B0604020202020204" pitchFamily="34" charset="0"/>
              </a:endParaRPr>
            </a:p>
          </p:txBody>
        </p:sp>
      </p:grpSp>
      <p:grpSp>
        <p:nvGrpSpPr>
          <p:cNvPr id="54" name="Group 53">
            <a:extLst>
              <a:ext uri="{FF2B5EF4-FFF2-40B4-BE49-F238E27FC236}">
                <a16:creationId xmlns:a16="http://schemas.microsoft.com/office/drawing/2014/main" xmlns="" id="{1B71EEC5-BB42-9F82-01A0-7A4A01E989BA}"/>
              </a:ext>
            </a:extLst>
          </p:cNvPr>
          <p:cNvGrpSpPr/>
          <p:nvPr/>
        </p:nvGrpSpPr>
        <p:grpSpPr>
          <a:xfrm>
            <a:off x="3351856" y="904226"/>
            <a:ext cx="2855627" cy="3631198"/>
            <a:chOff x="4292030" y="2602372"/>
            <a:chExt cx="3772228" cy="5365844"/>
          </a:xfrm>
          <a:effectLst>
            <a:outerShdw blurRad="50800" dist="76200" dir="2700000" algn="tl" rotWithShape="0">
              <a:prstClr val="black">
                <a:alpha val="55000"/>
              </a:prstClr>
            </a:outerShdw>
          </a:effectLst>
        </p:grpSpPr>
        <p:sp>
          <p:nvSpPr>
            <p:cNvPr id="61" name="Rectangle: Top Corners Rounded 60">
              <a:extLst>
                <a:ext uri="{FF2B5EF4-FFF2-40B4-BE49-F238E27FC236}">
                  <a16:creationId xmlns:a16="http://schemas.microsoft.com/office/drawing/2014/main" xmlns="" id="{1F19F84D-9B8F-7B7D-E2F8-21616C5FF5EC}"/>
                </a:ext>
              </a:extLst>
            </p:cNvPr>
            <p:cNvSpPr/>
            <p:nvPr/>
          </p:nvSpPr>
          <p:spPr>
            <a:xfrm rot="10800000">
              <a:off x="4292030" y="2602372"/>
              <a:ext cx="3772228" cy="5365844"/>
            </a:xfrm>
            <a:prstGeom prst="round2SameRect">
              <a:avLst>
                <a:gd name="adj1" fmla="val 10500"/>
                <a:gd name="adj2" fmla="val 0"/>
              </a:avLst>
            </a:prstGeom>
            <a:solidFill>
              <a:srgbClr val="006600"/>
            </a:solidFill>
          </p:spPr>
          <p:style>
            <a:lnRef idx="0">
              <a:schemeClr val="lt1">
                <a:hueOff val="0"/>
                <a:satOff val="0"/>
                <a:lumOff val="0"/>
                <a:alphaOff val="0"/>
              </a:schemeClr>
            </a:lnRef>
            <a:fillRef idx="3">
              <a:scrgbClr r="0" g="0" b="0"/>
            </a:fillRef>
            <a:effectRef idx="2">
              <a:schemeClr val="accent5">
                <a:hueOff val="-3311292"/>
                <a:satOff val="13270"/>
                <a:lumOff val="2876"/>
                <a:alphaOff val="0"/>
              </a:schemeClr>
            </a:effectRef>
            <a:fontRef idx="minor">
              <a:schemeClr val="lt1"/>
            </a:fontRef>
          </p:style>
        </p:sp>
        <p:sp>
          <p:nvSpPr>
            <p:cNvPr id="62" name="Rectangle: Top Corners Rounded 6">
              <a:extLst>
                <a:ext uri="{FF2B5EF4-FFF2-40B4-BE49-F238E27FC236}">
                  <a16:creationId xmlns:a16="http://schemas.microsoft.com/office/drawing/2014/main" xmlns="" id="{6576E8A2-7609-331F-DF5E-48BCC9D4C340}"/>
                </a:ext>
              </a:extLst>
            </p:cNvPr>
            <p:cNvSpPr txBox="1"/>
            <p:nvPr/>
          </p:nvSpPr>
          <p:spPr>
            <a:xfrm>
              <a:off x="4408039" y="2602372"/>
              <a:ext cx="3249426" cy="52498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0" tIns="177800" rIns="177800" bIns="177800" numCol="1" spcCol="1270" anchor="t" anchorCtr="0">
              <a:noAutofit/>
            </a:bodyPr>
            <a:lstStyle/>
            <a:p>
              <a:pPr marL="0" lvl="0" algn="ctr" defTabSz="1111250">
                <a:lnSpc>
                  <a:spcPct val="90000"/>
                </a:lnSpc>
                <a:spcBef>
                  <a:spcPct val="0"/>
                </a:spcBef>
                <a:spcAft>
                  <a:spcPct val="35000"/>
                </a:spcAft>
                <a:buNone/>
              </a:pPr>
              <a:r>
                <a:rPr lang="en-ZA" b="1" kern="1200">
                  <a:latin typeface="Arial" panose="020B0604020202020204" pitchFamily="34" charset="0"/>
                  <a:cs typeface="Arial" panose="020B0604020202020204" pitchFamily="34" charset="0"/>
                </a:rPr>
                <a:t>Media Relations (PR &amp; Advertising)</a:t>
              </a:r>
            </a:p>
            <a:p>
              <a:pPr marL="342900" lvl="0" indent="-342900" algn="l" defTabSz="1111250">
                <a:lnSpc>
                  <a:spcPct val="90000"/>
                </a:lnSpc>
                <a:spcBef>
                  <a:spcPct val="0"/>
                </a:spcBef>
                <a:spcAft>
                  <a:spcPct val="35000"/>
                </a:spcAft>
                <a:buFont typeface="+mj-lt"/>
                <a:buAutoNum type="arabicPeriod"/>
                <a:tabLst/>
              </a:pPr>
              <a:r>
                <a:rPr lang="en-US" sz="1600" b="1" kern="1200">
                  <a:solidFill>
                    <a:srgbClr val="FFFFFF"/>
                  </a:solidFill>
                  <a:effectLst/>
                  <a:latin typeface="Arial" panose="020B0604020202020204" pitchFamily="34" charset="0"/>
                  <a:ea typeface="Cambria" panose="02040503050406030204" pitchFamily="18" charset="0"/>
                  <a:cs typeface="Arial" panose="020B0604020202020204" pitchFamily="34" charset="0"/>
                </a:rPr>
                <a:t>sefa </a:t>
              </a: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was featured </a:t>
              </a:r>
              <a:r>
                <a:rPr lang="en-US" sz="1600">
                  <a:solidFill>
                    <a:srgbClr val="FFFFFF"/>
                  </a:solidFill>
                  <a:latin typeface="Arial" panose="020B0604020202020204" pitchFamily="34" charset="0"/>
                  <a:ea typeface="Cambria" panose="02040503050406030204" pitchFamily="18" charset="0"/>
                  <a:cs typeface="Arial" panose="020B0604020202020204" pitchFamily="34" charset="0"/>
                </a:rPr>
                <a:t>19</a:t>
              </a: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 times on various media platforms (radio, online and print) </a:t>
              </a:r>
            </a:p>
            <a:p>
              <a:pPr marL="342900" lvl="0" indent="-342900" algn="l" defTabSz="1111250">
                <a:lnSpc>
                  <a:spcPct val="90000"/>
                </a:lnSpc>
                <a:spcBef>
                  <a:spcPct val="0"/>
                </a:spcBef>
                <a:spcAft>
                  <a:spcPct val="35000"/>
                </a:spcAft>
                <a:buFont typeface="+mj-lt"/>
                <a:buAutoNum type="arabicPeriod"/>
                <a:tabLst/>
              </a:pPr>
              <a:r>
                <a:rPr lang="en-US" sz="1600" b="1" kern="1200">
                  <a:solidFill>
                    <a:srgbClr val="FFFFFF"/>
                  </a:solidFill>
                  <a:effectLst/>
                  <a:latin typeface="Arial" panose="020B0604020202020204" pitchFamily="34" charset="0"/>
                  <a:ea typeface="Cambria" panose="02040503050406030204" pitchFamily="18" charset="0"/>
                  <a:cs typeface="Arial" panose="020B0604020202020204" pitchFamily="34" charset="0"/>
                </a:rPr>
                <a:t>sefa</a:t>
              </a: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 had a media campaign </a:t>
              </a:r>
              <a:r>
                <a:rPr lang="en-US" sz="1600">
                  <a:solidFill>
                    <a:srgbClr val="FFFFFF"/>
                  </a:solidFill>
                  <a:latin typeface="Arial" panose="020B0604020202020204" pitchFamily="34" charset="0"/>
                  <a:ea typeface="Cambria" panose="02040503050406030204" pitchFamily="18" charset="0"/>
                  <a:cs typeface="Arial" panose="020B0604020202020204" pitchFamily="34" charset="0"/>
                </a:rPr>
                <a:t>on </a:t>
              </a:r>
              <a:r>
                <a:rPr lang="en-US" sz="1600" kern="1200">
                  <a:solidFill>
                    <a:srgbClr val="FFFFFF"/>
                  </a:solidFill>
                  <a:effectLst/>
                  <a:latin typeface="Arial" panose="020B0604020202020204" pitchFamily="34" charset="0"/>
                  <a:ea typeface="Cambria" panose="02040503050406030204" pitchFamily="18" charset="0"/>
                  <a:cs typeface="Arial" panose="020B0604020202020204" pitchFamily="34" charset="0"/>
                </a:rPr>
                <a:t>SABC TV and radio channels in Q3. </a:t>
              </a:r>
              <a:endParaRPr lang="en-US" sz="1600" b="1" kern="1200">
                <a:solidFill>
                  <a:srgbClr val="FFFFFF"/>
                </a:solidFill>
                <a:effectLst/>
                <a:latin typeface="Arial" panose="020B0604020202020204" pitchFamily="34" charset="0"/>
                <a:ea typeface="Cambria" panose="02040503050406030204" pitchFamily="18" charset="0"/>
                <a:cs typeface="Arial" panose="020B0604020202020204" pitchFamily="34" charset="0"/>
              </a:endParaRPr>
            </a:p>
          </p:txBody>
        </p:sp>
      </p:grpSp>
      <p:grpSp>
        <p:nvGrpSpPr>
          <p:cNvPr id="56" name="Group 55">
            <a:extLst>
              <a:ext uri="{FF2B5EF4-FFF2-40B4-BE49-F238E27FC236}">
                <a16:creationId xmlns:a16="http://schemas.microsoft.com/office/drawing/2014/main" xmlns="" id="{A900A17A-A1E0-4536-3FA4-17397AEFEAFF}"/>
              </a:ext>
            </a:extLst>
          </p:cNvPr>
          <p:cNvGrpSpPr/>
          <p:nvPr/>
        </p:nvGrpSpPr>
        <p:grpSpPr>
          <a:xfrm>
            <a:off x="152686" y="904225"/>
            <a:ext cx="2963139" cy="4252991"/>
            <a:chOff x="11960857" y="2681687"/>
            <a:chExt cx="3941042" cy="5098733"/>
          </a:xfrm>
          <a:effectLst>
            <a:outerShdw blurRad="50800" dist="76200" dir="2700000" algn="tl" rotWithShape="0">
              <a:prstClr val="black">
                <a:alpha val="55000"/>
              </a:prstClr>
            </a:outerShdw>
          </a:effectLst>
        </p:grpSpPr>
        <p:sp>
          <p:nvSpPr>
            <p:cNvPr id="57" name="Rectangle: Top Corners Rounded 56">
              <a:extLst>
                <a:ext uri="{FF2B5EF4-FFF2-40B4-BE49-F238E27FC236}">
                  <a16:creationId xmlns:a16="http://schemas.microsoft.com/office/drawing/2014/main" xmlns="" id="{465DDF71-D696-0CAA-649B-E0ADFFAE2DB0}"/>
                </a:ext>
              </a:extLst>
            </p:cNvPr>
            <p:cNvSpPr/>
            <p:nvPr/>
          </p:nvSpPr>
          <p:spPr>
            <a:xfrm rot="10800000">
              <a:off x="11960857" y="2681687"/>
              <a:ext cx="3941042" cy="5098733"/>
            </a:xfrm>
            <a:prstGeom prst="round2SameRect">
              <a:avLst>
                <a:gd name="adj1" fmla="val 10500"/>
                <a:gd name="adj2" fmla="val 0"/>
              </a:avLst>
            </a:prstGeom>
            <a:solidFill>
              <a:srgbClr val="FD6B00"/>
            </a:solidFill>
          </p:spPr>
          <p:style>
            <a:lnRef idx="0">
              <a:schemeClr val="lt1">
                <a:hueOff val="0"/>
                <a:satOff val="0"/>
                <a:lumOff val="0"/>
                <a:alphaOff val="0"/>
              </a:schemeClr>
            </a:lnRef>
            <a:fillRef idx="3">
              <a:scrgbClr r="0" g="0" b="0"/>
            </a:fillRef>
            <a:effectRef idx="2">
              <a:schemeClr val="accent5">
                <a:hueOff val="-9933876"/>
                <a:satOff val="39811"/>
                <a:lumOff val="8628"/>
                <a:alphaOff val="0"/>
              </a:schemeClr>
            </a:effectRef>
            <a:fontRef idx="minor">
              <a:schemeClr val="lt1"/>
            </a:fontRef>
          </p:style>
        </p:sp>
        <p:sp>
          <p:nvSpPr>
            <p:cNvPr id="58" name="Rectangle: Top Corners Rounded 10">
              <a:extLst>
                <a:ext uri="{FF2B5EF4-FFF2-40B4-BE49-F238E27FC236}">
                  <a16:creationId xmlns:a16="http://schemas.microsoft.com/office/drawing/2014/main" xmlns="" id="{8BA2F324-BE61-D20D-35CC-677FDC988032}"/>
                </a:ext>
              </a:extLst>
            </p:cNvPr>
            <p:cNvSpPr txBox="1"/>
            <p:nvPr/>
          </p:nvSpPr>
          <p:spPr>
            <a:xfrm>
              <a:off x="12111912" y="2681687"/>
              <a:ext cx="3698640" cy="46163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0" tIns="177800" rIns="177800" bIns="177800" numCol="1" spcCol="1270" anchor="t" anchorCtr="0">
              <a:noAutofit/>
            </a:bodyPr>
            <a:lstStyle/>
            <a:p>
              <a:pPr marL="0" lvl="0" algn="ctr" defTabSz="1111250">
                <a:lnSpc>
                  <a:spcPct val="90000"/>
                </a:lnSpc>
                <a:spcBef>
                  <a:spcPct val="0"/>
                </a:spcBef>
                <a:spcAft>
                  <a:spcPct val="35000"/>
                </a:spcAft>
                <a:buNone/>
              </a:pPr>
              <a:r>
                <a:rPr lang="en-ZA" b="1">
                  <a:solidFill>
                    <a:schemeClr val="bg1"/>
                  </a:solidFill>
                  <a:latin typeface="Arial" panose="020B0604020202020204" pitchFamily="34" charset="0"/>
                  <a:cs typeface="Arial" panose="020B0604020202020204" pitchFamily="34" charset="0"/>
                </a:rPr>
                <a:t>Stakeholder Management Practice </a:t>
              </a:r>
            </a:p>
            <a:p>
              <a:pPr marL="447675" lvl="0" indent="-447675" algn="l" defTabSz="1111250">
                <a:lnSpc>
                  <a:spcPct val="90000"/>
                </a:lnSpc>
                <a:spcBef>
                  <a:spcPct val="0"/>
                </a:spcBef>
                <a:spcAft>
                  <a:spcPct val="35000"/>
                </a:spcAft>
                <a:buFont typeface="+mj-lt"/>
                <a:buAutoNum type="arabicPeriod"/>
              </a:pPr>
              <a:r>
                <a:rPr lang="en-US" sz="1600">
                  <a:solidFill>
                    <a:schemeClr val="bg1"/>
                  </a:solidFill>
                  <a:latin typeface="Arial" panose="020B0604020202020204" pitchFamily="34" charset="0"/>
                  <a:ea typeface="Cambria" panose="02040503050406030204" pitchFamily="18" charset="0"/>
                  <a:cs typeface="Arial" panose="020B0604020202020204" pitchFamily="34" charset="0"/>
                </a:rPr>
                <a:t>Key s</a:t>
              </a:r>
              <a:r>
                <a:rPr lang="en-US" sz="1600">
                  <a:solidFill>
                    <a:schemeClr val="bg1"/>
                  </a:solidFill>
                  <a:effectLst/>
                  <a:latin typeface="Arial" panose="020B0604020202020204" pitchFamily="34" charset="0"/>
                  <a:ea typeface="Cambria" panose="02040503050406030204" pitchFamily="18" charset="0"/>
                  <a:cs typeface="Arial" panose="020B0604020202020204" pitchFamily="34" charset="0"/>
                </a:rPr>
                <a:t>takeholder event focused on co-hosting the Inaugural Presidential Awards and SMME and Co-operatives Summit with DSBD, Seda &amp; 22 on Sloane.</a:t>
              </a:r>
            </a:p>
            <a:p>
              <a:pPr marL="447675" lvl="0" indent="-447675" algn="l" defTabSz="1111250">
                <a:lnSpc>
                  <a:spcPct val="90000"/>
                </a:lnSpc>
                <a:spcBef>
                  <a:spcPct val="0"/>
                </a:spcBef>
                <a:spcAft>
                  <a:spcPct val="35000"/>
                </a:spcAft>
                <a:buFont typeface="+mj-lt"/>
                <a:buAutoNum type="arabicPeriod"/>
              </a:pPr>
              <a:r>
                <a:rPr lang="en-US" sz="1600">
                  <a:solidFill>
                    <a:schemeClr val="bg1"/>
                  </a:solidFill>
                  <a:latin typeface="Arial" panose="020B0604020202020204" pitchFamily="34" charset="0"/>
                  <a:ea typeface="Cambria" panose="02040503050406030204" pitchFamily="18" charset="0"/>
                  <a:cs typeface="Arial" panose="020B0604020202020204" pitchFamily="34" charset="0"/>
                </a:rPr>
                <a:t>S</a:t>
              </a:r>
              <a:r>
                <a:rPr lang="en-US" sz="1600">
                  <a:solidFill>
                    <a:schemeClr val="bg1"/>
                  </a:solidFill>
                  <a:effectLst/>
                  <a:latin typeface="Arial" panose="020B0604020202020204" pitchFamily="34" charset="0"/>
                  <a:ea typeface="Cambria" panose="02040503050406030204" pitchFamily="18" charset="0"/>
                  <a:cs typeface="Arial" panose="020B0604020202020204" pitchFamily="34" charset="0"/>
                </a:rPr>
                <a:t>ponsored 5 SMME events. And participated in other sector events. </a:t>
              </a:r>
            </a:p>
          </p:txBody>
        </p:sp>
      </p:grpSp>
      <p:pic>
        <p:nvPicPr>
          <p:cNvPr id="3" name="Picture 12">
            <a:extLst>
              <a:ext uri="{FF2B5EF4-FFF2-40B4-BE49-F238E27FC236}">
                <a16:creationId xmlns:a16="http://schemas.microsoft.com/office/drawing/2014/main" xmlns="" id="{87D11FDB-F254-A66C-07CC-6BDDAEE738AF}"/>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92040005-2D31-3522-B3D2-343258EB1945}"/>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D8941632-41BD-F2C3-64E3-643FA9174F01}"/>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3755EC45-2724-E897-4555-1060D71FB624}"/>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39056093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7</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Governance (Key Decisions)</a:t>
            </a:r>
          </a:p>
        </p:txBody>
      </p:sp>
      <p:sp>
        <p:nvSpPr>
          <p:cNvPr id="15" name="Rectangle 3">
            <a:extLst>
              <a:ext uri="{FF2B5EF4-FFF2-40B4-BE49-F238E27FC236}">
                <a16:creationId xmlns:a16="http://schemas.microsoft.com/office/drawing/2014/main" xmlns="" id="{3997284E-B677-40A7-9444-7A3B16E1ACEB}"/>
              </a:ext>
            </a:extLst>
          </p:cNvPr>
          <p:cNvSpPr>
            <a:spLocks noChangeArrowheads="1"/>
          </p:cNvSpPr>
          <p:nvPr/>
        </p:nvSpPr>
        <p:spPr bwMode="gray">
          <a:xfrm>
            <a:off x="555471" y="1016620"/>
            <a:ext cx="4136450" cy="4825868"/>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288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ZA" sz="1400" b="1">
                <a:solidFill>
                  <a:srgbClr val="FD6B00"/>
                </a:solidFill>
                <a:cs typeface="Arial" panose="020B0604020202020204" pitchFamily="34" charset="0"/>
              </a:rPr>
              <a:t>Board of Directors</a:t>
            </a:r>
            <a:endParaRPr lang="de-DE" altLang="en-US" sz="1400" b="1">
              <a:solidFill>
                <a:srgbClr val="FD6B00"/>
              </a:solidFill>
              <a:cs typeface="Arial" panose="020B0604020202020204" pitchFamily="34" charset="0"/>
            </a:endParaRPr>
          </a:p>
          <a:p>
            <a:pPr marL="366713" lvl="1" indent="-171450">
              <a:spcBef>
                <a:spcPct val="30000"/>
              </a:spcBef>
              <a:buClr>
                <a:schemeClr val="tx2"/>
              </a:buClr>
              <a:buFont typeface="Arial" panose="020B0604020202020204" pitchFamily="34" charset="0"/>
              <a:buChar char="•"/>
            </a:pPr>
            <a:r>
              <a:rPr lang="en-US" sz="1200">
                <a:effectLst/>
                <a:ea typeface="Times New Roman" panose="02020603050405020304" pitchFamily="18" charset="0"/>
                <a:cs typeface="Arial" panose="020B0604020202020204" pitchFamily="34" charset="0"/>
              </a:rPr>
              <a:t>Approved the Q2 sefa Performance Report for submission to the Shareholder and Executive Authority.</a:t>
            </a:r>
          </a:p>
          <a:p>
            <a:pPr marL="366713" lvl="1" indent="-171450">
              <a:spcBef>
                <a:spcPct val="30000"/>
              </a:spcBef>
              <a:buClr>
                <a:schemeClr val="tx2"/>
              </a:buClr>
              <a:buFont typeface="Arial" panose="020B0604020202020204" pitchFamily="34" charset="0"/>
              <a:buChar char="•"/>
            </a:pPr>
            <a:r>
              <a:rPr lang="en-US" sz="1200">
                <a:effectLst/>
                <a:ea typeface="Times New Roman" panose="02020603050405020304" pitchFamily="18" charset="0"/>
                <a:cs typeface="Arial" panose="020B0604020202020204" pitchFamily="34" charset="0"/>
              </a:rPr>
              <a:t>Approved the sefa Fixed Assets Policy.</a:t>
            </a:r>
          </a:p>
          <a:p>
            <a:pPr marL="366713" lvl="1" indent="-171450">
              <a:spcBef>
                <a:spcPct val="30000"/>
              </a:spcBef>
              <a:buClr>
                <a:schemeClr val="tx2"/>
              </a:buClr>
              <a:buFont typeface="Arial" panose="020B0604020202020204" pitchFamily="34" charset="0"/>
              <a:buChar char="•"/>
            </a:pPr>
            <a:r>
              <a:rPr lang="en-US" sz="1200">
                <a:effectLst/>
                <a:ea typeface="Times New Roman" panose="02020603050405020304" pitchFamily="18" charset="0"/>
                <a:cs typeface="Arial" panose="020B0604020202020204" pitchFamily="34" charset="0"/>
              </a:rPr>
              <a:t>Approved the sefa Petty Cash Policy.</a:t>
            </a:r>
          </a:p>
          <a:p>
            <a:pPr marL="366713" lvl="1" indent="-171450">
              <a:spcBef>
                <a:spcPct val="30000"/>
              </a:spcBef>
              <a:buClr>
                <a:schemeClr val="tx2"/>
              </a:buClr>
              <a:buFont typeface="Arial" panose="020B0604020202020204" pitchFamily="34" charset="0"/>
              <a:buChar char="•"/>
            </a:pPr>
            <a:r>
              <a:rPr lang="en-US" sz="1200">
                <a:effectLst/>
                <a:ea typeface="Times New Roman" panose="02020603050405020304" pitchFamily="18" charset="0"/>
                <a:cs typeface="Arial" panose="020B0604020202020204" pitchFamily="34" charset="0"/>
              </a:rPr>
              <a:t>Approved the sefa Combined Assurance Policy.</a:t>
            </a:r>
          </a:p>
          <a:p>
            <a:pPr marL="366713" lvl="1" indent="-171450">
              <a:spcBef>
                <a:spcPct val="30000"/>
              </a:spcBef>
              <a:buClr>
                <a:schemeClr val="tx2"/>
              </a:buClr>
              <a:buFont typeface="Arial" panose="020B0604020202020204" pitchFamily="34" charset="0"/>
              <a:buChar char="•"/>
            </a:pPr>
            <a:r>
              <a:rPr lang="en-US" sz="1200">
                <a:effectLst/>
                <a:ea typeface="Times New Roman" panose="02020603050405020304" pitchFamily="18" charset="0"/>
                <a:cs typeface="Arial" panose="020B0604020202020204" pitchFamily="34" charset="0"/>
              </a:rPr>
              <a:t>Approved the recommendations of a forensic investigation on a sefa client in accordance with the provisions of the Prevention and Combating of Corrupt Activities Act, No. 12 of 2004 ("PRECCA").</a:t>
            </a:r>
          </a:p>
          <a:p>
            <a:pPr marL="366713" lvl="1" indent="-171450">
              <a:spcBef>
                <a:spcPct val="30000"/>
              </a:spcBef>
              <a:buClr>
                <a:schemeClr val="tx2"/>
              </a:buClr>
              <a:buFont typeface="Arial" panose="020B0604020202020204" pitchFamily="34" charset="0"/>
              <a:buChar char="•"/>
            </a:pPr>
            <a:r>
              <a:rPr lang="en-US" sz="1200">
                <a:effectLst/>
                <a:ea typeface="Times New Roman" panose="02020603050405020304" pitchFamily="18" charset="0"/>
                <a:cs typeface="Arial" panose="020B0604020202020204" pitchFamily="34" charset="0"/>
              </a:rPr>
              <a:t>Appointed a sefa internal incumbent Acting General Legal Counsel for a 24-month period.</a:t>
            </a:r>
          </a:p>
          <a:p>
            <a:pPr marL="366713" lvl="1" indent="-171450">
              <a:spcBef>
                <a:spcPct val="30000"/>
              </a:spcBef>
              <a:buClr>
                <a:schemeClr val="tx2"/>
              </a:buClr>
              <a:buFont typeface="Arial" panose="020B0604020202020204" pitchFamily="34" charset="0"/>
              <a:buChar char="•"/>
            </a:pPr>
            <a:r>
              <a:rPr lang="en-US" sz="1200">
                <a:effectLst/>
                <a:ea typeface="Times New Roman" panose="02020603050405020304" pitchFamily="18" charset="0"/>
                <a:cs typeface="Arial" panose="020B0604020202020204" pitchFamily="34" charset="0"/>
              </a:rPr>
              <a:t>Appointed an Executive Manager: Wholesale Lending for a 24-month period.</a:t>
            </a:r>
          </a:p>
          <a:p>
            <a:pPr marL="366713" lvl="1" indent="-171450">
              <a:spcBef>
                <a:spcPct val="30000"/>
              </a:spcBef>
              <a:buClr>
                <a:schemeClr val="tx2"/>
              </a:buClr>
              <a:buFont typeface="Arial" panose="020B0604020202020204" pitchFamily="34" charset="0"/>
              <a:buChar char="•"/>
            </a:pPr>
            <a:endParaRPr lang="en-US" sz="1200">
              <a:effectLst/>
              <a:ea typeface="Times New Roman" panose="02020603050405020304" pitchFamily="18" charset="0"/>
              <a:cs typeface="Arial" panose="020B0604020202020204" pitchFamily="34" charset="0"/>
            </a:endParaRPr>
          </a:p>
          <a:p>
            <a:pPr lvl="1">
              <a:spcBef>
                <a:spcPct val="30000"/>
              </a:spcBef>
              <a:buClr>
                <a:schemeClr val="tx2"/>
              </a:buClr>
              <a:buFont typeface="Wingdings" panose="05000000000000000000" pitchFamily="2" charset="2"/>
              <a:buChar char="n"/>
            </a:pPr>
            <a:endParaRPr lang="en-ZA" sz="1200">
              <a:effectLst/>
              <a:ea typeface="Calibri" panose="020F0502020204030204" pitchFamily="34" charset="0"/>
              <a:cs typeface="Arial" panose="020B0604020202020204" pitchFamily="34" charset="0"/>
            </a:endParaRPr>
          </a:p>
          <a:p>
            <a:pPr lvl="1">
              <a:spcBef>
                <a:spcPct val="30000"/>
              </a:spcBef>
              <a:buClr>
                <a:schemeClr val="tx2"/>
              </a:buClr>
              <a:buFont typeface="Wingdings" panose="05000000000000000000" pitchFamily="2" charset="2"/>
              <a:buChar char="n"/>
            </a:pPr>
            <a:endParaRPr lang="en-ZA" sz="1200">
              <a:effectLst/>
              <a:ea typeface="Calibri" panose="020F0502020204030204" pitchFamily="34" charset="0"/>
              <a:cs typeface="Arial" panose="020B0604020202020204" pitchFamily="34" charset="0"/>
            </a:endParaRPr>
          </a:p>
          <a:p>
            <a:pPr lvl="1">
              <a:spcBef>
                <a:spcPct val="30000"/>
              </a:spcBef>
              <a:buClr>
                <a:schemeClr val="tx2"/>
              </a:buClr>
              <a:buFont typeface="Wingdings" panose="05000000000000000000" pitchFamily="2" charset="2"/>
              <a:buChar char="n"/>
            </a:pPr>
            <a:endParaRPr lang="en-US" altLang="en-US" sz="1200">
              <a:cs typeface="Arial" panose="020B0604020202020204" pitchFamily="34" charset="0"/>
            </a:endParaRPr>
          </a:p>
          <a:p>
            <a:pPr marL="0" indent="0">
              <a:spcBef>
                <a:spcPct val="30000"/>
              </a:spcBef>
              <a:buClr>
                <a:schemeClr val="tx2"/>
              </a:buClr>
            </a:pPr>
            <a:endParaRPr lang="de-DE" altLang="en-US" sz="1200">
              <a:cs typeface="Arial" panose="020B0604020202020204" pitchFamily="34" charset="0"/>
            </a:endParaRPr>
          </a:p>
        </p:txBody>
      </p:sp>
      <p:sp>
        <p:nvSpPr>
          <p:cNvPr id="16" name="Rectangle 4">
            <a:extLst>
              <a:ext uri="{FF2B5EF4-FFF2-40B4-BE49-F238E27FC236}">
                <a16:creationId xmlns:a16="http://schemas.microsoft.com/office/drawing/2014/main" xmlns="" id="{C5D28DEF-B8DC-4346-9185-FA48A16CCB36}"/>
              </a:ext>
            </a:extLst>
          </p:cNvPr>
          <p:cNvSpPr>
            <a:spLocks noChangeArrowheads="1"/>
          </p:cNvSpPr>
          <p:nvPr/>
        </p:nvSpPr>
        <p:spPr bwMode="gray">
          <a:xfrm>
            <a:off x="4746979" y="1034807"/>
            <a:ext cx="3977296" cy="4824505"/>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US" sz="1400" b="1">
                <a:solidFill>
                  <a:srgbClr val="FD6B00"/>
                </a:solidFill>
                <a:cs typeface="Arial" panose="020B0604020202020204" pitchFamily="34" charset="0"/>
              </a:rPr>
              <a:t>Board Credit and Investment Committee Meeting</a:t>
            </a:r>
          </a:p>
          <a:p>
            <a:pPr marL="171450" indent="-171450">
              <a:spcBef>
                <a:spcPct val="30000"/>
              </a:spcBef>
              <a:buClr>
                <a:schemeClr val="tx2"/>
              </a:buClr>
              <a:buFont typeface="Arial" panose="020B0604020202020204" pitchFamily="34" charset="0"/>
              <a:buChar char="•"/>
            </a:pPr>
            <a:r>
              <a:rPr lang="en-US" altLang="en-US" sz="1200">
                <a:cs typeface="Arial" panose="020B0604020202020204" pitchFamily="34" charset="0"/>
              </a:rPr>
              <a:t>Approved the extension of the security/collateral mechanisms to include escrow accounts, cession of investment with financial institutions amongst other on the Purchase Order Product.</a:t>
            </a:r>
            <a:endParaRPr lang="de-DE" altLang="en-US" sz="1200">
              <a:cs typeface="Arial" panose="020B0604020202020204" pitchFamily="34" charset="0"/>
            </a:endParaRPr>
          </a:p>
        </p:txBody>
      </p:sp>
      <p:sp>
        <p:nvSpPr>
          <p:cNvPr id="19" name="AutoShape 7">
            <a:extLst>
              <a:ext uri="{FF2B5EF4-FFF2-40B4-BE49-F238E27FC236}">
                <a16:creationId xmlns:a16="http://schemas.microsoft.com/office/drawing/2014/main" xmlns="" id="{8E65B48F-6343-41A9-B647-E4235CA57471}"/>
              </a:ext>
            </a:extLst>
          </p:cNvPr>
          <p:cNvSpPr>
            <a:spLocks noChangeArrowheads="1"/>
          </p:cNvSpPr>
          <p:nvPr/>
        </p:nvSpPr>
        <p:spPr bwMode="gray">
          <a:xfrm>
            <a:off x="4764946" y="4869350"/>
            <a:ext cx="1060450" cy="973138"/>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wrap="none" lIns="0" tIns="0" rIns="0" bIns="0" anchor="b"/>
          <a:lstStyle/>
          <a:p>
            <a:pPr>
              <a:buFont typeface="Wingdings" panose="05000000000000000000" pitchFamily="2" charset="2"/>
              <a:buNone/>
            </a:pPr>
            <a:r>
              <a:rPr lang="de-DE" altLang="en-US" sz="4000">
                <a:solidFill>
                  <a:schemeClr val="bg1"/>
                </a:solidFill>
              </a:rPr>
              <a:t>1</a:t>
            </a:r>
          </a:p>
        </p:txBody>
      </p:sp>
      <p:sp>
        <p:nvSpPr>
          <p:cNvPr id="22" name="AutoShape 10">
            <a:extLst>
              <a:ext uri="{FF2B5EF4-FFF2-40B4-BE49-F238E27FC236}">
                <a16:creationId xmlns:a16="http://schemas.microsoft.com/office/drawing/2014/main" xmlns="" id="{3B7BB6FE-EA2B-41DA-B6BB-D0CDA862ED71}"/>
              </a:ext>
            </a:extLst>
          </p:cNvPr>
          <p:cNvSpPr>
            <a:spLocks noChangeArrowheads="1"/>
          </p:cNvSpPr>
          <p:nvPr/>
        </p:nvSpPr>
        <p:spPr bwMode="gray">
          <a:xfrm rot="16200000">
            <a:off x="3683247" y="4825694"/>
            <a:ext cx="973138" cy="1060450"/>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vert="eaVert" wrap="none" lIns="0" tIns="0" rIns="0" bIns="0" anchor="b"/>
          <a:lstStyle/>
          <a:p>
            <a:pPr algn="r">
              <a:buFont typeface="Wingdings" panose="05000000000000000000" pitchFamily="2" charset="2"/>
              <a:buNone/>
            </a:pPr>
            <a:r>
              <a:rPr lang="de-DE" altLang="en-US" sz="4000">
                <a:solidFill>
                  <a:schemeClr val="bg1"/>
                </a:solidFill>
              </a:rPr>
              <a:t>5</a:t>
            </a:r>
          </a:p>
        </p:txBody>
      </p:sp>
      <p:pic>
        <p:nvPicPr>
          <p:cNvPr id="3" name="Picture 12">
            <a:extLst>
              <a:ext uri="{FF2B5EF4-FFF2-40B4-BE49-F238E27FC236}">
                <a16:creationId xmlns:a16="http://schemas.microsoft.com/office/drawing/2014/main" xmlns="" id="{7E2EC248-8596-B1D4-7B71-199638BEF9BA}"/>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5D2A34ED-56EC-ABEF-DEA8-8CA4FA809A6B}"/>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F1A37B9A-3FEA-0585-10C5-6CED44722BA1}"/>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32CD3C0E-FBEC-E80F-94CB-0CEF41AA1944}"/>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79525066"/>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8</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txBody>
          <a:bodyPr/>
          <a:lstStyle/>
          <a:p>
            <a:endParaRPr lang="en-ZA"/>
          </a:p>
        </p:txBody>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Governance (cont.)</a:t>
            </a:r>
          </a:p>
        </p:txBody>
      </p:sp>
      <p:sp>
        <p:nvSpPr>
          <p:cNvPr id="15" name="Rectangle 3">
            <a:extLst>
              <a:ext uri="{FF2B5EF4-FFF2-40B4-BE49-F238E27FC236}">
                <a16:creationId xmlns:a16="http://schemas.microsoft.com/office/drawing/2014/main" xmlns="" id="{3997284E-B677-40A7-9444-7A3B16E1ACEB}"/>
              </a:ext>
            </a:extLst>
          </p:cNvPr>
          <p:cNvSpPr>
            <a:spLocks noChangeArrowheads="1"/>
          </p:cNvSpPr>
          <p:nvPr/>
        </p:nvSpPr>
        <p:spPr bwMode="gray">
          <a:xfrm>
            <a:off x="555471" y="764704"/>
            <a:ext cx="3949700" cy="2368055"/>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288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de-DE" altLang="en-US" sz="1400" b="1" err="1">
                <a:solidFill>
                  <a:srgbClr val="FD6B00"/>
                </a:solidFill>
                <a:cs typeface="Arial" panose="020B0604020202020204" pitchFamily="34" charset="0"/>
              </a:rPr>
              <a:t>Nominations</a:t>
            </a:r>
            <a:r>
              <a:rPr lang="de-DE" altLang="en-US" sz="1400" b="1">
                <a:solidFill>
                  <a:srgbClr val="FD6B00"/>
                </a:solidFill>
                <a:cs typeface="Arial" panose="020B0604020202020204" pitchFamily="34" charset="0"/>
              </a:rPr>
              <a:t> Committee</a:t>
            </a:r>
            <a:endParaRPr lang="en-US" altLang="en-US" sz="1200">
              <a:cs typeface="Arial" panose="020B0604020202020204" pitchFamily="34" charset="0"/>
            </a:endParaRPr>
          </a:p>
          <a:p>
            <a:pPr marL="0" indent="0">
              <a:spcBef>
                <a:spcPct val="30000"/>
              </a:spcBef>
              <a:buClr>
                <a:schemeClr val="tx2"/>
              </a:buClr>
            </a:pPr>
            <a:r>
              <a:rPr lang="en-US" altLang="en-US" sz="1200">
                <a:cs typeface="Arial" panose="020B0604020202020204" pitchFamily="34" charset="0"/>
              </a:rPr>
              <a:t>Approved and recommended actions based on the recommendations stemming from a forensic investigation on a sefa client, in accordance with the provisions of the Prevention and Combating of Corrupt Activities Act, No. 12 of 2004 ("PRECCA") and sefa internal disciplinary process.</a:t>
            </a:r>
            <a:endParaRPr lang="de-DE" altLang="en-US" sz="1200">
              <a:cs typeface="Arial" panose="020B0604020202020204" pitchFamily="34" charset="0"/>
            </a:endParaRPr>
          </a:p>
        </p:txBody>
      </p:sp>
      <p:sp>
        <p:nvSpPr>
          <p:cNvPr id="16" name="Rectangle 4">
            <a:extLst>
              <a:ext uri="{FF2B5EF4-FFF2-40B4-BE49-F238E27FC236}">
                <a16:creationId xmlns:a16="http://schemas.microsoft.com/office/drawing/2014/main" xmlns="" id="{C5D28DEF-B8DC-4346-9185-FA48A16CCB36}"/>
              </a:ext>
            </a:extLst>
          </p:cNvPr>
          <p:cNvSpPr>
            <a:spLocks noChangeArrowheads="1"/>
          </p:cNvSpPr>
          <p:nvPr/>
        </p:nvSpPr>
        <p:spPr bwMode="gray">
          <a:xfrm>
            <a:off x="4540096" y="746626"/>
            <a:ext cx="3949700" cy="2386133"/>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ZA" sz="1400" b="1">
                <a:solidFill>
                  <a:srgbClr val="FD6B00"/>
                </a:solidFill>
                <a:cs typeface="Arial" panose="020B0604020202020204" pitchFamily="34" charset="0"/>
              </a:rPr>
              <a:t>Audit Committee</a:t>
            </a:r>
          </a:p>
          <a:p>
            <a:pPr marL="171450" indent="-171450">
              <a:spcBef>
                <a:spcPct val="30000"/>
              </a:spcBef>
              <a:buClr>
                <a:schemeClr val="tx2"/>
              </a:buClr>
              <a:buFont typeface="Arial" panose="020B0604020202020204" pitchFamily="34" charset="0"/>
              <a:buChar char="•"/>
            </a:pPr>
            <a:r>
              <a:rPr lang="en-US" altLang="en-US" sz="1200">
                <a:cs typeface="Arial" panose="020B0604020202020204" pitchFamily="34" charset="0"/>
              </a:rPr>
              <a:t>Approved the Q2FY2022/23 </a:t>
            </a:r>
            <a:r>
              <a:rPr lang="en-US" altLang="en-US" sz="1200" err="1">
                <a:cs typeface="Arial" panose="020B0604020202020204" pitchFamily="34" charset="0"/>
              </a:rPr>
              <a:t>Khula</a:t>
            </a:r>
            <a:r>
              <a:rPr lang="en-US" altLang="en-US" sz="1200">
                <a:cs typeface="Arial" panose="020B0604020202020204" pitchFamily="34" charset="0"/>
              </a:rPr>
              <a:t> Business Premises (“KBP") Management Accounts and recommended to the KBP Board for noting.</a:t>
            </a:r>
          </a:p>
          <a:p>
            <a:pPr marL="171450" indent="-171450">
              <a:spcBef>
                <a:spcPct val="30000"/>
              </a:spcBef>
              <a:buClr>
                <a:schemeClr val="tx2"/>
              </a:buClr>
              <a:buFont typeface="Arial" panose="020B0604020202020204" pitchFamily="34" charset="0"/>
              <a:buChar char="•"/>
            </a:pPr>
            <a:r>
              <a:rPr lang="en-US" altLang="en-US" sz="1200">
                <a:cs typeface="Arial" panose="020B0604020202020204" pitchFamily="34" charset="0"/>
              </a:rPr>
              <a:t>Recommended that the </a:t>
            </a:r>
            <a:r>
              <a:rPr lang="en-US" altLang="en-US" sz="1200" err="1">
                <a:cs typeface="Arial" panose="020B0604020202020204" pitchFamily="34" charset="0"/>
              </a:rPr>
              <a:t>Khula</a:t>
            </a:r>
            <a:r>
              <a:rPr lang="en-US" altLang="en-US" sz="1200">
                <a:cs typeface="Arial" panose="020B0604020202020204" pitchFamily="34" charset="0"/>
              </a:rPr>
              <a:t> Business Properties Board of Directors considers the disposal of 17 (seventeen) properties at market value.</a:t>
            </a:r>
          </a:p>
        </p:txBody>
      </p:sp>
      <p:sp>
        <p:nvSpPr>
          <p:cNvPr id="17" name="Rectangle 5">
            <a:extLst>
              <a:ext uri="{FF2B5EF4-FFF2-40B4-BE49-F238E27FC236}">
                <a16:creationId xmlns:a16="http://schemas.microsoft.com/office/drawing/2014/main" xmlns="" id="{008A75AB-4886-4C11-8C5C-99924521AFFC}"/>
              </a:ext>
            </a:extLst>
          </p:cNvPr>
          <p:cNvSpPr>
            <a:spLocks noChangeArrowheads="1"/>
          </p:cNvSpPr>
          <p:nvPr/>
        </p:nvSpPr>
        <p:spPr bwMode="gray">
          <a:xfrm>
            <a:off x="553884" y="3167683"/>
            <a:ext cx="3949700" cy="2368053"/>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288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ZA" sz="1400" b="1">
                <a:solidFill>
                  <a:srgbClr val="FD6B00"/>
                </a:solidFill>
                <a:cs typeface="Arial" panose="020B0604020202020204" pitchFamily="34" charset="0"/>
              </a:rPr>
              <a:t>Risk Committee </a:t>
            </a:r>
          </a:p>
          <a:p>
            <a:pPr marL="366713" lvl="1" indent="-171450">
              <a:spcBef>
                <a:spcPct val="30000"/>
              </a:spcBef>
              <a:buClr>
                <a:schemeClr val="tx2"/>
              </a:buClr>
              <a:buFont typeface="Arial" panose="020B0604020202020204" pitchFamily="34" charset="0"/>
              <a:buChar char="•"/>
            </a:pPr>
            <a:r>
              <a:rPr lang="en-US" sz="1200" kern="1200">
                <a:solidFill>
                  <a:schemeClr val="dk1"/>
                </a:solidFill>
                <a:effectLst/>
                <a:cs typeface="Arial" panose="020B0604020202020204" pitchFamily="34" charset="0"/>
              </a:rPr>
              <a:t>Recommended the KCG Risk Management Strategy, Risk Taxonomy and Risk Appetite Statement to the KCG Board.</a:t>
            </a:r>
          </a:p>
          <a:p>
            <a:pPr marL="366713" lvl="1" indent="-171450">
              <a:spcBef>
                <a:spcPct val="30000"/>
              </a:spcBef>
              <a:buClr>
                <a:schemeClr val="tx2"/>
              </a:buClr>
              <a:buFont typeface="Arial" panose="020B0604020202020204" pitchFamily="34" charset="0"/>
              <a:buChar char="•"/>
            </a:pPr>
            <a:r>
              <a:rPr lang="en-US" sz="1200" kern="1200">
                <a:solidFill>
                  <a:schemeClr val="dk1"/>
                </a:solidFill>
                <a:effectLst/>
                <a:cs typeface="Arial" panose="020B0604020202020204" pitchFamily="34" charset="0"/>
              </a:rPr>
              <a:t>Recommended the KCG Risk Assessment Report FY2022/23 to the KCG Board.</a:t>
            </a:r>
          </a:p>
          <a:p>
            <a:pPr marL="366713" lvl="1" indent="-171450">
              <a:spcBef>
                <a:spcPct val="30000"/>
              </a:spcBef>
              <a:buClr>
                <a:schemeClr val="tx2"/>
              </a:buClr>
              <a:buFont typeface="Arial" panose="020B0604020202020204" pitchFamily="34" charset="0"/>
              <a:buChar char="•"/>
            </a:pPr>
            <a:r>
              <a:rPr lang="en-US" sz="1200" kern="1200">
                <a:solidFill>
                  <a:schemeClr val="dk1"/>
                </a:solidFill>
                <a:effectLst/>
                <a:cs typeface="Arial" panose="020B0604020202020204" pitchFamily="34" charset="0"/>
              </a:rPr>
              <a:t>Recommended the Anti-Money Laundering Policy to the sefa Board.</a:t>
            </a:r>
          </a:p>
          <a:p>
            <a:pPr marL="0" indent="0">
              <a:spcBef>
                <a:spcPct val="30000"/>
              </a:spcBef>
              <a:buClr>
                <a:schemeClr val="tx2"/>
              </a:buClr>
            </a:pPr>
            <a:endParaRPr lang="de-DE" altLang="en-US" sz="1200">
              <a:cs typeface="Arial" panose="020B0604020202020204" pitchFamily="34" charset="0"/>
            </a:endParaRPr>
          </a:p>
        </p:txBody>
      </p:sp>
      <p:sp>
        <p:nvSpPr>
          <p:cNvPr id="18" name="Rectangle 6">
            <a:extLst>
              <a:ext uri="{FF2B5EF4-FFF2-40B4-BE49-F238E27FC236}">
                <a16:creationId xmlns:a16="http://schemas.microsoft.com/office/drawing/2014/main" xmlns="" id="{734F269A-C0C1-4A69-A01C-A7F9991624BA}"/>
              </a:ext>
            </a:extLst>
          </p:cNvPr>
          <p:cNvSpPr>
            <a:spLocks noChangeArrowheads="1"/>
          </p:cNvSpPr>
          <p:nvPr/>
        </p:nvSpPr>
        <p:spPr bwMode="gray">
          <a:xfrm>
            <a:off x="4540096" y="3167683"/>
            <a:ext cx="3949700" cy="2368055"/>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de-DE" altLang="en-US" sz="1300" b="1">
                <a:solidFill>
                  <a:srgbClr val="FD6B00"/>
                </a:solidFill>
                <a:cs typeface="Arial" panose="020B0604020202020204" pitchFamily="34" charset="0"/>
              </a:rPr>
              <a:t>Human Capital &amp; Remuneration Committee</a:t>
            </a:r>
          </a:p>
          <a:p>
            <a:pPr marL="179388" lvl="1" indent="-179388">
              <a:spcBef>
                <a:spcPct val="30000"/>
              </a:spcBef>
              <a:buClr>
                <a:schemeClr val="tx2"/>
              </a:buClr>
              <a:buFont typeface="Arial" panose="020B0604020202020204" pitchFamily="34" charset="0"/>
              <a:buChar char="•"/>
            </a:pPr>
            <a:r>
              <a:rPr lang="en-US" sz="1200" kern="1200">
                <a:solidFill>
                  <a:schemeClr val="dk1"/>
                </a:solidFill>
                <a:effectLst/>
                <a:cs typeface="Arial" panose="020B0604020202020204" pitchFamily="34" charset="0"/>
              </a:rPr>
              <a:t>Recommended the appointment of Acting General Legal Counsel.</a:t>
            </a:r>
          </a:p>
          <a:p>
            <a:pPr marL="179388" lvl="1" indent="-179388">
              <a:spcBef>
                <a:spcPct val="30000"/>
              </a:spcBef>
              <a:buClr>
                <a:schemeClr val="tx2"/>
              </a:buClr>
              <a:buFont typeface="Arial" panose="020B0604020202020204" pitchFamily="34" charset="0"/>
              <a:buChar char="•"/>
            </a:pPr>
            <a:r>
              <a:rPr lang="en-US" sz="1200" kern="1200">
                <a:solidFill>
                  <a:schemeClr val="dk1"/>
                </a:solidFill>
                <a:effectLst/>
                <a:cs typeface="Arial" panose="020B0604020202020204" pitchFamily="34" charset="0"/>
              </a:rPr>
              <a:t>Approved the performance rating of the Executive Manager: Post Investment Monitoring and recommended to the sefa Board for confirmation prior to implementation. </a:t>
            </a:r>
          </a:p>
          <a:p>
            <a:pPr>
              <a:spcBef>
                <a:spcPct val="30000"/>
              </a:spcBef>
              <a:buClr>
                <a:schemeClr val="tx2"/>
              </a:buClr>
              <a:buFont typeface="Wingdings" panose="05000000000000000000" pitchFamily="2" charset="2"/>
              <a:buChar char="n"/>
            </a:pPr>
            <a:endParaRPr lang="de-DE" altLang="en-US" sz="1200">
              <a:cs typeface="Arial" panose="020B0604020202020204" pitchFamily="34" charset="0"/>
            </a:endParaRPr>
          </a:p>
        </p:txBody>
      </p:sp>
      <p:sp>
        <p:nvSpPr>
          <p:cNvPr id="19" name="AutoShape 7">
            <a:extLst>
              <a:ext uri="{FF2B5EF4-FFF2-40B4-BE49-F238E27FC236}">
                <a16:creationId xmlns:a16="http://schemas.microsoft.com/office/drawing/2014/main" xmlns="" id="{8E65B48F-6343-41A9-B647-E4235CA57471}"/>
              </a:ext>
            </a:extLst>
          </p:cNvPr>
          <p:cNvSpPr>
            <a:spLocks noChangeArrowheads="1"/>
          </p:cNvSpPr>
          <p:nvPr/>
        </p:nvSpPr>
        <p:spPr bwMode="gray">
          <a:xfrm>
            <a:off x="4540096" y="2159621"/>
            <a:ext cx="1060450" cy="973138"/>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wrap="none" lIns="0" tIns="0" rIns="0" bIns="0" anchor="b"/>
          <a:lstStyle/>
          <a:p>
            <a:pPr>
              <a:buFont typeface="Wingdings" panose="05000000000000000000" pitchFamily="2" charset="2"/>
              <a:buNone/>
            </a:pPr>
            <a:r>
              <a:rPr lang="de-DE" altLang="en-US" sz="4000">
                <a:solidFill>
                  <a:schemeClr val="bg1"/>
                </a:solidFill>
              </a:rPr>
              <a:t>2</a:t>
            </a:r>
          </a:p>
        </p:txBody>
      </p:sp>
      <p:sp>
        <p:nvSpPr>
          <p:cNvPr id="20" name="AutoShape 8">
            <a:extLst>
              <a:ext uri="{FF2B5EF4-FFF2-40B4-BE49-F238E27FC236}">
                <a16:creationId xmlns:a16="http://schemas.microsoft.com/office/drawing/2014/main" xmlns="" id="{FC1C1398-E306-41F1-B4A3-F969EB28FC25}"/>
              </a:ext>
            </a:extLst>
          </p:cNvPr>
          <p:cNvSpPr>
            <a:spLocks noChangeArrowheads="1"/>
          </p:cNvSpPr>
          <p:nvPr/>
        </p:nvSpPr>
        <p:spPr bwMode="gray">
          <a:xfrm rot="5400000">
            <a:off x="4583752" y="3124028"/>
            <a:ext cx="973137" cy="1060450"/>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rot="10800000" vert="eaVert" wrap="none" lIns="0" tIns="0" rIns="0" bIns="0"/>
          <a:lstStyle/>
          <a:p>
            <a:pPr>
              <a:buFont typeface="Wingdings" panose="05000000000000000000" pitchFamily="2" charset="2"/>
              <a:buNone/>
            </a:pPr>
            <a:r>
              <a:rPr lang="de-DE" altLang="en-US" sz="4000">
                <a:solidFill>
                  <a:schemeClr val="bg1"/>
                </a:solidFill>
              </a:rPr>
              <a:t>1</a:t>
            </a:r>
          </a:p>
        </p:txBody>
      </p:sp>
      <p:sp>
        <p:nvSpPr>
          <p:cNvPr id="21" name="AutoShape 9">
            <a:extLst>
              <a:ext uri="{FF2B5EF4-FFF2-40B4-BE49-F238E27FC236}">
                <a16:creationId xmlns:a16="http://schemas.microsoft.com/office/drawing/2014/main" xmlns="" id="{E2C3AADF-A9B8-451C-A564-C0A544F553AD}"/>
              </a:ext>
            </a:extLst>
          </p:cNvPr>
          <p:cNvSpPr>
            <a:spLocks noChangeArrowheads="1"/>
          </p:cNvSpPr>
          <p:nvPr/>
        </p:nvSpPr>
        <p:spPr bwMode="gray">
          <a:xfrm rot="10800000">
            <a:off x="3444721" y="3167684"/>
            <a:ext cx="1060450" cy="973137"/>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rot="10800000" wrap="none" lIns="0" tIns="0" rIns="0" bIns="0"/>
          <a:lstStyle/>
          <a:p>
            <a:pPr algn="r">
              <a:buFont typeface="Wingdings" panose="05000000000000000000" pitchFamily="2" charset="2"/>
              <a:buNone/>
            </a:pPr>
            <a:r>
              <a:rPr lang="de-DE" altLang="en-US" sz="4000">
                <a:solidFill>
                  <a:schemeClr val="bg1"/>
                </a:solidFill>
              </a:rPr>
              <a:t>1</a:t>
            </a:r>
          </a:p>
        </p:txBody>
      </p:sp>
      <p:sp>
        <p:nvSpPr>
          <p:cNvPr id="22" name="AutoShape 10">
            <a:extLst>
              <a:ext uri="{FF2B5EF4-FFF2-40B4-BE49-F238E27FC236}">
                <a16:creationId xmlns:a16="http://schemas.microsoft.com/office/drawing/2014/main" xmlns="" id="{3B7BB6FE-EA2B-41DA-B6BB-D0CDA862ED71}"/>
              </a:ext>
            </a:extLst>
          </p:cNvPr>
          <p:cNvSpPr>
            <a:spLocks noChangeArrowheads="1"/>
          </p:cNvSpPr>
          <p:nvPr/>
        </p:nvSpPr>
        <p:spPr bwMode="gray">
          <a:xfrm rot="16200000">
            <a:off x="3488377" y="2115965"/>
            <a:ext cx="973138" cy="1060450"/>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vert="eaVert" wrap="none" lIns="0" tIns="0" rIns="0" bIns="0" anchor="b"/>
          <a:lstStyle/>
          <a:p>
            <a:pPr algn="r">
              <a:buFont typeface="Wingdings" panose="05000000000000000000" pitchFamily="2" charset="2"/>
              <a:buNone/>
            </a:pPr>
            <a:r>
              <a:rPr lang="de-DE" altLang="en-US" sz="4000">
                <a:solidFill>
                  <a:schemeClr val="bg1"/>
                </a:solidFill>
              </a:rPr>
              <a:t>1</a:t>
            </a:r>
          </a:p>
        </p:txBody>
      </p:sp>
      <p:pic>
        <p:nvPicPr>
          <p:cNvPr id="3" name="Picture 12">
            <a:extLst>
              <a:ext uri="{FF2B5EF4-FFF2-40B4-BE49-F238E27FC236}">
                <a16:creationId xmlns:a16="http://schemas.microsoft.com/office/drawing/2014/main" xmlns="" id="{8437C064-B01E-DDDD-30FB-10263B59C0B4}"/>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612037B3-1FF4-77E4-9737-D0895724C09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EE670132-CF85-D266-63B3-9495AF515F74}"/>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0A88FE99-BB38-2360-7B5F-607ECE19C149}"/>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62299522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9</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523220"/>
          </a:xfrm>
          <a:prstGeom prst="rect">
            <a:avLst/>
          </a:prstGeom>
          <a:noFill/>
        </p:spPr>
        <p:txBody>
          <a:bodyPr wrap="square" rtlCol="0">
            <a:spAutoFit/>
          </a:bodyPr>
          <a:lstStyle/>
          <a:p>
            <a:r>
              <a:rPr lang="en-US" sz="2800">
                <a:solidFill>
                  <a:prstClr val="white"/>
                </a:solidFill>
                <a:latin typeface="Arial" panose="020B0604020202020204" pitchFamily="34" charset="0"/>
                <a:cs typeface="Arial" panose="020B0604020202020204" pitchFamily="34" charset="0"/>
              </a:rPr>
              <a:t>Interventions to Enhance Organisational Performance</a:t>
            </a:r>
          </a:p>
        </p:txBody>
      </p:sp>
      <p:sp>
        <p:nvSpPr>
          <p:cNvPr id="15" name="TextBox 14">
            <a:extLst>
              <a:ext uri="{FF2B5EF4-FFF2-40B4-BE49-F238E27FC236}">
                <a16:creationId xmlns:a16="http://schemas.microsoft.com/office/drawing/2014/main" xmlns="" id="{FA1C34ED-A104-41BB-A7B0-D622E84AAF82}"/>
              </a:ext>
            </a:extLst>
          </p:cNvPr>
          <p:cNvSpPr txBox="1"/>
          <p:nvPr/>
        </p:nvSpPr>
        <p:spPr>
          <a:xfrm>
            <a:off x="0" y="696354"/>
            <a:ext cx="8860971" cy="5048034"/>
          </a:xfrm>
          <a:prstGeom prst="roundRect">
            <a:avLst>
              <a:gd name="adj" fmla="val 5851"/>
            </a:avLst>
          </a:prstGeom>
          <a:noFill/>
          <a:ln>
            <a:noFill/>
          </a:ln>
        </p:spPr>
        <p:txBody>
          <a:bodyPr wrap="square" lIns="91440" tIns="45720" rIns="91440" bIns="45720" rtlCol="0" anchor="t">
            <a:spAutoFit/>
          </a:bodyPr>
          <a:lstStyle/>
          <a:p>
            <a:pPr marL="800100" indent="-342900" algn="just">
              <a:lnSpc>
                <a:spcPct val="150000"/>
              </a:lnSpc>
              <a:buFont typeface="+mj-lt"/>
              <a:buAutoNum type="arabicPeriod"/>
            </a:pPr>
            <a:r>
              <a:rPr lang="en-ZA" sz="1600" b="1">
                <a:latin typeface="Arial"/>
                <a:cs typeface="Arial"/>
              </a:rPr>
              <a:t>Collections</a:t>
            </a:r>
            <a:endParaRPr lang="en-US" b="1">
              <a:latin typeface="Arial"/>
              <a:cs typeface="Arial"/>
            </a:endParaRPr>
          </a:p>
          <a:p>
            <a:pPr marL="457200" algn="just">
              <a:lnSpc>
                <a:spcPct val="150000"/>
              </a:lnSpc>
            </a:pPr>
            <a:r>
              <a:rPr lang="en-ZA" sz="1500">
                <a:effectLst/>
                <a:latin typeface="Arial"/>
                <a:ea typeface="Calibri" panose="020F0502020204030204" pitchFamily="34" charset="0"/>
                <a:cs typeface="Arial"/>
              </a:rPr>
              <a:t>The PIM Department is currently implementing a short-term collections strategy to combat the declining collection rates as follows:</a:t>
            </a:r>
          </a:p>
          <a:p>
            <a:pPr marL="1257300" lvl="1" indent="-342900" algn="just">
              <a:lnSpc>
                <a:spcPct val="150000"/>
              </a:lnSpc>
              <a:buAutoNum type="alphaLcParenR"/>
            </a:pPr>
            <a:r>
              <a:rPr lang="en-ZA" sz="1500">
                <a:latin typeface="Arial"/>
                <a:ea typeface="Calibri" panose="020F0502020204030204" pitchFamily="34" charset="0"/>
                <a:cs typeface="Arial"/>
              </a:rPr>
              <a:t>Established a dedicated project (Operation </a:t>
            </a:r>
            <a:r>
              <a:rPr lang="en-ZA" sz="1500" err="1">
                <a:latin typeface="Arial"/>
                <a:ea typeface="Calibri" panose="020F0502020204030204" pitchFamily="34" charset="0"/>
                <a:cs typeface="Arial"/>
              </a:rPr>
              <a:t>Bhatala</a:t>
            </a:r>
            <a:r>
              <a:rPr lang="en-ZA" sz="1500">
                <a:latin typeface="Arial"/>
                <a:ea typeface="Calibri" panose="020F0502020204030204" pitchFamily="34" charset="0"/>
                <a:cs typeface="Arial"/>
              </a:rPr>
              <a:t>)</a:t>
            </a:r>
          </a:p>
          <a:p>
            <a:pPr marL="1657350" lvl="2" indent="-285750" algn="just">
              <a:lnSpc>
                <a:spcPct val="150000"/>
              </a:lnSpc>
              <a:buFont typeface="Arial" panose="020B0604020202020204" pitchFamily="34" charset="0"/>
              <a:buChar char="•"/>
            </a:pPr>
            <a:r>
              <a:rPr lang="en-ZA" sz="1500">
                <a:effectLst/>
                <a:latin typeface="Arial"/>
                <a:ea typeface="Calibri" panose="020F0502020204030204" pitchFamily="34" charset="0"/>
                <a:cs typeface="Arial"/>
              </a:rPr>
              <a:t>HQ departmental Managers assigned to support provincial offices on collections</a:t>
            </a:r>
          </a:p>
          <a:p>
            <a:pPr marL="1657350" lvl="2" indent="-285750" algn="just">
              <a:lnSpc>
                <a:spcPct val="150000"/>
              </a:lnSpc>
              <a:buFont typeface="Arial" panose="020B0604020202020204" pitchFamily="34" charset="0"/>
              <a:buChar char="•"/>
            </a:pPr>
            <a:r>
              <a:rPr lang="en-ZA" sz="1500">
                <a:latin typeface="Arial"/>
                <a:ea typeface="Calibri" panose="020F0502020204030204" pitchFamily="34" charset="0"/>
                <a:cs typeface="Arial"/>
              </a:rPr>
              <a:t>A matrix reporting structure implemented through which Regional Managers are held accountable and responsible for their loan book</a:t>
            </a:r>
            <a:endParaRPr lang="en-ZA" sz="1500">
              <a:effectLst/>
              <a:latin typeface="Arial"/>
              <a:ea typeface="Calibri" panose="020F0502020204030204" pitchFamily="34" charset="0"/>
              <a:cs typeface="Arial"/>
            </a:endParaRPr>
          </a:p>
          <a:p>
            <a:pPr marL="1257300" lvl="1" indent="-342900" algn="just">
              <a:lnSpc>
                <a:spcPct val="150000"/>
              </a:lnSpc>
              <a:buAutoNum type="alphaLcParenR"/>
              <a:tabLst>
                <a:tab pos="1258888" algn="l"/>
                <a:tab pos="1978025" algn="l"/>
              </a:tabLst>
            </a:pPr>
            <a:r>
              <a:rPr lang="en-ZA" sz="1500">
                <a:latin typeface="Arial"/>
                <a:cs typeface="Arial"/>
              </a:rPr>
              <a:t>Focus on the high value loan facilities.</a:t>
            </a:r>
          </a:p>
          <a:p>
            <a:pPr marL="1657350" lvl="3" indent="-285750" algn="just">
              <a:lnSpc>
                <a:spcPct val="115000"/>
              </a:lnSpc>
              <a:buFont typeface="Arial" panose="05050102010706020507" pitchFamily="18" charset="2"/>
              <a:buChar char="•"/>
            </a:pPr>
            <a:r>
              <a:rPr lang="en-ZA" sz="1500">
                <a:effectLst/>
                <a:latin typeface="Arial"/>
                <a:ea typeface="Calibri" panose="020F0502020204030204" pitchFamily="34" charset="0"/>
                <a:cs typeface="Arial"/>
              </a:rPr>
              <a:t>Weekly meetings with Post Investment Officers Monitoring and Collections, where each person reports on the status of clients and how they intend to remedy the breach of contract.</a:t>
            </a:r>
            <a:endParaRPr lang="en-ZA">
              <a:latin typeface="Calibri"/>
              <a:ea typeface="Calibri" panose="020F0502020204030204" pitchFamily="34" charset="0"/>
              <a:cs typeface="Arial"/>
            </a:endParaRPr>
          </a:p>
          <a:p>
            <a:pPr marL="1257300" lvl="1" indent="-342900" algn="just">
              <a:lnSpc>
                <a:spcPct val="150000"/>
              </a:lnSpc>
              <a:buFont typeface="Symbol" panose="05050102010706020507" pitchFamily="18" charset="2"/>
              <a:buAutoNum type="alphaLcParenR"/>
              <a:tabLst>
                <a:tab pos="1258888" algn="l"/>
                <a:tab pos="1978025" algn="l"/>
              </a:tabLst>
            </a:pPr>
            <a:r>
              <a:rPr lang="en-ZA" sz="1500">
                <a:latin typeface="Arial"/>
                <a:cs typeface="Arial"/>
              </a:rPr>
              <a:t>Enforce compliance by ensuring that breach letters are constantly issued to defaulting clients  </a:t>
            </a:r>
          </a:p>
          <a:p>
            <a:pPr marL="1657350" lvl="3" indent="-285750" algn="just">
              <a:lnSpc>
                <a:spcPct val="115000"/>
              </a:lnSpc>
              <a:buFont typeface="Arial" panose="05050102010706020507" pitchFamily="18" charset="2"/>
              <a:buChar char="•"/>
            </a:pPr>
            <a:r>
              <a:rPr lang="en-ZA" sz="1500">
                <a:effectLst/>
                <a:latin typeface="Arial"/>
                <a:ea typeface="Calibri" panose="020F0502020204030204" pitchFamily="34" charset="0"/>
                <a:cs typeface="Arial"/>
              </a:rPr>
              <a:t>Once the notice period on the breach letters expires, clients and sureties will be listed on the credit bureau.</a:t>
            </a:r>
          </a:p>
        </p:txBody>
      </p:sp>
      <p:pic>
        <p:nvPicPr>
          <p:cNvPr id="3" name="Picture 12">
            <a:extLst>
              <a:ext uri="{FF2B5EF4-FFF2-40B4-BE49-F238E27FC236}">
                <a16:creationId xmlns:a16="http://schemas.microsoft.com/office/drawing/2014/main" xmlns="" id="{59FEE4DD-FA2A-965C-42DC-220DBEFF55AC}"/>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A00CABBD-4453-C974-1954-4737ACA7FEE3}"/>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2ED29474-E22D-C962-F28E-222012604DC8}"/>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8" name="Straight Connector 7">
            <a:extLst>
              <a:ext uri="{FF2B5EF4-FFF2-40B4-BE49-F238E27FC236}">
                <a16:creationId xmlns:a16="http://schemas.microsoft.com/office/drawing/2014/main" xmlns="" id="{A780324E-F8E9-53B7-2B2F-FEB233567BE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76986218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3</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32988" y="64968"/>
            <a:ext cx="823866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Overview of Corporate Performance</a:t>
            </a:r>
            <a:endParaRPr lang="en-ZA" sz="3600">
              <a:solidFill>
                <a:prstClr val="white"/>
              </a:solidFill>
              <a:latin typeface="Arial" panose="020B0604020202020204" pitchFamily="34" charset="0"/>
              <a:cs typeface="Arial" panose="020B0604020202020204" pitchFamily="34" charset="0"/>
            </a:endParaRPr>
          </a:p>
        </p:txBody>
      </p:sp>
      <p:sp>
        <p:nvSpPr>
          <p:cNvPr id="15" name="Rectangle 3">
            <a:extLst>
              <a:ext uri="{FF2B5EF4-FFF2-40B4-BE49-F238E27FC236}">
                <a16:creationId xmlns:a16="http://schemas.microsoft.com/office/drawing/2014/main" xmlns="" id="{45FD9EDB-485F-496D-8E6F-905E0F7229DA}"/>
              </a:ext>
            </a:extLst>
          </p:cNvPr>
          <p:cNvSpPr txBox="1">
            <a:spLocks noChangeArrowheads="1"/>
          </p:cNvSpPr>
          <p:nvPr/>
        </p:nvSpPr>
        <p:spPr bwMode="gray">
          <a:xfrm>
            <a:off x="79144" y="904518"/>
            <a:ext cx="8974916" cy="7604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fontAlgn="base">
              <a:spcBef>
                <a:spcPct val="75000"/>
              </a:spcBef>
              <a:spcAft>
                <a:spcPct val="0"/>
              </a:spcAft>
              <a:buClr>
                <a:schemeClr val="tx1"/>
              </a:buClr>
              <a:buFont typeface="Wingdings" panose="05000000000000000000" pitchFamily="2" charset="2"/>
              <a:defRPr sz="2000" b="1" kern="1200">
                <a:solidFill>
                  <a:schemeClr val="tx1"/>
                </a:solidFill>
                <a:latin typeface="+mn-lt"/>
                <a:ea typeface="+mn-ea"/>
                <a:cs typeface="+mn-cs"/>
              </a:defRPr>
            </a:lvl1pPr>
            <a:lvl2pPr marL="358775" indent="-269875" algn="l" rtl="0" fontAlgn="base">
              <a:spcBef>
                <a:spcPct val="35000"/>
              </a:spcBef>
              <a:spcAft>
                <a:spcPct val="0"/>
              </a:spcAft>
              <a:buClr>
                <a:schemeClr val="tx2"/>
              </a:buClr>
              <a:buFont typeface="Wingdings" panose="05000000000000000000" pitchFamily="2" charset="2"/>
              <a:buChar char="n"/>
              <a:defRPr b="1" kern="1200">
                <a:solidFill>
                  <a:schemeClr val="tx1"/>
                </a:solidFill>
                <a:latin typeface="+mn-lt"/>
                <a:ea typeface="+mn-ea"/>
                <a:cs typeface="+mn-cs"/>
              </a:defRPr>
            </a:lvl2pPr>
            <a:lvl3pPr marL="685800" indent="-238125" algn="l" rtl="0" fontAlgn="base">
              <a:spcBef>
                <a:spcPct val="25000"/>
              </a:spcBef>
              <a:spcAft>
                <a:spcPct val="0"/>
              </a:spcAft>
              <a:buClr>
                <a:schemeClr val="tx1"/>
              </a:buClr>
              <a:buFont typeface="Arial" panose="020B0604020202020204" pitchFamily="34" charset="0"/>
              <a:buChar char="–"/>
              <a:defRPr sz="1600" b="1" kern="1200">
                <a:solidFill>
                  <a:schemeClr val="tx1"/>
                </a:solidFill>
                <a:latin typeface="+mn-lt"/>
                <a:ea typeface="+mn-ea"/>
                <a:cs typeface="+mn-cs"/>
              </a:defRPr>
            </a:lvl3pPr>
            <a:lvl4pPr marL="981075" indent="-185738" algn="l" rtl="0" fontAlgn="base">
              <a:spcBef>
                <a:spcPct val="15000"/>
              </a:spcBef>
              <a:spcAft>
                <a:spcPct val="0"/>
              </a:spcAft>
              <a:buClr>
                <a:schemeClr val="tx1"/>
              </a:buClr>
              <a:buChar char="-"/>
              <a:defRPr sz="1400" b="1" kern="1200">
                <a:solidFill>
                  <a:schemeClr val="tx1"/>
                </a:solidFill>
                <a:latin typeface="+mn-lt"/>
                <a:ea typeface="+mn-ea"/>
                <a:cs typeface="+mn-cs"/>
              </a:defRPr>
            </a:lvl4pPr>
            <a:lvl5pPr marL="1420813" indent="-165100" algn="l" rtl="0" fontAlgn="base">
              <a:spcBef>
                <a:spcPct val="15000"/>
              </a:spcBef>
              <a:spcAft>
                <a:spcPct val="0"/>
              </a:spcAft>
              <a:buClr>
                <a:schemeClr val="tx1"/>
              </a:buClr>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latin typeface="Arial" panose="020B0604020202020204" pitchFamily="34" charset="0"/>
                <a:cs typeface="Arial" panose="020B0604020202020204" pitchFamily="34" charset="0"/>
              </a:rPr>
              <a:t>Small Enterprise Finance Agency (</a:t>
            </a:r>
            <a:r>
              <a:rPr lang="en-US" b="1">
                <a:latin typeface="Arial" panose="020B0604020202020204" pitchFamily="34" charset="0"/>
                <a:cs typeface="Arial" panose="020B0604020202020204" pitchFamily="34" charset="0"/>
              </a:rPr>
              <a:t>sefa</a:t>
            </a:r>
            <a:r>
              <a:rPr lang="en-US">
                <a:latin typeface="Arial" panose="020B0604020202020204" pitchFamily="34" charset="0"/>
                <a:cs typeface="Arial" panose="020B0604020202020204" pitchFamily="34" charset="0"/>
              </a:rPr>
              <a:t>) 3</a:t>
            </a:r>
            <a:r>
              <a:rPr lang="en-US" baseline="30000">
                <a:latin typeface="Arial" panose="020B0604020202020204" pitchFamily="34" charset="0"/>
                <a:cs typeface="Arial" panose="020B0604020202020204" pitchFamily="34" charset="0"/>
              </a:rPr>
              <a:t>rd</a:t>
            </a:r>
            <a:r>
              <a:rPr lang="en-US">
                <a:latin typeface="Arial" panose="020B0604020202020204" pitchFamily="34" charset="0"/>
                <a:cs typeface="Arial" panose="020B0604020202020204" pitchFamily="34" charset="0"/>
              </a:rPr>
              <a:t> quarter performance highlights</a:t>
            </a:r>
          </a:p>
        </p:txBody>
      </p:sp>
      <p:sp>
        <p:nvSpPr>
          <p:cNvPr id="69" name="AutoShape 6">
            <a:extLst>
              <a:ext uri="{FF2B5EF4-FFF2-40B4-BE49-F238E27FC236}">
                <a16:creationId xmlns:a16="http://schemas.microsoft.com/office/drawing/2014/main" xmlns="" id="{3D1B15EA-4639-463D-AED2-9B555D254AFF}"/>
              </a:ext>
            </a:extLst>
          </p:cNvPr>
          <p:cNvSpPr>
            <a:spLocks noChangeArrowheads="1"/>
          </p:cNvSpPr>
          <p:nvPr/>
        </p:nvSpPr>
        <p:spPr bwMode="gray">
          <a:xfrm>
            <a:off x="2168406" y="1637897"/>
            <a:ext cx="2817450" cy="1217613"/>
          </a:xfrm>
          <a:prstGeom prst="roundRect">
            <a:avLst>
              <a:gd name="adj" fmla="val 0"/>
            </a:avLst>
          </a:prstGeom>
          <a:solidFill>
            <a:srgbClr val="E8E8E8"/>
          </a:solidFill>
          <a:ln>
            <a:noFill/>
          </a:ln>
          <a:extLst>
            <a:ext uri="{91240B29-F687-4F45-9708-019B960494DF}">
              <a14:hiddenLine xmlns:a14="http://schemas.microsoft.com/office/drawing/2010/main" xmlns="" w="28575" algn="ctr">
                <a:solidFill>
                  <a:srgbClr val="000000"/>
                </a:solidFill>
                <a:round/>
                <a:headEnd/>
                <a:tailEnd/>
              </a14:hiddenLine>
            </a:ext>
          </a:ex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70" name="AutoShape 6">
            <a:extLst>
              <a:ext uri="{FF2B5EF4-FFF2-40B4-BE49-F238E27FC236}">
                <a16:creationId xmlns:a16="http://schemas.microsoft.com/office/drawing/2014/main" xmlns="" id="{09C6B8E4-F47B-44C8-8FBD-C9A46AA99808}"/>
              </a:ext>
            </a:extLst>
          </p:cNvPr>
          <p:cNvSpPr>
            <a:spLocks noChangeArrowheads="1"/>
          </p:cNvSpPr>
          <p:nvPr/>
        </p:nvSpPr>
        <p:spPr bwMode="gray">
          <a:xfrm>
            <a:off x="758826" y="1643992"/>
            <a:ext cx="4227030" cy="1217613"/>
          </a:xfrm>
          <a:prstGeom prst="roundRect">
            <a:avLst/>
          </a:prstGeom>
          <a:solidFill>
            <a:srgbClr val="F06E02"/>
          </a:solidFill>
          <a:ln w="28575" algn="ctr">
            <a:noFill/>
            <a:round/>
            <a:headEnd/>
            <a:tailEnd/>
          </a:ln>
          <a:effectLst>
            <a:outerShdw blurRad="50800" dist="88900" dir="2700000" algn="tl" rotWithShape="0">
              <a:prstClr val="black">
                <a:alpha val="55000"/>
              </a:prst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71" name="Text Box 12">
            <a:extLst>
              <a:ext uri="{FF2B5EF4-FFF2-40B4-BE49-F238E27FC236}">
                <a16:creationId xmlns:a16="http://schemas.microsoft.com/office/drawing/2014/main" xmlns="" id="{5DAEE76F-ADCC-4905-9738-C6F0B2E9E206}"/>
              </a:ext>
            </a:extLst>
          </p:cNvPr>
          <p:cNvSpPr txBox="1">
            <a:spLocks noChangeArrowheads="1"/>
          </p:cNvSpPr>
          <p:nvPr/>
        </p:nvSpPr>
        <p:spPr bwMode="gray">
          <a:xfrm rot="16200000">
            <a:off x="-288993" y="2164906"/>
            <a:ext cx="171205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spcBef>
                <a:spcPct val="50000"/>
              </a:spcBef>
              <a:spcAft>
                <a:spcPct val="25000"/>
              </a:spcAft>
              <a:buSzTx/>
            </a:pPr>
            <a:r>
              <a:rPr lang="en-US" sz="1200" b="1">
                <a:solidFill>
                  <a:srgbClr val="0C7723"/>
                </a:solidFill>
                <a:cs typeface="Arial" panose="020B0604020202020204" pitchFamily="34" charset="0"/>
              </a:rPr>
              <a:t>Total Loan Book</a:t>
            </a:r>
            <a:endParaRPr lang="en-US" altLang="en-US" sz="1200" b="1">
              <a:solidFill>
                <a:srgbClr val="0C7723"/>
              </a:solidFill>
              <a:cs typeface="Arial" panose="020B0604020202020204" pitchFamily="34" charset="0"/>
            </a:endParaRPr>
          </a:p>
        </p:txBody>
      </p:sp>
      <p:pic>
        <p:nvPicPr>
          <p:cNvPr id="72" name="Picture 65" descr="report">
            <a:extLst>
              <a:ext uri="{FF2B5EF4-FFF2-40B4-BE49-F238E27FC236}">
                <a16:creationId xmlns:a16="http://schemas.microsoft.com/office/drawing/2014/main" xmlns="" id="{09A832DB-3F8C-4A3E-AB34-A47470F3A9D1}"/>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11238" y="1758143"/>
            <a:ext cx="834686" cy="1052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5" name="TextBox 74">
            <a:extLst>
              <a:ext uri="{FF2B5EF4-FFF2-40B4-BE49-F238E27FC236}">
                <a16:creationId xmlns:a16="http://schemas.microsoft.com/office/drawing/2014/main" xmlns="" id="{7549C12C-F87E-4C0F-BDE3-B3088C445475}"/>
              </a:ext>
            </a:extLst>
          </p:cNvPr>
          <p:cNvSpPr txBox="1"/>
          <p:nvPr/>
        </p:nvSpPr>
        <p:spPr>
          <a:xfrm>
            <a:off x="2316481" y="1957916"/>
            <a:ext cx="2594981" cy="584775"/>
          </a:xfrm>
          <a:prstGeom prst="rect">
            <a:avLst/>
          </a:prstGeom>
          <a:noFill/>
        </p:spPr>
        <p:txBody>
          <a:bodyPr wrap="square">
            <a:spAutoFit/>
          </a:bodyPr>
          <a:lstStyle/>
          <a:p>
            <a:r>
              <a:rPr kumimoji="0" lang="en-US" altLang="en-US" sz="3200" b="1" i="0" u="none" strike="noStrike" kern="1200" cap="none" spc="0" normalizeH="0" baseline="0" noProof="0">
                <a:ln>
                  <a:noFill/>
                </a:ln>
                <a:solidFill>
                  <a:schemeClr val="bg1"/>
                </a:solidFill>
                <a:effectLst/>
                <a:uLnTx/>
                <a:uFillTx/>
                <a:latin typeface="Arial" panose="020B0604020202020204" pitchFamily="34" charset="0"/>
                <a:ea typeface="Arial Unicode MS" pitchFamily="34" charset="-128"/>
                <a:cs typeface="Arial" panose="020B0604020202020204" pitchFamily="34" charset="0"/>
              </a:rPr>
              <a:t>R4,1 billion</a:t>
            </a:r>
            <a:endParaRPr lang="en-ZA" sz="1400" b="1">
              <a:solidFill>
                <a:schemeClr val="bg1"/>
              </a:solidFill>
              <a:latin typeface="Arial" panose="020B0604020202020204" pitchFamily="34" charset="0"/>
              <a:cs typeface="Arial" panose="020B0604020202020204" pitchFamily="34" charset="0"/>
            </a:endParaRPr>
          </a:p>
        </p:txBody>
      </p:sp>
      <p:sp>
        <p:nvSpPr>
          <p:cNvPr id="76" name="Text Box 58">
            <a:extLst>
              <a:ext uri="{FF2B5EF4-FFF2-40B4-BE49-F238E27FC236}">
                <a16:creationId xmlns:a16="http://schemas.microsoft.com/office/drawing/2014/main" xmlns="" id="{7DAFA4FB-3132-485F-96CA-1098F085CDA5}"/>
              </a:ext>
            </a:extLst>
          </p:cNvPr>
          <p:cNvSpPr txBox="1">
            <a:spLocks noChangeArrowheads="1"/>
          </p:cNvSpPr>
          <p:nvPr/>
        </p:nvSpPr>
        <p:spPr bwMode="invGray">
          <a:xfrm>
            <a:off x="2722027" y="2428586"/>
            <a:ext cx="1640432" cy="428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eaLnBrk="1" hangingPunct="1">
              <a:lnSpc>
                <a:spcPct val="105000"/>
              </a:lnSpc>
              <a:buClrTx/>
              <a:buSzTx/>
              <a:buFontTx/>
              <a:buNone/>
            </a:pPr>
            <a:r>
              <a:rPr lang="en-US" sz="1200">
                <a:solidFill>
                  <a:schemeClr val="bg1"/>
                </a:solidFill>
                <a:cs typeface="Arial" panose="020B0604020202020204" pitchFamily="34" charset="0"/>
              </a:rPr>
              <a:t>(including funds)</a:t>
            </a:r>
            <a:endParaRPr lang="en-US" altLang="en-US" sz="1600" b="0">
              <a:solidFill>
                <a:schemeClr val="bg1"/>
              </a:solidFill>
              <a:cs typeface="Arial" panose="020B0604020202020204" pitchFamily="34" charset="0"/>
            </a:endParaRPr>
          </a:p>
        </p:txBody>
      </p:sp>
      <p:sp>
        <p:nvSpPr>
          <p:cNvPr id="79" name="AutoShape 6">
            <a:extLst>
              <a:ext uri="{FF2B5EF4-FFF2-40B4-BE49-F238E27FC236}">
                <a16:creationId xmlns:a16="http://schemas.microsoft.com/office/drawing/2014/main" xmlns="" id="{BCF5CC96-BF00-44AE-8504-911D988FB00B}"/>
              </a:ext>
            </a:extLst>
          </p:cNvPr>
          <p:cNvSpPr>
            <a:spLocks noChangeArrowheads="1"/>
          </p:cNvSpPr>
          <p:nvPr/>
        </p:nvSpPr>
        <p:spPr bwMode="gray">
          <a:xfrm>
            <a:off x="5344681" y="1701729"/>
            <a:ext cx="3333899" cy="1096415"/>
          </a:xfrm>
          <a:prstGeom prst="roundRect">
            <a:avLst/>
          </a:prstGeom>
          <a:solidFill>
            <a:srgbClr val="F06E02"/>
          </a:solidFill>
          <a:ln>
            <a:noFill/>
          </a:ln>
          <a:effectLst>
            <a:outerShdw blurRad="40773" dist="76200" dir="2700000" algn="tl" rotWithShape="0">
              <a:schemeClr val="tx1">
                <a:alpha val="55000"/>
              </a:scheme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80" name="AutoShape 6">
            <a:extLst>
              <a:ext uri="{FF2B5EF4-FFF2-40B4-BE49-F238E27FC236}">
                <a16:creationId xmlns:a16="http://schemas.microsoft.com/office/drawing/2014/main" xmlns="" id="{0E80C98B-AB9D-4ABE-BDEA-87E6C17E5BD2}"/>
              </a:ext>
            </a:extLst>
          </p:cNvPr>
          <p:cNvSpPr>
            <a:spLocks noChangeArrowheads="1"/>
          </p:cNvSpPr>
          <p:nvPr/>
        </p:nvSpPr>
        <p:spPr bwMode="gray">
          <a:xfrm>
            <a:off x="758826" y="3047811"/>
            <a:ext cx="4213224" cy="1227218"/>
          </a:xfrm>
          <a:prstGeom prst="roundRect">
            <a:avLst/>
          </a:prstGeom>
          <a:solidFill>
            <a:srgbClr val="F06E02"/>
          </a:solidFill>
          <a:ln w="28575" algn="ctr">
            <a:noFill/>
            <a:round/>
            <a:headEnd/>
            <a:tailEnd/>
          </a:ln>
          <a:effectLst>
            <a:outerShdw blurRad="50800" dist="76200" dir="2700000" algn="tl" rotWithShape="0">
              <a:prstClr val="black">
                <a:alpha val="55000"/>
              </a:prst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81" name="Text Box 10">
            <a:extLst>
              <a:ext uri="{FF2B5EF4-FFF2-40B4-BE49-F238E27FC236}">
                <a16:creationId xmlns:a16="http://schemas.microsoft.com/office/drawing/2014/main" xmlns="" id="{DF9A0A61-796B-4DB2-BAFA-3E5F35114DED}"/>
              </a:ext>
            </a:extLst>
          </p:cNvPr>
          <p:cNvSpPr txBox="1">
            <a:spLocks noChangeArrowheads="1"/>
          </p:cNvSpPr>
          <p:nvPr/>
        </p:nvSpPr>
        <p:spPr bwMode="gray">
          <a:xfrm rot="16200000">
            <a:off x="-61455" y="3563503"/>
            <a:ext cx="1256976" cy="156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lnSpc>
                <a:spcPct val="85000"/>
              </a:lnSpc>
              <a:spcBef>
                <a:spcPct val="50000"/>
              </a:spcBef>
              <a:spcAft>
                <a:spcPct val="25000"/>
              </a:spcAft>
              <a:buSzTx/>
            </a:pPr>
            <a:r>
              <a:rPr lang="en-US" altLang="en-US" sz="1200" b="1">
                <a:solidFill>
                  <a:srgbClr val="0C7723"/>
                </a:solidFill>
                <a:cs typeface="Arial" panose="020B0604020202020204" pitchFamily="34" charset="0"/>
              </a:rPr>
              <a:t>Approvals</a:t>
            </a:r>
          </a:p>
        </p:txBody>
      </p:sp>
      <p:sp>
        <p:nvSpPr>
          <p:cNvPr id="82" name="Text Box 57">
            <a:extLst>
              <a:ext uri="{FF2B5EF4-FFF2-40B4-BE49-F238E27FC236}">
                <a16:creationId xmlns:a16="http://schemas.microsoft.com/office/drawing/2014/main" xmlns="" id="{FD277823-60F9-45CE-86CB-49018A4A13A7}"/>
              </a:ext>
            </a:extLst>
          </p:cNvPr>
          <p:cNvSpPr txBox="1">
            <a:spLocks noChangeArrowheads="1"/>
          </p:cNvSpPr>
          <p:nvPr/>
        </p:nvSpPr>
        <p:spPr bwMode="invGray">
          <a:xfrm>
            <a:off x="5523162" y="1812915"/>
            <a:ext cx="3058256" cy="8669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nchor="ct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defTabSz="914400" eaLnBrk="1" hangingPunct="1">
              <a:defRPr/>
            </a:pPr>
            <a:r>
              <a:rPr kumimoji="0" lang="en-US" altLang="en-US" sz="1200" b="1" i="0" u="none" strike="noStrike" kern="1200" cap="none" spc="0" normalizeH="0" baseline="0" noProof="0">
                <a:ln>
                  <a:noFill/>
                </a:ln>
                <a:solidFill>
                  <a:schemeClr val="bg1"/>
                </a:solidFill>
                <a:effectLst/>
                <a:uLnTx/>
                <a:uFillTx/>
                <a:latin typeface="Arial"/>
                <a:ea typeface="Arial Unicode MS"/>
                <a:cs typeface="Arial"/>
              </a:rPr>
              <a:t>The difficult economic conditions </a:t>
            </a:r>
            <a:r>
              <a:rPr lang="en-US" altLang="en-US" sz="1200" b="1">
                <a:solidFill>
                  <a:schemeClr val="bg1"/>
                </a:solidFill>
                <a:latin typeface="Arial"/>
                <a:ea typeface="Arial Unicode MS"/>
                <a:cs typeface="Arial"/>
              </a:rPr>
              <a:t>(loadshedding, inflation) impacted on </a:t>
            </a:r>
            <a:r>
              <a:rPr lang="en-US" altLang="en-US" sz="1200" b="1" err="1">
                <a:solidFill>
                  <a:schemeClr val="bg1"/>
                </a:solidFill>
                <a:latin typeface="Arial"/>
                <a:ea typeface="Arial Unicode MS"/>
                <a:cs typeface="Arial"/>
              </a:rPr>
              <a:t>sefas</a:t>
            </a:r>
            <a:r>
              <a:rPr lang="en-US" altLang="en-US" sz="1200" b="1">
                <a:solidFill>
                  <a:schemeClr val="bg1"/>
                </a:solidFill>
                <a:latin typeface="Arial"/>
                <a:ea typeface="Arial Unicode MS"/>
                <a:cs typeface="Arial"/>
              </a:rPr>
              <a:t> organizational performance and quality of loan book</a:t>
            </a:r>
            <a:endParaRPr kumimoji="0" lang="en-US" sz="1200" b="0" i="0" u="none" strike="noStrike" kern="1200" cap="none" spc="0" normalizeH="0" baseline="0" noProof="0">
              <a:ln>
                <a:noFill/>
              </a:ln>
              <a:solidFill>
                <a:schemeClr val="bg1"/>
              </a:solidFill>
              <a:effectLst/>
              <a:uLnTx/>
              <a:uFillTx/>
              <a:latin typeface="Arial"/>
              <a:ea typeface="Arial Unicode MS"/>
              <a:cs typeface="Arial"/>
            </a:endParaRPr>
          </a:p>
        </p:txBody>
      </p:sp>
      <p:sp>
        <p:nvSpPr>
          <p:cNvPr id="85" name="Text Box 57">
            <a:extLst>
              <a:ext uri="{FF2B5EF4-FFF2-40B4-BE49-F238E27FC236}">
                <a16:creationId xmlns:a16="http://schemas.microsoft.com/office/drawing/2014/main" xmlns="" id="{DB496AF4-8ED0-4D6F-A332-BE6D6501A675}"/>
              </a:ext>
            </a:extLst>
          </p:cNvPr>
          <p:cNvSpPr txBox="1">
            <a:spLocks noChangeArrowheads="1"/>
          </p:cNvSpPr>
          <p:nvPr/>
        </p:nvSpPr>
        <p:spPr bwMode="invGray">
          <a:xfrm>
            <a:off x="2217258" y="3249931"/>
            <a:ext cx="2716155" cy="848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nchor="t"/>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defTabSz="914400" eaLnBrk="1" hangingPunct="1">
              <a:defRPr/>
            </a:pPr>
            <a:r>
              <a:rPr lang="en-US" sz="1200">
                <a:solidFill>
                  <a:schemeClr val="bg1"/>
                </a:solidFill>
                <a:latin typeface="Arial"/>
                <a:ea typeface="Arial Unicode MS"/>
                <a:cs typeface="Arial"/>
              </a:rPr>
              <a:t>Total approvals for Q3 were </a:t>
            </a:r>
            <a:r>
              <a:rPr lang="en-ZA" sz="1400" b="1">
                <a:solidFill>
                  <a:schemeClr val="bg1"/>
                </a:solidFill>
                <a:effectLst/>
                <a:latin typeface="Arial"/>
                <a:ea typeface="Calibri" panose="020F0502020204030204" pitchFamily="34" charset="0"/>
                <a:cs typeface="Arial"/>
              </a:rPr>
              <a:t>R249 million</a:t>
            </a:r>
            <a:r>
              <a:rPr lang="en-ZA" sz="1400">
                <a:solidFill>
                  <a:schemeClr val="bg1"/>
                </a:solidFill>
                <a:effectLst/>
                <a:latin typeface="Arial"/>
                <a:ea typeface="Calibri" panose="020F0502020204030204" pitchFamily="34" charset="0"/>
                <a:cs typeface="Arial"/>
              </a:rPr>
              <a:t>, </a:t>
            </a:r>
            <a:r>
              <a:rPr lang="en-ZA" sz="1200">
                <a:solidFill>
                  <a:schemeClr val="bg1"/>
                </a:solidFill>
                <a:effectLst/>
                <a:latin typeface="Arial"/>
                <a:ea typeface="Calibri" panose="020F0502020204030204" pitchFamily="34" charset="0"/>
                <a:cs typeface="Arial"/>
              </a:rPr>
              <a:t>representing</a:t>
            </a:r>
            <a:r>
              <a:rPr lang="en-ZA" sz="1400">
                <a:solidFill>
                  <a:schemeClr val="bg1"/>
                </a:solidFill>
                <a:effectLst/>
                <a:latin typeface="Arial"/>
                <a:ea typeface="Calibri" panose="020F0502020204030204" pitchFamily="34" charset="0"/>
                <a:cs typeface="Arial"/>
              </a:rPr>
              <a:t> 37% </a:t>
            </a:r>
            <a:r>
              <a:rPr lang="en-ZA" sz="1200">
                <a:solidFill>
                  <a:schemeClr val="bg1"/>
                </a:solidFill>
                <a:effectLst/>
                <a:latin typeface="Arial"/>
                <a:ea typeface="Calibri" panose="020F0502020204030204" pitchFamily="34" charset="0"/>
                <a:cs typeface="Arial"/>
              </a:rPr>
              <a:t>of the quarterly target</a:t>
            </a:r>
            <a:r>
              <a:rPr lang="en-ZA" sz="1200">
                <a:solidFill>
                  <a:schemeClr val="bg1"/>
                </a:solidFill>
                <a:latin typeface="Arial"/>
                <a:ea typeface="Calibri" panose="020F0502020204030204" pitchFamily="34" charset="0"/>
                <a:cs typeface="Arial"/>
              </a:rPr>
              <a:t> (R670m)</a:t>
            </a:r>
            <a:endParaRPr lang="en-US" sz="1200">
              <a:solidFill>
                <a:schemeClr val="bg1"/>
              </a:solidFill>
              <a:latin typeface="Arial"/>
              <a:cs typeface="Arial"/>
            </a:endParaRPr>
          </a:p>
        </p:txBody>
      </p:sp>
      <p:sp>
        <p:nvSpPr>
          <p:cNvPr id="91" name="AutoShape 6">
            <a:extLst>
              <a:ext uri="{FF2B5EF4-FFF2-40B4-BE49-F238E27FC236}">
                <a16:creationId xmlns:a16="http://schemas.microsoft.com/office/drawing/2014/main" xmlns="" id="{436201B8-4DD1-4D86-B995-5F371743ED82}"/>
              </a:ext>
            </a:extLst>
          </p:cNvPr>
          <p:cNvSpPr>
            <a:spLocks noChangeArrowheads="1"/>
          </p:cNvSpPr>
          <p:nvPr/>
        </p:nvSpPr>
        <p:spPr bwMode="gray">
          <a:xfrm>
            <a:off x="758825" y="4468632"/>
            <a:ext cx="4213225" cy="1217613"/>
          </a:xfrm>
          <a:prstGeom prst="roundRect">
            <a:avLst/>
          </a:prstGeom>
          <a:solidFill>
            <a:srgbClr val="F06E02"/>
          </a:solidFill>
          <a:ln w="28575" algn="ctr">
            <a:noFill/>
            <a:round/>
            <a:headEnd/>
            <a:tailEnd/>
          </a:ln>
          <a:effectLst>
            <a:outerShdw blurRad="50800" dist="76200" dir="2700000" algn="tl" rotWithShape="0">
              <a:prstClr val="black">
                <a:alpha val="55000"/>
              </a:prst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solidFill>
                <a:schemeClr val="bg1"/>
              </a:solidFill>
            </a:endParaRPr>
          </a:p>
        </p:txBody>
      </p:sp>
      <p:sp>
        <p:nvSpPr>
          <p:cNvPr id="92" name="Text Box 54">
            <a:extLst>
              <a:ext uri="{FF2B5EF4-FFF2-40B4-BE49-F238E27FC236}">
                <a16:creationId xmlns:a16="http://schemas.microsoft.com/office/drawing/2014/main" xmlns="" id="{6A283997-B4E5-4982-8534-B81AC2C42A25}"/>
              </a:ext>
            </a:extLst>
          </p:cNvPr>
          <p:cNvSpPr txBox="1">
            <a:spLocks noChangeArrowheads="1"/>
          </p:cNvSpPr>
          <p:nvPr/>
        </p:nvSpPr>
        <p:spPr bwMode="invGray">
          <a:xfrm>
            <a:off x="2384686" y="4628100"/>
            <a:ext cx="2400976" cy="904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nchor="t"/>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a:r>
              <a:rPr lang="en-US" sz="1200">
                <a:solidFill>
                  <a:schemeClr val="bg1"/>
                </a:solidFill>
                <a:latin typeface="Arial"/>
                <a:ea typeface="Arial Unicode MS"/>
                <a:cs typeface="Arial"/>
              </a:rPr>
              <a:t>Total disbursements for the quarter were </a:t>
            </a:r>
            <a:r>
              <a:rPr lang="en-ZA" sz="1400" b="1">
                <a:solidFill>
                  <a:schemeClr val="bg1"/>
                </a:solidFill>
                <a:effectLst/>
                <a:latin typeface="Arial"/>
                <a:ea typeface="Calibri" panose="020F0502020204030204" pitchFamily="34" charset="0"/>
                <a:cs typeface="Arial"/>
              </a:rPr>
              <a:t>R550</a:t>
            </a:r>
            <a:r>
              <a:rPr lang="en-ZA" sz="1050" b="1">
                <a:solidFill>
                  <a:schemeClr val="bg1"/>
                </a:solidFill>
                <a:effectLst/>
                <a:latin typeface="Arial"/>
                <a:ea typeface="Calibri" panose="020F0502020204030204" pitchFamily="34" charset="0"/>
                <a:cs typeface="Arial"/>
              </a:rPr>
              <a:t> </a:t>
            </a:r>
            <a:r>
              <a:rPr lang="en-ZA" sz="1200" b="1">
                <a:solidFill>
                  <a:schemeClr val="bg1"/>
                </a:solidFill>
                <a:effectLst/>
                <a:latin typeface="Arial"/>
                <a:ea typeface="Calibri" panose="020F0502020204030204" pitchFamily="34" charset="0"/>
                <a:cs typeface="Arial"/>
              </a:rPr>
              <a:t>million </a:t>
            </a:r>
            <a:r>
              <a:rPr lang="en-ZA" sz="1200">
                <a:solidFill>
                  <a:schemeClr val="bg1"/>
                </a:solidFill>
                <a:effectLst/>
                <a:latin typeface="Arial"/>
                <a:ea typeface="Calibri" panose="020F0502020204030204" pitchFamily="34" charset="0"/>
                <a:cs typeface="Arial"/>
              </a:rPr>
              <a:t>representing </a:t>
            </a:r>
            <a:r>
              <a:rPr lang="en-ZA" sz="1400">
                <a:solidFill>
                  <a:schemeClr val="bg1"/>
                </a:solidFill>
                <a:effectLst/>
                <a:latin typeface="Arial"/>
                <a:ea typeface="Calibri" panose="020F0502020204030204" pitchFamily="34" charset="0"/>
                <a:cs typeface="Arial"/>
              </a:rPr>
              <a:t>9</a:t>
            </a:r>
            <a:r>
              <a:rPr lang="en-ZA" sz="1400">
                <a:solidFill>
                  <a:schemeClr val="bg1"/>
                </a:solidFill>
                <a:latin typeface="Arial"/>
                <a:ea typeface="Calibri" panose="020F0502020204030204" pitchFamily="34" charset="0"/>
                <a:cs typeface="Arial"/>
              </a:rPr>
              <a:t>1</a:t>
            </a:r>
            <a:r>
              <a:rPr lang="en-ZA" sz="1400">
                <a:solidFill>
                  <a:schemeClr val="bg1"/>
                </a:solidFill>
                <a:effectLst/>
                <a:latin typeface="Arial"/>
                <a:ea typeface="Calibri" panose="020F0502020204030204" pitchFamily="34" charset="0"/>
                <a:cs typeface="Arial"/>
              </a:rPr>
              <a:t>% </a:t>
            </a:r>
            <a:r>
              <a:rPr lang="en-ZA" sz="1200">
                <a:solidFill>
                  <a:schemeClr val="bg1"/>
                </a:solidFill>
                <a:effectLst/>
                <a:latin typeface="Arial"/>
                <a:ea typeface="Calibri" panose="020F0502020204030204" pitchFamily="34" charset="0"/>
                <a:cs typeface="Arial"/>
              </a:rPr>
              <a:t>of the quarterly target</a:t>
            </a:r>
            <a:r>
              <a:rPr lang="en-ZA" sz="1200">
                <a:solidFill>
                  <a:schemeClr val="bg1"/>
                </a:solidFill>
                <a:latin typeface="Arial"/>
                <a:ea typeface="Calibri" panose="020F0502020204030204" pitchFamily="34" charset="0"/>
                <a:cs typeface="Arial"/>
              </a:rPr>
              <a:t> (R601m)</a:t>
            </a:r>
            <a:endParaRPr lang="en-ZA" sz="1200">
              <a:solidFill>
                <a:schemeClr val="bg1"/>
              </a:solidFill>
              <a:effectLst/>
              <a:latin typeface="Arial"/>
              <a:ea typeface="Calibri" panose="020F0502020204030204" pitchFamily="34" charset="0"/>
              <a:cs typeface="Arial"/>
            </a:endParaRPr>
          </a:p>
        </p:txBody>
      </p:sp>
      <p:sp>
        <p:nvSpPr>
          <p:cNvPr id="93" name="Text Box 69">
            <a:extLst>
              <a:ext uri="{FF2B5EF4-FFF2-40B4-BE49-F238E27FC236}">
                <a16:creationId xmlns:a16="http://schemas.microsoft.com/office/drawing/2014/main" xmlns="" id="{71FE8EE4-67A7-4AD7-B916-1F066457C157}"/>
              </a:ext>
            </a:extLst>
          </p:cNvPr>
          <p:cNvSpPr txBox="1">
            <a:spLocks noChangeArrowheads="1"/>
          </p:cNvSpPr>
          <p:nvPr/>
        </p:nvSpPr>
        <p:spPr bwMode="gray">
          <a:xfrm rot="16200000">
            <a:off x="-77302" y="4991258"/>
            <a:ext cx="1310526" cy="156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lnSpc>
                <a:spcPct val="85000"/>
              </a:lnSpc>
              <a:spcBef>
                <a:spcPct val="50000"/>
              </a:spcBef>
              <a:spcAft>
                <a:spcPct val="25000"/>
              </a:spcAft>
              <a:buSzTx/>
            </a:pPr>
            <a:r>
              <a:rPr lang="en-US" altLang="en-US" sz="1200" b="1">
                <a:solidFill>
                  <a:srgbClr val="0C7723"/>
                </a:solidFill>
                <a:cs typeface="Arial" panose="020B0604020202020204" pitchFamily="34" charset="0"/>
              </a:rPr>
              <a:t>Disbursements</a:t>
            </a:r>
          </a:p>
        </p:txBody>
      </p:sp>
      <p:pic>
        <p:nvPicPr>
          <p:cNvPr id="94" name="Picture 3">
            <a:extLst>
              <a:ext uri="{FF2B5EF4-FFF2-40B4-BE49-F238E27FC236}">
                <a16:creationId xmlns:a16="http://schemas.microsoft.com/office/drawing/2014/main" xmlns="" id="{AF4FB14B-EE40-4EEA-86A2-D8571996A328}"/>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69963" y="4687377"/>
            <a:ext cx="1063625" cy="749300"/>
          </a:xfrm>
          <a:prstGeom prst="rect">
            <a:avLst/>
          </a:prstGeom>
          <a:noFill/>
          <a:ln w="12700">
            <a:solidFill>
              <a:srgbClr val="B0B0B0"/>
            </a:solidFill>
            <a:miter lim="800000"/>
            <a:headEnd/>
            <a:tailEnd/>
          </a:ln>
          <a:extLst>
            <a:ext uri="{909E8E84-426E-40DD-AFC4-6F175D3DCCD1}">
              <a14:hiddenFill xmlns:a14="http://schemas.microsoft.com/office/drawing/2010/main" xmlns="">
                <a:solidFill>
                  <a:srgbClr val="FFFFFF"/>
                </a:solidFill>
              </a14:hiddenFill>
            </a:ext>
          </a:extLst>
        </p:spPr>
      </p:pic>
      <p:pic>
        <p:nvPicPr>
          <p:cNvPr id="101" name="Picture 59" descr="chart">
            <a:extLst>
              <a:ext uri="{FF2B5EF4-FFF2-40B4-BE49-F238E27FC236}">
                <a16:creationId xmlns:a16="http://schemas.microsoft.com/office/drawing/2014/main" xmlns="" id="{19ACAE3A-A66C-4A6F-9931-129411B5306B}"/>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014413" y="3243849"/>
            <a:ext cx="939800" cy="814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33" name="Group 132">
            <a:extLst>
              <a:ext uri="{FF2B5EF4-FFF2-40B4-BE49-F238E27FC236}">
                <a16:creationId xmlns:a16="http://schemas.microsoft.com/office/drawing/2014/main" xmlns="" id="{42E11BB0-FC25-469E-8BC4-59EA424E49AC}"/>
              </a:ext>
            </a:extLst>
          </p:cNvPr>
          <p:cNvGrpSpPr/>
          <p:nvPr/>
        </p:nvGrpSpPr>
        <p:grpSpPr>
          <a:xfrm>
            <a:off x="5282457" y="4404852"/>
            <a:ext cx="733694" cy="703212"/>
            <a:chOff x="5410068" y="4850095"/>
            <a:chExt cx="733694" cy="703212"/>
          </a:xfrm>
        </p:grpSpPr>
        <p:sp>
          <p:nvSpPr>
            <p:cNvPr id="124" name="Oval 34">
              <a:extLst>
                <a:ext uri="{FF2B5EF4-FFF2-40B4-BE49-F238E27FC236}">
                  <a16:creationId xmlns:a16="http://schemas.microsoft.com/office/drawing/2014/main" xmlns="" id="{0B6A305A-4EE4-4060-A395-22197A8E8987}"/>
                </a:ext>
              </a:extLst>
            </p:cNvPr>
            <p:cNvSpPr>
              <a:spLocks noChangeArrowheads="1"/>
            </p:cNvSpPr>
            <p:nvPr/>
          </p:nvSpPr>
          <p:spPr bwMode="gray">
            <a:xfrm>
              <a:off x="5410068" y="4850095"/>
              <a:ext cx="733694" cy="703212"/>
            </a:xfrm>
            <a:prstGeom prst="ellipse">
              <a:avLst/>
            </a:prstGeom>
            <a:solidFill>
              <a:srgbClr val="0C7723"/>
            </a:solidFill>
            <a:ln>
              <a:noFill/>
            </a:ln>
            <a:effectLst/>
          </p:spPr>
          <p:txBody>
            <a:bodyPr wrap="none" anchor="ctr"/>
            <a:lstStyle/>
            <a:p>
              <a:pPr algn="ctr"/>
              <a:endParaRPr lang="en-US" altLang="en-US" sz="1600">
                <a:solidFill>
                  <a:srgbClr val="0C7723"/>
                </a:solidFill>
                <a:highlight>
                  <a:srgbClr val="006600"/>
                </a:highlight>
              </a:endParaRPr>
            </a:p>
          </p:txBody>
        </p:sp>
        <p:grpSp>
          <p:nvGrpSpPr>
            <p:cNvPr id="125" name="Group 52">
              <a:extLst>
                <a:ext uri="{FF2B5EF4-FFF2-40B4-BE49-F238E27FC236}">
                  <a16:creationId xmlns:a16="http://schemas.microsoft.com/office/drawing/2014/main" xmlns="" id="{DBC1E210-BBF4-4F8E-93A3-AA277CE7785C}"/>
                </a:ext>
              </a:extLst>
            </p:cNvPr>
            <p:cNvGrpSpPr>
              <a:grpSpLocks/>
            </p:cNvGrpSpPr>
            <p:nvPr/>
          </p:nvGrpSpPr>
          <p:grpSpPr bwMode="auto">
            <a:xfrm>
              <a:off x="5604458" y="4958878"/>
              <a:ext cx="327566" cy="490539"/>
              <a:chOff x="1031" y="2051"/>
              <a:chExt cx="126" cy="231"/>
            </a:xfrm>
            <a:solidFill>
              <a:schemeClr val="bg1"/>
            </a:solidFill>
          </p:grpSpPr>
          <p:sp>
            <p:nvSpPr>
              <p:cNvPr id="126" name="Oval 53">
                <a:extLst>
                  <a:ext uri="{FF2B5EF4-FFF2-40B4-BE49-F238E27FC236}">
                    <a16:creationId xmlns:a16="http://schemas.microsoft.com/office/drawing/2014/main" xmlns="" id="{6DD4D4AD-D6A7-4AAD-A5FC-3491FFB0F445}"/>
                  </a:ext>
                </a:extLst>
              </p:cNvPr>
              <p:cNvSpPr>
                <a:spLocks noChangeArrowheads="1"/>
              </p:cNvSpPr>
              <p:nvPr/>
            </p:nvSpPr>
            <p:spPr bwMode="gray">
              <a:xfrm>
                <a:off x="1070" y="2051"/>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27" name="AutoShape 54">
                <a:extLst>
                  <a:ext uri="{FF2B5EF4-FFF2-40B4-BE49-F238E27FC236}">
                    <a16:creationId xmlns:a16="http://schemas.microsoft.com/office/drawing/2014/main" xmlns="" id="{F027E1A2-0318-44B5-B57A-CA85941741C2}"/>
                  </a:ext>
                </a:extLst>
              </p:cNvPr>
              <p:cNvSpPr>
                <a:spLocks noChangeArrowheads="1"/>
              </p:cNvSpPr>
              <p:nvPr/>
            </p:nvSpPr>
            <p:spPr bwMode="gray">
              <a:xfrm>
                <a:off x="1031" y="2110"/>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28" name="AutoShape 55">
                <a:extLst>
                  <a:ext uri="{FF2B5EF4-FFF2-40B4-BE49-F238E27FC236}">
                    <a16:creationId xmlns:a16="http://schemas.microsoft.com/office/drawing/2014/main" xmlns="" id="{EEA6543D-A6C7-4267-A775-94BBE544A1B9}"/>
                  </a:ext>
                </a:extLst>
              </p:cNvPr>
              <p:cNvSpPr>
                <a:spLocks noChangeArrowheads="1"/>
              </p:cNvSpPr>
              <p:nvPr/>
            </p:nvSpPr>
            <p:spPr bwMode="gray">
              <a:xfrm>
                <a:off x="1064" y="2116"/>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29" name="AutoShape 56">
                <a:extLst>
                  <a:ext uri="{FF2B5EF4-FFF2-40B4-BE49-F238E27FC236}">
                    <a16:creationId xmlns:a16="http://schemas.microsoft.com/office/drawing/2014/main" xmlns="" id="{A6EB6F04-9E15-45F0-8D83-61F98E78A27C}"/>
                  </a:ext>
                </a:extLst>
              </p:cNvPr>
              <p:cNvSpPr>
                <a:spLocks noChangeArrowheads="1"/>
              </p:cNvSpPr>
              <p:nvPr/>
            </p:nvSpPr>
            <p:spPr bwMode="gray">
              <a:xfrm>
                <a:off x="1064" y="2119"/>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30" name="AutoShape 57">
                <a:extLst>
                  <a:ext uri="{FF2B5EF4-FFF2-40B4-BE49-F238E27FC236}">
                    <a16:creationId xmlns:a16="http://schemas.microsoft.com/office/drawing/2014/main" xmlns="" id="{9E11DAD2-23FE-4041-ACD6-999FAB2B0815}"/>
                  </a:ext>
                </a:extLst>
              </p:cNvPr>
              <p:cNvSpPr>
                <a:spLocks noChangeArrowheads="1"/>
              </p:cNvSpPr>
              <p:nvPr/>
            </p:nvSpPr>
            <p:spPr bwMode="gray">
              <a:xfrm>
                <a:off x="1034" y="2105"/>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31" name="AutoShape 58">
                <a:extLst>
                  <a:ext uri="{FF2B5EF4-FFF2-40B4-BE49-F238E27FC236}">
                    <a16:creationId xmlns:a16="http://schemas.microsoft.com/office/drawing/2014/main" xmlns="" id="{CB5DD4D0-977A-4D55-B1A4-AA1B9E466640}"/>
                  </a:ext>
                </a:extLst>
              </p:cNvPr>
              <p:cNvSpPr>
                <a:spLocks noChangeArrowheads="1"/>
              </p:cNvSpPr>
              <p:nvPr/>
            </p:nvSpPr>
            <p:spPr bwMode="gray">
              <a:xfrm>
                <a:off x="1098" y="2116"/>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32" name="AutoShape 59">
                <a:extLst>
                  <a:ext uri="{FF2B5EF4-FFF2-40B4-BE49-F238E27FC236}">
                    <a16:creationId xmlns:a16="http://schemas.microsoft.com/office/drawing/2014/main" xmlns="" id="{AE13F811-BEF4-44B9-9043-40472131F723}"/>
                  </a:ext>
                </a:extLst>
              </p:cNvPr>
              <p:cNvSpPr>
                <a:spLocks noChangeArrowheads="1"/>
              </p:cNvSpPr>
              <p:nvPr/>
            </p:nvSpPr>
            <p:spPr bwMode="gray">
              <a:xfrm>
                <a:off x="1129" y="2110"/>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grpSp>
      </p:grpSp>
      <p:sp>
        <p:nvSpPr>
          <p:cNvPr id="155" name="Oval 34">
            <a:extLst>
              <a:ext uri="{FF2B5EF4-FFF2-40B4-BE49-F238E27FC236}">
                <a16:creationId xmlns:a16="http://schemas.microsoft.com/office/drawing/2014/main" xmlns="" id="{DB5327F0-88D6-470B-94B8-314C1D10E69F}"/>
              </a:ext>
            </a:extLst>
          </p:cNvPr>
          <p:cNvSpPr>
            <a:spLocks noChangeArrowheads="1"/>
          </p:cNvSpPr>
          <p:nvPr/>
        </p:nvSpPr>
        <p:spPr bwMode="gray">
          <a:xfrm>
            <a:off x="7173853" y="4393496"/>
            <a:ext cx="733694" cy="703212"/>
          </a:xfrm>
          <a:prstGeom prst="ellipse">
            <a:avLst/>
          </a:prstGeom>
          <a:solidFill>
            <a:srgbClr val="0C7723"/>
          </a:solidFill>
          <a:ln>
            <a:noFill/>
          </a:ln>
          <a:effectLst/>
        </p:spPr>
        <p:txBody>
          <a:bodyPr wrap="none" anchor="ctr"/>
          <a:lstStyle/>
          <a:p>
            <a:pPr algn="ctr"/>
            <a:endParaRPr lang="en-US" altLang="en-US" sz="1600">
              <a:highlight>
                <a:srgbClr val="006600"/>
              </a:highlight>
            </a:endParaRPr>
          </a:p>
        </p:txBody>
      </p:sp>
      <p:sp>
        <p:nvSpPr>
          <p:cNvPr id="181" name="Rectangle 18">
            <a:extLst>
              <a:ext uri="{FF2B5EF4-FFF2-40B4-BE49-F238E27FC236}">
                <a16:creationId xmlns:a16="http://schemas.microsoft.com/office/drawing/2014/main" xmlns="" id="{BEF35F7C-46ED-40FE-A0FD-01D2F202ABAE}"/>
              </a:ext>
            </a:extLst>
          </p:cNvPr>
          <p:cNvSpPr>
            <a:spLocks noChangeArrowheads="1"/>
          </p:cNvSpPr>
          <p:nvPr/>
        </p:nvSpPr>
        <p:spPr bwMode="gray">
          <a:xfrm>
            <a:off x="5349212" y="5477229"/>
            <a:ext cx="641350" cy="381000"/>
          </a:xfrm>
          <a:prstGeom prst="rect">
            <a:avLst/>
          </a:prstGeom>
          <a:noFill/>
          <a:ln>
            <a:noFill/>
          </a:ln>
          <a:effectLst/>
        </p:spPr>
        <p:txBody>
          <a:bodyPr wrap="none" lIns="54000" rIns="54000" anchor="ctr"/>
          <a:lstStyle/>
          <a:p>
            <a:pPr algn="ctr">
              <a:lnSpc>
                <a:spcPct val="95000"/>
              </a:lnSpc>
            </a:pPr>
            <a:r>
              <a:rPr lang="en-US" altLang="en-US" sz="1200">
                <a:solidFill>
                  <a:srgbClr val="F06E02"/>
                </a:solidFill>
                <a:latin typeface="Arial" panose="020B0604020202020204" pitchFamily="34" charset="0"/>
                <a:cs typeface="Arial" panose="020B0604020202020204" pitchFamily="34" charset="0"/>
              </a:rPr>
              <a:t>R492M</a:t>
            </a:r>
          </a:p>
        </p:txBody>
      </p:sp>
      <p:sp>
        <p:nvSpPr>
          <p:cNvPr id="186" name="Rectangle 18">
            <a:extLst>
              <a:ext uri="{FF2B5EF4-FFF2-40B4-BE49-F238E27FC236}">
                <a16:creationId xmlns:a16="http://schemas.microsoft.com/office/drawing/2014/main" xmlns="" id="{51A8BD5E-65CF-49BE-9127-CE6BBF989DBB}"/>
              </a:ext>
            </a:extLst>
          </p:cNvPr>
          <p:cNvSpPr>
            <a:spLocks noChangeArrowheads="1"/>
          </p:cNvSpPr>
          <p:nvPr/>
        </p:nvSpPr>
        <p:spPr bwMode="gray">
          <a:xfrm>
            <a:off x="8123774" y="5468044"/>
            <a:ext cx="641350" cy="381000"/>
          </a:xfrm>
          <a:prstGeom prst="rect">
            <a:avLst/>
          </a:prstGeom>
          <a:noFill/>
          <a:ln>
            <a:noFill/>
          </a:ln>
          <a:effectLst/>
        </p:spPr>
        <p:txBody>
          <a:bodyPr wrap="none" lIns="54000" rIns="54000" anchor="ctr"/>
          <a:lstStyle/>
          <a:p>
            <a:pPr algn="ctr">
              <a:lnSpc>
                <a:spcPct val="95000"/>
              </a:lnSpc>
            </a:pPr>
            <a:r>
              <a:rPr lang="en-US" altLang="en-US" sz="1200">
                <a:solidFill>
                  <a:srgbClr val="F06E02"/>
                </a:solidFill>
                <a:latin typeface="Arial" panose="020B0604020202020204" pitchFamily="34" charset="0"/>
                <a:cs typeface="Arial" panose="020B0604020202020204" pitchFamily="34" charset="0"/>
              </a:rPr>
              <a:t>R132M</a:t>
            </a:r>
          </a:p>
        </p:txBody>
      </p:sp>
      <p:sp>
        <p:nvSpPr>
          <p:cNvPr id="191" name="Rectangle 18">
            <a:extLst>
              <a:ext uri="{FF2B5EF4-FFF2-40B4-BE49-F238E27FC236}">
                <a16:creationId xmlns:a16="http://schemas.microsoft.com/office/drawing/2014/main" xmlns="" id="{32B2D22E-D503-486B-8935-402B20A92381}"/>
              </a:ext>
            </a:extLst>
          </p:cNvPr>
          <p:cNvSpPr>
            <a:spLocks noChangeArrowheads="1"/>
          </p:cNvSpPr>
          <p:nvPr/>
        </p:nvSpPr>
        <p:spPr bwMode="gray">
          <a:xfrm>
            <a:off x="7246031" y="5477229"/>
            <a:ext cx="641350" cy="381000"/>
          </a:xfrm>
          <a:prstGeom prst="rect">
            <a:avLst/>
          </a:prstGeom>
          <a:noFill/>
          <a:ln>
            <a:noFill/>
          </a:ln>
          <a:effectLst/>
        </p:spPr>
        <p:txBody>
          <a:bodyPr wrap="none" lIns="54000" rIns="54000" anchor="ctr"/>
          <a:lstStyle/>
          <a:p>
            <a:pPr algn="ctr">
              <a:lnSpc>
                <a:spcPct val="95000"/>
              </a:lnSpc>
            </a:pPr>
            <a:r>
              <a:rPr lang="en-US" altLang="en-US" sz="1200">
                <a:solidFill>
                  <a:srgbClr val="F06E02"/>
                </a:solidFill>
                <a:latin typeface="Arial" panose="020B0604020202020204" pitchFamily="34" charset="0"/>
                <a:cs typeface="Arial" panose="020B0604020202020204" pitchFamily="34" charset="0"/>
              </a:rPr>
              <a:t>R231M</a:t>
            </a:r>
          </a:p>
        </p:txBody>
      </p:sp>
      <p:pic>
        <p:nvPicPr>
          <p:cNvPr id="99" name="Graphic 98" descr="Group of women outline">
            <a:extLst>
              <a:ext uri="{FF2B5EF4-FFF2-40B4-BE49-F238E27FC236}">
                <a16:creationId xmlns:a16="http://schemas.microsoft.com/office/drawing/2014/main" xmlns="" id="{B706350D-CB9F-4424-87C0-5B3B0C13F42F}"/>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 xmlns:asvg="http://schemas.microsoft.com/office/drawing/2016/SVG/main" r:embed="rId7"/>
              </a:ext>
            </a:extLst>
          </a:blip>
          <a:stretch>
            <a:fillRect/>
          </a:stretch>
        </p:blipFill>
        <p:spPr>
          <a:xfrm>
            <a:off x="7226312" y="4435354"/>
            <a:ext cx="605264" cy="605264"/>
          </a:xfrm>
          <a:prstGeom prst="rect">
            <a:avLst/>
          </a:prstGeom>
        </p:spPr>
      </p:pic>
      <p:grpSp>
        <p:nvGrpSpPr>
          <p:cNvPr id="5" name="Group 4">
            <a:extLst>
              <a:ext uri="{FF2B5EF4-FFF2-40B4-BE49-F238E27FC236}">
                <a16:creationId xmlns:a16="http://schemas.microsoft.com/office/drawing/2014/main" xmlns="" id="{FB7D4AF1-274C-D45A-9D3C-648106E314C5}"/>
              </a:ext>
            </a:extLst>
          </p:cNvPr>
          <p:cNvGrpSpPr/>
          <p:nvPr/>
        </p:nvGrpSpPr>
        <p:grpSpPr>
          <a:xfrm>
            <a:off x="5074032" y="3017254"/>
            <a:ext cx="3772545" cy="2840975"/>
            <a:chOff x="5074032" y="3017254"/>
            <a:chExt cx="3772545" cy="2840975"/>
          </a:xfrm>
        </p:grpSpPr>
        <p:sp>
          <p:nvSpPr>
            <p:cNvPr id="95" name="Text Box 174">
              <a:extLst>
                <a:ext uri="{FF2B5EF4-FFF2-40B4-BE49-F238E27FC236}">
                  <a16:creationId xmlns:a16="http://schemas.microsoft.com/office/drawing/2014/main" xmlns="" id="{C94617F7-A240-4A4C-8E76-C66090D61C97}"/>
                </a:ext>
              </a:extLst>
            </p:cNvPr>
            <p:cNvSpPr txBox="1">
              <a:spLocks noChangeArrowheads="1"/>
            </p:cNvSpPr>
            <p:nvPr/>
          </p:nvSpPr>
          <p:spPr bwMode="invGray">
            <a:xfrm>
              <a:off x="5074032" y="3702855"/>
              <a:ext cx="1755987" cy="480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91420" tIns="45711" rIns="91420" bIns="45711">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a:lnSpc>
                  <a:spcPct val="90000"/>
                </a:lnSpc>
              </a:pPr>
              <a:r>
                <a:rPr lang="en-ZA" sz="1400" b="1">
                  <a:solidFill>
                    <a:prstClr val="black"/>
                  </a:solidFill>
                  <a:ea typeface="Calibri" panose="020F0502020204030204" pitchFamily="34" charset="0"/>
                  <a:cs typeface="Arial" panose="020B0604020202020204" pitchFamily="34" charset="0"/>
                </a:rPr>
                <a:t>23</a:t>
              </a:r>
              <a:r>
                <a:rPr kumimoji="0" lang="en-ZA" sz="1400" b="1" i="0" u="none" strike="noStrike" kern="1200" cap="none" spc="0" normalizeH="0" baseline="0" noProof="0">
                  <a:ln>
                    <a:noFill/>
                  </a:ln>
                  <a:solidFill>
                    <a:prstClr val="black"/>
                  </a:solidFill>
                  <a:effectLst/>
                  <a:uLnTx/>
                  <a:uFillTx/>
                  <a:ea typeface="Calibri" panose="020F0502020204030204" pitchFamily="34" charset="0"/>
                  <a:cs typeface="Arial" panose="020B0604020202020204" pitchFamily="34" charset="0"/>
                </a:rPr>
                <a:t> 842 </a:t>
              </a:r>
              <a:r>
                <a:rPr lang="en-GB" altLang="en-US" sz="1400" b="1">
                  <a:cs typeface="Arial" panose="020B0604020202020204" pitchFamily="34" charset="0"/>
                </a:rPr>
                <a:t>SMMES financed</a:t>
              </a:r>
              <a:endParaRPr lang="en-US" altLang="en-US" sz="1400" b="1">
                <a:cs typeface="Arial" panose="020B0604020202020204" pitchFamily="34" charset="0"/>
              </a:endParaRPr>
            </a:p>
          </p:txBody>
        </p:sp>
        <p:grpSp>
          <p:nvGrpSpPr>
            <p:cNvPr id="104" name="Group 409">
              <a:extLst>
                <a:ext uri="{FF2B5EF4-FFF2-40B4-BE49-F238E27FC236}">
                  <a16:creationId xmlns:a16="http://schemas.microsoft.com/office/drawing/2014/main" xmlns="" id="{86447D3C-E54E-49A9-8D31-DD339AEC9D22}"/>
                </a:ext>
              </a:extLst>
            </p:cNvPr>
            <p:cNvGrpSpPr>
              <a:grpSpLocks/>
            </p:cNvGrpSpPr>
            <p:nvPr/>
          </p:nvGrpSpPr>
          <p:grpSpPr bwMode="auto">
            <a:xfrm>
              <a:off x="5621825" y="3039082"/>
              <a:ext cx="660400" cy="541338"/>
              <a:chOff x="2534" y="3710"/>
              <a:chExt cx="416" cy="341"/>
            </a:xfrm>
          </p:grpSpPr>
          <p:pic>
            <p:nvPicPr>
              <p:cNvPr id="105" name="Picture 406" descr="building_3">
                <a:extLst>
                  <a:ext uri="{FF2B5EF4-FFF2-40B4-BE49-F238E27FC236}">
                    <a16:creationId xmlns:a16="http://schemas.microsoft.com/office/drawing/2014/main" xmlns="" id="{329537A6-E7B8-4961-AE19-60238C1CEA5F}"/>
                  </a:ext>
                </a:extLst>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534" y="3710"/>
                <a:ext cx="187" cy="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 name="Picture 407" descr="building_3">
                <a:extLst>
                  <a:ext uri="{FF2B5EF4-FFF2-40B4-BE49-F238E27FC236}">
                    <a16:creationId xmlns:a16="http://schemas.microsoft.com/office/drawing/2014/main" xmlns="" id="{73B5FEF2-A3A1-433D-B367-91792432A754}"/>
                  </a:ext>
                </a:extLst>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763" y="3710"/>
                <a:ext cx="187" cy="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 name="Picture 408" descr="building_3">
                <a:extLst>
                  <a:ext uri="{FF2B5EF4-FFF2-40B4-BE49-F238E27FC236}">
                    <a16:creationId xmlns:a16="http://schemas.microsoft.com/office/drawing/2014/main" xmlns="" id="{1DDE788B-2B33-495C-B90F-414F95A07A73}"/>
                  </a:ext>
                </a:extLst>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651" y="3787"/>
                <a:ext cx="187" cy="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9" name="TextBox 108">
              <a:extLst>
                <a:ext uri="{FF2B5EF4-FFF2-40B4-BE49-F238E27FC236}">
                  <a16:creationId xmlns:a16="http://schemas.microsoft.com/office/drawing/2014/main" xmlns="" id="{14D6A587-05B4-431B-940D-5426E76F62E7}"/>
                </a:ext>
              </a:extLst>
            </p:cNvPr>
            <p:cNvSpPr txBox="1"/>
            <p:nvPr/>
          </p:nvSpPr>
          <p:spPr>
            <a:xfrm>
              <a:off x="7219191" y="3702855"/>
              <a:ext cx="1425800" cy="307777"/>
            </a:xfrm>
            <a:prstGeom prst="rect">
              <a:avLst/>
            </a:prstGeom>
            <a:noFill/>
          </p:spPr>
          <p:txBody>
            <a:bodyPr wrap="square">
              <a:spAutoFit/>
            </a:bodyPr>
            <a:lstStyle/>
            <a:p>
              <a:pPr algn="ctr"/>
              <a:r>
                <a:rPr lang="en-ZA" sz="1400" b="1">
                  <a:effectLst/>
                  <a:latin typeface="Arial" panose="020B0604020202020204" pitchFamily="34" charset="0"/>
                  <a:ea typeface="Calibri" panose="020F0502020204030204" pitchFamily="34" charset="0"/>
                  <a:cs typeface="Arial" panose="020B0604020202020204" pitchFamily="34" charset="0"/>
                </a:rPr>
                <a:t>28 153 jobs </a:t>
              </a:r>
              <a:endParaRPr lang="en-ZA" sz="1400" b="1">
                <a:latin typeface="Arial" panose="020B0604020202020204" pitchFamily="34" charset="0"/>
                <a:cs typeface="Arial" panose="020B0604020202020204" pitchFamily="34" charset="0"/>
              </a:endParaRPr>
            </a:p>
          </p:txBody>
        </p:sp>
        <p:grpSp>
          <p:nvGrpSpPr>
            <p:cNvPr id="114" name="Group 113">
              <a:extLst>
                <a:ext uri="{FF2B5EF4-FFF2-40B4-BE49-F238E27FC236}">
                  <a16:creationId xmlns:a16="http://schemas.microsoft.com/office/drawing/2014/main" xmlns="" id="{94100A4E-A12D-4D0D-92A7-8793EE0F1700}"/>
                </a:ext>
              </a:extLst>
            </p:cNvPr>
            <p:cNvGrpSpPr/>
            <p:nvPr/>
          </p:nvGrpSpPr>
          <p:grpSpPr>
            <a:xfrm>
              <a:off x="7269211" y="3017254"/>
              <a:ext cx="1325760" cy="521701"/>
              <a:chOff x="7491649" y="4779764"/>
              <a:chExt cx="1325760" cy="521701"/>
            </a:xfrm>
          </p:grpSpPr>
          <p:grpSp>
            <p:nvGrpSpPr>
              <p:cNvPr id="6" name="Group 5">
                <a:extLst>
                  <a:ext uri="{FF2B5EF4-FFF2-40B4-BE49-F238E27FC236}">
                    <a16:creationId xmlns:a16="http://schemas.microsoft.com/office/drawing/2014/main" xmlns="" id="{87F70767-2012-4122-8424-B3D2DBCC4B38}"/>
                  </a:ext>
                </a:extLst>
              </p:cNvPr>
              <p:cNvGrpSpPr/>
              <p:nvPr/>
            </p:nvGrpSpPr>
            <p:grpSpPr>
              <a:xfrm>
                <a:off x="7491649" y="4779764"/>
                <a:ext cx="682625" cy="519113"/>
                <a:chOff x="5683591" y="5230042"/>
                <a:chExt cx="682625" cy="519113"/>
              </a:xfrm>
            </p:grpSpPr>
            <p:pic>
              <p:nvPicPr>
                <p:cNvPr id="96" name="Picture 132">
                  <a:extLst>
                    <a:ext uri="{FF2B5EF4-FFF2-40B4-BE49-F238E27FC236}">
                      <a16:creationId xmlns:a16="http://schemas.microsoft.com/office/drawing/2014/main" xmlns="" id="{41C059F6-CF5C-41CB-95FC-C7A07FC0FD08}"/>
                    </a:ext>
                  </a:extLst>
                </p:cNvPr>
                <p:cNvPicPr>
                  <a:picLocks noChangeAspect="1" noChangeArrowheads="1"/>
                </p:cNvPicPr>
                <p:nvPr/>
              </p:nvPicPr>
              <p:blipFill>
                <a:blip r:embed="rId9"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683591" y="52300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97" name="Picture 132">
                  <a:extLst>
                    <a:ext uri="{FF2B5EF4-FFF2-40B4-BE49-F238E27FC236}">
                      <a16:creationId xmlns:a16="http://schemas.microsoft.com/office/drawing/2014/main" xmlns="" id="{8F07C5D6-29F4-41DA-BDD5-E4AFB7317E57}"/>
                    </a:ext>
                  </a:extLst>
                </p:cNvPr>
                <p:cNvPicPr>
                  <a:picLocks noChangeAspect="1" noChangeArrowheads="1"/>
                </p:cNvPicPr>
                <p:nvPr/>
              </p:nvPicPr>
              <p:blipFill>
                <a:blip r:embed="rId9"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6043953" y="5241155"/>
                  <a:ext cx="322263" cy="506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98" name="Picture 132">
                  <a:extLst>
                    <a:ext uri="{FF2B5EF4-FFF2-40B4-BE49-F238E27FC236}">
                      <a16:creationId xmlns:a16="http://schemas.microsoft.com/office/drawing/2014/main" xmlns="" id="{F81C597B-3005-45F4-B3B6-4DF2A0523BAB}"/>
                    </a:ext>
                  </a:extLst>
                </p:cNvPr>
                <p:cNvPicPr>
                  <a:picLocks noChangeAspect="1" noChangeArrowheads="1"/>
                </p:cNvPicPr>
                <p:nvPr/>
              </p:nvPicPr>
              <p:blipFill>
                <a:blip r:embed="rId9"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861391" y="52427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grpSp>
          <p:grpSp>
            <p:nvGrpSpPr>
              <p:cNvPr id="110" name="Group 109">
                <a:extLst>
                  <a:ext uri="{FF2B5EF4-FFF2-40B4-BE49-F238E27FC236}">
                    <a16:creationId xmlns:a16="http://schemas.microsoft.com/office/drawing/2014/main" xmlns="" id="{25B0127B-A729-4AEC-8FD5-ADCB44837519}"/>
                  </a:ext>
                </a:extLst>
              </p:cNvPr>
              <p:cNvGrpSpPr/>
              <p:nvPr/>
            </p:nvGrpSpPr>
            <p:grpSpPr>
              <a:xfrm>
                <a:off x="8134784" y="4782352"/>
                <a:ext cx="682625" cy="519113"/>
                <a:chOff x="5683591" y="5230042"/>
                <a:chExt cx="682625" cy="519113"/>
              </a:xfrm>
            </p:grpSpPr>
            <p:pic>
              <p:nvPicPr>
                <p:cNvPr id="111" name="Picture 132">
                  <a:extLst>
                    <a:ext uri="{FF2B5EF4-FFF2-40B4-BE49-F238E27FC236}">
                      <a16:creationId xmlns:a16="http://schemas.microsoft.com/office/drawing/2014/main" xmlns="" id="{A51548AA-5149-4D02-AFEA-6D4D89484AB4}"/>
                    </a:ext>
                  </a:extLst>
                </p:cNvPr>
                <p:cNvPicPr>
                  <a:picLocks noChangeAspect="1" noChangeArrowheads="1"/>
                </p:cNvPicPr>
                <p:nvPr/>
              </p:nvPicPr>
              <p:blipFill>
                <a:blip r:embed="rId9"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683591" y="52300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112" name="Picture 132">
                  <a:extLst>
                    <a:ext uri="{FF2B5EF4-FFF2-40B4-BE49-F238E27FC236}">
                      <a16:creationId xmlns:a16="http://schemas.microsoft.com/office/drawing/2014/main" xmlns="" id="{5AB124A9-FF4B-409C-A1BA-D64B1DE966AA}"/>
                    </a:ext>
                  </a:extLst>
                </p:cNvPr>
                <p:cNvPicPr>
                  <a:picLocks noChangeAspect="1" noChangeArrowheads="1"/>
                </p:cNvPicPr>
                <p:nvPr/>
              </p:nvPicPr>
              <p:blipFill>
                <a:blip r:embed="rId9"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6043953" y="5241155"/>
                  <a:ext cx="322263" cy="506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113" name="Picture 132">
                  <a:extLst>
                    <a:ext uri="{FF2B5EF4-FFF2-40B4-BE49-F238E27FC236}">
                      <a16:creationId xmlns:a16="http://schemas.microsoft.com/office/drawing/2014/main" xmlns="" id="{7A4A0F9A-63A2-415C-AF47-D544EB027010}"/>
                    </a:ext>
                  </a:extLst>
                </p:cNvPr>
                <p:cNvPicPr>
                  <a:picLocks noChangeAspect="1" noChangeArrowheads="1"/>
                </p:cNvPicPr>
                <p:nvPr/>
              </p:nvPicPr>
              <p:blipFill>
                <a:blip r:embed="rId9"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861391" y="52427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grpSp>
        </p:grpSp>
        <p:grpSp>
          <p:nvGrpSpPr>
            <p:cNvPr id="134" name="Group 133">
              <a:extLst>
                <a:ext uri="{FF2B5EF4-FFF2-40B4-BE49-F238E27FC236}">
                  <a16:creationId xmlns:a16="http://schemas.microsoft.com/office/drawing/2014/main" xmlns="" id="{CB56FB69-C10A-47B7-8C2E-9E0B49E435B8}"/>
                </a:ext>
              </a:extLst>
            </p:cNvPr>
            <p:cNvGrpSpPr/>
            <p:nvPr/>
          </p:nvGrpSpPr>
          <p:grpSpPr>
            <a:xfrm>
              <a:off x="6222107" y="4415458"/>
              <a:ext cx="733694" cy="703212"/>
              <a:chOff x="5410068" y="4850095"/>
              <a:chExt cx="733694" cy="703212"/>
            </a:xfrm>
          </p:grpSpPr>
          <p:sp>
            <p:nvSpPr>
              <p:cNvPr id="135" name="Oval 34">
                <a:extLst>
                  <a:ext uri="{FF2B5EF4-FFF2-40B4-BE49-F238E27FC236}">
                    <a16:creationId xmlns:a16="http://schemas.microsoft.com/office/drawing/2014/main" xmlns="" id="{F09A8B7C-5E48-4EA1-B917-477F3B8089AD}"/>
                  </a:ext>
                </a:extLst>
              </p:cNvPr>
              <p:cNvSpPr>
                <a:spLocks noChangeArrowheads="1"/>
              </p:cNvSpPr>
              <p:nvPr/>
            </p:nvSpPr>
            <p:spPr bwMode="gray">
              <a:xfrm>
                <a:off x="5410068" y="4850095"/>
                <a:ext cx="733694" cy="703212"/>
              </a:xfrm>
              <a:prstGeom prst="ellipse">
                <a:avLst/>
              </a:prstGeom>
              <a:solidFill>
                <a:srgbClr val="0C7723"/>
              </a:solidFill>
              <a:ln>
                <a:noFill/>
              </a:ln>
              <a:effectLst/>
            </p:spPr>
            <p:txBody>
              <a:bodyPr wrap="none" anchor="ctr"/>
              <a:lstStyle/>
              <a:p>
                <a:pPr algn="ctr"/>
                <a:endParaRPr lang="en-US" altLang="en-US" sz="1600">
                  <a:highlight>
                    <a:srgbClr val="006600"/>
                  </a:highlight>
                </a:endParaRPr>
              </a:p>
            </p:txBody>
          </p:sp>
          <p:grpSp>
            <p:nvGrpSpPr>
              <p:cNvPr id="136" name="Group 52">
                <a:extLst>
                  <a:ext uri="{FF2B5EF4-FFF2-40B4-BE49-F238E27FC236}">
                    <a16:creationId xmlns:a16="http://schemas.microsoft.com/office/drawing/2014/main" xmlns="" id="{7E75575E-73C9-431E-B263-3A463C40B9EE}"/>
                  </a:ext>
                </a:extLst>
              </p:cNvPr>
              <p:cNvGrpSpPr>
                <a:grpSpLocks/>
              </p:cNvGrpSpPr>
              <p:nvPr/>
            </p:nvGrpSpPr>
            <p:grpSpPr bwMode="auto">
              <a:xfrm>
                <a:off x="5612257" y="4954632"/>
                <a:ext cx="327566" cy="490539"/>
                <a:chOff x="1034" y="2049"/>
                <a:chExt cx="126" cy="231"/>
              </a:xfrm>
              <a:solidFill>
                <a:schemeClr val="bg1"/>
              </a:solidFill>
            </p:grpSpPr>
            <p:sp>
              <p:nvSpPr>
                <p:cNvPr id="137" name="Oval 53">
                  <a:extLst>
                    <a:ext uri="{FF2B5EF4-FFF2-40B4-BE49-F238E27FC236}">
                      <a16:creationId xmlns:a16="http://schemas.microsoft.com/office/drawing/2014/main" xmlns="" id="{E6A2DA02-56D8-4C8F-A82A-BC06934501F5}"/>
                    </a:ext>
                  </a:extLst>
                </p:cNvPr>
                <p:cNvSpPr>
                  <a:spLocks noChangeArrowheads="1"/>
                </p:cNvSpPr>
                <p:nvPr/>
              </p:nvSpPr>
              <p:spPr bwMode="gray">
                <a:xfrm>
                  <a:off x="1073" y="2049"/>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38" name="AutoShape 54">
                  <a:extLst>
                    <a:ext uri="{FF2B5EF4-FFF2-40B4-BE49-F238E27FC236}">
                      <a16:creationId xmlns:a16="http://schemas.microsoft.com/office/drawing/2014/main" xmlns="" id="{622B9C52-7D12-4688-AEE5-9827284F184B}"/>
                    </a:ext>
                  </a:extLst>
                </p:cNvPr>
                <p:cNvSpPr>
                  <a:spLocks noChangeArrowheads="1"/>
                </p:cNvSpPr>
                <p:nvPr/>
              </p:nvSpPr>
              <p:spPr bwMode="gray">
                <a:xfrm>
                  <a:off x="1034" y="2108"/>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39" name="AutoShape 55">
                  <a:extLst>
                    <a:ext uri="{FF2B5EF4-FFF2-40B4-BE49-F238E27FC236}">
                      <a16:creationId xmlns:a16="http://schemas.microsoft.com/office/drawing/2014/main" xmlns="" id="{B124AD84-73E7-46B6-A422-0A1CE3735C22}"/>
                    </a:ext>
                  </a:extLst>
                </p:cNvPr>
                <p:cNvSpPr>
                  <a:spLocks noChangeArrowheads="1"/>
                </p:cNvSpPr>
                <p:nvPr/>
              </p:nvSpPr>
              <p:spPr bwMode="gray">
                <a:xfrm>
                  <a:off x="1067" y="2114"/>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0" name="AutoShape 56">
                  <a:extLst>
                    <a:ext uri="{FF2B5EF4-FFF2-40B4-BE49-F238E27FC236}">
                      <a16:creationId xmlns:a16="http://schemas.microsoft.com/office/drawing/2014/main" xmlns="" id="{7FCCECA3-8507-4C3A-B282-B4349291B885}"/>
                    </a:ext>
                  </a:extLst>
                </p:cNvPr>
                <p:cNvSpPr>
                  <a:spLocks noChangeArrowheads="1"/>
                </p:cNvSpPr>
                <p:nvPr/>
              </p:nvSpPr>
              <p:spPr bwMode="gray">
                <a:xfrm>
                  <a:off x="1067" y="2117"/>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1" name="AutoShape 57">
                  <a:extLst>
                    <a:ext uri="{FF2B5EF4-FFF2-40B4-BE49-F238E27FC236}">
                      <a16:creationId xmlns:a16="http://schemas.microsoft.com/office/drawing/2014/main" xmlns="" id="{7672A700-77CE-46FB-9D7D-BA55E41B41E6}"/>
                    </a:ext>
                  </a:extLst>
                </p:cNvPr>
                <p:cNvSpPr>
                  <a:spLocks noChangeArrowheads="1"/>
                </p:cNvSpPr>
                <p:nvPr/>
              </p:nvSpPr>
              <p:spPr bwMode="gray">
                <a:xfrm>
                  <a:off x="1037" y="2103"/>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2" name="AutoShape 58">
                  <a:extLst>
                    <a:ext uri="{FF2B5EF4-FFF2-40B4-BE49-F238E27FC236}">
                      <a16:creationId xmlns:a16="http://schemas.microsoft.com/office/drawing/2014/main" xmlns="" id="{D8C575E9-EBB6-4FDF-A84E-A066498C2FF9}"/>
                    </a:ext>
                  </a:extLst>
                </p:cNvPr>
                <p:cNvSpPr>
                  <a:spLocks noChangeArrowheads="1"/>
                </p:cNvSpPr>
                <p:nvPr/>
              </p:nvSpPr>
              <p:spPr bwMode="gray">
                <a:xfrm>
                  <a:off x="1101" y="2114"/>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3" name="AutoShape 59">
                  <a:extLst>
                    <a:ext uri="{FF2B5EF4-FFF2-40B4-BE49-F238E27FC236}">
                      <a16:creationId xmlns:a16="http://schemas.microsoft.com/office/drawing/2014/main" xmlns="" id="{39AA65E0-EF99-4259-8B27-896ED022EB80}"/>
                    </a:ext>
                  </a:extLst>
                </p:cNvPr>
                <p:cNvSpPr>
                  <a:spLocks noChangeArrowheads="1"/>
                </p:cNvSpPr>
                <p:nvPr/>
              </p:nvSpPr>
              <p:spPr bwMode="gray">
                <a:xfrm>
                  <a:off x="1132" y="2108"/>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44" name="Group 143">
              <a:extLst>
                <a:ext uri="{FF2B5EF4-FFF2-40B4-BE49-F238E27FC236}">
                  <a16:creationId xmlns:a16="http://schemas.microsoft.com/office/drawing/2014/main" xmlns="" id="{62A5531C-91F3-4C94-8510-9948A04AC08E}"/>
                </a:ext>
              </a:extLst>
            </p:cNvPr>
            <p:cNvGrpSpPr/>
            <p:nvPr/>
          </p:nvGrpSpPr>
          <p:grpSpPr>
            <a:xfrm>
              <a:off x="8070677" y="4380095"/>
              <a:ext cx="733694" cy="703212"/>
              <a:chOff x="5410068" y="4850095"/>
              <a:chExt cx="733694" cy="703212"/>
            </a:xfrm>
          </p:grpSpPr>
          <p:sp>
            <p:nvSpPr>
              <p:cNvPr id="145" name="Oval 34">
                <a:extLst>
                  <a:ext uri="{FF2B5EF4-FFF2-40B4-BE49-F238E27FC236}">
                    <a16:creationId xmlns:a16="http://schemas.microsoft.com/office/drawing/2014/main" xmlns="" id="{CFFF3A76-6D1A-4C78-A603-1D46D212652D}"/>
                  </a:ext>
                </a:extLst>
              </p:cNvPr>
              <p:cNvSpPr>
                <a:spLocks noChangeArrowheads="1"/>
              </p:cNvSpPr>
              <p:nvPr/>
            </p:nvSpPr>
            <p:spPr bwMode="gray">
              <a:xfrm>
                <a:off x="5410068" y="4850095"/>
                <a:ext cx="733694" cy="703212"/>
              </a:xfrm>
              <a:prstGeom prst="ellipse">
                <a:avLst/>
              </a:prstGeom>
              <a:solidFill>
                <a:srgbClr val="0C7723"/>
              </a:solidFill>
              <a:ln>
                <a:noFill/>
              </a:ln>
              <a:effectLst/>
            </p:spPr>
            <p:txBody>
              <a:bodyPr wrap="none" anchor="ctr"/>
              <a:lstStyle/>
              <a:p>
                <a:pPr algn="ctr"/>
                <a:endParaRPr lang="en-US" altLang="en-US" sz="1600">
                  <a:highlight>
                    <a:srgbClr val="006600"/>
                  </a:highlight>
                </a:endParaRPr>
              </a:p>
            </p:txBody>
          </p:sp>
          <p:grpSp>
            <p:nvGrpSpPr>
              <p:cNvPr id="146" name="Group 52">
                <a:extLst>
                  <a:ext uri="{FF2B5EF4-FFF2-40B4-BE49-F238E27FC236}">
                    <a16:creationId xmlns:a16="http://schemas.microsoft.com/office/drawing/2014/main" xmlns="" id="{3B2914C9-525F-4A95-985B-F9434C18594F}"/>
                  </a:ext>
                </a:extLst>
              </p:cNvPr>
              <p:cNvGrpSpPr>
                <a:grpSpLocks/>
              </p:cNvGrpSpPr>
              <p:nvPr/>
            </p:nvGrpSpPr>
            <p:grpSpPr bwMode="auto">
              <a:xfrm>
                <a:off x="5609658" y="4965247"/>
                <a:ext cx="327566" cy="490539"/>
                <a:chOff x="1033" y="2054"/>
                <a:chExt cx="126" cy="231"/>
              </a:xfrm>
              <a:solidFill>
                <a:schemeClr val="bg1"/>
              </a:solidFill>
            </p:grpSpPr>
            <p:sp>
              <p:nvSpPr>
                <p:cNvPr id="147" name="Oval 53">
                  <a:extLst>
                    <a:ext uri="{FF2B5EF4-FFF2-40B4-BE49-F238E27FC236}">
                      <a16:creationId xmlns:a16="http://schemas.microsoft.com/office/drawing/2014/main" xmlns="" id="{A4676103-4E60-494A-94D2-471EA2B8E83F}"/>
                    </a:ext>
                  </a:extLst>
                </p:cNvPr>
                <p:cNvSpPr>
                  <a:spLocks noChangeArrowheads="1"/>
                </p:cNvSpPr>
                <p:nvPr/>
              </p:nvSpPr>
              <p:spPr bwMode="gray">
                <a:xfrm>
                  <a:off x="1072" y="2054"/>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8" name="AutoShape 54">
                  <a:extLst>
                    <a:ext uri="{FF2B5EF4-FFF2-40B4-BE49-F238E27FC236}">
                      <a16:creationId xmlns:a16="http://schemas.microsoft.com/office/drawing/2014/main" xmlns="" id="{5B4F7C7A-7093-4811-9CF6-06A8DC09DD7E}"/>
                    </a:ext>
                  </a:extLst>
                </p:cNvPr>
                <p:cNvSpPr>
                  <a:spLocks noChangeArrowheads="1"/>
                </p:cNvSpPr>
                <p:nvPr/>
              </p:nvSpPr>
              <p:spPr bwMode="gray">
                <a:xfrm>
                  <a:off x="1033" y="2113"/>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9" name="AutoShape 55">
                  <a:extLst>
                    <a:ext uri="{FF2B5EF4-FFF2-40B4-BE49-F238E27FC236}">
                      <a16:creationId xmlns:a16="http://schemas.microsoft.com/office/drawing/2014/main" xmlns="" id="{C61C86A1-D6FD-4FC0-8E37-32BCB472DE3B}"/>
                    </a:ext>
                  </a:extLst>
                </p:cNvPr>
                <p:cNvSpPr>
                  <a:spLocks noChangeArrowheads="1"/>
                </p:cNvSpPr>
                <p:nvPr/>
              </p:nvSpPr>
              <p:spPr bwMode="gray">
                <a:xfrm>
                  <a:off x="1066" y="2119"/>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0" name="AutoShape 56">
                  <a:extLst>
                    <a:ext uri="{FF2B5EF4-FFF2-40B4-BE49-F238E27FC236}">
                      <a16:creationId xmlns:a16="http://schemas.microsoft.com/office/drawing/2014/main" xmlns="" id="{18F40E8C-A249-4F64-BDA9-F70C881A2D4A}"/>
                    </a:ext>
                  </a:extLst>
                </p:cNvPr>
                <p:cNvSpPr>
                  <a:spLocks noChangeArrowheads="1"/>
                </p:cNvSpPr>
                <p:nvPr/>
              </p:nvSpPr>
              <p:spPr bwMode="gray">
                <a:xfrm>
                  <a:off x="1066" y="2122"/>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1" name="AutoShape 57">
                  <a:extLst>
                    <a:ext uri="{FF2B5EF4-FFF2-40B4-BE49-F238E27FC236}">
                      <a16:creationId xmlns:a16="http://schemas.microsoft.com/office/drawing/2014/main" xmlns="" id="{34407F98-E40B-4C50-AB76-E921C12B96B6}"/>
                    </a:ext>
                  </a:extLst>
                </p:cNvPr>
                <p:cNvSpPr>
                  <a:spLocks noChangeArrowheads="1"/>
                </p:cNvSpPr>
                <p:nvPr/>
              </p:nvSpPr>
              <p:spPr bwMode="gray">
                <a:xfrm>
                  <a:off x="1036" y="2108"/>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2" name="AutoShape 58">
                  <a:extLst>
                    <a:ext uri="{FF2B5EF4-FFF2-40B4-BE49-F238E27FC236}">
                      <a16:creationId xmlns:a16="http://schemas.microsoft.com/office/drawing/2014/main" xmlns="" id="{8EE6A598-E757-4F7E-9E8D-CF6BFE42A37C}"/>
                    </a:ext>
                  </a:extLst>
                </p:cNvPr>
                <p:cNvSpPr>
                  <a:spLocks noChangeArrowheads="1"/>
                </p:cNvSpPr>
                <p:nvPr/>
              </p:nvSpPr>
              <p:spPr bwMode="gray">
                <a:xfrm>
                  <a:off x="1100" y="2119"/>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3" name="AutoShape 59">
                  <a:extLst>
                    <a:ext uri="{FF2B5EF4-FFF2-40B4-BE49-F238E27FC236}">
                      <a16:creationId xmlns:a16="http://schemas.microsoft.com/office/drawing/2014/main" xmlns="" id="{85812CBD-9801-4332-B2B8-77C8943D4718}"/>
                    </a:ext>
                  </a:extLst>
                </p:cNvPr>
                <p:cNvSpPr>
                  <a:spLocks noChangeArrowheads="1"/>
                </p:cNvSpPr>
                <p:nvPr/>
              </p:nvSpPr>
              <p:spPr bwMode="gray">
                <a:xfrm>
                  <a:off x="1131" y="2113"/>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sp>
          <p:nvSpPr>
            <p:cNvPr id="177" name="TextBox 176">
              <a:extLst>
                <a:ext uri="{FF2B5EF4-FFF2-40B4-BE49-F238E27FC236}">
                  <a16:creationId xmlns:a16="http://schemas.microsoft.com/office/drawing/2014/main" xmlns="" id="{145C159C-D2E1-4F08-8E0D-B656E9900811}"/>
                </a:ext>
              </a:extLst>
            </p:cNvPr>
            <p:cNvSpPr txBox="1"/>
            <p:nvPr/>
          </p:nvSpPr>
          <p:spPr>
            <a:xfrm>
              <a:off x="5244270" y="5092894"/>
              <a:ext cx="851317"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Black-owned</a:t>
              </a:r>
              <a:endParaRPr lang="en-ZA" sz="1200">
                <a:solidFill>
                  <a:srgbClr val="0C7723"/>
                </a:solidFill>
                <a:latin typeface="Arial" panose="020B0604020202020204" pitchFamily="34" charset="0"/>
                <a:cs typeface="Arial" panose="020B0604020202020204" pitchFamily="34" charset="0"/>
              </a:endParaRPr>
            </a:p>
          </p:txBody>
        </p:sp>
        <p:sp>
          <p:nvSpPr>
            <p:cNvPr id="178" name="TextBox 177">
              <a:extLst>
                <a:ext uri="{FF2B5EF4-FFF2-40B4-BE49-F238E27FC236}">
                  <a16:creationId xmlns:a16="http://schemas.microsoft.com/office/drawing/2014/main" xmlns="" id="{8A93923B-74B7-49EF-B1E7-E84E28C04CAF}"/>
                </a:ext>
              </a:extLst>
            </p:cNvPr>
            <p:cNvSpPr txBox="1"/>
            <p:nvPr/>
          </p:nvSpPr>
          <p:spPr>
            <a:xfrm>
              <a:off x="6172329" y="5092894"/>
              <a:ext cx="880834"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Township-based</a:t>
              </a:r>
              <a:endParaRPr lang="en-ZA" sz="1200">
                <a:solidFill>
                  <a:srgbClr val="0C7723"/>
                </a:solidFill>
                <a:latin typeface="Arial" panose="020B0604020202020204" pitchFamily="34" charset="0"/>
                <a:cs typeface="Arial" panose="020B0604020202020204" pitchFamily="34" charset="0"/>
              </a:endParaRPr>
            </a:p>
          </p:txBody>
        </p:sp>
        <p:sp>
          <p:nvSpPr>
            <p:cNvPr id="179" name="TextBox 178">
              <a:extLst>
                <a:ext uri="{FF2B5EF4-FFF2-40B4-BE49-F238E27FC236}">
                  <a16:creationId xmlns:a16="http://schemas.microsoft.com/office/drawing/2014/main" xmlns="" id="{4D03B25A-4DF4-4A4E-8F99-6A23B37B1410}"/>
                </a:ext>
              </a:extLst>
            </p:cNvPr>
            <p:cNvSpPr txBox="1"/>
            <p:nvPr/>
          </p:nvSpPr>
          <p:spPr>
            <a:xfrm>
              <a:off x="8121052" y="5092894"/>
              <a:ext cx="639834"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Youth-owned</a:t>
              </a:r>
              <a:endParaRPr lang="en-ZA" sz="1200">
                <a:solidFill>
                  <a:srgbClr val="0C7723"/>
                </a:solidFill>
                <a:latin typeface="Arial" panose="020B0604020202020204" pitchFamily="34" charset="0"/>
                <a:cs typeface="Arial" panose="020B0604020202020204" pitchFamily="34" charset="0"/>
              </a:endParaRPr>
            </a:p>
          </p:txBody>
        </p:sp>
        <p:sp>
          <p:nvSpPr>
            <p:cNvPr id="180" name="TextBox 179">
              <a:extLst>
                <a:ext uri="{FF2B5EF4-FFF2-40B4-BE49-F238E27FC236}">
                  <a16:creationId xmlns:a16="http://schemas.microsoft.com/office/drawing/2014/main" xmlns="" id="{EC88D638-0420-41DB-B4CD-24F0CCDFA906}"/>
                </a:ext>
              </a:extLst>
            </p:cNvPr>
            <p:cNvSpPr txBox="1"/>
            <p:nvPr/>
          </p:nvSpPr>
          <p:spPr>
            <a:xfrm>
              <a:off x="7191292" y="5092894"/>
              <a:ext cx="817086"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Women-owned</a:t>
              </a:r>
              <a:endParaRPr lang="en-ZA" sz="1200">
                <a:solidFill>
                  <a:srgbClr val="0C7723"/>
                </a:solidFill>
                <a:latin typeface="Arial" panose="020B0604020202020204" pitchFamily="34" charset="0"/>
                <a:cs typeface="Arial" panose="020B0604020202020204" pitchFamily="34" charset="0"/>
              </a:endParaRPr>
            </a:p>
          </p:txBody>
        </p:sp>
        <p:sp>
          <p:nvSpPr>
            <p:cNvPr id="189" name="Rectangle 18">
              <a:extLst>
                <a:ext uri="{FF2B5EF4-FFF2-40B4-BE49-F238E27FC236}">
                  <a16:creationId xmlns:a16="http://schemas.microsoft.com/office/drawing/2014/main" xmlns="" id="{CC895E1F-A3A1-4F17-9A92-A6C38654E7DF}"/>
                </a:ext>
              </a:extLst>
            </p:cNvPr>
            <p:cNvSpPr>
              <a:spLocks noChangeArrowheads="1"/>
            </p:cNvSpPr>
            <p:nvPr/>
          </p:nvSpPr>
          <p:spPr bwMode="gray">
            <a:xfrm>
              <a:off x="6283013" y="5477229"/>
              <a:ext cx="641350" cy="381000"/>
            </a:xfrm>
            <a:prstGeom prst="rect">
              <a:avLst/>
            </a:prstGeom>
            <a:noFill/>
            <a:ln>
              <a:noFill/>
            </a:ln>
            <a:effectLst/>
          </p:spPr>
          <p:txBody>
            <a:bodyPr wrap="none" lIns="54000" rIns="54000" anchor="ctr"/>
            <a:lstStyle/>
            <a:p>
              <a:pPr algn="ctr">
                <a:lnSpc>
                  <a:spcPct val="95000"/>
                </a:lnSpc>
              </a:pPr>
              <a:r>
                <a:rPr lang="en-US" altLang="en-US" sz="1200">
                  <a:solidFill>
                    <a:srgbClr val="F06E02"/>
                  </a:solidFill>
                  <a:latin typeface="Arial" panose="020B0604020202020204" pitchFamily="34" charset="0"/>
                  <a:cs typeface="Arial" panose="020B0604020202020204" pitchFamily="34" charset="0"/>
                </a:rPr>
                <a:t>R119M</a:t>
              </a:r>
            </a:p>
          </p:txBody>
        </p:sp>
        <p:cxnSp>
          <p:nvCxnSpPr>
            <p:cNvPr id="4" name="Straight Connector 3">
              <a:extLst>
                <a:ext uri="{FF2B5EF4-FFF2-40B4-BE49-F238E27FC236}">
                  <a16:creationId xmlns:a16="http://schemas.microsoft.com/office/drawing/2014/main" xmlns="" id="{68362114-98D3-5406-3C97-A5020430D2D4}"/>
                </a:ext>
              </a:extLst>
            </p:cNvPr>
            <p:cNvCxnSpPr>
              <a:cxnSpLocks/>
            </p:cNvCxnSpPr>
            <p:nvPr/>
          </p:nvCxnSpPr>
          <p:spPr>
            <a:xfrm>
              <a:off x="5313402" y="5546852"/>
              <a:ext cx="3533175" cy="0"/>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grpSp>
      <p:cxnSp>
        <p:nvCxnSpPr>
          <p:cNvPr id="16" name="Straight Connector 15">
            <a:extLst>
              <a:ext uri="{FF2B5EF4-FFF2-40B4-BE49-F238E27FC236}">
                <a16:creationId xmlns:a16="http://schemas.microsoft.com/office/drawing/2014/main" xmlns="" id="{6A591B4D-998A-64F4-CA32-72A551685961}"/>
              </a:ext>
            </a:extLst>
          </p:cNvPr>
          <p:cNvCxnSpPr>
            <a:cxnSpLocks/>
          </p:cNvCxnSpPr>
          <p:nvPr/>
        </p:nvCxnSpPr>
        <p:spPr>
          <a:xfrm>
            <a:off x="6122490" y="4267726"/>
            <a:ext cx="0" cy="1577917"/>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cxnSp>
        <p:nvCxnSpPr>
          <p:cNvPr id="17" name="Straight Connector 16">
            <a:extLst>
              <a:ext uri="{FF2B5EF4-FFF2-40B4-BE49-F238E27FC236}">
                <a16:creationId xmlns:a16="http://schemas.microsoft.com/office/drawing/2014/main" xmlns="" id="{C04B80E4-ACFF-5DAB-EF15-EDD4AFB5C997}"/>
              </a:ext>
            </a:extLst>
          </p:cNvPr>
          <p:cNvCxnSpPr>
            <a:cxnSpLocks/>
          </p:cNvCxnSpPr>
          <p:nvPr/>
        </p:nvCxnSpPr>
        <p:spPr>
          <a:xfrm>
            <a:off x="7053163" y="4267726"/>
            <a:ext cx="0" cy="1577917"/>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cxnSp>
        <p:nvCxnSpPr>
          <p:cNvPr id="18" name="Straight Connector 17">
            <a:extLst>
              <a:ext uri="{FF2B5EF4-FFF2-40B4-BE49-F238E27FC236}">
                <a16:creationId xmlns:a16="http://schemas.microsoft.com/office/drawing/2014/main" xmlns="" id="{E695919F-A1AF-215E-2297-907B03D7CD29}"/>
              </a:ext>
            </a:extLst>
          </p:cNvPr>
          <p:cNvCxnSpPr>
            <a:cxnSpLocks/>
          </p:cNvCxnSpPr>
          <p:nvPr/>
        </p:nvCxnSpPr>
        <p:spPr>
          <a:xfrm>
            <a:off x="8005849" y="4267726"/>
            <a:ext cx="0" cy="1577917"/>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pic>
        <p:nvPicPr>
          <p:cNvPr id="19" name="Picture 12">
            <a:extLst>
              <a:ext uri="{FF2B5EF4-FFF2-40B4-BE49-F238E27FC236}">
                <a16:creationId xmlns:a16="http://schemas.microsoft.com/office/drawing/2014/main" xmlns="" id="{6F632D3C-9DE7-6647-FBF2-6D8C4CACCD22}"/>
              </a:ext>
            </a:extLst>
          </p:cNvPr>
          <p:cNvPicPr>
            <a:picLocks noChangeAspect="1"/>
          </p:cNvPicPr>
          <p:nvPr/>
        </p:nvPicPr>
        <p:blipFill>
          <a:blip r:embed="rId10" cstate="print"/>
          <a:srcRect l="4701" r="4701"/>
          <a:stretch>
            <a:fillRect/>
          </a:stretch>
        </p:blipFill>
        <p:spPr>
          <a:xfrm>
            <a:off x="548142" y="5509704"/>
            <a:ext cx="1676840" cy="1896493"/>
          </a:xfrm>
          <a:prstGeom prst="rect">
            <a:avLst/>
          </a:prstGeom>
        </p:spPr>
      </p:pic>
      <p:pic>
        <p:nvPicPr>
          <p:cNvPr id="20" name="Picture 19" descr="Logo&#10;&#10;Description automatically generated">
            <a:extLst>
              <a:ext uri="{FF2B5EF4-FFF2-40B4-BE49-F238E27FC236}">
                <a16:creationId xmlns:a16="http://schemas.microsoft.com/office/drawing/2014/main" xmlns="" id="{45D17233-B703-8809-6330-567079DCE9BF}"/>
              </a:ext>
            </a:extLst>
          </p:cNvPr>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3737278" y="6113624"/>
            <a:ext cx="1627635" cy="688652"/>
          </a:xfrm>
          <a:prstGeom prst="rect">
            <a:avLst/>
          </a:prstGeom>
        </p:spPr>
      </p:pic>
      <p:pic>
        <p:nvPicPr>
          <p:cNvPr id="21" name="Picture 20" descr="Logo&#10;&#10;Description automatically generated">
            <a:extLst>
              <a:ext uri="{FF2B5EF4-FFF2-40B4-BE49-F238E27FC236}">
                <a16:creationId xmlns:a16="http://schemas.microsoft.com/office/drawing/2014/main" xmlns="" id="{82ADF78E-D0B5-7417-E990-32F9D70C3ABA}"/>
              </a:ext>
            </a:extLst>
          </p:cNvPr>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6574983" y="6077125"/>
            <a:ext cx="1331683" cy="688652"/>
          </a:xfrm>
          <a:prstGeom prst="rect">
            <a:avLst/>
          </a:prstGeom>
        </p:spPr>
      </p:pic>
      <p:cxnSp>
        <p:nvCxnSpPr>
          <p:cNvPr id="22" name="Straight Connector 21">
            <a:extLst>
              <a:ext uri="{FF2B5EF4-FFF2-40B4-BE49-F238E27FC236}">
                <a16:creationId xmlns:a16="http://schemas.microsoft.com/office/drawing/2014/main" xmlns="" id="{123D8BF1-96C3-7E8F-5590-1E7A7F175CEB}"/>
              </a:ext>
            </a:extLst>
          </p:cNvPr>
          <p:cNvCxnSpPr/>
          <p:nvPr/>
        </p:nvCxnSpPr>
        <p:spPr>
          <a:xfrm>
            <a:off x="0" y="5937504"/>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xmlns="" id="{D7B4390F-46AE-67F3-784A-2B1F6FD5053D}"/>
              </a:ext>
            </a:extLst>
          </p:cNvPr>
          <p:cNvSpPr txBox="1"/>
          <p:nvPr/>
        </p:nvSpPr>
        <p:spPr>
          <a:xfrm>
            <a:off x="2130136" y="1697181"/>
            <a:ext cx="258486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solidFill>
                  <a:schemeClr val="bg1"/>
                </a:solidFill>
                <a:cs typeface="Arial"/>
              </a:rPr>
              <a:t>As at 31 Dec 2022</a:t>
            </a:r>
            <a:endParaRPr lang="en-US">
              <a:solidFill>
                <a:schemeClr val="bg1"/>
              </a:solidFill>
            </a:endParaRPr>
          </a:p>
        </p:txBody>
      </p:sp>
    </p:spTree>
    <p:extLst>
      <p:ext uri="{BB962C8B-B14F-4D97-AF65-F5344CB8AC3E}">
        <p14:creationId xmlns:p14="http://schemas.microsoft.com/office/powerpoint/2010/main" xmlns="" val="2300448166"/>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30</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92974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3696"/>
            <a:ext cx="9144000" cy="954107"/>
          </a:xfrm>
          <a:prstGeom prst="rect">
            <a:avLst/>
          </a:prstGeom>
          <a:noFill/>
        </p:spPr>
        <p:txBody>
          <a:bodyPr wrap="square" rtlCol="0">
            <a:spAutoFit/>
          </a:bodyPr>
          <a:lstStyle/>
          <a:p>
            <a:r>
              <a:rPr lang="en-US" sz="2800">
                <a:solidFill>
                  <a:prstClr val="white"/>
                </a:solidFill>
                <a:latin typeface="Arial" panose="020B0604020202020204" pitchFamily="34" charset="0"/>
                <a:cs typeface="Arial" panose="020B0604020202020204" pitchFamily="34" charset="0"/>
              </a:rPr>
              <a:t>Interventions to Enhance Organisational Performance cont.</a:t>
            </a:r>
          </a:p>
        </p:txBody>
      </p:sp>
      <p:sp>
        <p:nvSpPr>
          <p:cNvPr id="15" name="TextBox 14">
            <a:extLst>
              <a:ext uri="{FF2B5EF4-FFF2-40B4-BE49-F238E27FC236}">
                <a16:creationId xmlns:a16="http://schemas.microsoft.com/office/drawing/2014/main" xmlns="" id="{FA1C34ED-A104-41BB-A7B0-D622E84AAF82}"/>
              </a:ext>
            </a:extLst>
          </p:cNvPr>
          <p:cNvSpPr txBox="1"/>
          <p:nvPr/>
        </p:nvSpPr>
        <p:spPr>
          <a:xfrm>
            <a:off x="23446" y="1105863"/>
            <a:ext cx="8860971" cy="3088414"/>
          </a:xfrm>
          <a:prstGeom prst="roundRect">
            <a:avLst>
              <a:gd name="adj" fmla="val 5851"/>
            </a:avLst>
          </a:prstGeom>
          <a:noFill/>
          <a:ln>
            <a:noFill/>
          </a:ln>
        </p:spPr>
        <p:txBody>
          <a:bodyPr wrap="square" rtlCol="0">
            <a:spAutoFit/>
          </a:bodyPr>
          <a:lstStyle/>
          <a:p>
            <a:pPr marL="800100" indent="-342900" algn="just">
              <a:lnSpc>
                <a:spcPct val="150000"/>
              </a:lnSpc>
              <a:buFont typeface="+mj-lt"/>
              <a:buAutoNum type="arabicPeriod" startAt="2"/>
            </a:pPr>
            <a:r>
              <a:rPr lang="en-ZA" sz="1600" b="1" dirty="0">
                <a:effectLst/>
                <a:latin typeface="Arial" panose="020B0604020202020204" pitchFamily="34" charset="0"/>
                <a:ea typeface="Calibri" panose="020F0502020204030204" pitchFamily="34" charset="0"/>
                <a:cs typeface="Arial" panose="020B0604020202020204" pitchFamily="34" charset="0"/>
              </a:rPr>
              <a:t>Disbursement management</a:t>
            </a:r>
          </a:p>
          <a:p>
            <a:pPr marL="457200" algn="just">
              <a:lnSpc>
                <a:spcPct val="150000"/>
              </a:lnSpc>
            </a:pPr>
            <a:r>
              <a:rPr lang="en-ZA" sz="1600" dirty="0">
                <a:effectLst/>
                <a:latin typeface="Arial" panose="020B0604020202020204" pitchFamily="34" charset="0"/>
                <a:ea typeface="Calibri" panose="020F0502020204030204" pitchFamily="34" charset="0"/>
                <a:cs typeface="Arial" panose="020B0604020202020204" pitchFamily="34" charset="0"/>
              </a:rPr>
              <a:t>The  reporting line of OPS Hub has been changed from Lending Division to Finance Division to improve organisational integration and efficiency.</a:t>
            </a:r>
          </a:p>
          <a:p>
            <a:pPr marL="457200" algn="just">
              <a:lnSpc>
                <a:spcPct val="150000"/>
              </a:lnSpc>
            </a:pPr>
            <a:r>
              <a:rPr lang="en-ZA" sz="1600" dirty="0">
                <a:effectLst/>
                <a:latin typeface="Arial" panose="020B0604020202020204" pitchFamily="34" charset="0"/>
                <a:ea typeface="Calibri" panose="020F0502020204030204" pitchFamily="34" charset="0"/>
                <a:cs typeface="Arial" panose="020B0604020202020204" pitchFamily="34" charset="0"/>
              </a:rPr>
              <a:t>The existing business processes will be reviewed </a:t>
            </a:r>
            <a:r>
              <a:rPr lang="en-ZA" sz="1600" dirty="0">
                <a:latin typeface="Arial" panose="020B0604020202020204" pitchFamily="34" charset="0"/>
                <a:ea typeface="Calibri" panose="020F0502020204030204" pitchFamily="34" charset="0"/>
                <a:cs typeface="Arial" panose="020B0604020202020204" pitchFamily="34" charset="0"/>
              </a:rPr>
              <a:t>for process optimization in Q4.</a:t>
            </a:r>
          </a:p>
          <a:p>
            <a:pPr marL="457200" algn="just">
              <a:lnSpc>
                <a:spcPct val="150000"/>
              </a:lnSpc>
            </a:pPr>
            <a:endParaRPr lang="en-ZA" sz="1600" dirty="0">
              <a:effectLst/>
              <a:latin typeface="Arial" panose="020B0604020202020204" pitchFamily="34" charset="0"/>
              <a:ea typeface="Calibri" panose="020F0502020204030204" pitchFamily="34" charset="0"/>
              <a:cs typeface="Arial" panose="020B0604020202020204" pitchFamily="34" charset="0"/>
            </a:endParaRPr>
          </a:p>
          <a:p>
            <a:pPr marL="457200" algn="just">
              <a:lnSpc>
                <a:spcPct val="150000"/>
              </a:lnSpc>
            </a:pPr>
            <a:r>
              <a:rPr lang="en-ZA" sz="1600" b="1" dirty="0">
                <a:latin typeface="Arial" panose="020B0604020202020204" pitchFamily="34" charset="0"/>
                <a:ea typeface="Calibri" panose="020F0502020204030204" pitchFamily="34" charset="0"/>
                <a:cs typeface="Arial" panose="020B0604020202020204" pitchFamily="34" charset="0"/>
              </a:rPr>
              <a:t>3.  Client on-boarding </a:t>
            </a:r>
          </a:p>
          <a:p>
            <a:pPr marL="457200" algn="just">
              <a:lnSpc>
                <a:spcPct val="150000"/>
              </a:lnSpc>
            </a:pPr>
            <a:r>
              <a:rPr lang="en-ZA" sz="1600" b="1" dirty="0">
                <a:latin typeface="Arial" panose="020B0604020202020204" pitchFamily="34" charset="0"/>
                <a:ea typeface="Calibri" panose="020F0502020204030204" pitchFamily="34" charset="0"/>
                <a:cs typeface="Arial" panose="020B0604020202020204" pitchFamily="34" charset="0"/>
              </a:rPr>
              <a:t>s</a:t>
            </a:r>
            <a:r>
              <a:rPr lang="en-ZA" sz="1600" b="1" dirty="0">
                <a:effectLst/>
                <a:latin typeface="Arial" panose="020B0604020202020204" pitchFamily="34" charset="0"/>
                <a:ea typeface="Calibri" panose="020F0502020204030204" pitchFamily="34" charset="0"/>
                <a:cs typeface="Arial" panose="020B0604020202020204" pitchFamily="34" charset="0"/>
              </a:rPr>
              <a:t>efa</a:t>
            </a:r>
            <a:r>
              <a:rPr lang="en-ZA" sz="1600" dirty="0">
                <a:effectLst/>
                <a:latin typeface="Arial" panose="020B0604020202020204" pitchFamily="34" charset="0"/>
                <a:ea typeface="Calibri" panose="020F0502020204030204" pitchFamily="34" charset="0"/>
                <a:cs typeface="Arial" panose="020B0604020202020204" pitchFamily="34" charset="0"/>
              </a:rPr>
              <a:t> has establi</a:t>
            </a:r>
            <a:r>
              <a:rPr lang="en-ZA" sz="1600" dirty="0">
                <a:latin typeface="Arial" panose="020B0604020202020204" pitchFamily="34" charset="0"/>
                <a:ea typeface="Calibri" panose="020F0502020204030204" pitchFamily="34" charset="0"/>
                <a:cs typeface="Arial" panose="020B0604020202020204" pitchFamily="34" charset="0"/>
              </a:rPr>
              <a:t>shed front office business unit to pre-screen applications to improve turnaround times and address client queries.</a:t>
            </a:r>
            <a:endParaRPr lang="en-ZA" sz="1600" dirty="0">
              <a:effectLst/>
              <a:latin typeface="Arial" panose="020B0604020202020204" pitchFamily="34" charset="0"/>
              <a:ea typeface="Calibri" panose="020F050202020403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59FEE4DD-FA2A-965C-42DC-220DBEFF55AC}"/>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A00CABBD-4453-C974-1954-4737ACA7FEE3}"/>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2ED29474-E22D-C962-F28E-222012604DC8}"/>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8" name="Straight Connector 7">
            <a:extLst>
              <a:ext uri="{FF2B5EF4-FFF2-40B4-BE49-F238E27FC236}">
                <a16:creationId xmlns:a16="http://schemas.microsoft.com/office/drawing/2014/main" xmlns="" id="{A780324E-F8E9-53B7-2B2F-FEB233567BE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2211789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31</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92974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3696"/>
            <a:ext cx="9144000" cy="954107"/>
          </a:xfrm>
          <a:prstGeom prst="rect">
            <a:avLst/>
          </a:prstGeom>
          <a:noFill/>
        </p:spPr>
        <p:txBody>
          <a:bodyPr wrap="square" rtlCol="0">
            <a:spAutoFit/>
          </a:bodyPr>
          <a:lstStyle/>
          <a:p>
            <a:r>
              <a:rPr lang="en-US" sz="2800" dirty="0">
                <a:solidFill>
                  <a:prstClr val="white"/>
                </a:solidFill>
                <a:latin typeface="Arial" panose="020B0604020202020204" pitchFamily="34" charset="0"/>
                <a:cs typeface="Arial" panose="020B0604020202020204" pitchFamily="34" charset="0"/>
              </a:rPr>
              <a:t>A list of Applications Received, Approved, Rejections &amp; Reasons for rejection</a:t>
            </a:r>
          </a:p>
        </p:txBody>
      </p:sp>
      <p:sp>
        <p:nvSpPr>
          <p:cNvPr id="15" name="TextBox 14">
            <a:extLst>
              <a:ext uri="{FF2B5EF4-FFF2-40B4-BE49-F238E27FC236}">
                <a16:creationId xmlns:a16="http://schemas.microsoft.com/office/drawing/2014/main" xmlns="" id="{FA1C34ED-A104-41BB-A7B0-D622E84AAF82}"/>
              </a:ext>
            </a:extLst>
          </p:cNvPr>
          <p:cNvSpPr txBox="1"/>
          <p:nvPr/>
        </p:nvSpPr>
        <p:spPr>
          <a:xfrm>
            <a:off x="23446" y="1105863"/>
            <a:ext cx="8860971" cy="428081"/>
          </a:xfrm>
          <a:prstGeom prst="roundRect">
            <a:avLst>
              <a:gd name="adj" fmla="val 5851"/>
            </a:avLst>
          </a:prstGeom>
          <a:noFill/>
          <a:ln>
            <a:noFill/>
          </a:ln>
        </p:spPr>
        <p:txBody>
          <a:bodyPr wrap="square" rtlCol="0">
            <a:spAutoFit/>
          </a:bodyPr>
          <a:lstStyle/>
          <a:p>
            <a:pPr marL="457200" algn="just">
              <a:lnSpc>
                <a:spcPct val="150000"/>
              </a:lnSpc>
            </a:pPr>
            <a:endParaRPr lang="en-ZA" sz="1600">
              <a:effectLst/>
              <a:latin typeface="Arial" panose="020B0604020202020204" pitchFamily="34" charset="0"/>
              <a:ea typeface="Calibri" panose="020F050202020403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xmlns="" id="{0C4CA379-B39A-299C-E84F-D0A5E13EA024}"/>
              </a:ext>
            </a:extLst>
          </p:cNvPr>
          <p:cNvGrpSpPr/>
          <p:nvPr/>
        </p:nvGrpSpPr>
        <p:grpSpPr>
          <a:xfrm>
            <a:off x="0" y="1081500"/>
            <a:ext cx="9144000" cy="4131918"/>
            <a:chOff x="0" y="1081500"/>
            <a:chExt cx="9144000" cy="4131918"/>
          </a:xfrm>
        </p:grpSpPr>
        <p:pic>
          <p:nvPicPr>
            <p:cNvPr id="4" name="Picture 3">
              <a:extLst>
                <a:ext uri="{FF2B5EF4-FFF2-40B4-BE49-F238E27FC236}">
                  <a16:creationId xmlns:a16="http://schemas.microsoft.com/office/drawing/2014/main" xmlns="" id="{04B5E361-72C4-0D06-32EF-C025334AB7EA}"/>
                </a:ext>
              </a:extLst>
            </p:cNvPr>
            <p:cNvPicPr>
              <a:picLocks noChangeAspect="1"/>
            </p:cNvPicPr>
            <p:nvPr/>
          </p:nvPicPr>
          <p:blipFill>
            <a:blip r:embed="rId3" cstate="print"/>
            <a:stretch>
              <a:fillRect/>
            </a:stretch>
          </p:blipFill>
          <p:spPr>
            <a:xfrm>
              <a:off x="0" y="1081500"/>
              <a:ext cx="9144000" cy="4131918"/>
            </a:xfrm>
            <a:prstGeom prst="rect">
              <a:avLst/>
            </a:prstGeom>
          </p:spPr>
        </p:pic>
        <p:sp>
          <p:nvSpPr>
            <p:cNvPr id="6" name="TextBox 5">
              <a:extLst>
                <a:ext uri="{FF2B5EF4-FFF2-40B4-BE49-F238E27FC236}">
                  <a16:creationId xmlns:a16="http://schemas.microsoft.com/office/drawing/2014/main" xmlns="" id="{1D9E1958-7898-3E01-0876-098893FE4FD3}"/>
                </a:ext>
              </a:extLst>
            </p:cNvPr>
            <p:cNvSpPr txBox="1"/>
            <p:nvPr/>
          </p:nvSpPr>
          <p:spPr>
            <a:xfrm>
              <a:off x="123290" y="3359977"/>
              <a:ext cx="1458929" cy="246221"/>
            </a:xfrm>
            <a:prstGeom prst="rect">
              <a:avLst/>
            </a:prstGeom>
            <a:solidFill>
              <a:schemeClr val="bg1"/>
            </a:solidFill>
          </p:spPr>
          <p:txBody>
            <a:bodyPr wrap="square" rtlCol="0">
              <a:spAutoFit/>
            </a:bodyPr>
            <a:lstStyle/>
            <a:p>
              <a:r>
                <a:rPr lang="en-ZA" sz="1000">
                  <a:solidFill>
                    <a:schemeClr val="tx1">
                      <a:lumMod val="75000"/>
                      <a:lumOff val="25000"/>
                    </a:schemeClr>
                  </a:solidFill>
                  <a:latin typeface="Arial" panose="020B0604020202020204" pitchFamily="34" charset="0"/>
                  <a:cs typeface="Arial" panose="020B0604020202020204" pitchFamily="34" charset="0"/>
                </a:rPr>
                <a:t>Direct Lending</a:t>
              </a:r>
            </a:p>
          </p:txBody>
        </p:sp>
      </p:grpSp>
    </p:spTree>
    <p:extLst>
      <p:ext uri="{BB962C8B-B14F-4D97-AF65-F5344CB8AC3E}">
        <p14:creationId xmlns:p14="http://schemas.microsoft.com/office/powerpoint/2010/main" xmlns="" val="760651861"/>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32</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92974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3696"/>
            <a:ext cx="9144000" cy="523220"/>
          </a:xfrm>
          <a:prstGeom prst="rect">
            <a:avLst/>
          </a:prstGeom>
          <a:noFill/>
        </p:spPr>
        <p:txBody>
          <a:bodyPr wrap="square" rtlCol="0">
            <a:spAutoFit/>
          </a:bodyPr>
          <a:lstStyle/>
          <a:p>
            <a:r>
              <a:rPr lang="en-US" sz="2800">
                <a:solidFill>
                  <a:prstClr val="white"/>
                </a:solidFill>
                <a:latin typeface="Arial" panose="020B0604020202020204" pitchFamily="34" charset="0"/>
                <a:cs typeface="Arial" panose="020B0604020202020204" pitchFamily="34" charset="0"/>
              </a:rPr>
              <a:t>Reasons for rejection</a:t>
            </a:r>
          </a:p>
        </p:txBody>
      </p:sp>
      <p:sp>
        <p:nvSpPr>
          <p:cNvPr id="15" name="TextBox 14">
            <a:extLst>
              <a:ext uri="{FF2B5EF4-FFF2-40B4-BE49-F238E27FC236}">
                <a16:creationId xmlns:a16="http://schemas.microsoft.com/office/drawing/2014/main" xmlns="" id="{FA1C34ED-A104-41BB-A7B0-D622E84AAF82}"/>
              </a:ext>
            </a:extLst>
          </p:cNvPr>
          <p:cNvSpPr txBox="1"/>
          <p:nvPr/>
        </p:nvSpPr>
        <p:spPr>
          <a:xfrm>
            <a:off x="23446" y="1105863"/>
            <a:ext cx="8860971" cy="428081"/>
          </a:xfrm>
          <a:prstGeom prst="roundRect">
            <a:avLst>
              <a:gd name="adj" fmla="val 5851"/>
            </a:avLst>
          </a:prstGeom>
          <a:noFill/>
          <a:ln>
            <a:noFill/>
          </a:ln>
        </p:spPr>
        <p:txBody>
          <a:bodyPr wrap="square" rtlCol="0">
            <a:spAutoFit/>
          </a:bodyPr>
          <a:lstStyle/>
          <a:p>
            <a:pPr marL="457200" algn="just">
              <a:lnSpc>
                <a:spcPct val="150000"/>
              </a:lnSpc>
            </a:pPr>
            <a:endParaRPr lang="en-ZA" sz="1600">
              <a:effectLst/>
              <a:latin typeface="Arial" panose="020B0604020202020204" pitchFamily="34" charset="0"/>
              <a:ea typeface="Calibri" panose="020F050202020403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59FEE4DD-FA2A-965C-42DC-220DBEFF55AC}"/>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A00CABBD-4453-C974-1954-4737ACA7FEE3}"/>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2ED29474-E22D-C962-F28E-222012604DC8}"/>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8" name="Straight Connector 7">
            <a:extLst>
              <a:ext uri="{FF2B5EF4-FFF2-40B4-BE49-F238E27FC236}">
                <a16:creationId xmlns:a16="http://schemas.microsoft.com/office/drawing/2014/main" xmlns="" id="{A780324E-F8E9-53B7-2B2F-FEB233567BE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AB541D92-8442-51DC-A0C7-53F599D59165}"/>
              </a:ext>
            </a:extLst>
          </p:cNvPr>
          <p:cNvSpPr txBox="1"/>
          <p:nvPr/>
        </p:nvSpPr>
        <p:spPr>
          <a:xfrm>
            <a:off x="159250" y="1105863"/>
            <a:ext cx="8614880" cy="4801314"/>
          </a:xfrm>
          <a:prstGeom prst="rect">
            <a:avLst/>
          </a:prstGeom>
          <a:noFill/>
        </p:spPr>
        <p:txBody>
          <a:bodyPr wrap="square" lIns="91440" tIns="45720" rIns="91440" bIns="45720" anchor="t">
            <a:spAutoFit/>
          </a:bodyPr>
          <a:lstStyle/>
          <a:p>
            <a:pPr marL="800100" indent="-342900" algn="just">
              <a:buFont typeface="+mj-lt"/>
              <a:buAutoNum type="arabicPeriod"/>
            </a:pPr>
            <a:r>
              <a:rPr lang="en-ZA" b="1">
                <a:latin typeface="Arial"/>
                <a:ea typeface="Calibri" panose="020F0502020204030204" pitchFamily="34" charset="0"/>
                <a:cs typeface="Arial"/>
              </a:rPr>
              <a:t>Reasons for rejection for RFIs: </a:t>
            </a:r>
            <a:endParaRPr lang="en-ZA" b="1">
              <a:latin typeface="Arial" panose="020B0604020202020204" pitchFamily="34" charset="0"/>
              <a:ea typeface="Calibri" panose="020F0502020204030204" pitchFamily="34" charset="0"/>
              <a:cs typeface="Arial" panose="020B0604020202020204" pitchFamily="34" charset="0"/>
            </a:endParaRPr>
          </a:p>
          <a:p>
            <a:pPr marL="1257300" lvl="1" indent="-342900" algn="just">
              <a:buFont typeface="+mj-lt"/>
              <a:buAutoNum type="alphaLcParenR"/>
            </a:pPr>
            <a:r>
              <a:rPr lang="en-ZA">
                <a:latin typeface="Arial"/>
                <a:ea typeface="Calibri" panose="020F0502020204030204" pitchFamily="34" charset="0"/>
                <a:cs typeface="Arial"/>
              </a:rPr>
              <a:t>One applicant did not have internal controls in place, which posed a risk of inability to manage </a:t>
            </a:r>
            <a:r>
              <a:rPr lang="en-ZA" b="1">
                <a:latin typeface="Arial"/>
                <a:ea typeface="Calibri" panose="020F0502020204030204" pitchFamily="34" charset="0"/>
                <a:cs typeface="Arial"/>
              </a:rPr>
              <a:t>sefa</a:t>
            </a:r>
            <a:r>
              <a:rPr lang="en-ZA">
                <a:latin typeface="Arial"/>
                <a:ea typeface="Calibri" panose="020F0502020204030204" pitchFamily="34" charset="0"/>
                <a:cs typeface="Arial"/>
              </a:rPr>
              <a:t> funds;</a:t>
            </a:r>
          </a:p>
          <a:p>
            <a:pPr marL="1257300" lvl="1" indent="-342900" algn="just">
              <a:buFont typeface="+mj-lt"/>
              <a:buAutoNum type="alphaLcParenR"/>
            </a:pPr>
            <a:r>
              <a:rPr lang="en-ZA">
                <a:latin typeface="Arial"/>
                <a:ea typeface="Calibri" panose="020F0502020204030204" pitchFamily="34" charset="0"/>
                <a:cs typeface="Arial"/>
              </a:rPr>
              <a:t>Existing </a:t>
            </a:r>
            <a:r>
              <a:rPr lang="en-ZA" b="1">
                <a:latin typeface="Arial"/>
                <a:ea typeface="Calibri" panose="020F0502020204030204" pitchFamily="34" charset="0"/>
                <a:cs typeface="Arial"/>
              </a:rPr>
              <a:t>sefa </a:t>
            </a:r>
            <a:r>
              <a:rPr lang="en-ZA">
                <a:latin typeface="Arial"/>
                <a:ea typeface="Calibri" panose="020F0502020204030204" pitchFamily="34" charset="0"/>
                <a:cs typeface="Arial"/>
              </a:rPr>
              <a:t>client, with non-performing loan (and potential write-off);</a:t>
            </a:r>
          </a:p>
          <a:p>
            <a:pPr marL="1257300" lvl="1" indent="-342900" algn="just">
              <a:buFont typeface="+mj-lt"/>
              <a:buAutoNum type="alphaLcParenR"/>
            </a:pPr>
            <a:r>
              <a:rPr lang="en-ZA">
                <a:latin typeface="Arial"/>
                <a:ea typeface="Calibri" panose="020F0502020204030204" pitchFamily="34" charset="0"/>
                <a:cs typeface="Arial"/>
              </a:rPr>
              <a:t>Untested funding model, which is regarded highly risky;</a:t>
            </a:r>
          </a:p>
          <a:p>
            <a:pPr marL="1257300" lvl="1" indent="-342900" algn="just">
              <a:buFont typeface="+mj-lt"/>
              <a:buAutoNum type="alphaLcParenR"/>
            </a:pPr>
            <a:r>
              <a:rPr lang="en-ZA">
                <a:latin typeface="Arial"/>
                <a:ea typeface="Calibri" panose="020F0502020204030204" pitchFamily="34" charset="0"/>
                <a:cs typeface="Arial"/>
              </a:rPr>
              <a:t>Another one had same shareholding with the client that did not perform and was previously written off.</a:t>
            </a:r>
          </a:p>
          <a:p>
            <a:pPr marL="1257300" lvl="1" indent="-342900" algn="just">
              <a:buAutoNum type="alphaLcParenR"/>
            </a:pPr>
            <a:endParaRPr lang="en-ZA">
              <a:latin typeface="Arial" panose="020B0604020202020204" pitchFamily="34" charset="0"/>
              <a:ea typeface="Calibri" panose="020F0502020204030204" pitchFamily="34" charset="0"/>
              <a:cs typeface="Arial" panose="020B0604020202020204" pitchFamily="34" charset="0"/>
            </a:endParaRPr>
          </a:p>
          <a:p>
            <a:pPr marL="1257300" lvl="1" indent="-342900" algn="just">
              <a:buAutoNum type="alphaLcParenR"/>
            </a:pPr>
            <a:endParaRPr lang="en-ZA">
              <a:latin typeface="Arial" panose="020B0604020202020204" pitchFamily="34" charset="0"/>
              <a:ea typeface="Calibri" panose="020F0502020204030204" pitchFamily="34" charset="0"/>
              <a:cs typeface="Arial" panose="020B0604020202020204" pitchFamily="34" charset="0"/>
            </a:endParaRPr>
          </a:p>
          <a:p>
            <a:pPr marL="457200" algn="just"/>
            <a:r>
              <a:rPr lang="en-ZA" b="1">
                <a:latin typeface="Arial"/>
                <a:ea typeface="+mn-lt"/>
                <a:cs typeface="Arial"/>
              </a:rPr>
              <a:t>2. </a:t>
            </a:r>
            <a:r>
              <a:rPr lang="en-ZA" b="1">
                <a:latin typeface="Arial" panose="020B0604020202020204" pitchFamily="34" charset="0"/>
                <a:ea typeface="+mn-lt"/>
                <a:cs typeface="Arial" panose="020B0604020202020204" pitchFamily="34" charset="0"/>
              </a:rPr>
              <a:t>Reasons for rejections in the Direct Lending business:</a:t>
            </a:r>
            <a:endParaRPr lang="en-US" b="1">
              <a:latin typeface="Arial" panose="020B0604020202020204" pitchFamily="34" charset="0"/>
              <a:ea typeface="+mn-lt"/>
              <a:cs typeface="Arial" panose="020B0604020202020204" pitchFamily="34" charset="0"/>
            </a:endParaRPr>
          </a:p>
          <a:p>
            <a:pPr marL="1314450" indent="-342900" algn="just">
              <a:buAutoNum type="alphaLcParenR"/>
            </a:pPr>
            <a:r>
              <a:rPr lang="en-ZA" b="1">
                <a:latin typeface="Arial" panose="020B0604020202020204" pitchFamily="34" charset="0"/>
                <a:ea typeface="+mn-lt"/>
                <a:cs typeface="Arial" panose="020B0604020202020204" pitchFamily="34" charset="0"/>
              </a:rPr>
              <a:t>Retail Applications</a:t>
            </a:r>
            <a:r>
              <a:rPr lang="en-ZA">
                <a:latin typeface="Arial" panose="020B0604020202020204" pitchFamily="34" charset="0"/>
                <a:ea typeface="+mn-lt"/>
                <a:cs typeface="Arial" panose="020B0604020202020204" pitchFamily="34" charset="0"/>
              </a:rPr>
              <a:t> </a:t>
            </a:r>
          </a:p>
          <a:p>
            <a:pPr marL="1257300" indent="-285750" algn="just">
              <a:buFont typeface="Calibri,Sans-Serif"/>
              <a:buChar char="-"/>
            </a:pPr>
            <a:r>
              <a:rPr lang="en-ZA">
                <a:latin typeface="Arial" panose="020B0604020202020204" pitchFamily="34" charset="0"/>
                <a:ea typeface="+mn-lt"/>
                <a:cs typeface="Arial" panose="020B0604020202020204" pitchFamily="34" charset="0"/>
              </a:rPr>
              <a:t>Six (6) Applications were unsuccessful at Due diligence stage and;</a:t>
            </a:r>
          </a:p>
          <a:p>
            <a:pPr marL="1257300" indent="-285750" algn="just">
              <a:buFont typeface="Calibri,Sans-Serif"/>
              <a:buChar char="-"/>
            </a:pPr>
            <a:r>
              <a:rPr lang="en-ZA">
                <a:latin typeface="Arial" panose="020B0604020202020204" pitchFamily="34" charset="0"/>
                <a:ea typeface="+mn-lt"/>
                <a:cs typeface="Arial" panose="020B0604020202020204" pitchFamily="34" charset="0"/>
              </a:rPr>
              <a:t>Three (3) were commercially not viable</a:t>
            </a:r>
          </a:p>
          <a:p>
            <a:pPr marL="1257300" indent="-285750" algn="just">
              <a:buFont typeface="Calibri,Sans-Serif"/>
              <a:buChar char="-"/>
            </a:pPr>
            <a:r>
              <a:rPr lang="en-ZA">
                <a:latin typeface="Arial" panose="020B0604020202020204" pitchFamily="34" charset="0"/>
                <a:ea typeface="+mn-lt"/>
                <a:cs typeface="Arial" panose="020B0604020202020204" pitchFamily="34" charset="0"/>
              </a:rPr>
              <a:t>One (1) was the purchase order application without a cession of payment.</a:t>
            </a:r>
          </a:p>
          <a:p>
            <a:pPr marL="1257300" lvl="1" indent="-342900" algn="just">
              <a:buAutoNum type="alphaLcParenR"/>
            </a:pPr>
            <a:endParaRPr lang="en-ZA">
              <a:latin typeface="Arial" panose="020B0604020202020204" pitchFamily="34" charset="0"/>
              <a:ea typeface="Calibri" panose="020F0502020204030204" pitchFamily="34" charset="0"/>
              <a:cs typeface="Arial" panose="020B0604020202020204" pitchFamily="34" charset="0"/>
            </a:endParaRPr>
          </a:p>
          <a:p>
            <a:pPr marL="914400" lvl="1" algn="just"/>
            <a:endParaRPr lang="en-ZA">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xmlns="" val="1657592106"/>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33</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92974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3696"/>
            <a:ext cx="9144000" cy="523220"/>
          </a:xfrm>
          <a:prstGeom prst="rect">
            <a:avLst/>
          </a:prstGeom>
          <a:noFill/>
        </p:spPr>
        <p:txBody>
          <a:bodyPr wrap="square" rtlCol="0">
            <a:spAutoFit/>
          </a:bodyPr>
          <a:lstStyle/>
          <a:p>
            <a:r>
              <a:rPr lang="en-US" sz="2800">
                <a:solidFill>
                  <a:prstClr val="white"/>
                </a:solidFill>
                <a:latin typeface="Arial" panose="020B0604020202020204" pitchFamily="34" charset="0"/>
                <a:cs typeface="Arial" panose="020B0604020202020204" pitchFamily="34" charset="0"/>
              </a:rPr>
              <a:t>Reasons for rejection (cont.)</a:t>
            </a:r>
          </a:p>
        </p:txBody>
      </p:sp>
      <p:sp>
        <p:nvSpPr>
          <p:cNvPr id="15" name="TextBox 14">
            <a:extLst>
              <a:ext uri="{FF2B5EF4-FFF2-40B4-BE49-F238E27FC236}">
                <a16:creationId xmlns:a16="http://schemas.microsoft.com/office/drawing/2014/main" xmlns="" id="{FA1C34ED-A104-41BB-A7B0-D622E84AAF82}"/>
              </a:ext>
            </a:extLst>
          </p:cNvPr>
          <p:cNvSpPr txBox="1"/>
          <p:nvPr/>
        </p:nvSpPr>
        <p:spPr>
          <a:xfrm>
            <a:off x="23446" y="1105863"/>
            <a:ext cx="8860971" cy="428081"/>
          </a:xfrm>
          <a:prstGeom prst="roundRect">
            <a:avLst>
              <a:gd name="adj" fmla="val 5851"/>
            </a:avLst>
          </a:prstGeom>
          <a:noFill/>
          <a:ln>
            <a:noFill/>
          </a:ln>
        </p:spPr>
        <p:txBody>
          <a:bodyPr wrap="square" rtlCol="0">
            <a:spAutoFit/>
          </a:bodyPr>
          <a:lstStyle/>
          <a:p>
            <a:pPr marL="457200" algn="just">
              <a:lnSpc>
                <a:spcPct val="150000"/>
              </a:lnSpc>
            </a:pPr>
            <a:endParaRPr lang="en-ZA" sz="1600">
              <a:effectLst/>
              <a:latin typeface="Arial" panose="020B0604020202020204" pitchFamily="34" charset="0"/>
              <a:ea typeface="Calibri" panose="020F050202020403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59FEE4DD-FA2A-965C-42DC-220DBEFF55AC}"/>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A00CABBD-4453-C974-1954-4737ACA7FEE3}"/>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2ED29474-E22D-C962-F28E-222012604DC8}"/>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8" name="Straight Connector 7">
            <a:extLst>
              <a:ext uri="{FF2B5EF4-FFF2-40B4-BE49-F238E27FC236}">
                <a16:creationId xmlns:a16="http://schemas.microsoft.com/office/drawing/2014/main" xmlns="" id="{A780324E-F8E9-53B7-2B2F-FEB233567BE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xmlns="" id="{AB541D92-8442-51DC-A0C7-53F599D59165}"/>
              </a:ext>
            </a:extLst>
          </p:cNvPr>
          <p:cNvSpPr txBox="1"/>
          <p:nvPr/>
        </p:nvSpPr>
        <p:spPr>
          <a:xfrm>
            <a:off x="159250" y="1105863"/>
            <a:ext cx="8614880" cy="4196020"/>
          </a:xfrm>
          <a:prstGeom prst="rect">
            <a:avLst/>
          </a:prstGeom>
          <a:noFill/>
        </p:spPr>
        <p:txBody>
          <a:bodyPr wrap="square" lIns="91440" tIns="45720" rIns="91440" bIns="45720" anchor="t">
            <a:spAutoFit/>
          </a:bodyPr>
          <a:lstStyle/>
          <a:p>
            <a:pPr marL="457200" algn="just"/>
            <a:endParaRPr lang="en-ZA">
              <a:latin typeface="Arial" panose="020B0604020202020204" pitchFamily="34" charset="0"/>
              <a:ea typeface="Calibri" panose="020F0502020204030204" pitchFamily="34" charset="0"/>
              <a:cs typeface="Arial" panose="020B0604020202020204" pitchFamily="34" charset="0"/>
            </a:endParaRPr>
          </a:p>
          <a:p>
            <a:pPr marL="457200" algn="just"/>
            <a:r>
              <a:rPr lang="en-ZA" b="1">
                <a:latin typeface="Arial" panose="020B0604020202020204" pitchFamily="34" charset="0"/>
                <a:ea typeface="Calibri" panose="020F0502020204030204" pitchFamily="34" charset="0"/>
                <a:cs typeface="Arial" panose="020B0604020202020204" pitchFamily="34" charset="0"/>
              </a:rPr>
              <a:t>3. Reasons for rejections in the Economic Recovery business:</a:t>
            </a:r>
          </a:p>
          <a:p>
            <a:pPr marL="1314450" indent="-342900" algn="just">
              <a:buAutoNum type="alphaLcParenR"/>
            </a:pPr>
            <a:r>
              <a:rPr lang="en-ZA" b="1">
                <a:latin typeface="Arial" panose="020B0604020202020204" pitchFamily="34" charset="0"/>
                <a:ea typeface="+mn-lt"/>
                <a:cs typeface="Arial" panose="020B0604020202020204" pitchFamily="34" charset="0"/>
              </a:rPr>
              <a:t>TREP</a:t>
            </a:r>
            <a:r>
              <a:rPr lang="en-ZA">
                <a:latin typeface="Arial" panose="020B0604020202020204" pitchFamily="34" charset="0"/>
                <a:ea typeface="+mn-lt"/>
                <a:cs typeface="Arial" panose="020B0604020202020204" pitchFamily="34" charset="0"/>
              </a:rPr>
              <a:t> </a:t>
            </a:r>
          </a:p>
          <a:p>
            <a:pPr marL="1257300" indent="-285750" algn="just">
              <a:buFont typeface="Calibri"/>
              <a:buChar char="-"/>
            </a:pPr>
            <a:r>
              <a:rPr lang="en-ZA">
                <a:latin typeface="Arial" panose="020B0604020202020204" pitchFamily="34" charset="0"/>
                <a:ea typeface="+mn-lt"/>
                <a:cs typeface="Arial" panose="020B0604020202020204" pitchFamily="34" charset="0"/>
              </a:rPr>
              <a:t>One (1) Bakery applicant has a default and could not provide arrangement letter </a:t>
            </a:r>
          </a:p>
          <a:p>
            <a:pPr marL="1257300" indent="-285750" algn="just">
              <a:buFont typeface="Calibri"/>
              <a:buChar char="-"/>
            </a:pPr>
            <a:r>
              <a:rPr lang="en-ZA">
                <a:latin typeface="Arial" panose="020B0604020202020204" pitchFamily="34" charset="0"/>
                <a:ea typeface="+mn-lt"/>
                <a:cs typeface="Arial" panose="020B0604020202020204" pitchFamily="34" charset="0"/>
              </a:rPr>
              <a:t>Two (2) Open Air applicants could not provide required documentations ; </a:t>
            </a:r>
          </a:p>
          <a:p>
            <a:pPr marL="1257300" indent="-285750" algn="just">
              <a:buFont typeface="Calibri"/>
              <a:buChar char="-"/>
            </a:pPr>
            <a:r>
              <a:rPr lang="en-ZA">
                <a:latin typeface="Arial" panose="020B0604020202020204" pitchFamily="34" charset="0"/>
                <a:ea typeface="+mn-lt"/>
                <a:cs typeface="Arial" panose="020B0604020202020204" pitchFamily="34" charset="0"/>
              </a:rPr>
              <a:t>One (1) Personal Care and Two (2) Textile applicants declined at due diligence stage.</a:t>
            </a:r>
            <a:endParaRPr lang="en-ZA">
              <a:latin typeface="Arial" panose="020B0604020202020204" pitchFamily="34" charset="0"/>
              <a:ea typeface="Calibri" panose="020F0502020204030204" pitchFamily="34" charset="0"/>
              <a:cs typeface="Arial" panose="020B0604020202020204" pitchFamily="34" charset="0"/>
            </a:endParaRPr>
          </a:p>
          <a:p>
            <a:pPr marL="1257300" indent="-285750" algn="just">
              <a:buFont typeface="Calibri"/>
              <a:buChar char="-"/>
            </a:pPr>
            <a:r>
              <a:rPr lang="en-ZA">
                <a:latin typeface="Arial" panose="020B0604020202020204" pitchFamily="34" charset="0"/>
                <a:ea typeface="Calibri" panose="020F0502020204030204" pitchFamily="34" charset="0"/>
                <a:cs typeface="Arial" panose="020B0604020202020204" pitchFamily="34" charset="0"/>
              </a:rPr>
              <a:t>One (1) Retail applicant was incorrectly allocated and referred to Limpopo </a:t>
            </a:r>
          </a:p>
          <a:p>
            <a:pPr marL="1257300" lvl="1" indent="-342900" algn="just">
              <a:buFont typeface="Calibri"/>
              <a:buAutoNum type="alphaLcParenR"/>
            </a:pPr>
            <a:endParaRPr lang="en-ZA" sz="1800">
              <a:latin typeface="Arial" panose="020B0604020202020204" pitchFamily="34" charset="0"/>
              <a:ea typeface="Calibri" panose="020F0502020204030204" pitchFamily="34" charset="0"/>
              <a:cs typeface="Arial" panose="020B0604020202020204" pitchFamily="34" charset="0"/>
            </a:endParaRPr>
          </a:p>
          <a:p>
            <a:pPr marL="457200" algn="just">
              <a:lnSpc>
                <a:spcPct val="150000"/>
              </a:lnSpc>
            </a:pPr>
            <a:endParaRPr lang="en-ZA" sz="1800" b="1">
              <a:effectLst/>
              <a:latin typeface="Arial" panose="020B0604020202020204" pitchFamily="34" charset="0"/>
              <a:ea typeface="Calibri" panose="020F0502020204030204" pitchFamily="34" charset="0"/>
              <a:cs typeface="Arial" panose="020B0604020202020204" pitchFamily="34" charset="0"/>
            </a:endParaRPr>
          </a:p>
          <a:p>
            <a:pPr marL="457200" algn="just">
              <a:lnSpc>
                <a:spcPct val="150000"/>
              </a:lnSpc>
            </a:pPr>
            <a:endParaRPr lang="en-ZA">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xmlns="" val="2434722557"/>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712917B4-B9E2-4DF5-8AE1-5478E1B590F4}"/>
              </a:ext>
            </a:extLst>
          </p:cNvPr>
          <p:cNvSpPr>
            <a:spLocks noGrp="1"/>
          </p:cNvSpPr>
          <p:nvPr>
            <p:ph type="sldNum" sz="quarter" idx="2"/>
          </p:nvPr>
        </p:nvSpPr>
        <p:spPr/>
        <p:txBody>
          <a:bodyPr/>
          <a:lstStyle/>
          <a:p>
            <a:fld id="{93AE1883-0942-4AA3-9DB2-9C7C3A0314B1}" type="slidenum">
              <a:rPr lang="en-US" smtClean="0"/>
              <a:pPr/>
              <a:t>34</a:t>
            </a:fld>
            <a:endParaRPr lang="en-US"/>
          </a:p>
        </p:txBody>
      </p:sp>
      <p:grpSp>
        <p:nvGrpSpPr>
          <p:cNvPr id="3" name="Group 2">
            <a:extLst>
              <a:ext uri="{FF2B5EF4-FFF2-40B4-BE49-F238E27FC236}">
                <a16:creationId xmlns:a16="http://schemas.microsoft.com/office/drawing/2014/main" xmlns="" id="{77388F0E-2B26-4E9B-B69D-6DFD4FFD46B9}"/>
              </a:ext>
            </a:extLst>
          </p:cNvPr>
          <p:cNvGrpSpPr/>
          <p:nvPr/>
        </p:nvGrpSpPr>
        <p:grpSpPr>
          <a:xfrm>
            <a:off x="3869453" y="107825"/>
            <a:ext cx="5144277" cy="5143501"/>
            <a:chOff x="3992725" y="857250"/>
            <a:chExt cx="5144277" cy="5143501"/>
          </a:xfrm>
        </p:grpSpPr>
        <p:sp>
          <p:nvSpPr>
            <p:cNvPr id="4" name="AutoShape 2">
              <a:extLst>
                <a:ext uri="{FF2B5EF4-FFF2-40B4-BE49-F238E27FC236}">
                  <a16:creationId xmlns:a16="http://schemas.microsoft.com/office/drawing/2014/main" xmlns="" id="{ADE6D8E9-D231-4601-9692-6760E84288C4}"/>
                </a:ext>
              </a:extLst>
            </p:cNvPr>
            <p:cNvSpPr/>
            <p:nvPr/>
          </p:nvSpPr>
          <p:spPr>
            <a:xfrm>
              <a:off x="3992725" y="2918843"/>
              <a:ext cx="1028856" cy="1027303"/>
            </a:xfrm>
            <a:prstGeom prst="rect">
              <a:avLst/>
            </a:prstGeom>
            <a:solidFill>
              <a:srgbClr val="0C7723"/>
            </a:solidFill>
            <a:ln w="28575">
              <a:solidFill>
                <a:schemeClr val="bg1"/>
              </a:solidFill>
            </a:ln>
          </p:spPr>
        </p:sp>
        <p:pic>
          <p:nvPicPr>
            <p:cNvPr id="5" name="Picture 3">
              <a:extLst>
                <a:ext uri="{FF2B5EF4-FFF2-40B4-BE49-F238E27FC236}">
                  <a16:creationId xmlns:a16="http://schemas.microsoft.com/office/drawing/2014/main" xmlns="" id="{1A8140DA-6E64-409E-80E2-1F84E01659C4}"/>
                </a:ext>
              </a:extLst>
            </p:cNvPr>
            <p:cNvPicPr>
              <a:picLocks noChangeAspect="1"/>
            </p:cNvPicPr>
            <p:nvPr/>
          </p:nvPicPr>
          <p:blipFill>
            <a:blip r:embed="rId2" cstate="print"/>
            <a:srcRect l="21832" r="21832"/>
            <a:stretch>
              <a:fillRect/>
            </a:stretch>
          </p:blipFill>
          <p:spPr>
            <a:xfrm>
              <a:off x="7079291" y="3946146"/>
              <a:ext cx="2057711" cy="2054605"/>
            </a:xfrm>
            <a:prstGeom prst="rect">
              <a:avLst/>
            </a:prstGeom>
            <a:ln w="28575">
              <a:solidFill>
                <a:schemeClr val="bg1"/>
              </a:solidFill>
            </a:ln>
          </p:spPr>
        </p:pic>
        <p:pic>
          <p:nvPicPr>
            <p:cNvPr id="6" name="Picture 4">
              <a:extLst>
                <a:ext uri="{FF2B5EF4-FFF2-40B4-BE49-F238E27FC236}">
                  <a16:creationId xmlns:a16="http://schemas.microsoft.com/office/drawing/2014/main" xmlns="" id="{12E1D118-84DB-46D9-9E22-2E608BDDE7C2}"/>
                </a:ext>
              </a:extLst>
            </p:cNvPr>
            <p:cNvPicPr>
              <a:picLocks noChangeAspect="1"/>
            </p:cNvPicPr>
            <p:nvPr/>
          </p:nvPicPr>
          <p:blipFill>
            <a:blip r:embed="rId3" cstate="print"/>
            <a:srcRect l="16637" r="16637"/>
            <a:stretch>
              <a:fillRect/>
            </a:stretch>
          </p:blipFill>
          <p:spPr>
            <a:xfrm>
              <a:off x="5021580" y="2918843"/>
              <a:ext cx="2057711" cy="2054605"/>
            </a:xfrm>
            <a:prstGeom prst="rect">
              <a:avLst/>
            </a:prstGeom>
            <a:ln w="28575">
              <a:solidFill>
                <a:schemeClr val="bg1"/>
              </a:solidFill>
            </a:ln>
          </p:spPr>
        </p:pic>
        <p:pic>
          <p:nvPicPr>
            <p:cNvPr id="7" name="Picture 5">
              <a:extLst>
                <a:ext uri="{FF2B5EF4-FFF2-40B4-BE49-F238E27FC236}">
                  <a16:creationId xmlns:a16="http://schemas.microsoft.com/office/drawing/2014/main" xmlns="" id="{F4B43BCD-70E1-44B4-B4B3-30E37EF7917E}"/>
                </a:ext>
              </a:extLst>
            </p:cNvPr>
            <p:cNvPicPr>
              <a:picLocks noChangeAspect="1"/>
            </p:cNvPicPr>
            <p:nvPr/>
          </p:nvPicPr>
          <p:blipFill>
            <a:blip r:embed="rId4" cstate="print"/>
            <a:srcRect t="12533" b="12533"/>
            <a:stretch>
              <a:fillRect/>
            </a:stretch>
          </p:blipFill>
          <p:spPr>
            <a:xfrm>
              <a:off x="3992725" y="4973448"/>
              <a:ext cx="2057711" cy="1027303"/>
            </a:xfrm>
            <a:prstGeom prst="rect">
              <a:avLst/>
            </a:prstGeom>
            <a:ln w="28575">
              <a:solidFill>
                <a:schemeClr val="bg1"/>
              </a:solidFill>
            </a:ln>
          </p:spPr>
        </p:pic>
        <p:pic>
          <p:nvPicPr>
            <p:cNvPr id="8" name="Picture 6">
              <a:extLst>
                <a:ext uri="{FF2B5EF4-FFF2-40B4-BE49-F238E27FC236}">
                  <a16:creationId xmlns:a16="http://schemas.microsoft.com/office/drawing/2014/main" xmlns="" id="{CFB29FA1-B8F6-4730-95D6-DAA4B16B08F8}"/>
                </a:ext>
              </a:extLst>
            </p:cNvPr>
            <p:cNvPicPr>
              <a:picLocks noChangeAspect="1"/>
            </p:cNvPicPr>
            <p:nvPr/>
          </p:nvPicPr>
          <p:blipFill>
            <a:blip r:embed="rId5" cstate="print"/>
            <a:srcRect t="16692" b="16692"/>
            <a:stretch>
              <a:fillRect/>
            </a:stretch>
          </p:blipFill>
          <p:spPr>
            <a:xfrm>
              <a:off x="3992725" y="3953135"/>
              <a:ext cx="1018356" cy="1016819"/>
            </a:xfrm>
            <a:prstGeom prst="rect">
              <a:avLst/>
            </a:prstGeom>
            <a:ln w="28575">
              <a:solidFill>
                <a:schemeClr val="bg1"/>
              </a:solidFill>
            </a:ln>
          </p:spPr>
        </p:pic>
        <p:sp>
          <p:nvSpPr>
            <p:cNvPr id="9" name="AutoShape 7">
              <a:extLst>
                <a:ext uri="{FF2B5EF4-FFF2-40B4-BE49-F238E27FC236}">
                  <a16:creationId xmlns:a16="http://schemas.microsoft.com/office/drawing/2014/main" xmlns="" id="{0F3049F8-8A36-4365-A94C-C4391367164D}"/>
                </a:ext>
              </a:extLst>
            </p:cNvPr>
            <p:cNvSpPr/>
            <p:nvPr/>
          </p:nvSpPr>
          <p:spPr>
            <a:xfrm>
              <a:off x="7079291" y="2918843"/>
              <a:ext cx="2057711" cy="1027303"/>
            </a:xfrm>
            <a:prstGeom prst="rect">
              <a:avLst/>
            </a:prstGeom>
            <a:solidFill>
              <a:srgbClr val="FD6B00"/>
            </a:solidFill>
            <a:ln w="28575">
              <a:solidFill>
                <a:schemeClr val="bg1"/>
              </a:solidFill>
            </a:ln>
          </p:spPr>
        </p:sp>
        <p:sp>
          <p:nvSpPr>
            <p:cNvPr id="10" name="AutoShape 8">
              <a:extLst>
                <a:ext uri="{FF2B5EF4-FFF2-40B4-BE49-F238E27FC236}">
                  <a16:creationId xmlns:a16="http://schemas.microsoft.com/office/drawing/2014/main" xmlns="" id="{BE5C71D5-473C-43B4-9C6B-B8A410B0F87F}"/>
                </a:ext>
              </a:extLst>
            </p:cNvPr>
            <p:cNvSpPr/>
            <p:nvPr/>
          </p:nvSpPr>
          <p:spPr>
            <a:xfrm>
              <a:off x="6050435" y="4973448"/>
              <a:ext cx="1028856" cy="1027303"/>
            </a:xfrm>
            <a:prstGeom prst="rect">
              <a:avLst/>
            </a:prstGeom>
            <a:solidFill>
              <a:srgbClr val="0C7723"/>
            </a:solidFill>
            <a:ln w="28575">
              <a:solidFill>
                <a:schemeClr val="bg1"/>
              </a:solidFill>
            </a:ln>
          </p:spPr>
        </p:sp>
        <p:pic>
          <p:nvPicPr>
            <p:cNvPr id="11" name="Picture 9">
              <a:extLst>
                <a:ext uri="{FF2B5EF4-FFF2-40B4-BE49-F238E27FC236}">
                  <a16:creationId xmlns:a16="http://schemas.microsoft.com/office/drawing/2014/main" xmlns="" id="{8DBC3883-FBFB-44F3-ADDC-E27D3C2E9384}"/>
                </a:ext>
              </a:extLst>
            </p:cNvPr>
            <p:cNvPicPr>
              <a:picLocks noChangeAspect="1"/>
            </p:cNvPicPr>
            <p:nvPr/>
          </p:nvPicPr>
          <p:blipFill>
            <a:blip r:embed="rId6" cstate="print"/>
            <a:srcRect t="12533" b="12533"/>
            <a:stretch>
              <a:fillRect/>
            </a:stretch>
          </p:blipFill>
          <p:spPr>
            <a:xfrm>
              <a:off x="5021580" y="1891541"/>
              <a:ext cx="2057711" cy="1027303"/>
            </a:xfrm>
            <a:prstGeom prst="rect">
              <a:avLst/>
            </a:prstGeom>
            <a:ln w="28575">
              <a:solidFill>
                <a:schemeClr val="bg1"/>
              </a:solidFill>
            </a:ln>
          </p:spPr>
        </p:pic>
        <p:sp>
          <p:nvSpPr>
            <p:cNvPr id="12" name="AutoShape 10">
              <a:extLst>
                <a:ext uri="{FF2B5EF4-FFF2-40B4-BE49-F238E27FC236}">
                  <a16:creationId xmlns:a16="http://schemas.microsoft.com/office/drawing/2014/main" xmlns="" id="{AB09C92B-FDA3-49D5-AA1A-DA3C9EF58CF0}"/>
                </a:ext>
              </a:extLst>
            </p:cNvPr>
            <p:cNvSpPr/>
            <p:nvPr/>
          </p:nvSpPr>
          <p:spPr>
            <a:xfrm>
              <a:off x="6050435" y="857250"/>
              <a:ext cx="1028856" cy="1034291"/>
            </a:xfrm>
            <a:prstGeom prst="rect">
              <a:avLst/>
            </a:prstGeom>
            <a:solidFill>
              <a:srgbClr val="FD6B00"/>
            </a:solidFill>
            <a:ln w="28575">
              <a:solidFill>
                <a:schemeClr val="bg1"/>
              </a:solidFill>
            </a:ln>
          </p:spPr>
          <p:txBody>
            <a:bodyPr/>
            <a:lstStyle/>
            <a:p>
              <a:endParaRPr lang="en-GB"/>
            </a:p>
          </p:txBody>
        </p:sp>
        <p:pic>
          <p:nvPicPr>
            <p:cNvPr id="13" name="Picture 11">
              <a:extLst>
                <a:ext uri="{FF2B5EF4-FFF2-40B4-BE49-F238E27FC236}">
                  <a16:creationId xmlns:a16="http://schemas.microsoft.com/office/drawing/2014/main" xmlns="" id="{7E75AFDD-A4A9-4627-A7E9-C78C77A15866}"/>
                </a:ext>
              </a:extLst>
            </p:cNvPr>
            <p:cNvPicPr>
              <a:picLocks noChangeAspect="1"/>
            </p:cNvPicPr>
            <p:nvPr/>
          </p:nvPicPr>
          <p:blipFill>
            <a:blip r:embed="rId7" cstate="print"/>
            <a:srcRect l="16574" r="16574"/>
            <a:stretch>
              <a:fillRect/>
            </a:stretch>
          </p:blipFill>
          <p:spPr>
            <a:xfrm>
              <a:off x="7079291" y="857250"/>
              <a:ext cx="2057710" cy="2061593"/>
            </a:xfrm>
            <a:prstGeom prst="rect">
              <a:avLst/>
            </a:prstGeom>
            <a:ln w="28575">
              <a:solidFill>
                <a:schemeClr val="bg1"/>
              </a:solidFill>
            </a:ln>
          </p:spPr>
        </p:pic>
      </p:grpSp>
      <p:sp>
        <p:nvSpPr>
          <p:cNvPr id="14" name="TextBox 13">
            <a:extLst>
              <a:ext uri="{FF2B5EF4-FFF2-40B4-BE49-F238E27FC236}">
                <a16:creationId xmlns:a16="http://schemas.microsoft.com/office/drawing/2014/main" xmlns="" id="{8912567E-887B-4CFF-9A15-A3C36FBE7AC5}"/>
              </a:ext>
            </a:extLst>
          </p:cNvPr>
          <p:cNvSpPr txBox="1"/>
          <p:nvPr/>
        </p:nvSpPr>
        <p:spPr>
          <a:xfrm>
            <a:off x="395536" y="2804531"/>
            <a:ext cx="4667693" cy="557140"/>
          </a:xfrm>
          <a:prstGeom prst="rect">
            <a:avLst/>
          </a:prstGeom>
        </p:spPr>
        <p:txBody>
          <a:bodyPr lIns="0" tIns="0" rIns="0" bIns="0" rtlCol="0" anchor="t">
            <a:spAutoFit/>
          </a:bodyPr>
          <a:lstStyle/>
          <a:p>
            <a:pPr marL="0" marR="0" lvl="0" indent="0" algn="l" defTabSz="457200" rtl="0" eaLnBrk="1" fontAlgn="auto" latinLnBrk="0" hangingPunct="1">
              <a:lnSpc>
                <a:spcPts val="4667"/>
              </a:lnSpc>
              <a:spcBef>
                <a:spcPct val="0"/>
              </a:spcBef>
              <a:spcAft>
                <a:spcPts val="0"/>
              </a:spcAft>
              <a:buClrTx/>
              <a:buSzTx/>
              <a:buFontTx/>
              <a:buNone/>
              <a:tabLst/>
              <a:defRPr/>
            </a:pPr>
            <a:r>
              <a:rPr kumimoji="0" lang="en-US" sz="3600" b="1" i="0" u="none" strike="noStrike" kern="1200" cap="none" spc="0" normalizeH="0" baseline="0" noProof="0">
                <a:ln>
                  <a:noFill/>
                </a:ln>
                <a:solidFill>
                  <a:srgbClr val="FD6B00"/>
                </a:solidFill>
                <a:effectLst/>
                <a:uLnTx/>
                <a:uFillTx/>
                <a:latin typeface="Arial" panose="020B0604020202020204" pitchFamily="34" charset="0"/>
                <a:ea typeface="+mn-ea"/>
                <a:cs typeface="Arial" panose="020B0604020202020204" pitchFamily="34" charset="0"/>
              </a:rPr>
              <a:t>Thank You!</a:t>
            </a:r>
          </a:p>
        </p:txBody>
      </p:sp>
      <p:pic>
        <p:nvPicPr>
          <p:cNvPr id="15" name="Picture 12">
            <a:extLst>
              <a:ext uri="{FF2B5EF4-FFF2-40B4-BE49-F238E27FC236}">
                <a16:creationId xmlns:a16="http://schemas.microsoft.com/office/drawing/2014/main" xmlns="" id="{71AEF1C7-3D86-A871-3751-4C91B53AA4A2}"/>
              </a:ext>
            </a:extLst>
          </p:cNvPr>
          <p:cNvPicPr>
            <a:picLocks noChangeAspect="1"/>
          </p:cNvPicPr>
          <p:nvPr/>
        </p:nvPicPr>
        <p:blipFill>
          <a:blip r:embed="rId8" cstate="print"/>
          <a:srcRect l="4701" r="4701"/>
          <a:stretch>
            <a:fillRect/>
          </a:stretch>
        </p:blipFill>
        <p:spPr>
          <a:xfrm>
            <a:off x="548142" y="5497512"/>
            <a:ext cx="1676840" cy="1896493"/>
          </a:xfrm>
          <a:prstGeom prst="rect">
            <a:avLst/>
          </a:prstGeom>
        </p:spPr>
      </p:pic>
      <p:pic>
        <p:nvPicPr>
          <p:cNvPr id="16" name="Picture 15" descr="Logo&#10;&#10;Description automatically generated">
            <a:extLst>
              <a:ext uri="{FF2B5EF4-FFF2-40B4-BE49-F238E27FC236}">
                <a16:creationId xmlns:a16="http://schemas.microsoft.com/office/drawing/2014/main" xmlns="" id="{FD17E703-8821-E31F-0297-75BB5581A6FE}"/>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7" name="Picture 16" descr="Logo&#10;&#10;Description automatically generated">
            <a:extLst>
              <a:ext uri="{FF2B5EF4-FFF2-40B4-BE49-F238E27FC236}">
                <a16:creationId xmlns:a16="http://schemas.microsoft.com/office/drawing/2014/main" xmlns="" id="{3DE22034-F4BF-A84E-9A3A-E0CED566A259}"/>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8" name="Straight Connector 17">
            <a:extLst>
              <a:ext uri="{FF2B5EF4-FFF2-40B4-BE49-F238E27FC236}">
                <a16:creationId xmlns:a16="http://schemas.microsoft.com/office/drawing/2014/main" xmlns="" id="{30A7F151-3EB8-676E-F2FA-1FFD4F093194}"/>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23" name="Picture 22" descr="A picture containing logo&#10;&#10;Description automatically generated">
            <a:extLst>
              <a:ext uri="{FF2B5EF4-FFF2-40B4-BE49-F238E27FC236}">
                <a16:creationId xmlns:a16="http://schemas.microsoft.com/office/drawing/2014/main" xmlns="" id="{51E58B3D-1C3D-A41D-95AF-69481F5FAFD3}"/>
              </a:ext>
            </a:extLst>
          </p:cNvPr>
          <p:cNvPicPr>
            <a:picLocks noChangeAspect="1"/>
          </p:cNvPicPr>
          <p:nvPr/>
        </p:nvPicPr>
        <p:blipFill rotWithShape="1">
          <a:blip r:embed="rId11" cstate="print">
            <a:extLst>
              <a:ext uri="{28A0092B-C50C-407E-A947-70E740481C1C}">
                <a14:useLocalDpi xmlns:a14="http://schemas.microsoft.com/office/drawing/2010/main" xmlns="" val="0"/>
              </a:ext>
            </a:extLst>
          </a:blip>
          <a:srcRect l="35046" b="35897"/>
          <a:stretch/>
        </p:blipFill>
        <p:spPr>
          <a:xfrm rot="10800000" flipH="1">
            <a:off x="23150" y="23150"/>
            <a:ext cx="2169535" cy="2051554"/>
          </a:xfrm>
          <a:prstGeom prst="rect">
            <a:avLst/>
          </a:prstGeom>
        </p:spPr>
      </p:pic>
    </p:spTree>
    <p:extLst>
      <p:ext uri="{BB962C8B-B14F-4D97-AF65-F5344CB8AC3E}">
        <p14:creationId xmlns:p14="http://schemas.microsoft.com/office/powerpoint/2010/main" xmlns="" val="3519780632"/>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B4019067-B27B-47C2-A12C-3A5DAAD026E9}"/>
              </a:ext>
            </a:extLst>
          </p:cNvPr>
          <p:cNvSpPr>
            <a:spLocks noGrp="1"/>
          </p:cNvSpPr>
          <p:nvPr>
            <p:ph type="sldNum" sz="quarter" idx="2"/>
          </p:nvPr>
        </p:nvSpPr>
        <p:spPr/>
        <p:txBody>
          <a:bodyPr/>
          <a:lstStyle/>
          <a:p>
            <a:fld id="{93AE1883-0942-4AA3-9DB2-9C7C3A0314B1}" type="slidenum">
              <a:rPr lang="en-US" smtClean="0"/>
              <a:pPr/>
              <a:t>35</a:t>
            </a:fld>
            <a:endParaRPr lang="en-US"/>
          </a:p>
        </p:txBody>
      </p:sp>
      <p:pic>
        <p:nvPicPr>
          <p:cNvPr id="3" name="Picture 2">
            <a:extLst>
              <a:ext uri="{FF2B5EF4-FFF2-40B4-BE49-F238E27FC236}">
                <a16:creationId xmlns:a16="http://schemas.microsoft.com/office/drawing/2014/main" xmlns="" id="{F7A62487-90CA-4331-9CB8-47757731E5A2}"/>
              </a:ext>
            </a:extLst>
          </p:cNvPr>
          <p:cNvPicPr>
            <a:picLocks noChangeAspect="1"/>
          </p:cNvPicPr>
          <p:nvPr/>
        </p:nvPicPr>
        <p:blipFill>
          <a:blip r:embed="rId2" cstate="print">
            <a:alphaModFix amt="19999"/>
          </a:blip>
          <a:srcRect l="16503" r="16503"/>
          <a:stretch>
            <a:fillRect/>
          </a:stretch>
        </p:blipFill>
        <p:spPr>
          <a:xfrm>
            <a:off x="92410" y="119385"/>
            <a:ext cx="4893445" cy="5184576"/>
          </a:xfrm>
          <a:prstGeom prst="rect">
            <a:avLst/>
          </a:prstGeom>
        </p:spPr>
      </p:pic>
      <p:sp>
        <p:nvSpPr>
          <p:cNvPr id="4" name="TextBox 19">
            <a:extLst>
              <a:ext uri="{FF2B5EF4-FFF2-40B4-BE49-F238E27FC236}">
                <a16:creationId xmlns:a16="http://schemas.microsoft.com/office/drawing/2014/main" xmlns="" id="{94EE9194-47B8-4028-9C85-22DAE082B9C7}"/>
              </a:ext>
            </a:extLst>
          </p:cNvPr>
          <p:cNvSpPr txBox="1"/>
          <p:nvPr/>
        </p:nvSpPr>
        <p:spPr>
          <a:xfrm>
            <a:off x="5410814" y="205044"/>
            <a:ext cx="3392089" cy="486352"/>
          </a:xfrm>
          <a:prstGeom prst="rect">
            <a:avLst/>
          </a:prstGeom>
        </p:spPr>
        <p:txBody>
          <a:bodyPr lIns="0" tIns="0" rIns="0" bIns="0" rtlCol="0" anchor="t">
            <a:spAutoFit/>
          </a:bodyPr>
          <a:lstStyle/>
          <a:p>
            <a:pPr marL="0" marR="0" lvl="0" indent="0" algn="ctr" defTabSz="457200" rtl="0" eaLnBrk="1" fontAlgn="auto" latinLnBrk="0" hangingPunct="1">
              <a:lnSpc>
                <a:spcPts val="4095"/>
              </a:lnSpc>
              <a:spcBef>
                <a:spcPts val="0"/>
              </a:spcBef>
              <a:spcAft>
                <a:spcPts val="0"/>
              </a:spcAft>
              <a:buClrTx/>
              <a:buSzTx/>
              <a:buFontTx/>
              <a:buNone/>
              <a:tabLst/>
              <a:defRPr/>
            </a:pPr>
            <a:r>
              <a:rPr kumimoji="0" lang="en-US" sz="3150" b="1" i="0" u="none" strike="noStrike" kern="1200" cap="none" spc="158" normalizeH="0" baseline="0" noProof="0">
                <a:ln>
                  <a:noFill/>
                </a:ln>
                <a:solidFill>
                  <a:srgbClr val="FD6B00"/>
                </a:solidFill>
                <a:effectLst/>
                <a:uLnTx/>
                <a:uFillTx/>
                <a:latin typeface="Arial" panose="020B0604020202020204" pitchFamily="34" charset="0"/>
                <a:ea typeface="+mn-ea"/>
                <a:cs typeface="Arial" panose="020B0604020202020204" pitchFamily="34" charset="0"/>
              </a:rPr>
              <a:t>REACH OUT</a:t>
            </a:r>
          </a:p>
        </p:txBody>
      </p:sp>
      <p:sp>
        <p:nvSpPr>
          <p:cNvPr id="6" name="TextBox 5">
            <a:extLst>
              <a:ext uri="{FF2B5EF4-FFF2-40B4-BE49-F238E27FC236}">
                <a16:creationId xmlns:a16="http://schemas.microsoft.com/office/drawing/2014/main" xmlns="" id="{EBE1BC8D-D887-443A-9490-B5D5F4972084}"/>
              </a:ext>
            </a:extLst>
          </p:cNvPr>
          <p:cNvSpPr txBox="1"/>
          <p:nvPr/>
        </p:nvSpPr>
        <p:spPr>
          <a:xfrm>
            <a:off x="5283683" y="940641"/>
            <a:ext cx="3646350" cy="493981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partment of Small Business Develop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77 </a:t>
            </a:r>
            <a:r>
              <a:rPr kumimoji="0" lang="nn-NO" sz="9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eintjies</a:t>
            </a: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tre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Sunnyside</a:t>
            </a: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tori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7 861 843 3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3"/>
              </a:rPr>
              <a:t>info@dsbd.gov.za</a:t>
            </a: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4"/>
              </a:rPr>
              <a:t>www.dsbd.gov.za</a:t>
            </a: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ZA" sz="900" b="1">
              <a:solidFill>
                <a:prstClr val="black"/>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mall Enterprise Development Agenc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Fields, Office Block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66 Burnett Stre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atfie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tori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8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7 12 441 100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5"/>
              </a:rPr>
              <a:t>info@seda.gov.za</a:t>
            </a: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6"/>
              </a:rPr>
              <a:t>www.seda.org.za</a:t>
            </a: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ZA"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mall Enterprise Finance Agenc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lvl="0" algn="ctr">
              <a:buSzPts val="1000"/>
              <a:tabLst>
                <a:tab pos="457200" algn="l"/>
              </a:tabLst>
            </a:pPr>
            <a:r>
              <a:rPr lang="en-ZA" sz="900" err="1">
                <a:solidFill>
                  <a:srgbClr val="323946"/>
                </a:solidFill>
                <a:effectLst/>
                <a:latin typeface="Arial" panose="020B0604020202020204" pitchFamily="34" charset="0"/>
                <a:ea typeface="Calibri" panose="020F0502020204030204" pitchFamily="34" charset="0"/>
                <a:cs typeface="Arial" panose="020B0604020202020204" pitchFamily="34" charset="0"/>
              </a:rPr>
              <a:t>Byls</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Bridge Office Park,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err="1">
                <a:solidFill>
                  <a:srgbClr val="323946"/>
                </a:solidFill>
                <a:effectLst/>
                <a:latin typeface="Arial" panose="020B0604020202020204" pitchFamily="34" charset="0"/>
                <a:ea typeface="Calibri" panose="020F0502020204030204" pitchFamily="34" charset="0"/>
                <a:cs typeface="Arial" panose="020B0604020202020204" pitchFamily="34" charset="0"/>
              </a:rPr>
              <a:t>Cnr</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Olievenhoutbosch Street &amp; Jean Avenue, Building 14 , Block D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11 </a:t>
            </a:r>
            <a:r>
              <a:rPr lang="en-ZA" sz="900" err="1">
                <a:solidFill>
                  <a:srgbClr val="323946"/>
                </a:solidFill>
                <a:effectLst/>
                <a:latin typeface="Arial" panose="020B0604020202020204" pitchFamily="34" charset="0"/>
                <a:ea typeface="Calibri" panose="020F0502020204030204" pitchFamily="34" charset="0"/>
                <a:cs typeface="Arial" panose="020B0604020202020204" pitchFamily="34" charset="0"/>
              </a:rPr>
              <a:t>Byls</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Bridge Boulevard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Highveld Extension 73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Centurion</a:t>
            </a:r>
          </a:p>
          <a:p>
            <a:pPr lvl="0" algn="ctr">
              <a:buSzPts val="1000"/>
              <a:tabLst>
                <a:tab pos="457200" algn="l"/>
              </a:tabLst>
            </a:pP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0157 </a:t>
            </a:r>
            <a:endParaRPr lang="en-ZA" sz="900">
              <a:effectLst/>
              <a:latin typeface="Arial" panose="020B0604020202020204" pitchFamily="34" charset="0"/>
              <a:ea typeface="Calibri" panose="020F0502020204030204" pitchFamily="34" charset="0"/>
              <a:cs typeface="Arial" panose="020B0604020202020204" pitchFamily="34" charset="0"/>
            </a:endParaRPr>
          </a:p>
          <a:p>
            <a:pPr lvl="0" algn="ctr">
              <a:buSzPts val="1000"/>
              <a:tabLst>
                <a:tab pos="457200" algn="l"/>
              </a:tabLst>
            </a:pP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27 12 748 9600 </a:t>
            </a:r>
            <a:endParaRPr lang="en-ZA" sz="900">
              <a:effectLst/>
              <a:latin typeface="Arial" panose="020B0604020202020204" pitchFamily="34" charset="0"/>
              <a:ea typeface="Calibri" panose="020F0502020204030204" pitchFamily="34" charset="0"/>
              <a:cs typeface="Arial" panose="020B0604020202020204" pitchFamily="34" charset="0"/>
            </a:endParaRPr>
          </a:p>
          <a:p>
            <a:pPr lvl="0" algn="ctr">
              <a:buSzPts val="1000"/>
              <a:tabLst>
                <a:tab pos="457200" algn="l"/>
              </a:tabLst>
            </a:pPr>
            <a:r>
              <a:rPr lang="en-ZA" sz="900" u="none" strike="noStrike">
                <a:solidFill>
                  <a:srgbClr val="EE7B00"/>
                </a:solidFill>
                <a:effectLst/>
                <a:latin typeface="Arial" panose="020B0604020202020204" pitchFamily="34" charset="0"/>
                <a:ea typeface="Calibri" panose="020F0502020204030204" pitchFamily="34" charset="0"/>
                <a:cs typeface="Arial" panose="020B0604020202020204" pitchFamily="34" charset="0"/>
                <a:hlinkClick r:id="rId7"/>
              </a:rPr>
              <a:t>helpline@sefa.org.za</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a:t>
            </a:r>
            <a:endParaRPr lang="en-ZA" sz="900">
              <a:effectLst/>
              <a:latin typeface="Arial" panose="020B0604020202020204" pitchFamily="34" charset="0"/>
              <a:ea typeface="Calibri" panose="020F0502020204030204" pitchFamily="34" charset="0"/>
              <a:cs typeface="Arial" panose="020B0604020202020204" pitchFamily="34" charset="0"/>
            </a:endParaRPr>
          </a:p>
          <a:p>
            <a:pPr lvl="0" algn="ctr">
              <a:buSzPts val="1000"/>
              <a:tabLst>
                <a:tab pos="457200" algn="l"/>
              </a:tabLst>
            </a:pP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hlinkClick r:id="rId8"/>
              </a:rPr>
              <a:t>www.sefa.org.za</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a:t>
            </a:r>
            <a:endParaRPr lang="en-ZA" sz="900">
              <a:effectLst/>
              <a:latin typeface="Arial" panose="020B0604020202020204" pitchFamily="34" charset="0"/>
              <a:ea typeface="Calibri" panose="020F0502020204030204" pitchFamily="34" charset="0"/>
              <a:cs typeface="Arial" panose="020B0604020202020204" pitchFamily="34" charset="0"/>
            </a:endParaRPr>
          </a:p>
        </p:txBody>
      </p:sp>
      <p:pic>
        <p:nvPicPr>
          <p:cNvPr id="5" name="Picture 12">
            <a:extLst>
              <a:ext uri="{FF2B5EF4-FFF2-40B4-BE49-F238E27FC236}">
                <a16:creationId xmlns:a16="http://schemas.microsoft.com/office/drawing/2014/main" xmlns="" id="{B360A7F8-046A-5C6C-FD31-7E770DAE00EF}"/>
              </a:ext>
            </a:extLst>
          </p:cNvPr>
          <p:cNvPicPr>
            <a:picLocks noChangeAspect="1"/>
          </p:cNvPicPr>
          <p:nvPr/>
        </p:nvPicPr>
        <p:blipFill>
          <a:blip r:embed="rId9" cstate="print"/>
          <a:srcRect l="4701" r="4701"/>
          <a:stretch>
            <a:fillRect/>
          </a:stretch>
        </p:blipFill>
        <p:spPr>
          <a:xfrm>
            <a:off x="548142" y="5497512"/>
            <a:ext cx="1676840" cy="1896493"/>
          </a:xfrm>
          <a:prstGeom prst="rect">
            <a:avLst/>
          </a:prstGeom>
        </p:spPr>
      </p:pic>
      <p:pic>
        <p:nvPicPr>
          <p:cNvPr id="7" name="Picture 6" descr="Logo&#10;&#10;Description automatically generated">
            <a:extLst>
              <a:ext uri="{FF2B5EF4-FFF2-40B4-BE49-F238E27FC236}">
                <a16:creationId xmlns:a16="http://schemas.microsoft.com/office/drawing/2014/main" xmlns="" id="{A1B26B62-70DF-A581-E85C-5EAE73C5D19C}"/>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8" name="Picture 7" descr="Logo&#10;&#10;Description automatically generated">
            <a:extLst>
              <a:ext uri="{FF2B5EF4-FFF2-40B4-BE49-F238E27FC236}">
                <a16:creationId xmlns:a16="http://schemas.microsoft.com/office/drawing/2014/main" xmlns="" id="{A5DCF500-0EC3-29AA-F6D0-AC05EC9CEACA}"/>
              </a:ext>
            </a:extLst>
          </p:cNvPr>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9" name="Straight Connector 8">
            <a:extLst>
              <a:ext uri="{FF2B5EF4-FFF2-40B4-BE49-F238E27FC236}">
                <a16:creationId xmlns:a16="http://schemas.microsoft.com/office/drawing/2014/main" xmlns="" id="{F44E8170-F7F9-0779-B90C-ABD485C0B50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70393772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4</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615576"/>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421969" y="-30754"/>
            <a:ext cx="843721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Summary of Q3 Corporate Performance</a:t>
            </a:r>
            <a:endParaRPr lang="en-ZA" sz="3600">
              <a:solidFill>
                <a:prstClr val="white"/>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xmlns="" id="{BF0770B7-5331-4A1B-6627-C5059A9B6F3D}"/>
              </a:ext>
            </a:extLst>
          </p:cNvPr>
          <p:cNvSpPr txBox="1"/>
          <p:nvPr/>
        </p:nvSpPr>
        <p:spPr>
          <a:xfrm>
            <a:off x="421969" y="787610"/>
            <a:ext cx="7988384" cy="791179"/>
          </a:xfrm>
          <a:prstGeom prst="rect">
            <a:avLst/>
          </a:prstGeom>
          <a:noFill/>
        </p:spPr>
        <p:txBody>
          <a:bodyPr wrap="square">
            <a:spAutoFit/>
          </a:bodyPr>
          <a:lstStyle/>
          <a:p>
            <a:pPr algn="just">
              <a:lnSpc>
                <a:spcPct val="150000"/>
              </a:lnSpc>
              <a:spcAft>
                <a:spcPts val="800"/>
              </a:spcAft>
            </a:pPr>
            <a:r>
              <a:rPr lang="en-ZA" sz="1600">
                <a:effectLst/>
                <a:latin typeface="Arial" panose="020B0604020202020204" pitchFamily="34" charset="0"/>
                <a:ea typeface="Calibri" panose="020F0502020204030204" pitchFamily="34" charset="0"/>
                <a:cs typeface="Arial" panose="020B0604020202020204" pitchFamily="34" charset="0"/>
              </a:rPr>
              <a:t>The table below highlights the organisational performance against pre-determined targets for Q3 of FY2022/23:</a:t>
            </a:r>
            <a:endParaRPr lang="en-ZA" sz="1600">
              <a:effectLst/>
              <a:latin typeface="Calibri" panose="020F0502020204030204" pitchFamily="34" charset="0"/>
              <a:ea typeface="Calibri" panose="020F0502020204030204" pitchFamily="34" charset="0"/>
              <a:cs typeface="Arial" panose="020B0604020202020204" pitchFamily="34" charset="0"/>
            </a:endParaRPr>
          </a:p>
        </p:txBody>
      </p:sp>
      <p:grpSp>
        <p:nvGrpSpPr>
          <p:cNvPr id="3" name="Group 4">
            <a:extLst>
              <a:ext uri="{FF2B5EF4-FFF2-40B4-BE49-F238E27FC236}">
                <a16:creationId xmlns:a16="http://schemas.microsoft.com/office/drawing/2014/main" xmlns="" id="{BFE2A43F-9EC0-D49C-47AB-E5F4217C527E}"/>
              </a:ext>
            </a:extLst>
          </p:cNvPr>
          <p:cNvGrpSpPr>
            <a:grpSpLocks noChangeAspect="1"/>
          </p:cNvGrpSpPr>
          <p:nvPr/>
        </p:nvGrpSpPr>
        <p:grpSpPr bwMode="auto">
          <a:xfrm>
            <a:off x="398463" y="2139950"/>
            <a:ext cx="8347075" cy="2578100"/>
            <a:chOff x="251" y="1348"/>
            <a:chExt cx="5258" cy="1624"/>
          </a:xfrm>
        </p:grpSpPr>
        <p:sp>
          <p:nvSpPr>
            <p:cNvPr id="4" name="AutoShape 3">
              <a:extLst>
                <a:ext uri="{FF2B5EF4-FFF2-40B4-BE49-F238E27FC236}">
                  <a16:creationId xmlns:a16="http://schemas.microsoft.com/office/drawing/2014/main" xmlns="" id="{6B76FD34-F512-1D60-C1DE-5A031AF1A986}"/>
                </a:ext>
              </a:extLst>
            </p:cNvPr>
            <p:cNvSpPr>
              <a:spLocks noChangeAspect="1" noChangeArrowheads="1" noTextEdit="1"/>
            </p:cNvSpPr>
            <p:nvPr/>
          </p:nvSpPr>
          <p:spPr bwMode="auto">
            <a:xfrm>
              <a:off x="251" y="1348"/>
              <a:ext cx="5258" cy="16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 name="Rectangle 5">
              <a:extLst>
                <a:ext uri="{FF2B5EF4-FFF2-40B4-BE49-F238E27FC236}">
                  <a16:creationId xmlns:a16="http://schemas.microsoft.com/office/drawing/2014/main" xmlns="" id="{067F945B-86D7-3C43-3695-5F8B4EF6521D}"/>
                </a:ext>
              </a:extLst>
            </p:cNvPr>
            <p:cNvSpPr>
              <a:spLocks noChangeArrowheads="1"/>
            </p:cNvSpPr>
            <p:nvPr/>
          </p:nvSpPr>
          <p:spPr bwMode="auto">
            <a:xfrm>
              <a:off x="644" y="1359"/>
              <a:ext cx="339"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RAG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 name="Rectangle 6">
              <a:extLst>
                <a:ext uri="{FF2B5EF4-FFF2-40B4-BE49-F238E27FC236}">
                  <a16:creationId xmlns:a16="http://schemas.microsoft.com/office/drawing/2014/main" xmlns="" id="{4EA9A6AA-456C-A10C-887D-02359317490C}"/>
                </a:ext>
              </a:extLst>
            </p:cNvPr>
            <p:cNvSpPr>
              <a:spLocks noChangeArrowheads="1"/>
            </p:cNvSpPr>
            <p:nvPr/>
          </p:nvSpPr>
          <p:spPr bwMode="auto">
            <a:xfrm>
              <a:off x="644" y="1550"/>
              <a:ext cx="50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Indicato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Rectangle 7">
              <a:extLst>
                <a:ext uri="{FF2B5EF4-FFF2-40B4-BE49-F238E27FC236}">
                  <a16:creationId xmlns:a16="http://schemas.microsoft.com/office/drawing/2014/main" xmlns="" id="{E21CCA29-0F2E-EF1C-702B-EFBDFDBDD13D}"/>
                </a:ext>
              </a:extLst>
            </p:cNvPr>
            <p:cNvSpPr>
              <a:spLocks noChangeArrowheads="1"/>
            </p:cNvSpPr>
            <p:nvPr/>
          </p:nvSpPr>
          <p:spPr bwMode="auto">
            <a:xfrm>
              <a:off x="1092" y="1550"/>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161616"/>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 name="Rectangle 8">
              <a:extLst>
                <a:ext uri="{FF2B5EF4-FFF2-40B4-BE49-F238E27FC236}">
                  <a16:creationId xmlns:a16="http://schemas.microsoft.com/office/drawing/2014/main" xmlns="" id="{84D9FF3E-0A27-4EB3-C219-3B82B650316E}"/>
                </a:ext>
              </a:extLst>
            </p:cNvPr>
            <p:cNvSpPr>
              <a:spLocks noChangeArrowheads="1"/>
            </p:cNvSpPr>
            <p:nvPr/>
          </p:nvSpPr>
          <p:spPr bwMode="auto">
            <a:xfrm>
              <a:off x="1286" y="1359"/>
              <a:ext cx="642"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Descrip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 name="Rectangle 9">
              <a:extLst>
                <a:ext uri="{FF2B5EF4-FFF2-40B4-BE49-F238E27FC236}">
                  <a16:creationId xmlns:a16="http://schemas.microsoft.com/office/drawing/2014/main" xmlns="" id="{7D30ED17-FD3F-6A4E-3AA1-4690A0AB518F}"/>
                </a:ext>
              </a:extLst>
            </p:cNvPr>
            <p:cNvSpPr>
              <a:spLocks noChangeArrowheads="1"/>
            </p:cNvSpPr>
            <p:nvPr/>
          </p:nvSpPr>
          <p:spPr bwMode="auto">
            <a:xfrm>
              <a:off x="1869" y="1359"/>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 name="Rectangle 10">
              <a:extLst>
                <a:ext uri="{FF2B5EF4-FFF2-40B4-BE49-F238E27FC236}">
                  <a16:creationId xmlns:a16="http://schemas.microsoft.com/office/drawing/2014/main" xmlns="" id="{250579BC-B154-4E3F-BE57-2EDA64563BBC}"/>
                </a:ext>
              </a:extLst>
            </p:cNvPr>
            <p:cNvSpPr>
              <a:spLocks noChangeArrowheads="1"/>
            </p:cNvSpPr>
            <p:nvPr/>
          </p:nvSpPr>
          <p:spPr bwMode="auto">
            <a:xfrm>
              <a:off x="3123" y="1359"/>
              <a:ext cx="1141"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Number of indicator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11">
              <a:extLst>
                <a:ext uri="{FF2B5EF4-FFF2-40B4-BE49-F238E27FC236}">
                  <a16:creationId xmlns:a16="http://schemas.microsoft.com/office/drawing/2014/main" xmlns="" id="{EE7D6F3C-C261-4665-53D3-67C3CEAD0357}"/>
                </a:ext>
              </a:extLst>
            </p:cNvPr>
            <p:cNvSpPr>
              <a:spLocks noChangeArrowheads="1"/>
            </p:cNvSpPr>
            <p:nvPr/>
          </p:nvSpPr>
          <p:spPr bwMode="auto">
            <a:xfrm>
              <a:off x="4198" y="1359"/>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Rectangle 12">
              <a:extLst>
                <a:ext uri="{FF2B5EF4-FFF2-40B4-BE49-F238E27FC236}">
                  <a16:creationId xmlns:a16="http://schemas.microsoft.com/office/drawing/2014/main" xmlns="" id="{3AFE8A8C-9EC9-6CFD-97E2-59A1B518C860}"/>
                </a:ext>
              </a:extLst>
            </p:cNvPr>
            <p:cNvSpPr>
              <a:spLocks noChangeArrowheads="1"/>
            </p:cNvSpPr>
            <p:nvPr/>
          </p:nvSpPr>
          <p:spPr bwMode="auto">
            <a:xfrm>
              <a:off x="4362" y="1359"/>
              <a:ext cx="866"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Performan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Rectangle 13">
              <a:extLst>
                <a:ext uri="{FF2B5EF4-FFF2-40B4-BE49-F238E27FC236}">
                  <a16:creationId xmlns:a16="http://schemas.microsoft.com/office/drawing/2014/main" xmlns="" id="{64411FE0-B47E-A68E-2D2B-BB05F10ACD4E}"/>
                </a:ext>
              </a:extLst>
            </p:cNvPr>
            <p:cNvSpPr>
              <a:spLocks noChangeArrowheads="1"/>
            </p:cNvSpPr>
            <p:nvPr/>
          </p:nvSpPr>
          <p:spPr bwMode="auto">
            <a:xfrm>
              <a:off x="5165" y="1359"/>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 name="Rectangle 14">
              <a:extLst>
                <a:ext uri="{FF2B5EF4-FFF2-40B4-BE49-F238E27FC236}">
                  <a16:creationId xmlns:a16="http://schemas.microsoft.com/office/drawing/2014/main" xmlns="" id="{12BA7370-69C4-FB6F-0819-C64F0271069D}"/>
                </a:ext>
              </a:extLst>
            </p:cNvPr>
            <p:cNvSpPr>
              <a:spLocks noChangeArrowheads="1"/>
            </p:cNvSpPr>
            <p:nvPr/>
          </p:nvSpPr>
          <p:spPr bwMode="auto">
            <a:xfrm>
              <a:off x="578" y="1348"/>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9" name="Rectangle 15">
              <a:extLst>
                <a:ext uri="{FF2B5EF4-FFF2-40B4-BE49-F238E27FC236}">
                  <a16:creationId xmlns:a16="http://schemas.microsoft.com/office/drawing/2014/main" xmlns="" id="{717602D5-7208-07A1-1E99-19E43ECD23F0}"/>
                </a:ext>
              </a:extLst>
            </p:cNvPr>
            <p:cNvSpPr>
              <a:spLocks noChangeArrowheads="1"/>
            </p:cNvSpPr>
            <p:nvPr/>
          </p:nvSpPr>
          <p:spPr bwMode="auto">
            <a:xfrm>
              <a:off x="578" y="1348"/>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0" name="Rectangle 16">
              <a:extLst>
                <a:ext uri="{FF2B5EF4-FFF2-40B4-BE49-F238E27FC236}">
                  <a16:creationId xmlns:a16="http://schemas.microsoft.com/office/drawing/2014/main" xmlns="" id="{3559ACCB-2E47-C465-61ED-FBDF8DBD1B71}"/>
                </a:ext>
              </a:extLst>
            </p:cNvPr>
            <p:cNvSpPr>
              <a:spLocks noChangeArrowheads="1"/>
            </p:cNvSpPr>
            <p:nvPr/>
          </p:nvSpPr>
          <p:spPr bwMode="auto">
            <a:xfrm>
              <a:off x="584" y="1348"/>
              <a:ext cx="63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1" name="Rectangle 17">
              <a:extLst>
                <a:ext uri="{FF2B5EF4-FFF2-40B4-BE49-F238E27FC236}">
                  <a16:creationId xmlns:a16="http://schemas.microsoft.com/office/drawing/2014/main" xmlns="" id="{3E262DF4-57DF-DE7D-528F-5447840637A8}"/>
                </a:ext>
              </a:extLst>
            </p:cNvPr>
            <p:cNvSpPr>
              <a:spLocks noChangeArrowheads="1"/>
            </p:cNvSpPr>
            <p:nvPr/>
          </p:nvSpPr>
          <p:spPr bwMode="auto">
            <a:xfrm>
              <a:off x="1220" y="1348"/>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2" name="Rectangle 18">
              <a:extLst>
                <a:ext uri="{FF2B5EF4-FFF2-40B4-BE49-F238E27FC236}">
                  <a16:creationId xmlns:a16="http://schemas.microsoft.com/office/drawing/2014/main" xmlns="" id="{3A8D2E79-388D-19FA-9D21-7D0F1508ED22}"/>
                </a:ext>
              </a:extLst>
            </p:cNvPr>
            <p:cNvSpPr>
              <a:spLocks noChangeArrowheads="1"/>
            </p:cNvSpPr>
            <p:nvPr/>
          </p:nvSpPr>
          <p:spPr bwMode="auto">
            <a:xfrm>
              <a:off x="1226" y="1348"/>
              <a:ext cx="183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3" name="Rectangle 19">
              <a:extLst>
                <a:ext uri="{FF2B5EF4-FFF2-40B4-BE49-F238E27FC236}">
                  <a16:creationId xmlns:a16="http://schemas.microsoft.com/office/drawing/2014/main" xmlns="" id="{F190CDEA-EAEC-C58C-F4B3-24B069C2F487}"/>
                </a:ext>
              </a:extLst>
            </p:cNvPr>
            <p:cNvSpPr>
              <a:spLocks noChangeArrowheads="1"/>
            </p:cNvSpPr>
            <p:nvPr/>
          </p:nvSpPr>
          <p:spPr bwMode="auto">
            <a:xfrm>
              <a:off x="3057" y="1348"/>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4" name="Rectangle 20">
              <a:extLst>
                <a:ext uri="{FF2B5EF4-FFF2-40B4-BE49-F238E27FC236}">
                  <a16:creationId xmlns:a16="http://schemas.microsoft.com/office/drawing/2014/main" xmlns="" id="{EC301413-63AC-6377-E889-CB4684A612C9}"/>
                </a:ext>
              </a:extLst>
            </p:cNvPr>
            <p:cNvSpPr>
              <a:spLocks noChangeArrowheads="1"/>
            </p:cNvSpPr>
            <p:nvPr/>
          </p:nvSpPr>
          <p:spPr bwMode="auto">
            <a:xfrm>
              <a:off x="3063" y="1348"/>
              <a:ext cx="1233"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5" name="Rectangle 21">
              <a:extLst>
                <a:ext uri="{FF2B5EF4-FFF2-40B4-BE49-F238E27FC236}">
                  <a16:creationId xmlns:a16="http://schemas.microsoft.com/office/drawing/2014/main" xmlns="" id="{4F772417-1A2D-1A15-456C-EC71A2B071C2}"/>
                </a:ext>
              </a:extLst>
            </p:cNvPr>
            <p:cNvSpPr>
              <a:spLocks noChangeArrowheads="1"/>
            </p:cNvSpPr>
            <p:nvPr/>
          </p:nvSpPr>
          <p:spPr bwMode="auto">
            <a:xfrm>
              <a:off x="4296" y="1348"/>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6" name="Rectangle 22">
              <a:extLst>
                <a:ext uri="{FF2B5EF4-FFF2-40B4-BE49-F238E27FC236}">
                  <a16:creationId xmlns:a16="http://schemas.microsoft.com/office/drawing/2014/main" xmlns="" id="{ED71DF4F-6E90-8A10-E57A-EB89FA78997B}"/>
                </a:ext>
              </a:extLst>
            </p:cNvPr>
            <p:cNvSpPr>
              <a:spLocks noChangeArrowheads="1"/>
            </p:cNvSpPr>
            <p:nvPr/>
          </p:nvSpPr>
          <p:spPr bwMode="auto">
            <a:xfrm>
              <a:off x="4302" y="1348"/>
              <a:ext cx="115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7" name="Rectangle 23">
              <a:extLst>
                <a:ext uri="{FF2B5EF4-FFF2-40B4-BE49-F238E27FC236}">
                  <a16:creationId xmlns:a16="http://schemas.microsoft.com/office/drawing/2014/main" xmlns="" id="{8FD3204C-553A-1D14-90CC-D3835A1BA8B9}"/>
                </a:ext>
              </a:extLst>
            </p:cNvPr>
            <p:cNvSpPr>
              <a:spLocks noChangeArrowheads="1"/>
            </p:cNvSpPr>
            <p:nvPr/>
          </p:nvSpPr>
          <p:spPr bwMode="auto">
            <a:xfrm>
              <a:off x="5453" y="1348"/>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8" name="Rectangle 24">
              <a:extLst>
                <a:ext uri="{FF2B5EF4-FFF2-40B4-BE49-F238E27FC236}">
                  <a16:creationId xmlns:a16="http://schemas.microsoft.com/office/drawing/2014/main" xmlns="" id="{C424F03F-D8B8-40D1-28B5-B7AA8D5934CC}"/>
                </a:ext>
              </a:extLst>
            </p:cNvPr>
            <p:cNvSpPr>
              <a:spLocks noChangeArrowheads="1"/>
            </p:cNvSpPr>
            <p:nvPr/>
          </p:nvSpPr>
          <p:spPr bwMode="auto">
            <a:xfrm>
              <a:off x="5453" y="1348"/>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29" name="Rectangle 25">
              <a:extLst>
                <a:ext uri="{FF2B5EF4-FFF2-40B4-BE49-F238E27FC236}">
                  <a16:creationId xmlns:a16="http://schemas.microsoft.com/office/drawing/2014/main" xmlns="" id="{CB7C750C-550F-B3FB-F2A9-D121FEA6163E}"/>
                </a:ext>
              </a:extLst>
            </p:cNvPr>
            <p:cNvSpPr>
              <a:spLocks noChangeArrowheads="1"/>
            </p:cNvSpPr>
            <p:nvPr/>
          </p:nvSpPr>
          <p:spPr bwMode="auto">
            <a:xfrm>
              <a:off x="578" y="1353"/>
              <a:ext cx="6" cy="38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30" name="Rectangle 26">
              <a:extLst>
                <a:ext uri="{FF2B5EF4-FFF2-40B4-BE49-F238E27FC236}">
                  <a16:creationId xmlns:a16="http://schemas.microsoft.com/office/drawing/2014/main" xmlns="" id="{E2B498C6-F389-0AF2-AA1E-0D8BEAE74509}"/>
                </a:ext>
              </a:extLst>
            </p:cNvPr>
            <p:cNvSpPr>
              <a:spLocks noChangeArrowheads="1"/>
            </p:cNvSpPr>
            <p:nvPr/>
          </p:nvSpPr>
          <p:spPr bwMode="auto">
            <a:xfrm>
              <a:off x="1220" y="1353"/>
              <a:ext cx="6" cy="38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31" name="Rectangle 27">
              <a:extLst>
                <a:ext uri="{FF2B5EF4-FFF2-40B4-BE49-F238E27FC236}">
                  <a16:creationId xmlns:a16="http://schemas.microsoft.com/office/drawing/2014/main" xmlns="" id="{723BE71F-0B43-D12D-6F14-7D9DB9332643}"/>
                </a:ext>
              </a:extLst>
            </p:cNvPr>
            <p:cNvSpPr>
              <a:spLocks noChangeArrowheads="1"/>
            </p:cNvSpPr>
            <p:nvPr/>
          </p:nvSpPr>
          <p:spPr bwMode="auto">
            <a:xfrm>
              <a:off x="3057" y="1353"/>
              <a:ext cx="6" cy="38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32" name="Rectangle 28">
              <a:extLst>
                <a:ext uri="{FF2B5EF4-FFF2-40B4-BE49-F238E27FC236}">
                  <a16:creationId xmlns:a16="http://schemas.microsoft.com/office/drawing/2014/main" xmlns="" id="{DEBF3EE1-ED1D-91D6-8FFA-C29D765B4A67}"/>
                </a:ext>
              </a:extLst>
            </p:cNvPr>
            <p:cNvSpPr>
              <a:spLocks noChangeArrowheads="1"/>
            </p:cNvSpPr>
            <p:nvPr/>
          </p:nvSpPr>
          <p:spPr bwMode="auto">
            <a:xfrm>
              <a:off x="4296" y="1353"/>
              <a:ext cx="6" cy="38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33" name="Rectangle 29">
              <a:extLst>
                <a:ext uri="{FF2B5EF4-FFF2-40B4-BE49-F238E27FC236}">
                  <a16:creationId xmlns:a16="http://schemas.microsoft.com/office/drawing/2014/main" xmlns="" id="{C65FDFB5-7F2E-5D3D-2F38-0CB79219A37C}"/>
                </a:ext>
              </a:extLst>
            </p:cNvPr>
            <p:cNvSpPr>
              <a:spLocks noChangeArrowheads="1"/>
            </p:cNvSpPr>
            <p:nvPr/>
          </p:nvSpPr>
          <p:spPr bwMode="auto">
            <a:xfrm>
              <a:off x="5453" y="1353"/>
              <a:ext cx="6" cy="383"/>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34" name="Rectangle 30">
              <a:extLst>
                <a:ext uri="{FF2B5EF4-FFF2-40B4-BE49-F238E27FC236}">
                  <a16:creationId xmlns:a16="http://schemas.microsoft.com/office/drawing/2014/main" xmlns="" id="{35C8B368-4B46-040A-7ADC-3D5704C304C8}"/>
                </a:ext>
              </a:extLst>
            </p:cNvPr>
            <p:cNvSpPr>
              <a:spLocks noChangeArrowheads="1"/>
            </p:cNvSpPr>
            <p:nvPr/>
          </p:nvSpPr>
          <p:spPr bwMode="auto">
            <a:xfrm>
              <a:off x="644" y="1747"/>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5" name="Rectangle 31">
              <a:extLst>
                <a:ext uri="{FF2B5EF4-FFF2-40B4-BE49-F238E27FC236}">
                  <a16:creationId xmlns:a16="http://schemas.microsoft.com/office/drawing/2014/main" xmlns="" id="{68B25645-1CD7-DDF4-814E-393791BE107D}"/>
                </a:ext>
              </a:extLst>
            </p:cNvPr>
            <p:cNvSpPr>
              <a:spLocks noChangeArrowheads="1"/>
            </p:cNvSpPr>
            <p:nvPr/>
          </p:nvSpPr>
          <p:spPr bwMode="auto">
            <a:xfrm>
              <a:off x="1286" y="1747"/>
              <a:ext cx="971"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100% and abov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6" name="Rectangle 32">
              <a:extLst>
                <a:ext uri="{FF2B5EF4-FFF2-40B4-BE49-F238E27FC236}">
                  <a16:creationId xmlns:a16="http://schemas.microsoft.com/office/drawing/2014/main" xmlns="" id="{09F24F80-0312-459D-C596-E6253AEA9323}"/>
                </a:ext>
              </a:extLst>
            </p:cNvPr>
            <p:cNvSpPr>
              <a:spLocks noChangeArrowheads="1"/>
            </p:cNvSpPr>
            <p:nvPr/>
          </p:nvSpPr>
          <p:spPr bwMode="auto">
            <a:xfrm>
              <a:off x="2194" y="1747"/>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7" name="Rectangle 33">
              <a:extLst>
                <a:ext uri="{FF2B5EF4-FFF2-40B4-BE49-F238E27FC236}">
                  <a16:creationId xmlns:a16="http://schemas.microsoft.com/office/drawing/2014/main" xmlns="" id="{BFCAC0EB-769E-69A4-1573-9D789A27B989}"/>
                </a:ext>
              </a:extLst>
            </p:cNvPr>
            <p:cNvSpPr>
              <a:spLocks noChangeArrowheads="1"/>
            </p:cNvSpPr>
            <p:nvPr/>
          </p:nvSpPr>
          <p:spPr bwMode="auto">
            <a:xfrm>
              <a:off x="3614" y="1747"/>
              <a:ext cx="117"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8" name="Rectangle 34">
              <a:extLst>
                <a:ext uri="{FF2B5EF4-FFF2-40B4-BE49-F238E27FC236}">
                  <a16:creationId xmlns:a16="http://schemas.microsoft.com/office/drawing/2014/main" xmlns="" id="{FE32C1C1-801F-2460-FE96-3240DCA55103}"/>
                </a:ext>
              </a:extLst>
            </p:cNvPr>
            <p:cNvSpPr>
              <a:spLocks noChangeArrowheads="1"/>
            </p:cNvSpPr>
            <p:nvPr/>
          </p:nvSpPr>
          <p:spPr bwMode="auto">
            <a:xfrm>
              <a:off x="3678" y="1747"/>
              <a:ext cx="117"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9" name="Rectangle 35">
              <a:extLst>
                <a:ext uri="{FF2B5EF4-FFF2-40B4-BE49-F238E27FC236}">
                  <a16:creationId xmlns:a16="http://schemas.microsoft.com/office/drawing/2014/main" xmlns="" id="{B35463C3-37B9-6116-2CF7-A6943EEAE01C}"/>
                </a:ext>
              </a:extLst>
            </p:cNvPr>
            <p:cNvSpPr>
              <a:spLocks noChangeArrowheads="1"/>
            </p:cNvSpPr>
            <p:nvPr/>
          </p:nvSpPr>
          <p:spPr bwMode="auto">
            <a:xfrm>
              <a:off x="3744" y="1747"/>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0" name="Rectangle 36">
              <a:extLst>
                <a:ext uri="{FF2B5EF4-FFF2-40B4-BE49-F238E27FC236}">
                  <a16:creationId xmlns:a16="http://schemas.microsoft.com/office/drawing/2014/main" xmlns="" id="{7F2B3D09-CA48-5D05-2CE4-4D2ABA88FCF8}"/>
                </a:ext>
              </a:extLst>
            </p:cNvPr>
            <p:cNvSpPr>
              <a:spLocks noChangeArrowheads="1"/>
            </p:cNvSpPr>
            <p:nvPr/>
          </p:nvSpPr>
          <p:spPr bwMode="auto">
            <a:xfrm>
              <a:off x="4761" y="1751"/>
              <a:ext cx="233"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a:solidFill>
                    <a:srgbClr val="000000"/>
                  </a:solidFill>
                </a:rPr>
                <a:t>41%</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3" name="Rectangle 39">
              <a:extLst>
                <a:ext uri="{FF2B5EF4-FFF2-40B4-BE49-F238E27FC236}">
                  <a16:creationId xmlns:a16="http://schemas.microsoft.com/office/drawing/2014/main" xmlns="" id="{4C7EFFDD-E32C-5999-0B9F-C67CC342EECE}"/>
                </a:ext>
              </a:extLst>
            </p:cNvPr>
            <p:cNvSpPr>
              <a:spLocks noChangeArrowheads="1"/>
            </p:cNvSpPr>
            <p:nvPr/>
          </p:nvSpPr>
          <p:spPr bwMode="auto">
            <a:xfrm>
              <a:off x="4994" y="1747"/>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4" name="Rectangle 40">
              <a:extLst>
                <a:ext uri="{FF2B5EF4-FFF2-40B4-BE49-F238E27FC236}">
                  <a16:creationId xmlns:a16="http://schemas.microsoft.com/office/drawing/2014/main" xmlns="" id="{4803A8BE-C680-6AD4-114A-88B835B758F4}"/>
                </a:ext>
              </a:extLst>
            </p:cNvPr>
            <p:cNvSpPr>
              <a:spLocks noChangeArrowheads="1"/>
            </p:cNvSpPr>
            <p:nvPr/>
          </p:nvSpPr>
          <p:spPr bwMode="auto">
            <a:xfrm>
              <a:off x="578" y="1736"/>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45" name="Rectangle 41">
              <a:extLst>
                <a:ext uri="{FF2B5EF4-FFF2-40B4-BE49-F238E27FC236}">
                  <a16:creationId xmlns:a16="http://schemas.microsoft.com/office/drawing/2014/main" xmlns="" id="{04F15664-0B27-9A69-27A7-75042D720439}"/>
                </a:ext>
              </a:extLst>
            </p:cNvPr>
            <p:cNvSpPr>
              <a:spLocks noChangeArrowheads="1"/>
            </p:cNvSpPr>
            <p:nvPr/>
          </p:nvSpPr>
          <p:spPr bwMode="auto">
            <a:xfrm>
              <a:off x="584" y="1736"/>
              <a:ext cx="63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46" name="Rectangle 42">
              <a:extLst>
                <a:ext uri="{FF2B5EF4-FFF2-40B4-BE49-F238E27FC236}">
                  <a16:creationId xmlns:a16="http://schemas.microsoft.com/office/drawing/2014/main" xmlns="" id="{8F65D6DF-9418-A451-EB72-5A5ABD05D986}"/>
                </a:ext>
              </a:extLst>
            </p:cNvPr>
            <p:cNvSpPr>
              <a:spLocks noChangeArrowheads="1"/>
            </p:cNvSpPr>
            <p:nvPr/>
          </p:nvSpPr>
          <p:spPr bwMode="auto">
            <a:xfrm>
              <a:off x="1220" y="1736"/>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47" name="Rectangle 43">
              <a:extLst>
                <a:ext uri="{FF2B5EF4-FFF2-40B4-BE49-F238E27FC236}">
                  <a16:creationId xmlns:a16="http://schemas.microsoft.com/office/drawing/2014/main" xmlns="" id="{FB98344E-31AE-D412-D502-A4C9EEA36CD7}"/>
                </a:ext>
              </a:extLst>
            </p:cNvPr>
            <p:cNvSpPr>
              <a:spLocks noChangeArrowheads="1"/>
            </p:cNvSpPr>
            <p:nvPr/>
          </p:nvSpPr>
          <p:spPr bwMode="auto">
            <a:xfrm>
              <a:off x="1226" y="1736"/>
              <a:ext cx="183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48" name="Rectangle 44">
              <a:extLst>
                <a:ext uri="{FF2B5EF4-FFF2-40B4-BE49-F238E27FC236}">
                  <a16:creationId xmlns:a16="http://schemas.microsoft.com/office/drawing/2014/main" xmlns="" id="{4A35C252-774F-58AB-4712-20B048A145B1}"/>
                </a:ext>
              </a:extLst>
            </p:cNvPr>
            <p:cNvSpPr>
              <a:spLocks noChangeArrowheads="1"/>
            </p:cNvSpPr>
            <p:nvPr/>
          </p:nvSpPr>
          <p:spPr bwMode="auto">
            <a:xfrm>
              <a:off x="3057" y="1736"/>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49" name="Rectangle 45">
              <a:extLst>
                <a:ext uri="{FF2B5EF4-FFF2-40B4-BE49-F238E27FC236}">
                  <a16:creationId xmlns:a16="http://schemas.microsoft.com/office/drawing/2014/main" xmlns="" id="{B1541E2C-79E9-A4F9-C01B-C0387FFE1151}"/>
                </a:ext>
              </a:extLst>
            </p:cNvPr>
            <p:cNvSpPr>
              <a:spLocks noChangeArrowheads="1"/>
            </p:cNvSpPr>
            <p:nvPr/>
          </p:nvSpPr>
          <p:spPr bwMode="auto">
            <a:xfrm>
              <a:off x="3063" y="1736"/>
              <a:ext cx="1233"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0" name="Rectangle 46">
              <a:extLst>
                <a:ext uri="{FF2B5EF4-FFF2-40B4-BE49-F238E27FC236}">
                  <a16:creationId xmlns:a16="http://schemas.microsoft.com/office/drawing/2014/main" xmlns="" id="{2E5AB7BD-83F3-AE72-1D50-5F92DA4F9E9A}"/>
                </a:ext>
              </a:extLst>
            </p:cNvPr>
            <p:cNvSpPr>
              <a:spLocks noChangeArrowheads="1"/>
            </p:cNvSpPr>
            <p:nvPr/>
          </p:nvSpPr>
          <p:spPr bwMode="auto">
            <a:xfrm>
              <a:off x="4296" y="1736"/>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1" name="Rectangle 47">
              <a:extLst>
                <a:ext uri="{FF2B5EF4-FFF2-40B4-BE49-F238E27FC236}">
                  <a16:creationId xmlns:a16="http://schemas.microsoft.com/office/drawing/2014/main" xmlns="" id="{E55F22FC-4FCF-8AFE-4FCF-5FF162D3C2F3}"/>
                </a:ext>
              </a:extLst>
            </p:cNvPr>
            <p:cNvSpPr>
              <a:spLocks noChangeArrowheads="1"/>
            </p:cNvSpPr>
            <p:nvPr/>
          </p:nvSpPr>
          <p:spPr bwMode="auto">
            <a:xfrm>
              <a:off x="4302" y="1736"/>
              <a:ext cx="115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2" name="Rectangle 48">
              <a:extLst>
                <a:ext uri="{FF2B5EF4-FFF2-40B4-BE49-F238E27FC236}">
                  <a16:creationId xmlns:a16="http://schemas.microsoft.com/office/drawing/2014/main" xmlns="" id="{43A2C74E-5074-852B-BCF0-F33F17B8767E}"/>
                </a:ext>
              </a:extLst>
            </p:cNvPr>
            <p:cNvSpPr>
              <a:spLocks noChangeArrowheads="1"/>
            </p:cNvSpPr>
            <p:nvPr/>
          </p:nvSpPr>
          <p:spPr bwMode="auto">
            <a:xfrm>
              <a:off x="5453" y="1736"/>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3" name="Rectangle 49">
              <a:extLst>
                <a:ext uri="{FF2B5EF4-FFF2-40B4-BE49-F238E27FC236}">
                  <a16:creationId xmlns:a16="http://schemas.microsoft.com/office/drawing/2014/main" xmlns="" id="{102B5C0B-AD36-B532-D032-9E7B12DBCA57}"/>
                </a:ext>
              </a:extLst>
            </p:cNvPr>
            <p:cNvSpPr>
              <a:spLocks noChangeArrowheads="1"/>
            </p:cNvSpPr>
            <p:nvPr/>
          </p:nvSpPr>
          <p:spPr bwMode="auto">
            <a:xfrm>
              <a:off x="578" y="1741"/>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4" name="Rectangle 50">
              <a:extLst>
                <a:ext uri="{FF2B5EF4-FFF2-40B4-BE49-F238E27FC236}">
                  <a16:creationId xmlns:a16="http://schemas.microsoft.com/office/drawing/2014/main" xmlns="" id="{84CC133E-B0E8-3AC2-927A-F736950FA9D7}"/>
                </a:ext>
              </a:extLst>
            </p:cNvPr>
            <p:cNvSpPr>
              <a:spLocks noChangeArrowheads="1"/>
            </p:cNvSpPr>
            <p:nvPr/>
          </p:nvSpPr>
          <p:spPr bwMode="auto">
            <a:xfrm>
              <a:off x="1220" y="1741"/>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5" name="Rectangle 51">
              <a:extLst>
                <a:ext uri="{FF2B5EF4-FFF2-40B4-BE49-F238E27FC236}">
                  <a16:creationId xmlns:a16="http://schemas.microsoft.com/office/drawing/2014/main" xmlns="" id="{A0159383-2456-666B-1D5A-0A3E5516FF7B}"/>
                </a:ext>
              </a:extLst>
            </p:cNvPr>
            <p:cNvSpPr>
              <a:spLocks noChangeArrowheads="1"/>
            </p:cNvSpPr>
            <p:nvPr/>
          </p:nvSpPr>
          <p:spPr bwMode="auto">
            <a:xfrm>
              <a:off x="3057" y="1741"/>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6" name="Rectangle 52">
              <a:extLst>
                <a:ext uri="{FF2B5EF4-FFF2-40B4-BE49-F238E27FC236}">
                  <a16:creationId xmlns:a16="http://schemas.microsoft.com/office/drawing/2014/main" xmlns="" id="{ECD20FCE-DCCA-F86E-058D-B363164311C4}"/>
                </a:ext>
              </a:extLst>
            </p:cNvPr>
            <p:cNvSpPr>
              <a:spLocks noChangeArrowheads="1"/>
            </p:cNvSpPr>
            <p:nvPr/>
          </p:nvSpPr>
          <p:spPr bwMode="auto">
            <a:xfrm>
              <a:off x="4296" y="1741"/>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7" name="Rectangle 53">
              <a:extLst>
                <a:ext uri="{FF2B5EF4-FFF2-40B4-BE49-F238E27FC236}">
                  <a16:creationId xmlns:a16="http://schemas.microsoft.com/office/drawing/2014/main" xmlns="" id="{C7386CAE-2778-FF56-17DA-E0A08433070F}"/>
                </a:ext>
              </a:extLst>
            </p:cNvPr>
            <p:cNvSpPr>
              <a:spLocks noChangeArrowheads="1"/>
            </p:cNvSpPr>
            <p:nvPr/>
          </p:nvSpPr>
          <p:spPr bwMode="auto">
            <a:xfrm>
              <a:off x="5453" y="1741"/>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58" name="Rectangle 54">
              <a:extLst>
                <a:ext uri="{FF2B5EF4-FFF2-40B4-BE49-F238E27FC236}">
                  <a16:creationId xmlns:a16="http://schemas.microsoft.com/office/drawing/2014/main" xmlns="" id="{C52B4B6A-C4CA-101E-FEA4-C449218B9A0A}"/>
                </a:ext>
              </a:extLst>
            </p:cNvPr>
            <p:cNvSpPr>
              <a:spLocks noChangeArrowheads="1"/>
            </p:cNvSpPr>
            <p:nvPr/>
          </p:nvSpPr>
          <p:spPr bwMode="auto">
            <a:xfrm>
              <a:off x="644" y="1943"/>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9" name="Rectangle 55">
              <a:extLst>
                <a:ext uri="{FF2B5EF4-FFF2-40B4-BE49-F238E27FC236}">
                  <a16:creationId xmlns:a16="http://schemas.microsoft.com/office/drawing/2014/main" xmlns="" id="{B76E04E0-A66B-8138-6B0F-287FD0C1FD21}"/>
                </a:ext>
              </a:extLst>
            </p:cNvPr>
            <p:cNvSpPr>
              <a:spLocks noChangeArrowheads="1"/>
            </p:cNvSpPr>
            <p:nvPr/>
          </p:nvSpPr>
          <p:spPr bwMode="auto">
            <a:xfrm>
              <a:off x="1286" y="1943"/>
              <a:ext cx="1277"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Between 75% and 9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0" name="Rectangle 56">
              <a:extLst>
                <a:ext uri="{FF2B5EF4-FFF2-40B4-BE49-F238E27FC236}">
                  <a16:creationId xmlns:a16="http://schemas.microsoft.com/office/drawing/2014/main" xmlns="" id="{BBD08F6F-2315-715E-3CF2-49A81AB7F740}"/>
                </a:ext>
              </a:extLst>
            </p:cNvPr>
            <p:cNvSpPr>
              <a:spLocks noChangeArrowheads="1"/>
            </p:cNvSpPr>
            <p:nvPr/>
          </p:nvSpPr>
          <p:spPr bwMode="auto">
            <a:xfrm>
              <a:off x="2497" y="1943"/>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1" name="Rectangle 57">
              <a:extLst>
                <a:ext uri="{FF2B5EF4-FFF2-40B4-BE49-F238E27FC236}">
                  <a16:creationId xmlns:a16="http://schemas.microsoft.com/office/drawing/2014/main" xmlns="" id="{22E77882-67FE-9101-DF07-200240D77B7F}"/>
                </a:ext>
              </a:extLst>
            </p:cNvPr>
            <p:cNvSpPr>
              <a:spLocks noChangeArrowheads="1"/>
            </p:cNvSpPr>
            <p:nvPr/>
          </p:nvSpPr>
          <p:spPr bwMode="auto">
            <a:xfrm>
              <a:off x="3647" y="1943"/>
              <a:ext cx="117"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9</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2" name="Rectangle 58">
              <a:extLst>
                <a:ext uri="{FF2B5EF4-FFF2-40B4-BE49-F238E27FC236}">
                  <a16:creationId xmlns:a16="http://schemas.microsoft.com/office/drawing/2014/main" xmlns="" id="{4C82D2E6-EFA3-2875-A656-F42EC6EDB1C4}"/>
                </a:ext>
              </a:extLst>
            </p:cNvPr>
            <p:cNvSpPr>
              <a:spLocks noChangeArrowheads="1"/>
            </p:cNvSpPr>
            <p:nvPr/>
          </p:nvSpPr>
          <p:spPr bwMode="auto">
            <a:xfrm>
              <a:off x="3712" y="1943"/>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Rectangle 59">
              <a:extLst>
                <a:ext uri="{FF2B5EF4-FFF2-40B4-BE49-F238E27FC236}">
                  <a16:creationId xmlns:a16="http://schemas.microsoft.com/office/drawing/2014/main" xmlns="" id="{BE1B31D1-0BC2-37CC-B32F-887FB306911B}"/>
                </a:ext>
              </a:extLst>
            </p:cNvPr>
            <p:cNvSpPr>
              <a:spLocks noChangeArrowheads="1"/>
            </p:cNvSpPr>
            <p:nvPr/>
          </p:nvSpPr>
          <p:spPr bwMode="auto">
            <a:xfrm>
              <a:off x="4761" y="1943"/>
              <a:ext cx="226"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a:solidFill>
                    <a:srgbClr val="000000"/>
                  </a:solidFill>
                </a:rPr>
                <a:t>33%</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Rectangle 60">
              <a:extLst>
                <a:ext uri="{FF2B5EF4-FFF2-40B4-BE49-F238E27FC236}">
                  <a16:creationId xmlns:a16="http://schemas.microsoft.com/office/drawing/2014/main" xmlns="" id="{50EFE39C-6B2E-8848-6D59-050C16C5CFF2}"/>
                </a:ext>
              </a:extLst>
            </p:cNvPr>
            <p:cNvSpPr>
              <a:spLocks noChangeArrowheads="1"/>
            </p:cNvSpPr>
            <p:nvPr/>
          </p:nvSpPr>
          <p:spPr bwMode="auto">
            <a:xfrm>
              <a:off x="4755" y="1943"/>
              <a:ext cx="250" cy="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6" name="Rectangle 62">
              <a:extLst>
                <a:ext uri="{FF2B5EF4-FFF2-40B4-BE49-F238E27FC236}">
                  <a16:creationId xmlns:a16="http://schemas.microsoft.com/office/drawing/2014/main" xmlns="" id="{9B60FDA5-8B1A-9196-9C26-800F809BC610}"/>
                </a:ext>
              </a:extLst>
            </p:cNvPr>
            <p:cNvSpPr>
              <a:spLocks noChangeArrowheads="1"/>
            </p:cNvSpPr>
            <p:nvPr/>
          </p:nvSpPr>
          <p:spPr bwMode="auto">
            <a:xfrm>
              <a:off x="4994" y="1943"/>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7" name="Rectangle 63">
              <a:extLst>
                <a:ext uri="{FF2B5EF4-FFF2-40B4-BE49-F238E27FC236}">
                  <a16:creationId xmlns:a16="http://schemas.microsoft.com/office/drawing/2014/main" xmlns="" id="{16936DD3-B99D-3233-EF61-26C3B91BE729}"/>
                </a:ext>
              </a:extLst>
            </p:cNvPr>
            <p:cNvSpPr>
              <a:spLocks noChangeArrowheads="1"/>
            </p:cNvSpPr>
            <p:nvPr/>
          </p:nvSpPr>
          <p:spPr bwMode="auto">
            <a:xfrm>
              <a:off x="578" y="1932"/>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68" name="Rectangle 64">
              <a:extLst>
                <a:ext uri="{FF2B5EF4-FFF2-40B4-BE49-F238E27FC236}">
                  <a16:creationId xmlns:a16="http://schemas.microsoft.com/office/drawing/2014/main" xmlns="" id="{63F2ACF6-66F2-37EB-0B1E-1A21D16CBBA2}"/>
                </a:ext>
              </a:extLst>
            </p:cNvPr>
            <p:cNvSpPr>
              <a:spLocks noChangeArrowheads="1"/>
            </p:cNvSpPr>
            <p:nvPr/>
          </p:nvSpPr>
          <p:spPr bwMode="auto">
            <a:xfrm>
              <a:off x="584" y="1932"/>
              <a:ext cx="63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69" name="Rectangle 65">
              <a:extLst>
                <a:ext uri="{FF2B5EF4-FFF2-40B4-BE49-F238E27FC236}">
                  <a16:creationId xmlns:a16="http://schemas.microsoft.com/office/drawing/2014/main" xmlns="" id="{12888888-0524-62E5-B890-6F68D964D5E4}"/>
                </a:ext>
              </a:extLst>
            </p:cNvPr>
            <p:cNvSpPr>
              <a:spLocks noChangeArrowheads="1"/>
            </p:cNvSpPr>
            <p:nvPr/>
          </p:nvSpPr>
          <p:spPr bwMode="auto">
            <a:xfrm>
              <a:off x="1220" y="1932"/>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0" name="Rectangle 66">
              <a:extLst>
                <a:ext uri="{FF2B5EF4-FFF2-40B4-BE49-F238E27FC236}">
                  <a16:creationId xmlns:a16="http://schemas.microsoft.com/office/drawing/2014/main" xmlns="" id="{3A8C53BE-5255-8A3D-C077-72B0ED41DCBB}"/>
                </a:ext>
              </a:extLst>
            </p:cNvPr>
            <p:cNvSpPr>
              <a:spLocks noChangeArrowheads="1"/>
            </p:cNvSpPr>
            <p:nvPr/>
          </p:nvSpPr>
          <p:spPr bwMode="auto">
            <a:xfrm>
              <a:off x="1226" y="1932"/>
              <a:ext cx="1831"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1" name="Rectangle 67">
              <a:extLst>
                <a:ext uri="{FF2B5EF4-FFF2-40B4-BE49-F238E27FC236}">
                  <a16:creationId xmlns:a16="http://schemas.microsoft.com/office/drawing/2014/main" xmlns="" id="{F4DF742F-BF20-0AD5-20E2-AEC1E926A7C4}"/>
                </a:ext>
              </a:extLst>
            </p:cNvPr>
            <p:cNvSpPr>
              <a:spLocks noChangeArrowheads="1"/>
            </p:cNvSpPr>
            <p:nvPr/>
          </p:nvSpPr>
          <p:spPr bwMode="auto">
            <a:xfrm>
              <a:off x="3057" y="1932"/>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2" name="Rectangle 68">
              <a:extLst>
                <a:ext uri="{FF2B5EF4-FFF2-40B4-BE49-F238E27FC236}">
                  <a16:creationId xmlns:a16="http://schemas.microsoft.com/office/drawing/2014/main" xmlns="" id="{B1719159-E9F9-C07E-90A8-3924BB801648}"/>
                </a:ext>
              </a:extLst>
            </p:cNvPr>
            <p:cNvSpPr>
              <a:spLocks noChangeArrowheads="1"/>
            </p:cNvSpPr>
            <p:nvPr/>
          </p:nvSpPr>
          <p:spPr bwMode="auto">
            <a:xfrm>
              <a:off x="3063" y="1932"/>
              <a:ext cx="1233"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3" name="Rectangle 69">
              <a:extLst>
                <a:ext uri="{FF2B5EF4-FFF2-40B4-BE49-F238E27FC236}">
                  <a16:creationId xmlns:a16="http://schemas.microsoft.com/office/drawing/2014/main" xmlns="" id="{E261B77B-415D-FD4D-F5E7-72BDDFA5F8DC}"/>
                </a:ext>
              </a:extLst>
            </p:cNvPr>
            <p:cNvSpPr>
              <a:spLocks noChangeArrowheads="1"/>
            </p:cNvSpPr>
            <p:nvPr/>
          </p:nvSpPr>
          <p:spPr bwMode="auto">
            <a:xfrm>
              <a:off x="4296" y="1932"/>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4" name="Rectangle 70">
              <a:extLst>
                <a:ext uri="{FF2B5EF4-FFF2-40B4-BE49-F238E27FC236}">
                  <a16:creationId xmlns:a16="http://schemas.microsoft.com/office/drawing/2014/main" xmlns="" id="{B70F5ED2-13BE-1D08-F417-4EFD29F88003}"/>
                </a:ext>
              </a:extLst>
            </p:cNvPr>
            <p:cNvSpPr>
              <a:spLocks noChangeArrowheads="1"/>
            </p:cNvSpPr>
            <p:nvPr/>
          </p:nvSpPr>
          <p:spPr bwMode="auto">
            <a:xfrm>
              <a:off x="4302" y="1932"/>
              <a:ext cx="1151"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5" name="Rectangle 71">
              <a:extLst>
                <a:ext uri="{FF2B5EF4-FFF2-40B4-BE49-F238E27FC236}">
                  <a16:creationId xmlns:a16="http://schemas.microsoft.com/office/drawing/2014/main" xmlns="" id="{C3381867-63E0-9C64-C6A5-A582B458D0C9}"/>
                </a:ext>
              </a:extLst>
            </p:cNvPr>
            <p:cNvSpPr>
              <a:spLocks noChangeArrowheads="1"/>
            </p:cNvSpPr>
            <p:nvPr/>
          </p:nvSpPr>
          <p:spPr bwMode="auto">
            <a:xfrm>
              <a:off x="5453" y="1932"/>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6" name="Rectangle 72">
              <a:extLst>
                <a:ext uri="{FF2B5EF4-FFF2-40B4-BE49-F238E27FC236}">
                  <a16:creationId xmlns:a16="http://schemas.microsoft.com/office/drawing/2014/main" xmlns="" id="{97960D8D-CC27-CBC7-3224-026D418E95CD}"/>
                </a:ext>
              </a:extLst>
            </p:cNvPr>
            <p:cNvSpPr>
              <a:spLocks noChangeArrowheads="1"/>
            </p:cNvSpPr>
            <p:nvPr/>
          </p:nvSpPr>
          <p:spPr bwMode="auto">
            <a:xfrm>
              <a:off x="578" y="1938"/>
              <a:ext cx="6" cy="189"/>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7" name="Rectangle 73">
              <a:extLst>
                <a:ext uri="{FF2B5EF4-FFF2-40B4-BE49-F238E27FC236}">
                  <a16:creationId xmlns:a16="http://schemas.microsoft.com/office/drawing/2014/main" xmlns="" id="{9EC886E2-9F58-1188-6690-84213638A8B4}"/>
                </a:ext>
              </a:extLst>
            </p:cNvPr>
            <p:cNvSpPr>
              <a:spLocks noChangeArrowheads="1"/>
            </p:cNvSpPr>
            <p:nvPr/>
          </p:nvSpPr>
          <p:spPr bwMode="auto">
            <a:xfrm>
              <a:off x="1220" y="1938"/>
              <a:ext cx="6" cy="189"/>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8" name="Rectangle 74">
              <a:extLst>
                <a:ext uri="{FF2B5EF4-FFF2-40B4-BE49-F238E27FC236}">
                  <a16:creationId xmlns:a16="http://schemas.microsoft.com/office/drawing/2014/main" xmlns="" id="{0A9EA691-63A9-B240-4027-9D8E2FB83870}"/>
                </a:ext>
              </a:extLst>
            </p:cNvPr>
            <p:cNvSpPr>
              <a:spLocks noChangeArrowheads="1"/>
            </p:cNvSpPr>
            <p:nvPr/>
          </p:nvSpPr>
          <p:spPr bwMode="auto">
            <a:xfrm>
              <a:off x="3057" y="1938"/>
              <a:ext cx="6" cy="189"/>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79" name="Rectangle 75">
              <a:extLst>
                <a:ext uri="{FF2B5EF4-FFF2-40B4-BE49-F238E27FC236}">
                  <a16:creationId xmlns:a16="http://schemas.microsoft.com/office/drawing/2014/main" xmlns="" id="{AD86D021-9288-DD1A-C064-E09859C3C288}"/>
                </a:ext>
              </a:extLst>
            </p:cNvPr>
            <p:cNvSpPr>
              <a:spLocks noChangeArrowheads="1"/>
            </p:cNvSpPr>
            <p:nvPr/>
          </p:nvSpPr>
          <p:spPr bwMode="auto">
            <a:xfrm>
              <a:off x="4296" y="1938"/>
              <a:ext cx="6" cy="189"/>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80" name="Rectangle 76">
              <a:extLst>
                <a:ext uri="{FF2B5EF4-FFF2-40B4-BE49-F238E27FC236}">
                  <a16:creationId xmlns:a16="http://schemas.microsoft.com/office/drawing/2014/main" xmlns="" id="{77194400-DFE0-B7A4-9ABA-869D1370C8D3}"/>
                </a:ext>
              </a:extLst>
            </p:cNvPr>
            <p:cNvSpPr>
              <a:spLocks noChangeArrowheads="1"/>
            </p:cNvSpPr>
            <p:nvPr/>
          </p:nvSpPr>
          <p:spPr bwMode="auto">
            <a:xfrm>
              <a:off x="5453" y="1938"/>
              <a:ext cx="6" cy="189"/>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81" name="Rectangle 77">
              <a:extLst>
                <a:ext uri="{FF2B5EF4-FFF2-40B4-BE49-F238E27FC236}">
                  <a16:creationId xmlns:a16="http://schemas.microsoft.com/office/drawing/2014/main" xmlns="" id="{EDD105E6-E3E7-61AE-C57F-B2DC02E604DF}"/>
                </a:ext>
              </a:extLst>
            </p:cNvPr>
            <p:cNvSpPr>
              <a:spLocks noChangeArrowheads="1"/>
            </p:cNvSpPr>
            <p:nvPr/>
          </p:nvSpPr>
          <p:spPr bwMode="auto">
            <a:xfrm>
              <a:off x="644" y="2140"/>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2" name="Rectangle 78">
              <a:extLst>
                <a:ext uri="{FF2B5EF4-FFF2-40B4-BE49-F238E27FC236}">
                  <a16:creationId xmlns:a16="http://schemas.microsoft.com/office/drawing/2014/main" xmlns="" id="{84947D38-D676-9A28-E39C-108C384B6F42}"/>
                </a:ext>
              </a:extLst>
            </p:cNvPr>
            <p:cNvSpPr>
              <a:spLocks noChangeArrowheads="1"/>
            </p:cNvSpPr>
            <p:nvPr/>
          </p:nvSpPr>
          <p:spPr bwMode="auto">
            <a:xfrm>
              <a:off x="1286" y="2140"/>
              <a:ext cx="67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Below 75%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3" name="Rectangle 79">
              <a:extLst>
                <a:ext uri="{FF2B5EF4-FFF2-40B4-BE49-F238E27FC236}">
                  <a16:creationId xmlns:a16="http://schemas.microsoft.com/office/drawing/2014/main" xmlns="" id="{D60170C2-4387-77E2-D09E-841648819E3F}"/>
                </a:ext>
              </a:extLst>
            </p:cNvPr>
            <p:cNvSpPr>
              <a:spLocks noChangeArrowheads="1"/>
            </p:cNvSpPr>
            <p:nvPr/>
          </p:nvSpPr>
          <p:spPr bwMode="auto">
            <a:xfrm>
              <a:off x="1902" y="2140"/>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4" name="Rectangle 80">
              <a:extLst>
                <a:ext uri="{FF2B5EF4-FFF2-40B4-BE49-F238E27FC236}">
                  <a16:creationId xmlns:a16="http://schemas.microsoft.com/office/drawing/2014/main" xmlns="" id="{B94E74BB-D7BD-D3D4-FEB6-F67358D81CF0}"/>
                </a:ext>
              </a:extLst>
            </p:cNvPr>
            <p:cNvSpPr>
              <a:spLocks noChangeArrowheads="1"/>
            </p:cNvSpPr>
            <p:nvPr/>
          </p:nvSpPr>
          <p:spPr bwMode="auto">
            <a:xfrm>
              <a:off x="3647" y="2140"/>
              <a:ext cx="117"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5" name="Rectangle 81">
              <a:extLst>
                <a:ext uri="{FF2B5EF4-FFF2-40B4-BE49-F238E27FC236}">
                  <a16:creationId xmlns:a16="http://schemas.microsoft.com/office/drawing/2014/main" xmlns="" id="{ECEC474B-01E6-96BB-9936-A08A525E429A}"/>
                </a:ext>
              </a:extLst>
            </p:cNvPr>
            <p:cNvSpPr>
              <a:spLocks noChangeArrowheads="1"/>
            </p:cNvSpPr>
            <p:nvPr/>
          </p:nvSpPr>
          <p:spPr bwMode="auto">
            <a:xfrm>
              <a:off x="3712" y="2140"/>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6" name="Rectangle 82">
              <a:extLst>
                <a:ext uri="{FF2B5EF4-FFF2-40B4-BE49-F238E27FC236}">
                  <a16:creationId xmlns:a16="http://schemas.microsoft.com/office/drawing/2014/main" xmlns="" id="{37702499-940C-938C-5A7C-AF96457BEC3F}"/>
                </a:ext>
              </a:extLst>
            </p:cNvPr>
            <p:cNvSpPr>
              <a:spLocks noChangeArrowheads="1"/>
            </p:cNvSpPr>
            <p:nvPr/>
          </p:nvSpPr>
          <p:spPr bwMode="auto">
            <a:xfrm>
              <a:off x="4761" y="2140"/>
              <a:ext cx="226"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a:solidFill>
                    <a:srgbClr val="000000"/>
                  </a:solidFill>
                </a:rPr>
                <a:t>26</a:t>
              </a:r>
              <a:r>
                <a:rPr kumimoji="0" lang="en-US" altLang="en-US" sz="1400" b="0" i="0" u="none" strike="noStrike" cap="none" normalizeH="0" baseline="0">
                  <a:ln>
                    <a:noFill/>
                  </a:ln>
                  <a:solidFill>
                    <a:srgbClr val="000000"/>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7" name="Rectangle 83">
              <a:extLst>
                <a:ext uri="{FF2B5EF4-FFF2-40B4-BE49-F238E27FC236}">
                  <a16:creationId xmlns:a16="http://schemas.microsoft.com/office/drawing/2014/main" xmlns="" id="{D17511C8-F1BA-04A0-8EB6-94376A8427B6}"/>
                </a:ext>
              </a:extLst>
            </p:cNvPr>
            <p:cNvSpPr>
              <a:spLocks noChangeArrowheads="1"/>
            </p:cNvSpPr>
            <p:nvPr/>
          </p:nvSpPr>
          <p:spPr bwMode="auto">
            <a:xfrm>
              <a:off x="4994" y="2140"/>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8" name="Rectangle 84">
              <a:extLst>
                <a:ext uri="{FF2B5EF4-FFF2-40B4-BE49-F238E27FC236}">
                  <a16:creationId xmlns:a16="http://schemas.microsoft.com/office/drawing/2014/main" xmlns="" id="{5253ADFC-20FC-FC37-9816-55CB90904C1C}"/>
                </a:ext>
              </a:extLst>
            </p:cNvPr>
            <p:cNvSpPr>
              <a:spLocks noChangeArrowheads="1"/>
            </p:cNvSpPr>
            <p:nvPr/>
          </p:nvSpPr>
          <p:spPr bwMode="auto">
            <a:xfrm>
              <a:off x="578" y="2127"/>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89" name="Rectangle 85">
              <a:extLst>
                <a:ext uri="{FF2B5EF4-FFF2-40B4-BE49-F238E27FC236}">
                  <a16:creationId xmlns:a16="http://schemas.microsoft.com/office/drawing/2014/main" xmlns="" id="{5707664C-6099-59E3-9BDC-ABE66147F029}"/>
                </a:ext>
              </a:extLst>
            </p:cNvPr>
            <p:cNvSpPr>
              <a:spLocks noChangeArrowheads="1"/>
            </p:cNvSpPr>
            <p:nvPr/>
          </p:nvSpPr>
          <p:spPr bwMode="auto">
            <a:xfrm>
              <a:off x="584" y="2127"/>
              <a:ext cx="63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0" name="Rectangle 86">
              <a:extLst>
                <a:ext uri="{FF2B5EF4-FFF2-40B4-BE49-F238E27FC236}">
                  <a16:creationId xmlns:a16="http://schemas.microsoft.com/office/drawing/2014/main" xmlns="" id="{A315F6C5-FC99-A07E-1F2E-B943DA12E795}"/>
                </a:ext>
              </a:extLst>
            </p:cNvPr>
            <p:cNvSpPr>
              <a:spLocks noChangeArrowheads="1"/>
            </p:cNvSpPr>
            <p:nvPr/>
          </p:nvSpPr>
          <p:spPr bwMode="auto">
            <a:xfrm>
              <a:off x="1220" y="2127"/>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1" name="Rectangle 87">
              <a:extLst>
                <a:ext uri="{FF2B5EF4-FFF2-40B4-BE49-F238E27FC236}">
                  <a16:creationId xmlns:a16="http://schemas.microsoft.com/office/drawing/2014/main" xmlns="" id="{993779F5-762B-33F2-006D-483AE4BF177A}"/>
                </a:ext>
              </a:extLst>
            </p:cNvPr>
            <p:cNvSpPr>
              <a:spLocks noChangeArrowheads="1"/>
            </p:cNvSpPr>
            <p:nvPr/>
          </p:nvSpPr>
          <p:spPr bwMode="auto">
            <a:xfrm>
              <a:off x="1226" y="2127"/>
              <a:ext cx="1831"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2" name="Rectangle 88">
              <a:extLst>
                <a:ext uri="{FF2B5EF4-FFF2-40B4-BE49-F238E27FC236}">
                  <a16:creationId xmlns:a16="http://schemas.microsoft.com/office/drawing/2014/main" xmlns="" id="{77B8606F-7DEF-25DF-CE19-A5980A39AA1F}"/>
                </a:ext>
              </a:extLst>
            </p:cNvPr>
            <p:cNvSpPr>
              <a:spLocks noChangeArrowheads="1"/>
            </p:cNvSpPr>
            <p:nvPr/>
          </p:nvSpPr>
          <p:spPr bwMode="auto">
            <a:xfrm>
              <a:off x="3057" y="2127"/>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3" name="Rectangle 89">
              <a:extLst>
                <a:ext uri="{FF2B5EF4-FFF2-40B4-BE49-F238E27FC236}">
                  <a16:creationId xmlns:a16="http://schemas.microsoft.com/office/drawing/2014/main" xmlns="" id="{C1341934-42D1-0848-262C-FFDB84600F84}"/>
                </a:ext>
              </a:extLst>
            </p:cNvPr>
            <p:cNvSpPr>
              <a:spLocks noChangeArrowheads="1"/>
            </p:cNvSpPr>
            <p:nvPr/>
          </p:nvSpPr>
          <p:spPr bwMode="auto">
            <a:xfrm>
              <a:off x="3063" y="2127"/>
              <a:ext cx="1233"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4" name="Rectangle 90">
              <a:extLst>
                <a:ext uri="{FF2B5EF4-FFF2-40B4-BE49-F238E27FC236}">
                  <a16:creationId xmlns:a16="http://schemas.microsoft.com/office/drawing/2014/main" xmlns="" id="{C308E029-D1F5-3C39-D050-43C96EFCBAF4}"/>
                </a:ext>
              </a:extLst>
            </p:cNvPr>
            <p:cNvSpPr>
              <a:spLocks noChangeArrowheads="1"/>
            </p:cNvSpPr>
            <p:nvPr/>
          </p:nvSpPr>
          <p:spPr bwMode="auto">
            <a:xfrm>
              <a:off x="4296" y="2127"/>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5" name="Rectangle 91">
              <a:extLst>
                <a:ext uri="{FF2B5EF4-FFF2-40B4-BE49-F238E27FC236}">
                  <a16:creationId xmlns:a16="http://schemas.microsoft.com/office/drawing/2014/main" xmlns="" id="{51B2DBC8-B46E-4193-1990-470BE3876A1C}"/>
                </a:ext>
              </a:extLst>
            </p:cNvPr>
            <p:cNvSpPr>
              <a:spLocks noChangeArrowheads="1"/>
            </p:cNvSpPr>
            <p:nvPr/>
          </p:nvSpPr>
          <p:spPr bwMode="auto">
            <a:xfrm>
              <a:off x="4302" y="2127"/>
              <a:ext cx="1151"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6" name="Rectangle 92">
              <a:extLst>
                <a:ext uri="{FF2B5EF4-FFF2-40B4-BE49-F238E27FC236}">
                  <a16:creationId xmlns:a16="http://schemas.microsoft.com/office/drawing/2014/main" xmlns="" id="{A280ED57-86EC-4569-447C-03E85C65219F}"/>
                </a:ext>
              </a:extLst>
            </p:cNvPr>
            <p:cNvSpPr>
              <a:spLocks noChangeArrowheads="1"/>
            </p:cNvSpPr>
            <p:nvPr/>
          </p:nvSpPr>
          <p:spPr bwMode="auto">
            <a:xfrm>
              <a:off x="5453" y="2127"/>
              <a:ext cx="6" cy="6"/>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7" name="Rectangle 93">
              <a:extLst>
                <a:ext uri="{FF2B5EF4-FFF2-40B4-BE49-F238E27FC236}">
                  <a16:creationId xmlns:a16="http://schemas.microsoft.com/office/drawing/2014/main" xmlns="" id="{EC9527ED-CE0A-0849-2A1E-9CF7E33A3F7F}"/>
                </a:ext>
              </a:extLst>
            </p:cNvPr>
            <p:cNvSpPr>
              <a:spLocks noChangeArrowheads="1"/>
            </p:cNvSpPr>
            <p:nvPr/>
          </p:nvSpPr>
          <p:spPr bwMode="auto">
            <a:xfrm>
              <a:off x="578" y="2133"/>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8" name="Rectangle 94">
              <a:extLst>
                <a:ext uri="{FF2B5EF4-FFF2-40B4-BE49-F238E27FC236}">
                  <a16:creationId xmlns:a16="http://schemas.microsoft.com/office/drawing/2014/main" xmlns="" id="{8754641D-3687-D0B0-7AD0-91DD8946F742}"/>
                </a:ext>
              </a:extLst>
            </p:cNvPr>
            <p:cNvSpPr>
              <a:spLocks noChangeArrowheads="1"/>
            </p:cNvSpPr>
            <p:nvPr/>
          </p:nvSpPr>
          <p:spPr bwMode="auto">
            <a:xfrm>
              <a:off x="1220" y="2133"/>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99" name="Rectangle 95">
              <a:extLst>
                <a:ext uri="{FF2B5EF4-FFF2-40B4-BE49-F238E27FC236}">
                  <a16:creationId xmlns:a16="http://schemas.microsoft.com/office/drawing/2014/main" xmlns="" id="{3682173F-263C-972B-B297-78BD7164DBA8}"/>
                </a:ext>
              </a:extLst>
            </p:cNvPr>
            <p:cNvSpPr>
              <a:spLocks noChangeArrowheads="1"/>
            </p:cNvSpPr>
            <p:nvPr/>
          </p:nvSpPr>
          <p:spPr bwMode="auto">
            <a:xfrm>
              <a:off x="3057" y="2133"/>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00" name="Rectangle 96">
              <a:extLst>
                <a:ext uri="{FF2B5EF4-FFF2-40B4-BE49-F238E27FC236}">
                  <a16:creationId xmlns:a16="http://schemas.microsoft.com/office/drawing/2014/main" xmlns="" id="{2A630231-BFF8-7F5B-A71E-1AD3DD857A1B}"/>
                </a:ext>
              </a:extLst>
            </p:cNvPr>
            <p:cNvSpPr>
              <a:spLocks noChangeArrowheads="1"/>
            </p:cNvSpPr>
            <p:nvPr/>
          </p:nvSpPr>
          <p:spPr bwMode="auto">
            <a:xfrm>
              <a:off x="4296" y="2133"/>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01" name="Rectangle 97">
              <a:extLst>
                <a:ext uri="{FF2B5EF4-FFF2-40B4-BE49-F238E27FC236}">
                  <a16:creationId xmlns:a16="http://schemas.microsoft.com/office/drawing/2014/main" xmlns="" id="{39D43286-2241-8717-AE31-61160F1ADABD}"/>
                </a:ext>
              </a:extLst>
            </p:cNvPr>
            <p:cNvSpPr>
              <a:spLocks noChangeArrowheads="1"/>
            </p:cNvSpPr>
            <p:nvPr/>
          </p:nvSpPr>
          <p:spPr bwMode="auto">
            <a:xfrm>
              <a:off x="5453" y="2133"/>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02" name="Rectangle 98">
              <a:extLst>
                <a:ext uri="{FF2B5EF4-FFF2-40B4-BE49-F238E27FC236}">
                  <a16:creationId xmlns:a16="http://schemas.microsoft.com/office/drawing/2014/main" xmlns="" id="{1D0ED82D-43AE-45A4-5198-6403DBEA64E6}"/>
                </a:ext>
              </a:extLst>
            </p:cNvPr>
            <p:cNvSpPr>
              <a:spLocks noChangeArrowheads="1"/>
            </p:cNvSpPr>
            <p:nvPr/>
          </p:nvSpPr>
          <p:spPr bwMode="auto">
            <a:xfrm>
              <a:off x="644" y="2336"/>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161616"/>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Rectangle 101">
              <a:extLst>
                <a:ext uri="{FF2B5EF4-FFF2-40B4-BE49-F238E27FC236}">
                  <a16:creationId xmlns:a16="http://schemas.microsoft.com/office/drawing/2014/main" xmlns="" id="{4B0F80B4-42BC-2629-EA60-0E3C82A1A5C2}"/>
                </a:ext>
              </a:extLst>
            </p:cNvPr>
            <p:cNvSpPr>
              <a:spLocks noChangeArrowheads="1"/>
            </p:cNvSpPr>
            <p:nvPr/>
          </p:nvSpPr>
          <p:spPr bwMode="auto">
            <a:xfrm>
              <a:off x="3614" y="2336"/>
              <a:ext cx="0" cy="1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Rectangle 102">
              <a:extLst>
                <a:ext uri="{FF2B5EF4-FFF2-40B4-BE49-F238E27FC236}">
                  <a16:creationId xmlns:a16="http://schemas.microsoft.com/office/drawing/2014/main" xmlns="" id="{05446F6F-FFC9-072C-DBBA-FF37A92A2A23}"/>
                </a:ext>
              </a:extLst>
            </p:cNvPr>
            <p:cNvSpPr>
              <a:spLocks noChangeArrowheads="1"/>
            </p:cNvSpPr>
            <p:nvPr/>
          </p:nvSpPr>
          <p:spPr bwMode="auto">
            <a:xfrm>
              <a:off x="3601" y="2374"/>
              <a:ext cx="157"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1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Rectangle 103">
              <a:extLst>
                <a:ext uri="{FF2B5EF4-FFF2-40B4-BE49-F238E27FC236}">
                  <a16:creationId xmlns:a16="http://schemas.microsoft.com/office/drawing/2014/main" xmlns="" id="{CAE35E0E-01F4-8739-3534-4A77262E0B0C}"/>
                </a:ext>
              </a:extLst>
            </p:cNvPr>
            <p:cNvSpPr>
              <a:spLocks noChangeArrowheads="1"/>
            </p:cNvSpPr>
            <p:nvPr/>
          </p:nvSpPr>
          <p:spPr bwMode="auto">
            <a:xfrm>
              <a:off x="4761" y="2336"/>
              <a:ext cx="0" cy="1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 name="Rectangle 105">
              <a:extLst>
                <a:ext uri="{FF2B5EF4-FFF2-40B4-BE49-F238E27FC236}">
                  <a16:creationId xmlns:a16="http://schemas.microsoft.com/office/drawing/2014/main" xmlns="" id="{BBE8ECC7-A260-6466-1336-DF92394504DB}"/>
                </a:ext>
              </a:extLst>
            </p:cNvPr>
            <p:cNvSpPr>
              <a:spLocks noChangeArrowheads="1"/>
            </p:cNvSpPr>
            <p:nvPr/>
          </p:nvSpPr>
          <p:spPr bwMode="auto">
            <a:xfrm>
              <a:off x="4889" y="2336"/>
              <a:ext cx="0" cy="1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1" name="Rectangle 107">
              <a:extLst>
                <a:ext uri="{FF2B5EF4-FFF2-40B4-BE49-F238E27FC236}">
                  <a16:creationId xmlns:a16="http://schemas.microsoft.com/office/drawing/2014/main" xmlns="" id="{E533175A-E037-19E4-54A1-018BFFB41DEB}"/>
                </a:ext>
              </a:extLst>
            </p:cNvPr>
            <p:cNvSpPr>
              <a:spLocks noChangeArrowheads="1"/>
            </p:cNvSpPr>
            <p:nvPr/>
          </p:nvSpPr>
          <p:spPr bwMode="auto">
            <a:xfrm>
              <a:off x="578" y="2324"/>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2" name="Rectangle 108">
              <a:extLst>
                <a:ext uri="{FF2B5EF4-FFF2-40B4-BE49-F238E27FC236}">
                  <a16:creationId xmlns:a16="http://schemas.microsoft.com/office/drawing/2014/main" xmlns="" id="{5E7D8051-BCF3-4C93-8EAB-7EFD398F96C6}"/>
                </a:ext>
              </a:extLst>
            </p:cNvPr>
            <p:cNvSpPr>
              <a:spLocks noChangeArrowheads="1"/>
            </p:cNvSpPr>
            <p:nvPr/>
          </p:nvSpPr>
          <p:spPr bwMode="auto">
            <a:xfrm>
              <a:off x="584" y="2324"/>
              <a:ext cx="63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3" name="Rectangle 109">
              <a:extLst>
                <a:ext uri="{FF2B5EF4-FFF2-40B4-BE49-F238E27FC236}">
                  <a16:creationId xmlns:a16="http://schemas.microsoft.com/office/drawing/2014/main" xmlns="" id="{ECEEA6ED-9E82-7513-7F74-61D1AAAD148E}"/>
                </a:ext>
              </a:extLst>
            </p:cNvPr>
            <p:cNvSpPr>
              <a:spLocks noChangeArrowheads="1"/>
            </p:cNvSpPr>
            <p:nvPr/>
          </p:nvSpPr>
          <p:spPr bwMode="auto">
            <a:xfrm>
              <a:off x="1220" y="2324"/>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4" name="Rectangle 110">
              <a:extLst>
                <a:ext uri="{FF2B5EF4-FFF2-40B4-BE49-F238E27FC236}">
                  <a16:creationId xmlns:a16="http://schemas.microsoft.com/office/drawing/2014/main" xmlns="" id="{FD47E926-5999-E562-EC6F-C97EE6FBA901}"/>
                </a:ext>
              </a:extLst>
            </p:cNvPr>
            <p:cNvSpPr>
              <a:spLocks noChangeArrowheads="1"/>
            </p:cNvSpPr>
            <p:nvPr/>
          </p:nvSpPr>
          <p:spPr bwMode="auto">
            <a:xfrm>
              <a:off x="1226" y="2324"/>
              <a:ext cx="183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5" name="Rectangle 111">
              <a:extLst>
                <a:ext uri="{FF2B5EF4-FFF2-40B4-BE49-F238E27FC236}">
                  <a16:creationId xmlns:a16="http://schemas.microsoft.com/office/drawing/2014/main" xmlns="" id="{1E9EA270-C206-0118-A93D-0777511E7713}"/>
                </a:ext>
              </a:extLst>
            </p:cNvPr>
            <p:cNvSpPr>
              <a:spLocks noChangeArrowheads="1"/>
            </p:cNvSpPr>
            <p:nvPr/>
          </p:nvSpPr>
          <p:spPr bwMode="auto">
            <a:xfrm>
              <a:off x="3057" y="2324"/>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6" name="Rectangle 112">
              <a:extLst>
                <a:ext uri="{FF2B5EF4-FFF2-40B4-BE49-F238E27FC236}">
                  <a16:creationId xmlns:a16="http://schemas.microsoft.com/office/drawing/2014/main" xmlns="" id="{B2A5E6CD-9398-B231-1692-C967A7ACF8BA}"/>
                </a:ext>
              </a:extLst>
            </p:cNvPr>
            <p:cNvSpPr>
              <a:spLocks noChangeArrowheads="1"/>
            </p:cNvSpPr>
            <p:nvPr/>
          </p:nvSpPr>
          <p:spPr bwMode="auto">
            <a:xfrm>
              <a:off x="3063" y="2324"/>
              <a:ext cx="1233"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7" name="Rectangle 113">
              <a:extLst>
                <a:ext uri="{FF2B5EF4-FFF2-40B4-BE49-F238E27FC236}">
                  <a16:creationId xmlns:a16="http://schemas.microsoft.com/office/drawing/2014/main" xmlns="" id="{6794C9EE-8BC6-FB0F-EE53-9B6DD9684D16}"/>
                </a:ext>
              </a:extLst>
            </p:cNvPr>
            <p:cNvSpPr>
              <a:spLocks noChangeArrowheads="1"/>
            </p:cNvSpPr>
            <p:nvPr/>
          </p:nvSpPr>
          <p:spPr bwMode="auto">
            <a:xfrm>
              <a:off x="4296" y="2324"/>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8" name="Rectangle 114">
              <a:extLst>
                <a:ext uri="{FF2B5EF4-FFF2-40B4-BE49-F238E27FC236}">
                  <a16:creationId xmlns:a16="http://schemas.microsoft.com/office/drawing/2014/main" xmlns="" id="{332BD200-B719-790F-B45E-3B456CEFC942}"/>
                </a:ext>
              </a:extLst>
            </p:cNvPr>
            <p:cNvSpPr>
              <a:spLocks noChangeArrowheads="1"/>
            </p:cNvSpPr>
            <p:nvPr/>
          </p:nvSpPr>
          <p:spPr bwMode="auto">
            <a:xfrm>
              <a:off x="4302" y="2324"/>
              <a:ext cx="115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19" name="Rectangle 115">
              <a:extLst>
                <a:ext uri="{FF2B5EF4-FFF2-40B4-BE49-F238E27FC236}">
                  <a16:creationId xmlns:a16="http://schemas.microsoft.com/office/drawing/2014/main" xmlns="" id="{FD220E2F-F4A0-F5AA-0F16-AEFF34FE654D}"/>
                </a:ext>
              </a:extLst>
            </p:cNvPr>
            <p:cNvSpPr>
              <a:spLocks noChangeArrowheads="1"/>
            </p:cNvSpPr>
            <p:nvPr/>
          </p:nvSpPr>
          <p:spPr bwMode="auto">
            <a:xfrm>
              <a:off x="5453" y="2324"/>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20" name="Rectangle 116">
              <a:extLst>
                <a:ext uri="{FF2B5EF4-FFF2-40B4-BE49-F238E27FC236}">
                  <a16:creationId xmlns:a16="http://schemas.microsoft.com/office/drawing/2014/main" xmlns="" id="{8A41ACDD-0F9F-7CA0-6EA8-E749A4759815}"/>
                </a:ext>
              </a:extLst>
            </p:cNvPr>
            <p:cNvSpPr>
              <a:spLocks noChangeArrowheads="1"/>
            </p:cNvSpPr>
            <p:nvPr/>
          </p:nvSpPr>
          <p:spPr bwMode="auto">
            <a:xfrm>
              <a:off x="578" y="2329"/>
              <a:ext cx="6" cy="19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21" name="Rectangle 117">
              <a:extLst>
                <a:ext uri="{FF2B5EF4-FFF2-40B4-BE49-F238E27FC236}">
                  <a16:creationId xmlns:a16="http://schemas.microsoft.com/office/drawing/2014/main" xmlns="" id="{6A642630-5580-B160-F0BF-A44874055BD3}"/>
                </a:ext>
              </a:extLst>
            </p:cNvPr>
            <p:cNvSpPr>
              <a:spLocks noChangeArrowheads="1"/>
            </p:cNvSpPr>
            <p:nvPr/>
          </p:nvSpPr>
          <p:spPr bwMode="auto">
            <a:xfrm>
              <a:off x="1220" y="2329"/>
              <a:ext cx="6" cy="19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22" name="Rectangle 118">
              <a:extLst>
                <a:ext uri="{FF2B5EF4-FFF2-40B4-BE49-F238E27FC236}">
                  <a16:creationId xmlns:a16="http://schemas.microsoft.com/office/drawing/2014/main" xmlns="" id="{515FED65-5D25-1364-85F7-8FB9D221AA7C}"/>
                </a:ext>
              </a:extLst>
            </p:cNvPr>
            <p:cNvSpPr>
              <a:spLocks noChangeArrowheads="1"/>
            </p:cNvSpPr>
            <p:nvPr/>
          </p:nvSpPr>
          <p:spPr bwMode="auto">
            <a:xfrm>
              <a:off x="3057" y="2329"/>
              <a:ext cx="6" cy="19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23" name="Rectangle 119">
              <a:extLst>
                <a:ext uri="{FF2B5EF4-FFF2-40B4-BE49-F238E27FC236}">
                  <a16:creationId xmlns:a16="http://schemas.microsoft.com/office/drawing/2014/main" xmlns="" id="{E40ADDF2-7471-785C-5949-9421AB8F0773}"/>
                </a:ext>
              </a:extLst>
            </p:cNvPr>
            <p:cNvSpPr>
              <a:spLocks noChangeArrowheads="1"/>
            </p:cNvSpPr>
            <p:nvPr/>
          </p:nvSpPr>
          <p:spPr bwMode="auto">
            <a:xfrm>
              <a:off x="4296" y="2329"/>
              <a:ext cx="6" cy="19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24" name="Rectangle 120">
              <a:extLst>
                <a:ext uri="{FF2B5EF4-FFF2-40B4-BE49-F238E27FC236}">
                  <a16:creationId xmlns:a16="http://schemas.microsoft.com/office/drawing/2014/main" xmlns="" id="{2321407F-FBBE-5C30-2B3B-45081305A9F4}"/>
                </a:ext>
              </a:extLst>
            </p:cNvPr>
            <p:cNvSpPr>
              <a:spLocks noChangeArrowheads="1"/>
            </p:cNvSpPr>
            <p:nvPr/>
          </p:nvSpPr>
          <p:spPr bwMode="auto">
            <a:xfrm>
              <a:off x="5453" y="2329"/>
              <a:ext cx="6" cy="192"/>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25" name="Rectangle 121">
              <a:extLst>
                <a:ext uri="{FF2B5EF4-FFF2-40B4-BE49-F238E27FC236}">
                  <a16:creationId xmlns:a16="http://schemas.microsoft.com/office/drawing/2014/main" xmlns="" id="{94765467-D03E-2C4B-533D-D1AD79B159A6}"/>
                </a:ext>
              </a:extLst>
            </p:cNvPr>
            <p:cNvSpPr>
              <a:spLocks noChangeArrowheads="1"/>
            </p:cNvSpPr>
            <p:nvPr/>
          </p:nvSpPr>
          <p:spPr bwMode="auto">
            <a:xfrm>
              <a:off x="644" y="2531"/>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161616"/>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6" name="Rectangle 122">
              <a:extLst>
                <a:ext uri="{FF2B5EF4-FFF2-40B4-BE49-F238E27FC236}">
                  <a16:creationId xmlns:a16="http://schemas.microsoft.com/office/drawing/2014/main" xmlns="" id="{E5E1CF7F-6558-2F3A-3854-A9A29C1A1756}"/>
                </a:ext>
              </a:extLst>
            </p:cNvPr>
            <p:cNvSpPr>
              <a:spLocks noChangeArrowheads="1"/>
            </p:cNvSpPr>
            <p:nvPr/>
          </p:nvSpPr>
          <p:spPr bwMode="auto">
            <a:xfrm>
              <a:off x="1286" y="2531"/>
              <a:ext cx="315"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Tota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7" name="Rectangle 123">
              <a:extLst>
                <a:ext uri="{FF2B5EF4-FFF2-40B4-BE49-F238E27FC236}">
                  <a16:creationId xmlns:a16="http://schemas.microsoft.com/office/drawing/2014/main" xmlns="" id="{51B5B154-B823-40ED-9717-368C543DE0D6}"/>
                </a:ext>
              </a:extLst>
            </p:cNvPr>
            <p:cNvSpPr>
              <a:spLocks noChangeArrowheads="1"/>
            </p:cNvSpPr>
            <p:nvPr/>
          </p:nvSpPr>
          <p:spPr bwMode="auto">
            <a:xfrm>
              <a:off x="1545" y="2531"/>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9" name="Rectangle 125">
              <a:extLst>
                <a:ext uri="{FF2B5EF4-FFF2-40B4-BE49-F238E27FC236}">
                  <a16:creationId xmlns:a16="http://schemas.microsoft.com/office/drawing/2014/main" xmlns="" id="{F7721AFF-9534-2619-4E76-7DF122FE321C}"/>
                </a:ext>
              </a:extLst>
            </p:cNvPr>
            <p:cNvSpPr>
              <a:spLocks noChangeArrowheads="1"/>
            </p:cNvSpPr>
            <p:nvPr/>
          </p:nvSpPr>
          <p:spPr bwMode="auto">
            <a:xfrm>
              <a:off x="3647" y="2559"/>
              <a:ext cx="148" cy="13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a:solidFill>
                    <a:srgbClr val="000000"/>
                  </a:solidFill>
                </a:rPr>
                <a:t>3</a:t>
              </a:r>
              <a:r>
                <a:rPr kumimoji="0" lang="en-US" altLang="en-US" sz="1400" b="0" i="0" u="none" strike="noStrike" cap="none" normalizeH="0" baseline="0">
                  <a:ln>
                    <a:noFill/>
                  </a:ln>
                  <a:solidFill>
                    <a:srgbClr val="000000"/>
                  </a:solidFill>
                  <a:effectLst/>
                  <a:latin typeface="Arial" panose="020B0604020202020204" pitchFamily="34" charset="0"/>
                </a:rPr>
                <a:t>7</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0" name="Rectangle 126">
              <a:extLst>
                <a:ext uri="{FF2B5EF4-FFF2-40B4-BE49-F238E27FC236}">
                  <a16:creationId xmlns:a16="http://schemas.microsoft.com/office/drawing/2014/main" xmlns="" id="{302A8DD2-028D-A386-F01E-81B35569B2B4}"/>
                </a:ext>
              </a:extLst>
            </p:cNvPr>
            <p:cNvSpPr>
              <a:spLocks noChangeArrowheads="1"/>
            </p:cNvSpPr>
            <p:nvPr/>
          </p:nvSpPr>
          <p:spPr bwMode="auto">
            <a:xfrm>
              <a:off x="3744" y="2531"/>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1" name="Rectangle 127">
              <a:extLst>
                <a:ext uri="{FF2B5EF4-FFF2-40B4-BE49-F238E27FC236}">
                  <a16:creationId xmlns:a16="http://schemas.microsoft.com/office/drawing/2014/main" xmlns="" id="{7D27796C-1B60-1F1F-D847-B0297ECB075A}"/>
                </a:ext>
              </a:extLst>
            </p:cNvPr>
            <p:cNvSpPr>
              <a:spLocks noChangeArrowheads="1"/>
            </p:cNvSpPr>
            <p:nvPr/>
          </p:nvSpPr>
          <p:spPr bwMode="auto">
            <a:xfrm>
              <a:off x="4728" y="2531"/>
              <a:ext cx="249"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100</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2" name="Rectangle 128">
              <a:extLst>
                <a:ext uri="{FF2B5EF4-FFF2-40B4-BE49-F238E27FC236}">
                  <a16:creationId xmlns:a16="http://schemas.microsoft.com/office/drawing/2014/main" xmlns="" id="{B0D26E7C-3FCB-7142-096E-F6FB9D8F816F}"/>
                </a:ext>
              </a:extLst>
            </p:cNvPr>
            <p:cNvSpPr>
              <a:spLocks noChangeArrowheads="1"/>
            </p:cNvSpPr>
            <p:nvPr/>
          </p:nvSpPr>
          <p:spPr bwMode="auto">
            <a:xfrm>
              <a:off x="4922" y="2531"/>
              <a:ext cx="157"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3" name="Rectangle 129">
              <a:extLst>
                <a:ext uri="{FF2B5EF4-FFF2-40B4-BE49-F238E27FC236}">
                  <a16:creationId xmlns:a16="http://schemas.microsoft.com/office/drawing/2014/main" xmlns="" id="{C113BAA5-0B8C-2E3E-6943-219039AECC84}"/>
                </a:ext>
              </a:extLst>
            </p:cNvPr>
            <p:cNvSpPr>
              <a:spLocks noChangeArrowheads="1"/>
            </p:cNvSpPr>
            <p:nvPr/>
          </p:nvSpPr>
          <p:spPr bwMode="auto">
            <a:xfrm>
              <a:off x="5026" y="2531"/>
              <a:ext cx="84" cy="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4" name="Rectangle 130">
              <a:extLst>
                <a:ext uri="{FF2B5EF4-FFF2-40B4-BE49-F238E27FC236}">
                  <a16:creationId xmlns:a16="http://schemas.microsoft.com/office/drawing/2014/main" xmlns="" id="{97ECAE44-3EA8-B546-B453-A133D1ABC598}"/>
                </a:ext>
              </a:extLst>
            </p:cNvPr>
            <p:cNvSpPr>
              <a:spLocks noChangeArrowheads="1"/>
            </p:cNvSpPr>
            <p:nvPr/>
          </p:nvSpPr>
          <p:spPr bwMode="auto">
            <a:xfrm>
              <a:off x="578" y="2521"/>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35" name="Rectangle 131">
              <a:extLst>
                <a:ext uri="{FF2B5EF4-FFF2-40B4-BE49-F238E27FC236}">
                  <a16:creationId xmlns:a16="http://schemas.microsoft.com/office/drawing/2014/main" xmlns="" id="{8434494C-46EE-3EDE-9DE7-79CBED94FF55}"/>
                </a:ext>
              </a:extLst>
            </p:cNvPr>
            <p:cNvSpPr>
              <a:spLocks noChangeArrowheads="1"/>
            </p:cNvSpPr>
            <p:nvPr/>
          </p:nvSpPr>
          <p:spPr bwMode="auto">
            <a:xfrm>
              <a:off x="584" y="2521"/>
              <a:ext cx="63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36" name="Rectangle 132">
              <a:extLst>
                <a:ext uri="{FF2B5EF4-FFF2-40B4-BE49-F238E27FC236}">
                  <a16:creationId xmlns:a16="http://schemas.microsoft.com/office/drawing/2014/main" xmlns="" id="{BBFA1C00-3A2F-6093-9710-1027F593B4C6}"/>
                </a:ext>
              </a:extLst>
            </p:cNvPr>
            <p:cNvSpPr>
              <a:spLocks noChangeArrowheads="1"/>
            </p:cNvSpPr>
            <p:nvPr/>
          </p:nvSpPr>
          <p:spPr bwMode="auto">
            <a:xfrm>
              <a:off x="1220" y="2521"/>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37" name="Rectangle 133">
              <a:extLst>
                <a:ext uri="{FF2B5EF4-FFF2-40B4-BE49-F238E27FC236}">
                  <a16:creationId xmlns:a16="http://schemas.microsoft.com/office/drawing/2014/main" xmlns="" id="{41AB8644-5C13-DB55-5FB5-FAA5BC991BF9}"/>
                </a:ext>
              </a:extLst>
            </p:cNvPr>
            <p:cNvSpPr>
              <a:spLocks noChangeArrowheads="1"/>
            </p:cNvSpPr>
            <p:nvPr/>
          </p:nvSpPr>
          <p:spPr bwMode="auto">
            <a:xfrm>
              <a:off x="1226" y="2521"/>
              <a:ext cx="183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38" name="Rectangle 134">
              <a:extLst>
                <a:ext uri="{FF2B5EF4-FFF2-40B4-BE49-F238E27FC236}">
                  <a16:creationId xmlns:a16="http://schemas.microsoft.com/office/drawing/2014/main" xmlns="" id="{74462B8C-6A64-5A66-5114-A5C60564666E}"/>
                </a:ext>
              </a:extLst>
            </p:cNvPr>
            <p:cNvSpPr>
              <a:spLocks noChangeArrowheads="1"/>
            </p:cNvSpPr>
            <p:nvPr/>
          </p:nvSpPr>
          <p:spPr bwMode="auto">
            <a:xfrm>
              <a:off x="3057" y="2521"/>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39" name="Rectangle 135">
              <a:extLst>
                <a:ext uri="{FF2B5EF4-FFF2-40B4-BE49-F238E27FC236}">
                  <a16:creationId xmlns:a16="http://schemas.microsoft.com/office/drawing/2014/main" xmlns="" id="{29327103-3447-A8AD-4DE6-4AC6DB06642E}"/>
                </a:ext>
              </a:extLst>
            </p:cNvPr>
            <p:cNvSpPr>
              <a:spLocks noChangeArrowheads="1"/>
            </p:cNvSpPr>
            <p:nvPr/>
          </p:nvSpPr>
          <p:spPr bwMode="auto">
            <a:xfrm>
              <a:off x="3063" y="2521"/>
              <a:ext cx="1233"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0" name="Rectangle 136">
              <a:extLst>
                <a:ext uri="{FF2B5EF4-FFF2-40B4-BE49-F238E27FC236}">
                  <a16:creationId xmlns:a16="http://schemas.microsoft.com/office/drawing/2014/main" xmlns="" id="{51F4B191-CFC3-043D-157B-D11A4CB35906}"/>
                </a:ext>
              </a:extLst>
            </p:cNvPr>
            <p:cNvSpPr>
              <a:spLocks noChangeArrowheads="1"/>
            </p:cNvSpPr>
            <p:nvPr/>
          </p:nvSpPr>
          <p:spPr bwMode="auto">
            <a:xfrm>
              <a:off x="4296" y="2521"/>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1" name="Rectangle 137">
              <a:extLst>
                <a:ext uri="{FF2B5EF4-FFF2-40B4-BE49-F238E27FC236}">
                  <a16:creationId xmlns:a16="http://schemas.microsoft.com/office/drawing/2014/main" xmlns="" id="{9373DB70-B689-1B18-EF29-C017D23FA800}"/>
                </a:ext>
              </a:extLst>
            </p:cNvPr>
            <p:cNvSpPr>
              <a:spLocks noChangeArrowheads="1"/>
            </p:cNvSpPr>
            <p:nvPr/>
          </p:nvSpPr>
          <p:spPr bwMode="auto">
            <a:xfrm>
              <a:off x="4302" y="2521"/>
              <a:ext cx="115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2" name="Rectangle 138">
              <a:extLst>
                <a:ext uri="{FF2B5EF4-FFF2-40B4-BE49-F238E27FC236}">
                  <a16:creationId xmlns:a16="http://schemas.microsoft.com/office/drawing/2014/main" xmlns="" id="{7F8ED484-E339-63D2-9CB1-16345B2D9733}"/>
                </a:ext>
              </a:extLst>
            </p:cNvPr>
            <p:cNvSpPr>
              <a:spLocks noChangeArrowheads="1"/>
            </p:cNvSpPr>
            <p:nvPr/>
          </p:nvSpPr>
          <p:spPr bwMode="auto">
            <a:xfrm>
              <a:off x="5453" y="2521"/>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3" name="Rectangle 139">
              <a:extLst>
                <a:ext uri="{FF2B5EF4-FFF2-40B4-BE49-F238E27FC236}">
                  <a16:creationId xmlns:a16="http://schemas.microsoft.com/office/drawing/2014/main" xmlns="" id="{75199D9D-4E59-FE8C-49A8-1D0559BA9F8F}"/>
                </a:ext>
              </a:extLst>
            </p:cNvPr>
            <p:cNvSpPr>
              <a:spLocks noChangeArrowheads="1"/>
            </p:cNvSpPr>
            <p:nvPr/>
          </p:nvSpPr>
          <p:spPr bwMode="auto">
            <a:xfrm>
              <a:off x="578" y="2526"/>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4" name="Rectangle 140">
              <a:extLst>
                <a:ext uri="{FF2B5EF4-FFF2-40B4-BE49-F238E27FC236}">
                  <a16:creationId xmlns:a16="http://schemas.microsoft.com/office/drawing/2014/main" xmlns="" id="{531B509A-AAC9-F8E1-43EC-88908D66C524}"/>
                </a:ext>
              </a:extLst>
            </p:cNvPr>
            <p:cNvSpPr>
              <a:spLocks noChangeArrowheads="1"/>
            </p:cNvSpPr>
            <p:nvPr/>
          </p:nvSpPr>
          <p:spPr bwMode="auto">
            <a:xfrm>
              <a:off x="578" y="2717"/>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5" name="Rectangle 141">
              <a:extLst>
                <a:ext uri="{FF2B5EF4-FFF2-40B4-BE49-F238E27FC236}">
                  <a16:creationId xmlns:a16="http://schemas.microsoft.com/office/drawing/2014/main" xmlns="" id="{CF7AECE4-A7D9-F251-5546-8DD665D1B7FC}"/>
                </a:ext>
              </a:extLst>
            </p:cNvPr>
            <p:cNvSpPr>
              <a:spLocks noChangeArrowheads="1"/>
            </p:cNvSpPr>
            <p:nvPr/>
          </p:nvSpPr>
          <p:spPr bwMode="auto">
            <a:xfrm>
              <a:off x="578" y="2717"/>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6" name="Rectangle 142">
              <a:extLst>
                <a:ext uri="{FF2B5EF4-FFF2-40B4-BE49-F238E27FC236}">
                  <a16:creationId xmlns:a16="http://schemas.microsoft.com/office/drawing/2014/main" xmlns="" id="{36B20082-85BD-EDFF-1ACA-B385AA1CB7AB}"/>
                </a:ext>
              </a:extLst>
            </p:cNvPr>
            <p:cNvSpPr>
              <a:spLocks noChangeArrowheads="1"/>
            </p:cNvSpPr>
            <p:nvPr/>
          </p:nvSpPr>
          <p:spPr bwMode="auto">
            <a:xfrm>
              <a:off x="584" y="2717"/>
              <a:ext cx="63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7" name="Rectangle 143">
              <a:extLst>
                <a:ext uri="{FF2B5EF4-FFF2-40B4-BE49-F238E27FC236}">
                  <a16:creationId xmlns:a16="http://schemas.microsoft.com/office/drawing/2014/main" xmlns="" id="{17B5E8EA-B139-CDF4-61A2-E3BB8A1BF849}"/>
                </a:ext>
              </a:extLst>
            </p:cNvPr>
            <p:cNvSpPr>
              <a:spLocks noChangeArrowheads="1"/>
            </p:cNvSpPr>
            <p:nvPr/>
          </p:nvSpPr>
          <p:spPr bwMode="auto">
            <a:xfrm>
              <a:off x="1220" y="2526"/>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8" name="Rectangle 144">
              <a:extLst>
                <a:ext uri="{FF2B5EF4-FFF2-40B4-BE49-F238E27FC236}">
                  <a16:creationId xmlns:a16="http://schemas.microsoft.com/office/drawing/2014/main" xmlns="" id="{391C0D8A-BF66-8242-B570-AE91053D2E8A}"/>
                </a:ext>
              </a:extLst>
            </p:cNvPr>
            <p:cNvSpPr>
              <a:spLocks noChangeArrowheads="1"/>
            </p:cNvSpPr>
            <p:nvPr/>
          </p:nvSpPr>
          <p:spPr bwMode="auto">
            <a:xfrm>
              <a:off x="1220" y="2717"/>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49" name="Rectangle 145">
              <a:extLst>
                <a:ext uri="{FF2B5EF4-FFF2-40B4-BE49-F238E27FC236}">
                  <a16:creationId xmlns:a16="http://schemas.microsoft.com/office/drawing/2014/main" xmlns="" id="{A6184715-0F45-EAC8-E1E8-B1AF4B4A77E7}"/>
                </a:ext>
              </a:extLst>
            </p:cNvPr>
            <p:cNvSpPr>
              <a:spLocks noChangeArrowheads="1"/>
            </p:cNvSpPr>
            <p:nvPr/>
          </p:nvSpPr>
          <p:spPr bwMode="auto">
            <a:xfrm>
              <a:off x="1226" y="2717"/>
              <a:ext cx="183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0" name="Rectangle 146">
              <a:extLst>
                <a:ext uri="{FF2B5EF4-FFF2-40B4-BE49-F238E27FC236}">
                  <a16:creationId xmlns:a16="http://schemas.microsoft.com/office/drawing/2014/main" xmlns="" id="{507B65F9-F41D-21AF-34D0-E63616FB8B52}"/>
                </a:ext>
              </a:extLst>
            </p:cNvPr>
            <p:cNvSpPr>
              <a:spLocks noChangeArrowheads="1"/>
            </p:cNvSpPr>
            <p:nvPr/>
          </p:nvSpPr>
          <p:spPr bwMode="auto">
            <a:xfrm>
              <a:off x="3057" y="2526"/>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1" name="Rectangle 147">
              <a:extLst>
                <a:ext uri="{FF2B5EF4-FFF2-40B4-BE49-F238E27FC236}">
                  <a16:creationId xmlns:a16="http://schemas.microsoft.com/office/drawing/2014/main" xmlns="" id="{667AAF7D-829A-2D07-3C64-FFED32AFFC97}"/>
                </a:ext>
              </a:extLst>
            </p:cNvPr>
            <p:cNvSpPr>
              <a:spLocks noChangeArrowheads="1"/>
            </p:cNvSpPr>
            <p:nvPr/>
          </p:nvSpPr>
          <p:spPr bwMode="auto">
            <a:xfrm>
              <a:off x="3057" y="2717"/>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2" name="Rectangle 148">
              <a:extLst>
                <a:ext uri="{FF2B5EF4-FFF2-40B4-BE49-F238E27FC236}">
                  <a16:creationId xmlns:a16="http://schemas.microsoft.com/office/drawing/2014/main" xmlns="" id="{A18CAEDA-72D0-08A5-B149-68E8515D7B94}"/>
                </a:ext>
              </a:extLst>
            </p:cNvPr>
            <p:cNvSpPr>
              <a:spLocks noChangeArrowheads="1"/>
            </p:cNvSpPr>
            <p:nvPr/>
          </p:nvSpPr>
          <p:spPr bwMode="auto">
            <a:xfrm>
              <a:off x="3063" y="2717"/>
              <a:ext cx="1233"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3" name="Rectangle 149">
              <a:extLst>
                <a:ext uri="{FF2B5EF4-FFF2-40B4-BE49-F238E27FC236}">
                  <a16:creationId xmlns:a16="http://schemas.microsoft.com/office/drawing/2014/main" xmlns="" id="{6272B6D5-5B7F-34CE-D91F-64D71E0F9795}"/>
                </a:ext>
              </a:extLst>
            </p:cNvPr>
            <p:cNvSpPr>
              <a:spLocks noChangeArrowheads="1"/>
            </p:cNvSpPr>
            <p:nvPr/>
          </p:nvSpPr>
          <p:spPr bwMode="auto">
            <a:xfrm>
              <a:off x="4296" y="2526"/>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4" name="Rectangle 150">
              <a:extLst>
                <a:ext uri="{FF2B5EF4-FFF2-40B4-BE49-F238E27FC236}">
                  <a16:creationId xmlns:a16="http://schemas.microsoft.com/office/drawing/2014/main" xmlns="" id="{AD41FCEA-4493-38FE-A66F-A57154ADE5F7}"/>
                </a:ext>
              </a:extLst>
            </p:cNvPr>
            <p:cNvSpPr>
              <a:spLocks noChangeArrowheads="1"/>
            </p:cNvSpPr>
            <p:nvPr/>
          </p:nvSpPr>
          <p:spPr bwMode="auto">
            <a:xfrm>
              <a:off x="4296" y="2717"/>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5" name="Rectangle 151">
              <a:extLst>
                <a:ext uri="{FF2B5EF4-FFF2-40B4-BE49-F238E27FC236}">
                  <a16:creationId xmlns:a16="http://schemas.microsoft.com/office/drawing/2014/main" xmlns="" id="{6E997C40-139B-0C5C-2582-54861BF66679}"/>
                </a:ext>
              </a:extLst>
            </p:cNvPr>
            <p:cNvSpPr>
              <a:spLocks noChangeArrowheads="1"/>
            </p:cNvSpPr>
            <p:nvPr/>
          </p:nvSpPr>
          <p:spPr bwMode="auto">
            <a:xfrm>
              <a:off x="4302" y="2717"/>
              <a:ext cx="1151"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6" name="Rectangle 152">
              <a:extLst>
                <a:ext uri="{FF2B5EF4-FFF2-40B4-BE49-F238E27FC236}">
                  <a16:creationId xmlns:a16="http://schemas.microsoft.com/office/drawing/2014/main" xmlns="" id="{E83C407B-C85B-4AB2-B696-09BC22B39FB5}"/>
                </a:ext>
              </a:extLst>
            </p:cNvPr>
            <p:cNvSpPr>
              <a:spLocks noChangeArrowheads="1"/>
            </p:cNvSpPr>
            <p:nvPr/>
          </p:nvSpPr>
          <p:spPr bwMode="auto">
            <a:xfrm>
              <a:off x="5453" y="2526"/>
              <a:ext cx="6" cy="191"/>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7" name="Rectangle 153">
              <a:extLst>
                <a:ext uri="{FF2B5EF4-FFF2-40B4-BE49-F238E27FC236}">
                  <a16:creationId xmlns:a16="http://schemas.microsoft.com/office/drawing/2014/main" xmlns="" id="{42E38833-73A1-DE2C-F8CB-D018E910E8C0}"/>
                </a:ext>
              </a:extLst>
            </p:cNvPr>
            <p:cNvSpPr>
              <a:spLocks noChangeArrowheads="1"/>
            </p:cNvSpPr>
            <p:nvPr/>
          </p:nvSpPr>
          <p:spPr bwMode="auto">
            <a:xfrm>
              <a:off x="5453" y="2717"/>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8" name="Rectangle 154">
              <a:extLst>
                <a:ext uri="{FF2B5EF4-FFF2-40B4-BE49-F238E27FC236}">
                  <a16:creationId xmlns:a16="http://schemas.microsoft.com/office/drawing/2014/main" xmlns="" id="{07223E02-D694-81D6-AA29-1BF3F6C65C1B}"/>
                </a:ext>
              </a:extLst>
            </p:cNvPr>
            <p:cNvSpPr>
              <a:spLocks noChangeArrowheads="1"/>
            </p:cNvSpPr>
            <p:nvPr/>
          </p:nvSpPr>
          <p:spPr bwMode="auto">
            <a:xfrm>
              <a:off x="5453" y="2717"/>
              <a:ext cx="6" cy="5"/>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59" name="Rectangle 155">
              <a:extLst>
                <a:ext uri="{FF2B5EF4-FFF2-40B4-BE49-F238E27FC236}">
                  <a16:creationId xmlns:a16="http://schemas.microsoft.com/office/drawing/2014/main" xmlns="" id="{E610943A-A988-0F87-0960-1CD993D574D7}"/>
                </a:ext>
              </a:extLst>
            </p:cNvPr>
            <p:cNvSpPr>
              <a:spLocks noChangeArrowheads="1"/>
            </p:cNvSpPr>
            <p:nvPr/>
          </p:nvSpPr>
          <p:spPr bwMode="auto">
            <a:xfrm>
              <a:off x="251" y="2721"/>
              <a:ext cx="101" cy="1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500" b="0" i="0" u="none" strike="noStrike" cap="none" normalizeH="0" baseline="0">
                  <a:ln>
                    <a:noFill/>
                  </a:ln>
                  <a:solidFill>
                    <a:srgbClr val="000000"/>
                  </a:solidFill>
                  <a:effectLst/>
                  <a:latin typeface="Calibri" panose="020F050202020403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0" name="Freeform 156">
              <a:extLst>
                <a:ext uri="{FF2B5EF4-FFF2-40B4-BE49-F238E27FC236}">
                  <a16:creationId xmlns:a16="http://schemas.microsoft.com/office/drawing/2014/main" xmlns="" id="{5B998BD4-D98C-69D1-66D5-3E4AF7CDC253}"/>
                </a:ext>
              </a:extLst>
            </p:cNvPr>
            <p:cNvSpPr>
              <a:spLocks/>
            </p:cNvSpPr>
            <p:nvPr/>
          </p:nvSpPr>
          <p:spPr bwMode="auto">
            <a:xfrm>
              <a:off x="755" y="1742"/>
              <a:ext cx="366" cy="193"/>
            </a:xfrm>
            <a:custGeom>
              <a:avLst/>
              <a:gdLst>
                <a:gd name="T0" fmla="*/ 0 w 366"/>
                <a:gd name="T1" fmla="*/ 91 h 193"/>
                <a:gd name="T2" fmla="*/ 1 w 366"/>
                <a:gd name="T3" fmla="*/ 81 h 193"/>
                <a:gd name="T4" fmla="*/ 5 w 366"/>
                <a:gd name="T5" fmla="*/ 72 h 193"/>
                <a:gd name="T6" fmla="*/ 9 w 366"/>
                <a:gd name="T7" fmla="*/ 63 h 193"/>
                <a:gd name="T8" fmla="*/ 16 w 366"/>
                <a:gd name="T9" fmla="*/ 55 h 193"/>
                <a:gd name="T10" fmla="*/ 25 w 366"/>
                <a:gd name="T11" fmla="*/ 46 h 193"/>
                <a:gd name="T12" fmla="*/ 40 w 366"/>
                <a:gd name="T13" fmla="*/ 35 h 193"/>
                <a:gd name="T14" fmla="*/ 65 w 366"/>
                <a:gd name="T15" fmla="*/ 22 h 193"/>
                <a:gd name="T16" fmla="*/ 95 w 366"/>
                <a:gd name="T17" fmla="*/ 11 h 193"/>
                <a:gd name="T18" fmla="*/ 128 w 366"/>
                <a:gd name="T19" fmla="*/ 4 h 193"/>
                <a:gd name="T20" fmla="*/ 163 w 366"/>
                <a:gd name="T21" fmla="*/ 0 h 193"/>
                <a:gd name="T22" fmla="*/ 201 w 366"/>
                <a:gd name="T23" fmla="*/ 0 h 193"/>
                <a:gd name="T24" fmla="*/ 236 w 366"/>
                <a:gd name="T25" fmla="*/ 4 h 193"/>
                <a:gd name="T26" fmla="*/ 270 w 366"/>
                <a:gd name="T27" fmla="*/ 11 h 193"/>
                <a:gd name="T28" fmla="*/ 299 w 366"/>
                <a:gd name="T29" fmla="*/ 22 h 193"/>
                <a:gd name="T30" fmla="*/ 324 w 366"/>
                <a:gd name="T31" fmla="*/ 35 h 193"/>
                <a:gd name="T32" fmla="*/ 339 w 366"/>
                <a:gd name="T33" fmla="*/ 46 h 193"/>
                <a:gd name="T34" fmla="*/ 348 w 366"/>
                <a:gd name="T35" fmla="*/ 55 h 193"/>
                <a:gd name="T36" fmla="*/ 355 w 366"/>
                <a:gd name="T37" fmla="*/ 63 h 193"/>
                <a:gd name="T38" fmla="*/ 359 w 366"/>
                <a:gd name="T39" fmla="*/ 72 h 193"/>
                <a:gd name="T40" fmla="*/ 363 w 366"/>
                <a:gd name="T41" fmla="*/ 81 h 193"/>
                <a:gd name="T42" fmla="*/ 365 w 366"/>
                <a:gd name="T43" fmla="*/ 91 h 193"/>
                <a:gd name="T44" fmla="*/ 365 w 366"/>
                <a:gd name="T45" fmla="*/ 101 h 193"/>
                <a:gd name="T46" fmla="*/ 363 w 366"/>
                <a:gd name="T47" fmla="*/ 111 h 193"/>
                <a:gd name="T48" fmla="*/ 359 w 366"/>
                <a:gd name="T49" fmla="*/ 120 h 193"/>
                <a:gd name="T50" fmla="*/ 355 w 366"/>
                <a:gd name="T51" fmla="*/ 129 h 193"/>
                <a:gd name="T52" fmla="*/ 348 w 366"/>
                <a:gd name="T53" fmla="*/ 137 h 193"/>
                <a:gd name="T54" fmla="*/ 339 w 366"/>
                <a:gd name="T55" fmla="*/ 146 h 193"/>
                <a:gd name="T56" fmla="*/ 324 w 366"/>
                <a:gd name="T57" fmla="*/ 157 h 193"/>
                <a:gd name="T58" fmla="*/ 299 w 366"/>
                <a:gd name="T59" fmla="*/ 170 h 193"/>
                <a:gd name="T60" fmla="*/ 270 w 366"/>
                <a:gd name="T61" fmla="*/ 181 h 193"/>
                <a:gd name="T62" fmla="*/ 236 w 366"/>
                <a:gd name="T63" fmla="*/ 188 h 193"/>
                <a:gd name="T64" fmla="*/ 201 w 366"/>
                <a:gd name="T65" fmla="*/ 192 h 193"/>
                <a:gd name="T66" fmla="*/ 163 w 366"/>
                <a:gd name="T67" fmla="*/ 192 h 193"/>
                <a:gd name="T68" fmla="*/ 128 w 366"/>
                <a:gd name="T69" fmla="*/ 188 h 193"/>
                <a:gd name="T70" fmla="*/ 95 w 366"/>
                <a:gd name="T71" fmla="*/ 181 h 193"/>
                <a:gd name="T72" fmla="*/ 65 w 366"/>
                <a:gd name="T73" fmla="*/ 170 h 193"/>
                <a:gd name="T74" fmla="*/ 40 w 366"/>
                <a:gd name="T75" fmla="*/ 157 h 193"/>
                <a:gd name="T76" fmla="*/ 25 w 366"/>
                <a:gd name="T77" fmla="*/ 146 h 193"/>
                <a:gd name="T78" fmla="*/ 16 w 366"/>
                <a:gd name="T79" fmla="*/ 137 h 193"/>
                <a:gd name="T80" fmla="*/ 9 w 366"/>
                <a:gd name="T81" fmla="*/ 129 h 193"/>
                <a:gd name="T82" fmla="*/ 5 w 366"/>
                <a:gd name="T83" fmla="*/ 120 h 193"/>
                <a:gd name="T84" fmla="*/ 1 w 366"/>
                <a:gd name="T85" fmla="*/ 111 h 193"/>
                <a:gd name="T86" fmla="*/ 0 w 366"/>
                <a:gd name="T87"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6" h="193">
                  <a:moveTo>
                    <a:pt x="0" y="96"/>
                  </a:moveTo>
                  <a:lnTo>
                    <a:pt x="0" y="91"/>
                  </a:lnTo>
                  <a:lnTo>
                    <a:pt x="0" y="87"/>
                  </a:lnTo>
                  <a:lnTo>
                    <a:pt x="1" y="81"/>
                  </a:lnTo>
                  <a:lnTo>
                    <a:pt x="2" y="76"/>
                  </a:lnTo>
                  <a:lnTo>
                    <a:pt x="5" y="72"/>
                  </a:lnTo>
                  <a:lnTo>
                    <a:pt x="7" y="67"/>
                  </a:lnTo>
                  <a:lnTo>
                    <a:pt x="9" y="63"/>
                  </a:lnTo>
                  <a:lnTo>
                    <a:pt x="14" y="59"/>
                  </a:lnTo>
                  <a:lnTo>
                    <a:pt x="16" y="55"/>
                  </a:lnTo>
                  <a:lnTo>
                    <a:pt x="21" y="50"/>
                  </a:lnTo>
                  <a:lnTo>
                    <a:pt x="25" y="46"/>
                  </a:lnTo>
                  <a:lnTo>
                    <a:pt x="30" y="43"/>
                  </a:lnTo>
                  <a:lnTo>
                    <a:pt x="40" y="35"/>
                  </a:lnTo>
                  <a:lnTo>
                    <a:pt x="53" y="28"/>
                  </a:lnTo>
                  <a:lnTo>
                    <a:pt x="65" y="22"/>
                  </a:lnTo>
                  <a:lnTo>
                    <a:pt x="79" y="16"/>
                  </a:lnTo>
                  <a:lnTo>
                    <a:pt x="95" y="11"/>
                  </a:lnTo>
                  <a:lnTo>
                    <a:pt x="111" y="7"/>
                  </a:lnTo>
                  <a:lnTo>
                    <a:pt x="128" y="4"/>
                  </a:lnTo>
                  <a:lnTo>
                    <a:pt x="145" y="2"/>
                  </a:lnTo>
                  <a:lnTo>
                    <a:pt x="163" y="0"/>
                  </a:lnTo>
                  <a:lnTo>
                    <a:pt x="183" y="0"/>
                  </a:lnTo>
                  <a:lnTo>
                    <a:pt x="201" y="0"/>
                  </a:lnTo>
                  <a:lnTo>
                    <a:pt x="219" y="2"/>
                  </a:lnTo>
                  <a:lnTo>
                    <a:pt x="236" y="4"/>
                  </a:lnTo>
                  <a:lnTo>
                    <a:pt x="254" y="7"/>
                  </a:lnTo>
                  <a:lnTo>
                    <a:pt x="270" y="11"/>
                  </a:lnTo>
                  <a:lnTo>
                    <a:pt x="285" y="16"/>
                  </a:lnTo>
                  <a:lnTo>
                    <a:pt x="299" y="22"/>
                  </a:lnTo>
                  <a:lnTo>
                    <a:pt x="311" y="28"/>
                  </a:lnTo>
                  <a:lnTo>
                    <a:pt x="324" y="35"/>
                  </a:lnTo>
                  <a:lnTo>
                    <a:pt x="334" y="43"/>
                  </a:lnTo>
                  <a:lnTo>
                    <a:pt x="339" y="46"/>
                  </a:lnTo>
                  <a:lnTo>
                    <a:pt x="344" y="50"/>
                  </a:lnTo>
                  <a:lnTo>
                    <a:pt x="348" y="55"/>
                  </a:lnTo>
                  <a:lnTo>
                    <a:pt x="351" y="59"/>
                  </a:lnTo>
                  <a:lnTo>
                    <a:pt x="355" y="63"/>
                  </a:lnTo>
                  <a:lnTo>
                    <a:pt x="358" y="67"/>
                  </a:lnTo>
                  <a:lnTo>
                    <a:pt x="359" y="72"/>
                  </a:lnTo>
                  <a:lnTo>
                    <a:pt x="362" y="76"/>
                  </a:lnTo>
                  <a:lnTo>
                    <a:pt x="363" y="81"/>
                  </a:lnTo>
                  <a:lnTo>
                    <a:pt x="365" y="87"/>
                  </a:lnTo>
                  <a:lnTo>
                    <a:pt x="365" y="91"/>
                  </a:lnTo>
                  <a:lnTo>
                    <a:pt x="366" y="96"/>
                  </a:lnTo>
                  <a:lnTo>
                    <a:pt x="365" y="101"/>
                  </a:lnTo>
                  <a:lnTo>
                    <a:pt x="365" y="105"/>
                  </a:lnTo>
                  <a:lnTo>
                    <a:pt x="363" y="111"/>
                  </a:lnTo>
                  <a:lnTo>
                    <a:pt x="362" y="116"/>
                  </a:lnTo>
                  <a:lnTo>
                    <a:pt x="359" y="120"/>
                  </a:lnTo>
                  <a:lnTo>
                    <a:pt x="358" y="125"/>
                  </a:lnTo>
                  <a:lnTo>
                    <a:pt x="355" y="129"/>
                  </a:lnTo>
                  <a:lnTo>
                    <a:pt x="351" y="133"/>
                  </a:lnTo>
                  <a:lnTo>
                    <a:pt x="348" y="137"/>
                  </a:lnTo>
                  <a:lnTo>
                    <a:pt x="344" y="142"/>
                  </a:lnTo>
                  <a:lnTo>
                    <a:pt x="339" y="146"/>
                  </a:lnTo>
                  <a:lnTo>
                    <a:pt x="334" y="150"/>
                  </a:lnTo>
                  <a:lnTo>
                    <a:pt x="324" y="157"/>
                  </a:lnTo>
                  <a:lnTo>
                    <a:pt x="311" y="164"/>
                  </a:lnTo>
                  <a:lnTo>
                    <a:pt x="299" y="170"/>
                  </a:lnTo>
                  <a:lnTo>
                    <a:pt x="285" y="176"/>
                  </a:lnTo>
                  <a:lnTo>
                    <a:pt x="270" y="181"/>
                  </a:lnTo>
                  <a:lnTo>
                    <a:pt x="254" y="185"/>
                  </a:lnTo>
                  <a:lnTo>
                    <a:pt x="236" y="188"/>
                  </a:lnTo>
                  <a:lnTo>
                    <a:pt x="219" y="190"/>
                  </a:lnTo>
                  <a:lnTo>
                    <a:pt x="201" y="192"/>
                  </a:lnTo>
                  <a:lnTo>
                    <a:pt x="183" y="193"/>
                  </a:lnTo>
                  <a:lnTo>
                    <a:pt x="163" y="192"/>
                  </a:lnTo>
                  <a:lnTo>
                    <a:pt x="145" y="190"/>
                  </a:lnTo>
                  <a:lnTo>
                    <a:pt x="128" y="188"/>
                  </a:lnTo>
                  <a:lnTo>
                    <a:pt x="111" y="185"/>
                  </a:lnTo>
                  <a:lnTo>
                    <a:pt x="95" y="181"/>
                  </a:lnTo>
                  <a:lnTo>
                    <a:pt x="79" y="176"/>
                  </a:lnTo>
                  <a:lnTo>
                    <a:pt x="65" y="170"/>
                  </a:lnTo>
                  <a:lnTo>
                    <a:pt x="53" y="164"/>
                  </a:lnTo>
                  <a:lnTo>
                    <a:pt x="40" y="157"/>
                  </a:lnTo>
                  <a:lnTo>
                    <a:pt x="30" y="150"/>
                  </a:lnTo>
                  <a:lnTo>
                    <a:pt x="25" y="146"/>
                  </a:lnTo>
                  <a:lnTo>
                    <a:pt x="21" y="142"/>
                  </a:lnTo>
                  <a:lnTo>
                    <a:pt x="16" y="137"/>
                  </a:lnTo>
                  <a:lnTo>
                    <a:pt x="14" y="133"/>
                  </a:lnTo>
                  <a:lnTo>
                    <a:pt x="9" y="129"/>
                  </a:lnTo>
                  <a:lnTo>
                    <a:pt x="7" y="125"/>
                  </a:lnTo>
                  <a:lnTo>
                    <a:pt x="5" y="120"/>
                  </a:lnTo>
                  <a:lnTo>
                    <a:pt x="2" y="116"/>
                  </a:lnTo>
                  <a:lnTo>
                    <a:pt x="1" y="111"/>
                  </a:lnTo>
                  <a:lnTo>
                    <a:pt x="0" y="105"/>
                  </a:lnTo>
                  <a:lnTo>
                    <a:pt x="0" y="101"/>
                  </a:lnTo>
                  <a:lnTo>
                    <a:pt x="0" y="96"/>
                  </a:lnTo>
                  <a:close/>
                </a:path>
              </a:pathLst>
            </a:custGeom>
            <a:solidFill>
              <a:srgbClr val="70AD4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61" name="Freeform 157">
              <a:extLst>
                <a:ext uri="{FF2B5EF4-FFF2-40B4-BE49-F238E27FC236}">
                  <a16:creationId xmlns:a16="http://schemas.microsoft.com/office/drawing/2014/main" xmlns="" id="{0B8E1500-847E-51B0-6016-BB4EB31F3510}"/>
                </a:ext>
              </a:extLst>
            </p:cNvPr>
            <p:cNvSpPr>
              <a:spLocks/>
            </p:cNvSpPr>
            <p:nvPr/>
          </p:nvSpPr>
          <p:spPr bwMode="auto">
            <a:xfrm>
              <a:off x="755" y="1742"/>
              <a:ext cx="366" cy="193"/>
            </a:xfrm>
            <a:custGeom>
              <a:avLst/>
              <a:gdLst>
                <a:gd name="T0" fmla="*/ 0 w 366"/>
                <a:gd name="T1" fmla="*/ 91 h 193"/>
                <a:gd name="T2" fmla="*/ 1 w 366"/>
                <a:gd name="T3" fmla="*/ 81 h 193"/>
                <a:gd name="T4" fmla="*/ 5 w 366"/>
                <a:gd name="T5" fmla="*/ 72 h 193"/>
                <a:gd name="T6" fmla="*/ 9 w 366"/>
                <a:gd name="T7" fmla="*/ 63 h 193"/>
                <a:gd name="T8" fmla="*/ 16 w 366"/>
                <a:gd name="T9" fmla="*/ 55 h 193"/>
                <a:gd name="T10" fmla="*/ 25 w 366"/>
                <a:gd name="T11" fmla="*/ 46 h 193"/>
                <a:gd name="T12" fmla="*/ 40 w 366"/>
                <a:gd name="T13" fmla="*/ 35 h 193"/>
                <a:gd name="T14" fmla="*/ 65 w 366"/>
                <a:gd name="T15" fmla="*/ 22 h 193"/>
                <a:gd name="T16" fmla="*/ 95 w 366"/>
                <a:gd name="T17" fmla="*/ 11 h 193"/>
                <a:gd name="T18" fmla="*/ 128 w 366"/>
                <a:gd name="T19" fmla="*/ 4 h 193"/>
                <a:gd name="T20" fmla="*/ 163 w 366"/>
                <a:gd name="T21" fmla="*/ 0 h 193"/>
                <a:gd name="T22" fmla="*/ 201 w 366"/>
                <a:gd name="T23" fmla="*/ 0 h 193"/>
                <a:gd name="T24" fmla="*/ 236 w 366"/>
                <a:gd name="T25" fmla="*/ 4 h 193"/>
                <a:gd name="T26" fmla="*/ 270 w 366"/>
                <a:gd name="T27" fmla="*/ 11 h 193"/>
                <a:gd name="T28" fmla="*/ 299 w 366"/>
                <a:gd name="T29" fmla="*/ 22 h 193"/>
                <a:gd name="T30" fmla="*/ 324 w 366"/>
                <a:gd name="T31" fmla="*/ 35 h 193"/>
                <a:gd name="T32" fmla="*/ 339 w 366"/>
                <a:gd name="T33" fmla="*/ 46 h 193"/>
                <a:gd name="T34" fmla="*/ 348 w 366"/>
                <a:gd name="T35" fmla="*/ 55 h 193"/>
                <a:gd name="T36" fmla="*/ 355 w 366"/>
                <a:gd name="T37" fmla="*/ 63 h 193"/>
                <a:gd name="T38" fmla="*/ 359 w 366"/>
                <a:gd name="T39" fmla="*/ 72 h 193"/>
                <a:gd name="T40" fmla="*/ 363 w 366"/>
                <a:gd name="T41" fmla="*/ 81 h 193"/>
                <a:gd name="T42" fmla="*/ 365 w 366"/>
                <a:gd name="T43" fmla="*/ 91 h 193"/>
                <a:gd name="T44" fmla="*/ 365 w 366"/>
                <a:gd name="T45" fmla="*/ 101 h 193"/>
                <a:gd name="T46" fmla="*/ 363 w 366"/>
                <a:gd name="T47" fmla="*/ 111 h 193"/>
                <a:gd name="T48" fmla="*/ 359 w 366"/>
                <a:gd name="T49" fmla="*/ 120 h 193"/>
                <a:gd name="T50" fmla="*/ 355 w 366"/>
                <a:gd name="T51" fmla="*/ 129 h 193"/>
                <a:gd name="T52" fmla="*/ 348 w 366"/>
                <a:gd name="T53" fmla="*/ 137 h 193"/>
                <a:gd name="T54" fmla="*/ 339 w 366"/>
                <a:gd name="T55" fmla="*/ 146 h 193"/>
                <a:gd name="T56" fmla="*/ 324 w 366"/>
                <a:gd name="T57" fmla="*/ 157 h 193"/>
                <a:gd name="T58" fmla="*/ 299 w 366"/>
                <a:gd name="T59" fmla="*/ 170 h 193"/>
                <a:gd name="T60" fmla="*/ 270 w 366"/>
                <a:gd name="T61" fmla="*/ 181 h 193"/>
                <a:gd name="T62" fmla="*/ 236 w 366"/>
                <a:gd name="T63" fmla="*/ 188 h 193"/>
                <a:gd name="T64" fmla="*/ 201 w 366"/>
                <a:gd name="T65" fmla="*/ 192 h 193"/>
                <a:gd name="T66" fmla="*/ 163 w 366"/>
                <a:gd name="T67" fmla="*/ 192 h 193"/>
                <a:gd name="T68" fmla="*/ 128 w 366"/>
                <a:gd name="T69" fmla="*/ 188 h 193"/>
                <a:gd name="T70" fmla="*/ 95 w 366"/>
                <a:gd name="T71" fmla="*/ 181 h 193"/>
                <a:gd name="T72" fmla="*/ 65 w 366"/>
                <a:gd name="T73" fmla="*/ 170 h 193"/>
                <a:gd name="T74" fmla="*/ 40 w 366"/>
                <a:gd name="T75" fmla="*/ 157 h 193"/>
                <a:gd name="T76" fmla="*/ 25 w 366"/>
                <a:gd name="T77" fmla="*/ 146 h 193"/>
                <a:gd name="T78" fmla="*/ 16 w 366"/>
                <a:gd name="T79" fmla="*/ 137 h 193"/>
                <a:gd name="T80" fmla="*/ 9 w 366"/>
                <a:gd name="T81" fmla="*/ 129 h 193"/>
                <a:gd name="T82" fmla="*/ 5 w 366"/>
                <a:gd name="T83" fmla="*/ 120 h 193"/>
                <a:gd name="T84" fmla="*/ 1 w 366"/>
                <a:gd name="T85" fmla="*/ 111 h 193"/>
                <a:gd name="T86" fmla="*/ 0 w 366"/>
                <a:gd name="T87" fmla="*/ 10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6" h="193">
                  <a:moveTo>
                    <a:pt x="0" y="96"/>
                  </a:moveTo>
                  <a:lnTo>
                    <a:pt x="0" y="91"/>
                  </a:lnTo>
                  <a:lnTo>
                    <a:pt x="0" y="87"/>
                  </a:lnTo>
                  <a:lnTo>
                    <a:pt x="1" y="81"/>
                  </a:lnTo>
                  <a:lnTo>
                    <a:pt x="2" y="76"/>
                  </a:lnTo>
                  <a:lnTo>
                    <a:pt x="5" y="72"/>
                  </a:lnTo>
                  <a:lnTo>
                    <a:pt x="7" y="67"/>
                  </a:lnTo>
                  <a:lnTo>
                    <a:pt x="9" y="63"/>
                  </a:lnTo>
                  <a:lnTo>
                    <a:pt x="14" y="59"/>
                  </a:lnTo>
                  <a:lnTo>
                    <a:pt x="16" y="55"/>
                  </a:lnTo>
                  <a:lnTo>
                    <a:pt x="21" y="50"/>
                  </a:lnTo>
                  <a:lnTo>
                    <a:pt x="25" y="46"/>
                  </a:lnTo>
                  <a:lnTo>
                    <a:pt x="30" y="43"/>
                  </a:lnTo>
                  <a:lnTo>
                    <a:pt x="40" y="35"/>
                  </a:lnTo>
                  <a:lnTo>
                    <a:pt x="53" y="28"/>
                  </a:lnTo>
                  <a:lnTo>
                    <a:pt x="65" y="22"/>
                  </a:lnTo>
                  <a:lnTo>
                    <a:pt x="79" y="16"/>
                  </a:lnTo>
                  <a:lnTo>
                    <a:pt x="95" y="11"/>
                  </a:lnTo>
                  <a:lnTo>
                    <a:pt x="111" y="7"/>
                  </a:lnTo>
                  <a:lnTo>
                    <a:pt x="128" y="4"/>
                  </a:lnTo>
                  <a:lnTo>
                    <a:pt x="145" y="2"/>
                  </a:lnTo>
                  <a:lnTo>
                    <a:pt x="163" y="0"/>
                  </a:lnTo>
                  <a:lnTo>
                    <a:pt x="183" y="0"/>
                  </a:lnTo>
                  <a:lnTo>
                    <a:pt x="201" y="0"/>
                  </a:lnTo>
                  <a:lnTo>
                    <a:pt x="219" y="2"/>
                  </a:lnTo>
                  <a:lnTo>
                    <a:pt x="236" y="4"/>
                  </a:lnTo>
                  <a:lnTo>
                    <a:pt x="254" y="7"/>
                  </a:lnTo>
                  <a:lnTo>
                    <a:pt x="270" y="11"/>
                  </a:lnTo>
                  <a:lnTo>
                    <a:pt x="285" y="16"/>
                  </a:lnTo>
                  <a:lnTo>
                    <a:pt x="299" y="22"/>
                  </a:lnTo>
                  <a:lnTo>
                    <a:pt x="311" y="28"/>
                  </a:lnTo>
                  <a:lnTo>
                    <a:pt x="324" y="35"/>
                  </a:lnTo>
                  <a:lnTo>
                    <a:pt x="334" y="43"/>
                  </a:lnTo>
                  <a:lnTo>
                    <a:pt x="339" y="46"/>
                  </a:lnTo>
                  <a:lnTo>
                    <a:pt x="344" y="50"/>
                  </a:lnTo>
                  <a:lnTo>
                    <a:pt x="348" y="55"/>
                  </a:lnTo>
                  <a:lnTo>
                    <a:pt x="351" y="59"/>
                  </a:lnTo>
                  <a:lnTo>
                    <a:pt x="355" y="63"/>
                  </a:lnTo>
                  <a:lnTo>
                    <a:pt x="358" y="67"/>
                  </a:lnTo>
                  <a:lnTo>
                    <a:pt x="359" y="72"/>
                  </a:lnTo>
                  <a:lnTo>
                    <a:pt x="362" y="76"/>
                  </a:lnTo>
                  <a:lnTo>
                    <a:pt x="363" y="81"/>
                  </a:lnTo>
                  <a:lnTo>
                    <a:pt x="365" y="87"/>
                  </a:lnTo>
                  <a:lnTo>
                    <a:pt x="365" y="91"/>
                  </a:lnTo>
                  <a:lnTo>
                    <a:pt x="366" y="96"/>
                  </a:lnTo>
                  <a:lnTo>
                    <a:pt x="365" y="101"/>
                  </a:lnTo>
                  <a:lnTo>
                    <a:pt x="365" y="105"/>
                  </a:lnTo>
                  <a:lnTo>
                    <a:pt x="363" y="111"/>
                  </a:lnTo>
                  <a:lnTo>
                    <a:pt x="362" y="116"/>
                  </a:lnTo>
                  <a:lnTo>
                    <a:pt x="359" y="120"/>
                  </a:lnTo>
                  <a:lnTo>
                    <a:pt x="358" y="125"/>
                  </a:lnTo>
                  <a:lnTo>
                    <a:pt x="355" y="129"/>
                  </a:lnTo>
                  <a:lnTo>
                    <a:pt x="351" y="133"/>
                  </a:lnTo>
                  <a:lnTo>
                    <a:pt x="348" y="137"/>
                  </a:lnTo>
                  <a:lnTo>
                    <a:pt x="344" y="142"/>
                  </a:lnTo>
                  <a:lnTo>
                    <a:pt x="339" y="146"/>
                  </a:lnTo>
                  <a:lnTo>
                    <a:pt x="334" y="150"/>
                  </a:lnTo>
                  <a:lnTo>
                    <a:pt x="324" y="157"/>
                  </a:lnTo>
                  <a:lnTo>
                    <a:pt x="311" y="164"/>
                  </a:lnTo>
                  <a:lnTo>
                    <a:pt x="299" y="170"/>
                  </a:lnTo>
                  <a:lnTo>
                    <a:pt x="285" y="176"/>
                  </a:lnTo>
                  <a:lnTo>
                    <a:pt x="270" y="181"/>
                  </a:lnTo>
                  <a:lnTo>
                    <a:pt x="254" y="185"/>
                  </a:lnTo>
                  <a:lnTo>
                    <a:pt x="236" y="188"/>
                  </a:lnTo>
                  <a:lnTo>
                    <a:pt x="219" y="190"/>
                  </a:lnTo>
                  <a:lnTo>
                    <a:pt x="201" y="192"/>
                  </a:lnTo>
                  <a:lnTo>
                    <a:pt x="183" y="193"/>
                  </a:lnTo>
                  <a:lnTo>
                    <a:pt x="163" y="192"/>
                  </a:lnTo>
                  <a:lnTo>
                    <a:pt x="145" y="190"/>
                  </a:lnTo>
                  <a:lnTo>
                    <a:pt x="128" y="188"/>
                  </a:lnTo>
                  <a:lnTo>
                    <a:pt x="111" y="185"/>
                  </a:lnTo>
                  <a:lnTo>
                    <a:pt x="95" y="181"/>
                  </a:lnTo>
                  <a:lnTo>
                    <a:pt x="79" y="176"/>
                  </a:lnTo>
                  <a:lnTo>
                    <a:pt x="65" y="170"/>
                  </a:lnTo>
                  <a:lnTo>
                    <a:pt x="53" y="164"/>
                  </a:lnTo>
                  <a:lnTo>
                    <a:pt x="40" y="157"/>
                  </a:lnTo>
                  <a:lnTo>
                    <a:pt x="30" y="150"/>
                  </a:lnTo>
                  <a:lnTo>
                    <a:pt x="25" y="146"/>
                  </a:lnTo>
                  <a:lnTo>
                    <a:pt x="21" y="142"/>
                  </a:lnTo>
                  <a:lnTo>
                    <a:pt x="16" y="137"/>
                  </a:lnTo>
                  <a:lnTo>
                    <a:pt x="14" y="133"/>
                  </a:lnTo>
                  <a:lnTo>
                    <a:pt x="9" y="129"/>
                  </a:lnTo>
                  <a:lnTo>
                    <a:pt x="7" y="125"/>
                  </a:lnTo>
                  <a:lnTo>
                    <a:pt x="5" y="120"/>
                  </a:lnTo>
                  <a:lnTo>
                    <a:pt x="2" y="116"/>
                  </a:lnTo>
                  <a:lnTo>
                    <a:pt x="1" y="111"/>
                  </a:lnTo>
                  <a:lnTo>
                    <a:pt x="0" y="105"/>
                  </a:lnTo>
                  <a:lnTo>
                    <a:pt x="0" y="101"/>
                  </a:lnTo>
                  <a:lnTo>
                    <a:pt x="0" y="96"/>
                  </a:lnTo>
                </a:path>
              </a:pathLst>
            </a:custGeom>
            <a:noFill/>
            <a:ln w="17463">
              <a:solidFill>
                <a:srgbClr val="41719C"/>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162" name="Freeform 158">
              <a:extLst>
                <a:ext uri="{FF2B5EF4-FFF2-40B4-BE49-F238E27FC236}">
                  <a16:creationId xmlns:a16="http://schemas.microsoft.com/office/drawing/2014/main" xmlns="" id="{031E19B7-BCBD-41DF-444A-643EA24FD597}"/>
                </a:ext>
              </a:extLst>
            </p:cNvPr>
            <p:cNvSpPr>
              <a:spLocks/>
            </p:cNvSpPr>
            <p:nvPr/>
          </p:nvSpPr>
          <p:spPr bwMode="auto">
            <a:xfrm>
              <a:off x="745" y="2154"/>
              <a:ext cx="366" cy="174"/>
            </a:xfrm>
            <a:custGeom>
              <a:avLst/>
              <a:gdLst>
                <a:gd name="T0" fmla="*/ 0 w 366"/>
                <a:gd name="T1" fmla="*/ 82 h 174"/>
                <a:gd name="T2" fmla="*/ 1 w 366"/>
                <a:gd name="T3" fmla="*/ 73 h 174"/>
                <a:gd name="T4" fmla="*/ 5 w 366"/>
                <a:gd name="T5" fmla="*/ 65 h 174"/>
                <a:gd name="T6" fmla="*/ 10 w 366"/>
                <a:gd name="T7" fmla="*/ 57 h 174"/>
                <a:gd name="T8" fmla="*/ 17 w 366"/>
                <a:gd name="T9" fmla="*/ 49 h 174"/>
                <a:gd name="T10" fmla="*/ 25 w 366"/>
                <a:gd name="T11" fmla="*/ 41 h 174"/>
                <a:gd name="T12" fmla="*/ 40 w 366"/>
                <a:gd name="T13" fmla="*/ 31 h 174"/>
                <a:gd name="T14" fmla="*/ 66 w 366"/>
                <a:gd name="T15" fmla="*/ 19 h 174"/>
                <a:gd name="T16" fmla="*/ 95 w 366"/>
                <a:gd name="T17" fmla="*/ 9 h 174"/>
                <a:gd name="T18" fmla="*/ 128 w 366"/>
                <a:gd name="T19" fmla="*/ 3 h 174"/>
                <a:gd name="T20" fmla="*/ 163 w 366"/>
                <a:gd name="T21" fmla="*/ 0 h 174"/>
                <a:gd name="T22" fmla="*/ 201 w 366"/>
                <a:gd name="T23" fmla="*/ 0 h 174"/>
                <a:gd name="T24" fmla="*/ 236 w 366"/>
                <a:gd name="T25" fmla="*/ 3 h 174"/>
                <a:gd name="T26" fmla="*/ 270 w 366"/>
                <a:gd name="T27" fmla="*/ 9 h 174"/>
                <a:gd name="T28" fmla="*/ 299 w 366"/>
                <a:gd name="T29" fmla="*/ 19 h 174"/>
                <a:gd name="T30" fmla="*/ 324 w 366"/>
                <a:gd name="T31" fmla="*/ 31 h 174"/>
                <a:gd name="T32" fmla="*/ 340 w 366"/>
                <a:gd name="T33" fmla="*/ 41 h 174"/>
                <a:gd name="T34" fmla="*/ 348 w 366"/>
                <a:gd name="T35" fmla="*/ 49 h 174"/>
                <a:gd name="T36" fmla="*/ 355 w 366"/>
                <a:gd name="T37" fmla="*/ 57 h 174"/>
                <a:gd name="T38" fmla="*/ 359 w 366"/>
                <a:gd name="T39" fmla="*/ 65 h 174"/>
                <a:gd name="T40" fmla="*/ 363 w 366"/>
                <a:gd name="T41" fmla="*/ 73 h 174"/>
                <a:gd name="T42" fmla="*/ 365 w 366"/>
                <a:gd name="T43" fmla="*/ 82 h 174"/>
                <a:gd name="T44" fmla="*/ 365 w 366"/>
                <a:gd name="T45" fmla="*/ 90 h 174"/>
                <a:gd name="T46" fmla="*/ 363 w 366"/>
                <a:gd name="T47" fmla="*/ 100 h 174"/>
                <a:gd name="T48" fmla="*/ 359 w 366"/>
                <a:gd name="T49" fmla="*/ 108 h 174"/>
                <a:gd name="T50" fmla="*/ 355 w 366"/>
                <a:gd name="T51" fmla="*/ 117 h 174"/>
                <a:gd name="T52" fmla="*/ 348 w 366"/>
                <a:gd name="T53" fmla="*/ 124 h 174"/>
                <a:gd name="T54" fmla="*/ 340 w 366"/>
                <a:gd name="T55" fmla="*/ 131 h 174"/>
                <a:gd name="T56" fmla="*/ 324 w 366"/>
                <a:gd name="T57" fmla="*/ 142 h 174"/>
                <a:gd name="T58" fmla="*/ 299 w 366"/>
                <a:gd name="T59" fmla="*/ 154 h 174"/>
                <a:gd name="T60" fmla="*/ 270 w 366"/>
                <a:gd name="T61" fmla="*/ 163 h 174"/>
                <a:gd name="T62" fmla="*/ 236 w 366"/>
                <a:gd name="T63" fmla="*/ 170 h 174"/>
                <a:gd name="T64" fmla="*/ 201 w 366"/>
                <a:gd name="T65" fmla="*/ 173 h 174"/>
                <a:gd name="T66" fmla="*/ 163 w 366"/>
                <a:gd name="T67" fmla="*/ 173 h 174"/>
                <a:gd name="T68" fmla="*/ 128 w 366"/>
                <a:gd name="T69" fmla="*/ 170 h 174"/>
                <a:gd name="T70" fmla="*/ 95 w 366"/>
                <a:gd name="T71" fmla="*/ 163 h 174"/>
                <a:gd name="T72" fmla="*/ 66 w 366"/>
                <a:gd name="T73" fmla="*/ 154 h 174"/>
                <a:gd name="T74" fmla="*/ 40 w 366"/>
                <a:gd name="T75" fmla="*/ 142 h 174"/>
                <a:gd name="T76" fmla="*/ 25 w 366"/>
                <a:gd name="T77" fmla="*/ 131 h 174"/>
                <a:gd name="T78" fmla="*/ 17 w 366"/>
                <a:gd name="T79" fmla="*/ 124 h 174"/>
                <a:gd name="T80" fmla="*/ 10 w 366"/>
                <a:gd name="T81" fmla="*/ 117 h 174"/>
                <a:gd name="T82" fmla="*/ 5 w 366"/>
                <a:gd name="T83" fmla="*/ 108 h 174"/>
                <a:gd name="T84" fmla="*/ 1 w 366"/>
                <a:gd name="T85" fmla="*/ 100 h 174"/>
                <a:gd name="T86" fmla="*/ 0 w 366"/>
                <a:gd name="T87" fmla="*/ 9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6" h="174">
                  <a:moveTo>
                    <a:pt x="0" y="86"/>
                  </a:moveTo>
                  <a:lnTo>
                    <a:pt x="0" y="82"/>
                  </a:lnTo>
                  <a:lnTo>
                    <a:pt x="0" y="77"/>
                  </a:lnTo>
                  <a:lnTo>
                    <a:pt x="1" y="73"/>
                  </a:lnTo>
                  <a:lnTo>
                    <a:pt x="3" y="69"/>
                  </a:lnTo>
                  <a:lnTo>
                    <a:pt x="5" y="65"/>
                  </a:lnTo>
                  <a:lnTo>
                    <a:pt x="7" y="61"/>
                  </a:lnTo>
                  <a:lnTo>
                    <a:pt x="10" y="57"/>
                  </a:lnTo>
                  <a:lnTo>
                    <a:pt x="14" y="53"/>
                  </a:lnTo>
                  <a:lnTo>
                    <a:pt x="17" y="49"/>
                  </a:lnTo>
                  <a:lnTo>
                    <a:pt x="21" y="45"/>
                  </a:lnTo>
                  <a:lnTo>
                    <a:pt x="25" y="41"/>
                  </a:lnTo>
                  <a:lnTo>
                    <a:pt x="31" y="37"/>
                  </a:lnTo>
                  <a:lnTo>
                    <a:pt x="40" y="31"/>
                  </a:lnTo>
                  <a:lnTo>
                    <a:pt x="53" y="25"/>
                  </a:lnTo>
                  <a:lnTo>
                    <a:pt x="66" y="19"/>
                  </a:lnTo>
                  <a:lnTo>
                    <a:pt x="79" y="15"/>
                  </a:lnTo>
                  <a:lnTo>
                    <a:pt x="95" y="9"/>
                  </a:lnTo>
                  <a:lnTo>
                    <a:pt x="112" y="7"/>
                  </a:lnTo>
                  <a:lnTo>
                    <a:pt x="128" y="3"/>
                  </a:lnTo>
                  <a:lnTo>
                    <a:pt x="145" y="1"/>
                  </a:lnTo>
                  <a:lnTo>
                    <a:pt x="163" y="0"/>
                  </a:lnTo>
                  <a:lnTo>
                    <a:pt x="183" y="0"/>
                  </a:lnTo>
                  <a:lnTo>
                    <a:pt x="201" y="0"/>
                  </a:lnTo>
                  <a:lnTo>
                    <a:pt x="219" y="1"/>
                  </a:lnTo>
                  <a:lnTo>
                    <a:pt x="236" y="3"/>
                  </a:lnTo>
                  <a:lnTo>
                    <a:pt x="254" y="7"/>
                  </a:lnTo>
                  <a:lnTo>
                    <a:pt x="270" y="9"/>
                  </a:lnTo>
                  <a:lnTo>
                    <a:pt x="285" y="15"/>
                  </a:lnTo>
                  <a:lnTo>
                    <a:pt x="299" y="19"/>
                  </a:lnTo>
                  <a:lnTo>
                    <a:pt x="312" y="25"/>
                  </a:lnTo>
                  <a:lnTo>
                    <a:pt x="324" y="31"/>
                  </a:lnTo>
                  <a:lnTo>
                    <a:pt x="334" y="37"/>
                  </a:lnTo>
                  <a:lnTo>
                    <a:pt x="340" y="41"/>
                  </a:lnTo>
                  <a:lnTo>
                    <a:pt x="344" y="45"/>
                  </a:lnTo>
                  <a:lnTo>
                    <a:pt x="348" y="49"/>
                  </a:lnTo>
                  <a:lnTo>
                    <a:pt x="351" y="53"/>
                  </a:lnTo>
                  <a:lnTo>
                    <a:pt x="355" y="57"/>
                  </a:lnTo>
                  <a:lnTo>
                    <a:pt x="358" y="61"/>
                  </a:lnTo>
                  <a:lnTo>
                    <a:pt x="359" y="65"/>
                  </a:lnTo>
                  <a:lnTo>
                    <a:pt x="362" y="69"/>
                  </a:lnTo>
                  <a:lnTo>
                    <a:pt x="363" y="73"/>
                  </a:lnTo>
                  <a:lnTo>
                    <a:pt x="365" y="77"/>
                  </a:lnTo>
                  <a:lnTo>
                    <a:pt x="365" y="82"/>
                  </a:lnTo>
                  <a:lnTo>
                    <a:pt x="366" y="86"/>
                  </a:lnTo>
                  <a:lnTo>
                    <a:pt x="365" y="90"/>
                  </a:lnTo>
                  <a:lnTo>
                    <a:pt x="365" y="96"/>
                  </a:lnTo>
                  <a:lnTo>
                    <a:pt x="363" y="100"/>
                  </a:lnTo>
                  <a:lnTo>
                    <a:pt x="362" y="104"/>
                  </a:lnTo>
                  <a:lnTo>
                    <a:pt x="359" y="108"/>
                  </a:lnTo>
                  <a:lnTo>
                    <a:pt x="358" y="113"/>
                  </a:lnTo>
                  <a:lnTo>
                    <a:pt x="355" y="117"/>
                  </a:lnTo>
                  <a:lnTo>
                    <a:pt x="351" y="121"/>
                  </a:lnTo>
                  <a:lnTo>
                    <a:pt x="348" y="124"/>
                  </a:lnTo>
                  <a:lnTo>
                    <a:pt x="344" y="128"/>
                  </a:lnTo>
                  <a:lnTo>
                    <a:pt x="340" y="131"/>
                  </a:lnTo>
                  <a:lnTo>
                    <a:pt x="334" y="135"/>
                  </a:lnTo>
                  <a:lnTo>
                    <a:pt x="324" y="142"/>
                  </a:lnTo>
                  <a:lnTo>
                    <a:pt x="312" y="147"/>
                  </a:lnTo>
                  <a:lnTo>
                    <a:pt x="299" y="154"/>
                  </a:lnTo>
                  <a:lnTo>
                    <a:pt x="285" y="158"/>
                  </a:lnTo>
                  <a:lnTo>
                    <a:pt x="270" y="163"/>
                  </a:lnTo>
                  <a:lnTo>
                    <a:pt x="254" y="166"/>
                  </a:lnTo>
                  <a:lnTo>
                    <a:pt x="236" y="170"/>
                  </a:lnTo>
                  <a:lnTo>
                    <a:pt x="219" y="171"/>
                  </a:lnTo>
                  <a:lnTo>
                    <a:pt x="201" y="173"/>
                  </a:lnTo>
                  <a:lnTo>
                    <a:pt x="183" y="174"/>
                  </a:lnTo>
                  <a:lnTo>
                    <a:pt x="163" y="173"/>
                  </a:lnTo>
                  <a:lnTo>
                    <a:pt x="145" y="171"/>
                  </a:lnTo>
                  <a:lnTo>
                    <a:pt x="128" y="170"/>
                  </a:lnTo>
                  <a:lnTo>
                    <a:pt x="112" y="166"/>
                  </a:lnTo>
                  <a:lnTo>
                    <a:pt x="95" y="163"/>
                  </a:lnTo>
                  <a:lnTo>
                    <a:pt x="79" y="158"/>
                  </a:lnTo>
                  <a:lnTo>
                    <a:pt x="66" y="154"/>
                  </a:lnTo>
                  <a:lnTo>
                    <a:pt x="53" y="147"/>
                  </a:lnTo>
                  <a:lnTo>
                    <a:pt x="40" y="142"/>
                  </a:lnTo>
                  <a:lnTo>
                    <a:pt x="31" y="135"/>
                  </a:lnTo>
                  <a:lnTo>
                    <a:pt x="25" y="131"/>
                  </a:lnTo>
                  <a:lnTo>
                    <a:pt x="21" y="128"/>
                  </a:lnTo>
                  <a:lnTo>
                    <a:pt x="17" y="124"/>
                  </a:lnTo>
                  <a:lnTo>
                    <a:pt x="14" y="121"/>
                  </a:lnTo>
                  <a:lnTo>
                    <a:pt x="10" y="117"/>
                  </a:lnTo>
                  <a:lnTo>
                    <a:pt x="7" y="113"/>
                  </a:lnTo>
                  <a:lnTo>
                    <a:pt x="5" y="108"/>
                  </a:lnTo>
                  <a:lnTo>
                    <a:pt x="3" y="104"/>
                  </a:lnTo>
                  <a:lnTo>
                    <a:pt x="1" y="100"/>
                  </a:lnTo>
                  <a:lnTo>
                    <a:pt x="0" y="96"/>
                  </a:lnTo>
                  <a:lnTo>
                    <a:pt x="0" y="90"/>
                  </a:lnTo>
                  <a:lnTo>
                    <a:pt x="0" y="86"/>
                  </a:lnTo>
                  <a:close/>
                </a:path>
              </a:pathLst>
            </a:custGeom>
            <a:solidFill>
              <a:srgbClr val="FF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63" name="Freeform 159">
              <a:extLst>
                <a:ext uri="{FF2B5EF4-FFF2-40B4-BE49-F238E27FC236}">
                  <a16:creationId xmlns:a16="http://schemas.microsoft.com/office/drawing/2014/main" xmlns="" id="{3D12BCFD-8A8F-810F-8426-53B1ACDE8AE2}"/>
                </a:ext>
              </a:extLst>
            </p:cNvPr>
            <p:cNvSpPr>
              <a:spLocks/>
            </p:cNvSpPr>
            <p:nvPr/>
          </p:nvSpPr>
          <p:spPr bwMode="auto">
            <a:xfrm>
              <a:off x="745" y="2154"/>
              <a:ext cx="366" cy="174"/>
            </a:xfrm>
            <a:custGeom>
              <a:avLst/>
              <a:gdLst>
                <a:gd name="T0" fmla="*/ 0 w 366"/>
                <a:gd name="T1" fmla="*/ 82 h 174"/>
                <a:gd name="T2" fmla="*/ 1 w 366"/>
                <a:gd name="T3" fmla="*/ 73 h 174"/>
                <a:gd name="T4" fmla="*/ 5 w 366"/>
                <a:gd name="T5" fmla="*/ 65 h 174"/>
                <a:gd name="T6" fmla="*/ 10 w 366"/>
                <a:gd name="T7" fmla="*/ 57 h 174"/>
                <a:gd name="T8" fmla="*/ 17 w 366"/>
                <a:gd name="T9" fmla="*/ 49 h 174"/>
                <a:gd name="T10" fmla="*/ 25 w 366"/>
                <a:gd name="T11" fmla="*/ 41 h 174"/>
                <a:gd name="T12" fmla="*/ 40 w 366"/>
                <a:gd name="T13" fmla="*/ 31 h 174"/>
                <a:gd name="T14" fmla="*/ 66 w 366"/>
                <a:gd name="T15" fmla="*/ 19 h 174"/>
                <a:gd name="T16" fmla="*/ 95 w 366"/>
                <a:gd name="T17" fmla="*/ 9 h 174"/>
                <a:gd name="T18" fmla="*/ 128 w 366"/>
                <a:gd name="T19" fmla="*/ 3 h 174"/>
                <a:gd name="T20" fmla="*/ 163 w 366"/>
                <a:gd name="T21" fmla="*/ 0 h 174"/>
                <a:gd name="T22" fmla="*/ 201 w 366"/>
                <a:gd name="T23" fmla="*/ 0 h 174"/>
                <a:gd name="T24" fmla="*/ 236 w 366"/>
                <a:gd name="T25" fmla="*/ 3 h 174"/>
                <a:gd name="T26" fmla="*/ 270 w 366"/>
                <a:gd name="T27" fmla="*/ 9 h 174"/>
                <a:gd name="T28" fmla="*/ 299 w 366"/>
                <a:gd name="T29" fmla="*/ 19 h 174"/>
                <a:gd name="T30" fmla="*/ 324 w 366"/>
                <a:gd name="T31" fmla="*/ 31 h 174"/>
                <a:gd name="T32" fmla="*/ 340 w 366"/>
                <a:gd name="T33" fmla="*/ 41 h 174"/>
                <a:gd name="T34" fmla="*/ 348 w 366"/>
                <a:gd name="T35" fmla="*/ 49 h 174"/>
                <a:gd name="T36" fmla="*/ 355 w 366"/>
                <a:gd name="T37" fmla="*/ 57 h 174"/>
                <a:gd name="T38" fmla="*/ 359 w 366"/>
                <a:gd name="T39" fmla="*/ 65 h 174"/>
                <a:gd name="T40" fmla="*/ 363 w 366"/>
                <a:gd name="T41" fmla="*/ 73 h 174"/>
                <a:gd name="T42" fmla="*/ 365 w 366"/>
                <a:gd name="T43" fmla="*/ 82 h 174"/>
                <a:gd name="T44" fmla="*/ 365 w 366"/>
                <a:gd name="T45" fmla="*/ 90 h 174"/>
                <a:gd name="T46" fmla="*/ 363 w 366"/>
                <a:gd name="T47" fmla="*/ 100 h 174"/>
                <a:gd name="T48" fmla="*/ 359 w 366"/>
                <a:gd name="T49" fmla="*/ 108 h 174"/>
                <a:gd name="T50" fmla="*/ 355 w 366"/>
                <a:gd name="T51" fmla="*/ 117 h 174"/>
                <a:gd name="T52" fmla="*/ 348 w 366"/>
                <a:gd name="T53" fmla="*/ 124 h 174"/>
                <a:gd name="T54" fmla="*/ 340 w 366"/>
                <a:gd name="T55" fmla="*/ 131 h 174"/>
                <a:gd name="T56" fmla="*/ 324 w 366"/>
                <a:gd name="T57" fmla="*/ 142 h 174"/>
                <a:gd name="T58" fmla="*/ 299 w 366"/>
                <a:gd name="T59" fmla="*/ 154 h 174"/>
                <a:gd name="T60" fmla="*/ 270 w 366"/>
                <a:gd name="T61" fmla="*/ 163 h 174"/>
                <a:gd name="T62" fmla="*/ 236 w 366"/>
                <a:gd name="T63" fmla="*/ 170 h 174"/>
                <a:gd name="T64" fmla="*/ 201 w 366"/>
                <a:gd name="T65" fmla="*/ 173 h 174"/>
                <a:gd name="T66" fmla="*/ 163 w 366"/>
                <a:gd name="T67" fmla="*/ 173 h 174"/>
                <a:gd name="T68" fmla="*/ 128 w 366"/>
                <a:gd name="T69" fmla="*/ 170 h 174"/>
                <a:gd name="T70" fmla="*/ 95 w 366"/>
                <a:gd name="T71" fmla="*/ 163 h 174"/>
                <a:gd name="T72" fmla="*/ 66 w 366"/>
                <a:gd name="T73" fmla="*/ 154 h 174"/>
                <a:gd name="T74" fmla="*/ 40 w 366"/>
                <a:gd name="T75" fmla="*/ 142 h 174"/>
                <a:gd name="T76" fmla="*/ 25 w 366"/>
                <a:gd name="T77" fmla="*/ 131 h 174"/>
                <a:gd name="T78" fmla="*/ 17 w 366"/>
                <a:gd name="T79" fmla="*/ 124 h 174"/>
                <a:gd name="T80" fmla="*/ 10 w 366"/>
                <a:gd name="T81" fmla="*/ 117 h 174"/>
                <a:gd name="T82" fmla="*/ 5 w 366"/>
                <a:gd name="T83" fmla="*/ 108 h 174"/>
                <a:gd name="T84" fmla="*/ 1 w 366"/>
                <a:gd name="T85" fmla="*/ 100 h 174"/>
                <a:gd name="T86" fmla="*/ 0 w 366"/>
                <a:gd name="T87" fmla="*/ 9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6" h="174">
                  <a:moveTo>
                    <a:pt x="0" y="86"/>
                  </a:moveTo>
                  <a:lnTo>
                    <a:pt x="0" y="82"/>
                  </a:lnTo>
                  <a:lnTo>
                    <a:pt x="0" y="77"/>
                  </a:lnTo>
                  <a:lnTo>
                    <a:pt x="1" y="73"/>
                  </a:lnTo>
                  <a:lnTo>
                    <a:pt x="3" y="69"/>
                  </a:lnTo>
                  <a:lnTo>
                    <a:pt x="5" y="65"/>
                  </a:lnTo>
                  <a:lnTo>
                    <a:pt x="7" y="61"/>
                  </a:lnTo>
                  <a:lnTo>
                    <a:pt x="10" y="57"/>
                  </a:lnTo>
                  <a:lnTo>
                    <a:pt x="14" y="53"/>
                  </a:lnTo>
                  <a:lnTo>
                    <a:pt x="17" y="49"/>
                  </a:lnTo>
                  <a:lnTo>
                    <a:pt x="21" y="45"/>
                  </a:lnTo>
                  <a:lnTo>
                    <a:pt x="25" y="41"/>
                  </a:lnTo>
                  <a:lnTo>
                    <a:pt x="31" y="37"/>
                  </a:lnTo>
                  <a:lnTo>
                    <a:pt x="40" y="31"/>
                  </a:lnTo>
                  <a:lnTo>
                    <a:pt x="53" y="25"/>
                  </a:lnTo>
                  <a:lnTo>
                    <a:pt x="66" y="19"/>
                  </a:lnTo>
                  <a:lnTo>
                    <a:pt x="79" y="15"/>
                  </a:lnTo>
                  <a:lnTo>
                    <a:pt x="95" y="9"/>
                  </a:lnTo>
                  <a:lnTo>
                    <a:pt x="112" y="7"/>
                  </a:lnTo>
                  <a:lnTo>
                    <a:pt x="128" y="3"/>
                  </a:lnTo>
                  <a:lnTo>
                    <a:pt x="145" y="1"/>
                  </a:lnTo>
                  <a:lnTo>
                    <a:pt x="163" y="0"/>
                  </a:lnTo>
                  <a:lnTo>
                    <a:pt x="183" y="0"/>
                  </a:lnTo>
                  <a:lnTo>
                    <a:pt x="201" y="0"/>
                  </a:lnTo>
                  <a:lnTo>
                    <a:pt x="219" y="1"/>
                  </a:lnTo>
                  <a:lnTo>
                    <a:pt x="236" y="3"/>
                  </a:lnTo>
                  <a:lnTo>
                    <a:pt x="254" y="7"/>
                  </a:lnTo>
                  <a:lnTo>
                    <a:pt x="270" y="9"/>
                  </a:lnTo>
                  <a:lnTo>
                    <a:pt x="285" y="15"/>
                  </a:lnTo>
                  <a:lnTo>
                    <a:pt x="299" y="19"/>
                  </a:lnTo>
                  <a:lnTo>
                    <a:pt x="312" y="25"/>
                  </a:lnTo>
                  <a:lnTo>
                    <a:pt x="324" y="31"/>
                  </a:lnTo>
                  <a:lnTo>
                    <a:pt x="334" y="37"/>
                  </a:lnTo>
                  <a:lnTo>
                    <a:pt x="340" y="41"/>
                  </a:lnTo>
                  <a:lnTo>
                    <a:pt x="344" y="45"/>
                  </a:lnTo>
                  <a:lnTo>
                    <a:pt x="348" y="49"/>
                  </a:lnTo>
                  <a:lnTo>
                    <a:pt x="351" y="53"/>
                  </a:lnTo>
                  <a:lnTo>
                    <a:pt x="355" y="57"/>
                  </a:lnTo>
                  <a:lnTo>
                    <a:pt x="358" y="61"/>
                  </a:lnTo>
                  <a:lnTo>
                    <a:pt x="359" y="65"/>
                  </a:lnTo>
                  <a:lnTo>
                    <a:pt x="362" y="69"/>
                  </a:lnTo>
                  <a:lnTo>
                    <a:pt x="363" y="73"/>
                  </a:lnTo>
                  <a:lnTo>
                    <a:pt x="365" y="77"/>
                  </a:lnTo>
                  <a:lnTo>
                    <a:pt x="365" y="82"/>
                  </a:lnTo>
                  <a:lnTo>
                    <a:pt x="366" y="86"/>
                  </a:lnTo>
                  <a:lnTo>
                    <a:pt x="365" y="90"/>
                  </a:lnTo>
                  <a:lnTo>
                    <a:pt x="365" y="96"/>
                  </a:lnTo>
                  <a:lnTo>
                    <a:pt x="363" y="100"/>
                  </a:lnTo>
                  <a:lnTo>
                    <a:pt x="362" y="104"/>
                  </a:lnTo>
                  <a:lnTo>
                    <a:pt x="359" y="108"/>
                  </a:lnTo>
                  <a:lnTo>
                    <a:pt x="358" y="113"/>
                  </a:lnTo>
                  <a:lnTo>
                    <a:pt x="355" y="117"/>
                  </a:lnTo>
                  <a:lnTo>
                    <a:pt x="351" y="121"/>
                  </a:lnTo>
                  <a:lnTo>
                    <a:pt x="348" y="124"/>
                  </a:lnTo>
                  <a:lnTo>
                    <a:pt x="344" y="128"/>
                  </a:lnTo>
                  <a:lnTo>
                    <a:pt x="340" y="131"/>
                  </a:lnTo>
                  <a:lnTo>
                    <a:pt x="334" y="135"/>
                  </a:lnTo>
                  <a:lnTo>
                    <a:pt x="324" y="142"/>
                  </a:lnTo>
                  <a:lnTo>
                    <a:pt x="312" y="147"/>
                  </a:lnTo>
                  <a:lnTo>
                    <a:pt x="299" y="154"/>
                  </a:lnTo>
                  <a:lnTo>
                    <a:pt x="285" y="158"/>
                  </a:lnTo>
                  <a:lnTo>
                    <a:pt x="270" y="163"/>
                  </a:lnTo>
                  <a:lnTo>
                    <a:pt x="254" y="166"/>
                  </a:lnTo>
                  <a:lnTo>
                    <a:pt x="236" y="170"/>
                  </a:lnTo>
                  <a:lnTo>
                    <a:pt x="219" y="171"/>
                  </a:lnTo>
                  <a:lnTo>
                    <a:pt x="201" y="173"/>
                  </a:lnTo>
                  <a:lnTo>
                    <a:pt x="183" y="174"/>
                  </a:lnTo>
                  <a:lnTo>
                    <a:pt x="163" y="173"/>
                  </a:lnTo>
                  <a:lnTo>
                    <a:pt x="145" y="171"/>
                  </a:lnTo>
                  <a:lnTo>
                    <a:pt x="128" y="170"/>
                  </a:lnTo>
                  <a:lnTo>
                    <a:pt x="112" y="166"/>
                  </a:lnTo>
                  <a:lnTo>
                    <a:pt x="95" y="163"/>
                  </a:lnTo>
                  <a:lnTo>
                    <a:pt x="79" y="158"/>
                  </a:lnTo>
                  <a:lnTo>
                    <a:pt x="66" y="154"/>
                  </a:lnTo>
                  <a:lnTo>
                    <a:pt x="53" y="147"/>
                  </a:lnTo>
                  <a:lnTo>
                    <a:pt x="40" y="142"/>
                  </a:lnTo>
                  <a:lnTo>
                    <a:pt x="31" y="135"/>
                  </a:lnTo>
                  <a:lnTo>
                    <a:pt x="25" y="131"/>
                  </a:lnTo>
                  <a:lnTo>
                    <a:pt x="21" y="128"/>
                  </a:lnTo>
                  <a:lnTo>
                    <a:pt x="17" y="124"/>
                  </a:lnTo>
                  <a:lnTo>
                    <a:pt x="14" y="121"/>
                  </a:lnTo>
                  <a:lnTo>
                    <a:pt x="10" y="117"/>
                  </a:lnTo>
                  <a:lnTo>
                    <a:pt x="7" y="113"/>
                  </a:lnTo>
                  <a:lnTo>
                    <a:pt x="5" y="108"/>
                  </a:lnTo>
                  <a:lnTo>
                    <a:pt x="3" y="104"/>
                  </a:lnTo>
                  <a:lnTo>
                    <a:pt x="1" y="100"/>
                  </a:lnTo>
                  <a:lnTo>
                    <a:pt x="0" y="96"/>
                  </a:lnTo>
                  <a:lnTo>
                    <a:pt x="0" y="90"/>
                  </a:lnTo>
                  <a:lnTo>
                    <a:pt x="0" y="86"/>
                  </a:lnTo>
                </a:path>
              </a:pathLst>
            </a:custGeom>
            <a:noFill/>
            <a:ln w="17463">
              <a:solidFill>
                <a:srgbClr val="41719C"/>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164" name="Freeform 160">
              <a:extLst>
                <a:ext uri="{FF2B5EF4-FFF2-40B4-BE49-F238E27FC236}">
                  <a16:creationId xmlns:a16="http://schemas.microsoft.com/office/drawing/2014/main" xmlns="" id="{F33D040C-3131-E0F3-80E3-BD4C597D498F}"/>
                </a:ext>
              </a:extLst>
            </p:cNvPr>
            <p:cNvSpPr>
              <a:spLocks/>
            </p:cNvSpPr>
            <p:nvPr/>
          </p:nvSpPr>
          <p:spPr bwMode="auto">
            <a:xfrm>
              <a:off x="755" y="1961"/>
              <a:ext cx="366" cy="174"/>
            </a:xfrm>
            <a:custGeom>
              <a:avLst/>
              <a:gdLst>
                <a:gd name="T0" fmla="*/ 0 w 366"/>
                <a:gd name="T1" fmla="*/ 83 h 174"/>
                <a:gd name="T2" fmla="*/ 1 w 366"/>
                <a:gd name="T3" fmla="*/ 74 h 174"/>
                <a:gd name="T4" fmla="*/ 5 w 366"/>
                <a:gd name="T5" fmla="*/ 66 h 174"/>
                <a:gd name="T6" fmla="*/ 9 w 366"/>
                <a:gd name="T7" fmla="*/ 58 h 174"/>
                <a:gd name="T8" fmla="*/ 16 w 366"/>
                <a:gd name="T9" fmla="*/ 50 h 174"/>
                <a:gd name="T10" fmla="*/ 25 w 366"/>
                <a:gd name="T11" fmla="*/ 42 h 174"/>
                <a:gd name="T12" fmla="*/ 40 w 366"/>
                <a:gd name="T13" fmla="*/ 31 h 174"/>
                <a:gd name="T14" fmla="*/ 65 w 366"/>
                <a:gd name="T15" fmla="*/ 19 h 174"/>
                <a:gd name="T16" fmla="*/ 95 w 366"/>
                <a:gd name="T17" fmla="*/ 10 h 174"/>
                <a:gd name="T18" fmla="*/ 128 w 366"/>
                <a:gd name="T19" fmla="*/ 3 h 174"/>
                <a:gd name="T20" fmla="*/ 163 w 366"/>
                <a:gd name="T21" fmla="*/ 0 h 174"/>
                <a:gd name="T22" fmla="*/ 201 w 366"/>
                <a:gd name="T23" fmla="*/ 0 h 174"/>
                <a:gd name="T24" fmla="*/ 236 w 366"/>
                <a:gd name="T25" fmla="*/ 3 h 174"/>
                <a:gd name="T26" fmla="*/ 270 w 366"/>
                <a:gd name="T27" fmla="*/ 10 h 174"/>
                <a:gd name="T28" fmla="*/ 299 w 366"/>
                <a:gd name="T29" fmla="*/ 19 h 174"/>
                <a:gd name="T30" fmla="*/ 324 w 366"/>
                <a:gd name="T31" fmla="*/ 31 h 174"/>
                <a:gd name="T32" fmla="*/ 339 w 366"/>
                <a:gd name="T33" fmla="*/ 42 h 174"/>
                <a:gd name="T34" fmla="*/ 348 w 366"/>
                <a:gd name="T35" fmla="*/ 50 h 174"/>
                <a:gd name="T36" fmla="*/ 355 w 366"/>
                <a:gd name="T37" fmla="*/ 58 h 174"/>
                <a:gd name="T38" fmla="*/ 359 w 366"/>
                <a:gd name="T39" fmla="*/ 66 h 174"/>
                <a:gd name="T40" fmla="*/ 363 w 366"/>
                <a:gd name="T41" fmla="*/ 74 h 174"/>
                <a:gd name="T42" fmla="*/ 365 w 366"/>
                <a:gd name="T43" fmla="*/ 83 h 174"/>
                <a:gd name="T44" fmla="*/ 365 w 366"/>
                <a:gd name="T45" fmla="*/ 91 h 174"/>
                <a:gd name="T46" fmla="*/ 363 w 366"/>
                <a:gd name="T47" fmla="*/ 100 h 174"/>
                <a:gd name="T48" fmla="*/ 359 w 366"/>
                <a:gd name="T49" fmla="*/ 108 h 174"/>
                <a:gd name="T50" fmla="*/ 355 w 366"/>
                <a:gd name="T51" fmla="*/ 117 h 174"/>
                <a:gd name="T52" fmla="*/ 348 w 366"/>
                <a:gd name="T53" fmla="*/ 124 h 174"/>
                <a:gd name="T54" fmla="*/ 339 w 366"/>
                <a:gd name="T55" fmla="*/ 132 h 174"/>
                <a:gd name="T56" fmla="*/ 324 w 366"/>
                <a:gd name="T57" fmla="*/ 143 h 174"/>
                <a:gd name="T58" fmla="*/ 299 w 366"/>
                <a:gd name="T59" fmla="*/ 155 h 174"/>
                <a:gd name="T60" fmla="*/ 270 w 366"/>
                <a:gd name="T61" fmla="*/ 164 h 174"/>
                <a:gd name="T62" fmla="*/ 236 w 366"/>
                <a:gd name="T63" fmla="*/ 170 h 174"/>
                <a:gd name="T64" fmla="*/ 201 w 366"/>
                <a:gd name="T65" fmla="*/ 173 h 174"/>
                <a:gd name="T66" fmla="*/ 163 w 366"/>
                <a:gd name="T67" fmla="*/ 173 h 174"/>
                <a:gd name="T68" fmla="*/ 128 w 366"/>
                <a:gd name="T69" fmla="*/ 170 h 174"/>
                <a:gd name="T70" fmla="*/ 95 w 366"/>
                <a:gd name="T71" fmla="*/ 164 h 174"/>
                <a:gd name="T72" fmla="*/ 65 w 366"/>
                <a:gd name="T73" fmla="*/ 155 h 174"/>
                <a:gd name="T74" fmla="*/ 40 w 366"/>
                <a:gd name="T75" fmla="*/ 143 h 174"/>
                <a:gd name="T76" fmla="*/ 25 w 366"/>
                <a:gd name="T77" fmla="*/ 132 h 174"/>
                <a:gd name="T78" fmla="*/ 16 w 366"/>
                <a:gd name="T79" fmla="*/ 124 h 174"/>
                <a:gd name="T80" fmla="*/ 9 w 366"/>
                <a:gd name="T81" fmla="*/ 117 h 174"/>
                <a:gd name="T82" fmla="*/ 5 w 366"/>
                <a:gd name="T83" fmla="*/ 108 h 174"/>
                <a:gd name="T84" fmla="*/ 1 w 366"/>
                <a:gd name="T85" fmla="*/ 100 h 174"/>
                <a:gd name="T86" fmla="*/ 0 w 366"/>
                <a:gd name="T87" fmla="*/ 9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6" h="174">
                  <a:moveTo>
                    <a:pt x="0" y="87"/>
                  </a:moveTo>
                  <a:lnTo>
                    <a:pt x="0" y="83"/>
                  </a:lnTo>
                  <a:lnTo>
                    <a:pt x="0" y="77"/>
                  </a:lnTo>
                  <a:lnTo>
                    <a:pt x="1" y="74"/>
                  </a:lnTo>
                  <a:lnTo>
                    <a:pt x="2" y="70"/>
                  </a:lnTo>
                  <a:lnTo>
                    <a:pt x="5" y="66"/>
                  </a:lnTo>
                  <a:lnTo>
                    <a:pt x="7" y="62"/>
                  </a:lnTo>
                  <a:lnTo>
                    <a:pt x="9" y="58"/>
                  </a:lnTo>
                  <a:lnTo>
                    <a:pt x="14" y="54"/>
                  </a:lnTo>
                  <a:lnTo>
                    <a:pt x="16" y="50"/>
                  </a:lnTo>
                  <a:lnTo>
                    <a:pt x="21" y="46"/>
                  </a:lnTo>
                  <a:lnTo>
                    <a:pt x="25" y="42"/>
                  </a:lnTo>
                  <a:lnTo>
                    <a:pt x="30" y="38"/>
                  </a:lnTo>
                  <a:lnTo>
                    <a:pt x="40" y="31"/>
                  </a:lnTo>
                  <a:lnTo>
                    <a:pt x="53" y="26"/>
                  </a:lnTo>
                  <a:lnTo>
                    <a:pt x="65" y="19"/>
                  </a:lnTo>
                  <a:lnTo>
                    <a:pt x="79" y="15"/>
                  </a:lnTo>
                  <a:lnTo>
                    <a:pt x="95" y="10"/>
                  </a:lnTo>
                  <a:lnTo>
                    <a:pt x="111" y="7"/>
                  </a:lnTo>
                  <a:lnTo>
                    <a:pt x="128" y="3"/>
                  </a:lnTo>
                  <a:lnTo>
                    <a:pt x="145" y="2"/>
                  </a:lnTo>
                  <a:lnTo>
                    <a:pt x="163" y="0"/>
                  </a:lnTo>
                  <a:lnTo>
                    <a:pt x="183" y="0"/>
                  </a:lnTo>
                  <a:lnTo>
                    <a:pt x="201" y="0"/>
                  </a:lnTo>
                  <a:lnTo>
                    <a:pt x="219" y="2"/>
                  </a:lnTo>
                  <a:lnTo>
                    <a:pt x="236" y="3"/>
                  </a:lnTo>
                  <a:lnTo>
                    <a:pt x="254" y="7"/>
                  </a:lnTo>
                  <a:lnTo>
                    <a:pt x="270" y="10"/>
                  </a:lnTo>
                  <a:lnTo>
                    <a:pt x="285" y="15"/>
                  </a:lnTo>
                  <a:lnTo>
                    <a:pt x="299" y="19"/>
                  </a:lnTo>
                  <a:lnTo>
                    <a:pt x="311" y="26"/>
                  </a:lnTo>
                  <a:lnTo>
                    <a:pt x="324" y="31"/>
                  </a:lnTo>
                  <a:lnTo>
                    <a:pt x="334" y="38"/>
                  </a:lnTo>
                  <a:lnTo>
                    <a:pt x="339" y="42"/>
                  </a:lnTo>
                  <a:lnTo>
                    <a:pt x="344" y="46"/>
                  </a:lnTo>
                  <a:lnTo>
                    <a:pt x="348" y="50"/>
                  </a:lnTo>
                  <a:lnTo>
                    <a:pt x="351" y="54"/>
                  </a:lnTo>
                  <a:lnTo>
                    <a:pt x="355" y="58"/>
                  </a:lnTo>
                  <a:lnTo>
                    <a:pt x="358" y="62"/>
                  </a:lnTo>
                  <a:lnTo>
                    <a:pt x="359" y="66"/>
                  </a:lnTo>
                  <a:lnTo>
                    <a:pt x="362" y="70"/>
                  </a:lnTo>
                  <a:lnTo>
                    <a:pt x="363" y="74"/>
                  </a:lnTo>
                  <a:lnTo>
                    <a:pt x="365" y="77"/>
                  </a:lnTo>
                  <a:lnTo>
                    <a:pt x="365" y="83"/>
                  </a:lnTo>
                  <a:lnTo>
                    <a:pt x="366" y="87"/>
                  </a:lnTo>
                  <a:lnTo>
                    <a:pt x="365" y="91"/>
                  </a:lnTo>
                  <a:lnTo>
                    <a:pt x="365" y="96"/>
                  </a:lnTo>
                  <a:lnTo>
                    <a:pt x="363" y="100"/>
                  </a:lnTo>
                  <a:lnTo>
                    <a:pt x="362" y="104"/>
                  </a:lnTo>
                  <a:lnTo>
                    <a:pt x="359" y="108"/>
                  </a:lnTo>
                  <a:lnTo>
                    <a:pt x="358" y="113"/>
                  </a:lnTo>
                  <a:lnTo>
                    <a:pt x="355" y="117"/>
                  </a:lnTo>
                  <a:lnTo>
                    <a:pt x="351" y="121"/>
                  </a:lnTo>
                  <a:lnTo>
                    <a:pt x="348" y="124"/>
                  </a:lnTo>
                  <a:lnTo>
                    <a:pt x="344" y="128"/>
                  </a:lnTo>
                  <a:lnTo>
                    <a:pt x="339" y="132"/>
                  </a:lnTo>
                  <a:lnTo>
                    <a:pt x="334" y="136"/>
                  </a:lnTo>
                  <a:lnTo>
                    <a:pt x="324" y="143"/>
                  </a:lnTo>
                  <a:lnTo>
                    <a:pt x="311" y="148"/>
                  </a:lnTo>
                  <a:lnTo>
                    <a:pt x="299" y="155"/>
                  </a:lnTo>
                  <a:lnTo>
                    <a:pt x="285" y="158"/>
                  </a:lnTo>
                  <a:lnTo>
                    <a:pt x="270" y="164"/>
                  </a:lnTo>
                  <a:lnTo>
                    <a:pt x="254" y="166"/>
                  </a:lnTo>
                  <a:lnTo>
                    <a:pt x="236" y="170"/>
                  </a:lnTo>
                  <a:lnTo>
                    <a:pt x="219" y="172"/>
                  </a:lnTo>
                  <a:lnTo>
                    <a:pt x="201" y="173"/>
                  </a:lnTo>
                  <a:lnTo>
                    <a:pt x="183" y="174"/>
                  </a:lnTo>
                  <a:lnTo>
                    <a:pt x="163" y="173"/>
                  </a:lnTo>
                  <a:lnTo>
                    <a:pt x="145" y="172"/>
                  </a:lnTo>
                  <a:lnTo>
                    <a:pt x="128" y="170"/>
                  </a:lnTo>
                  <a:lnTo>
                    <a:pt x="111" y="166"/>
                  </a:lnTo>
                  <a:lnTo>
                    <a:pt x="95" y="164"/>
                  </a:lnTo>
                  <a:lnTo>
                    <a:pt x="79" y="158"/>
                  </a:lnTo>
                  <a:lnTo>
                    <a:pt x="65" y="155"/>
                  </a:lnTo>
                  <a:lnTo>
                    <a:pt x="53" y="148"/>
                  </a:lnTo>
                  <a:lnTo>
                    <a:pt x="40" y="143"/>
                  </a:lnTo>
                  <a:lnTo>
                    <a:pt x="30" y="136"/>
                  </a:lnTo>
                  <a:lnTo>
                    <a:pt x="25" y="132"/>
                  </a:lnTo>
                  <a:lnTo>
                    <a:pt x="21" y="128"/>
                  </a:lnTo>
                  <a:lnTo>
                    <a:pt x="16" y="124"/>
                  </a:lnTo>
                  <a:lnTo>
                    <a:pt x="14" y="121"/>
                  </a:lnTo>
                  <a:lnTo>
                    <a:pt x="9" y="117"/>
                  </a:lnTo>
                  <a:lnTo>
                    <a:pt x="7" y="113"/>
                  </a:lnTo>
                  <a:lnTo>
                    <a:pt x="5" y="108"/>
                  </a:lnTo>
                  <a:lnTo>
                    <a:pt x="2" y="104"/>
                  </a:lnTo>
                  <a:lnTo>
                    <a:pt x="1" y="100"/>
                  </a:lnTo>
                  <a:lnTo>
                    <a:pt x="0" y="96"/>
                  </a:lnTo>
                  <a:lnTo>
                    <a:pt x="0" y="91"/>
                  </a:lnTo>
                  <a:lnTo>
                    <a:pt x="0" y="87"/>
                  </a:lnTo>
                  <a:close/>
                </a:path>
              </a:pathLst>
            </a:custGeom>
            <a:solidFill>
              <a:srgbClr val="FFC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ZA"/>
            </a:p>
          </p:txBody>
        </p:sp>
        <p:sp>
          <p:nvSpPr>
            <p:cNvPr id="165" name="Freeform 161">
              <a:extLst>
                <a:ext uri="{FF2B5EF4-FFF2-40B4-BE49-F238E27FC236}">
                  <a16:creationId xmlns:a16="http://schemas.microsoft.com/office/drawing/2014/main" xmlns="" id="{337567F2-C745-20D7-9B88-AE55E84D2DFF}"/>
                </a:ext>
              </a:extLst>
            </p:cNvPr>
            <p:cNvSpPr>
              <a:spLocks/>
            </p:cNvSpPr>
            <p:nvPr/>
          </p:nvSpPr>
          <p:spPr bwMode="auto">
            <a:xfrm>
              <a:off x="755" y="1961"/>
              <a:ext cx="366" cy="174"/>
            </a:xfrm>
            <a:custGeom>
              <a:avLst/>
              <a:gdLst>
                <a:gd name="T0" fmla="*/ 0 w 366"/>
                <a:gd name="T1" fmla="*/ 83 h 174"/>
                <a:gd name="T2" fmla="*/ 1 w 366"/>
                <a:gd name="T3" fmla="*/ 74 h 174"/>
                <a:gd name="T4" fmla="*/ 5 w 366"/>
                <a:gd name="T5" fmla="*/ 66 h 174"/>
                <a:gd name="T6" fmla="*/ 9 w 366"/>
                <a:gd name="T7" fmla="*/ 58 h 174"/>
                <a:gd name="T8" fmla="*/ 16 w 366"/>
                <a:gd name="T9" fmla="*/ 50 h 174"/>
                <a:gd name="T10" fmla="*/ 25 w 366"/>
                <a:gd name="T11" fmla="*/ 42 h 174"/>
                <a:gd name="T12" fmla="*/ 40 w 366"/>
                <a:gd name="T13" fmla="*/ 31 h 174"/>
                <a:gd name="T14" fmla="*/ 65 w 366"/>
                <a:gd name="T15" fmla="*/ 19 h 174"/>
                <a:gd name="T16" fmla="*/ 95 w 366"/>
                <a:gd name="T17" fmla="*/ 10 h 174"/>
                <a:gd name="T18" fmla="*/ 128 w 366"/>
                <a:gd name="T19" fmla="*/ 3 h 174"/>
                <a:gd name="T20" fmla="*/ 163 w 366"/>
                <a:gd name="T21" fmla="*/ 0 h 174"/>
                <a:gd name="T22" fmla="*/ 201 w 366"/>
                <a:gd name="T23" fmla="*/ 0 h 174"/>
                <a:gd name="T24" fmla="*/ 236 w 366"/>
                <a:gd name="T25" fmla="*/ 3 h 174"/>
                <a:gd name="T26" fmla="*/ 270 w 366"/>
                <a:gd name="T27" fmla="*/ 10 h 174"/>
                <a:gd name="T28" fmla="*/ 299 w 366"/>
                <a:gd name="T29" fmla="*/ 19 h 174"/>
                <a:gd name="T30" fmla="*/ 324 w 366"/>
                <a:gd name="T31" fmla="*/ 31 h 174"/>
                <a:gd name="T32" fmla="*/ 339 w 366"/>
                <a:gd name="T33" fmla="*/ 42 h 174"/>
                <a:gd name="T34" fmla="*/ 348 w 366"/>
                <a:gd name="T35" fmla="*/ 50 h 174"/>
                <a:gd name="T36" fmla="*/ 355 w 366"/>
                <a:gd name="T37" fmla="*/ 58 h 174"/>
                <a:gd name="T38" fmla="*/ 359 w 366"/>
                <a:gd name="T39" fmla="*/ 66 h 174"/>
                <a:gd name="T40" fmla="*/ 363 w 366"/>
                <a:gd name="T41" fmla="*/ 74 h 174"/>
                <a:gd name="T42" fmla="*/ 365 w 366"/>
                <a:gd name="T43" fmla="*/ 83 h 174"/>
                <a:gd name="T44" fmla="*/ 365 w 366"/>
                <a:gd name="T45" fmla="*/ 91 h 174"/>
                <a:gd name="T46" fmla="*/ 363 w 366"/>
                <a:gd name="T47" fmla="*/ 100 h 174"/>
                <a:gd name="T48" fmla="*/ 359 w 366"/>
                <a:gd name="T49" fmla="*/ 108 h 174"/>
                <a:gd name="T50" fmla="*/ 355 w 366"/>
                <a:gd name="T51" fmla="*/ 117 h 174"/>
                <a:gd name="T52" fmla="*/ 348 w 366"/>
                <a:gd name="T53" fmla="*/ 124 h 174"/>
                <a:gd name="T54" fmla="*/ 339 w 366"/>
                <a:gd name="T55" fmla="*/ 132 h 174"/>
                <a:gd name="T56" fmla="*/ 324 w 366"/>
                <a:gd name="T57" fmla="*/ 143 h 174"/>
                <a:gd name="T58" fmla="*/ 299 w 366"/>
                <a:gd name="T59" fmla="*/ 155 h 174"/>
                <a:gd name="T60" fmla="*/ 270 w 366"/>
                <a:gd name="T61" fmla="*/ 164 h 174"/>
                <a:gd name="T62" fmla="*/ 236 w 366"/>
                <a:gd name="T63" fmla="*/ 170 h 174"/>
                <a:gd name="T64" fmla="*/ 201 w 366"/>
                <a:gd name="T65" fmla="*/ 173 h 174"/>
                <a:gd name="T66" fmla="*/ 163 w 366"/>
                <a:gd name="T67" fmla="*/ 173 h 174"/>
                <a:gd name="T68" fmla="*/ 128 w 366"/>
                <a:gd name="T69" fmla="*/ 170 h 174"/>
                <a:gd name="T70" fmla="*/ 95 w 366"/>
                <a:gd name="T71" fmla="*/ 164 h 174"/>
                <a:gd name="T72" fmla="*/ 65 w 366"/>
                <a:gd name="T73" fmla="*/ 155 h 174"/>
                <a:gd name="T74" fmla="*/ 40 w 366"/>
                <a:gd name="T75" fmla="*/ 143 h 174"/>
                <a:gd name="T76" fmla="*/ 25 w 366"/>
                <a:gd name="T77" fmla="*/ 132 h 174"/>
                <a:gd name="T78" fmla="*/ 16 w 366"/>
                <a:gd name="T79" fmla="*/ 124 h 174"/>
                <a:gd name="T80" fmla="*/ 9 w 366"/>
                <a:gd name="T81" fmla="*/ 117 h 174"/>
                <a:gd name="T82" fmla="*/ 5 w 366"/>
                <a:gd name="T83" fmla="*/ 108 h 174"/>
                <a:gd name="T84" fmla="*/ 1 w 366"/>
                <a:gd name="T85" fmla="*/ 100 h 174"/>
                <a:gd name="T86" fmla="*/ 0 w 366"/>
                <a:gd name="T87" fmla="*/ 91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6" h="174">
                  <a:moveTo>
                    <a:pt x="0" y="87"/>
                  </a:moveTo>
                  <a:lnTo>
                    <a:pt x="0" y="83"/>
                  </a:lnTo>
                  <a:lnTo>
                    <a:pt x="0" y="77"/>
                  </a:lnTo>
                  <a:lnTo>
                    <a:pt x="1" y="74"/>
                  </a:lnTo>
                  <a:lnTo>
                    <a:pt x="2" y="70"/>
                  </a:lnTo>
                  <a:lnTo>
                    <a:pt x="5" y="66"/>
                  </a:lnTo>
                  <a:lnTo>
                    <a:pt x="7" y="62"/>
                  </a:lnTo>
                  <a:lnTo>
                    <a:pt x="9" y="58"/>
                  </a:lnTo>
                  <a:lnTo>
                    <a:pt x="14" y="54"/>
                  </a:lnTo>
                  <a:lnTo>
                    <a:pt x="16" y="50"/>
                  </a:lnTo>
                  <a:lnTo>
                    <a:pt x="21" y="46"/>
                  </a:lnTo>
                  <a:lnTo>
                    <a:pt x="25" y="42"/>
                  </a:lnTo>
                  <a:lnTo>
                    <a:pt x="30" y="38"/>
                  </a:lnTo>
                  <a:lnTo>
                    <a:pt x="40" y="31"/>
                  </a:lnTo>
                  <a:lnTo>
                    <a:pt x="53" y="26"/>
                  </a:lnTo>
                  <a:lnTo>
                    <a:pt x="65" y="19"/>
                  </a:lnTo>
                  <a:lnTo>
                    <a:pt x="79" y="15"/>
                  </a:lnTo>
                  <a:lnTo>
                    <a:pt x="95" y="10"/>
                  </a:lnTo>
                  <a:lnTo>
                    <a:pt x="111" y="7"/>
                  </a:lnTo>
                  <a:lnTo>
                    <a:pt x="128" y="3"/>
                  </a:lnTo>
                  <a:lnTo>
                    <a:pt x="145" y="2"/>
                  </a:lnTo>
                  <a:lnTo>
                    <a:pt x="163" y="0"/>
                  </a:lnTo>
                  <a:lnTo>
                    <a:pt x="183" y="0"/>
                  </a:lnTo>
                  <a:lnTo>
                    <a:pt x="201" y="0"/>
                  </a:lnTo>
                  <a:lnTo>
                    <a:pt x="219" y="2"/>
                  </a:lnTo>
                  <a:lnTo>
                    <a:pt x="236" y="3"/>
                  </a:lnTo>
                  <a:lnTo>
                    <a:pt x="254" y="7"/>
                  </a:lnTo>
                  <a:lnTo>
                    <a:pt x="270" y="10"/>
                  </a:lnTo>
                  <a:lnTo>
                    <a:pt x="285" y="15"/>
                  </a:lnTo>
                  <a:lnTo>
                    <a:pt x="299" y="19"/>
                  </a:lnTo>
                  <a:lnTo>
                    <a:pt x="311" y="26"/>
                  </a:lnTo>
                  <a:lnTo>
                    <a:pt x="324" y="31"/>
                  </a:lnTo>
                  <a:lnTo>
                    <a:pt x="334" y="38"/>
                  </a:lnTo>
                  <a:lnTo>
                    <a:pt x="339" y="42"/>
                  </a:lnTo>
                  <a:lnTo>
                    <a:pt x="344" y="46"/>
                  </a:lnTo>
                  <a:lnTo>
                    <a:pt x="348" y="50"/>
                  </a:lnTo>
                  <a:lnTo>
                    <a:pt x="351" y="54"/>
                  </a:lnTo>
                  <a:lnTo>
                    <a:pt x="355" y="58"/>
                  </a:lnTo>
                  <a:lnTo>
                    <a:pt x="358" y="62"/>
                  </a:lnTo>
                  <a:lnTo>
                    <a:pt x="359" y="66"/>
                  </a:lnTo>
                  <a:lnTo>
                    <a:pt x="362" y="70"/>
                  </a:lnTo>
                  <a:lnTo>
                    <a:pt x="363" y="74"/>
                  </a:lnTo>
                  <a:lnTo>
                    <a:pt x="365" y="77"/>
                  </a:lnTo>
                  <a:lnTo>
                    <a:pt x="365" y="83"/>
                  </a:lnTo>
                  <a:lnTo>
                    <a:pt x="366" y="87"/>
                  </a:lnTo>
                  <a:lnTo>
                    <a:pt x="365" y="91"/>
                  </a:lnTo>
                  <a:lnTo>
                    <a:pt x="365" y="96"/>
                  </a:lnTo>
                  <a:lnTo>
                    <a:pt x="363" y="100"/>
                  </a:lnTo>
                  <a:lnTo>
                    <a:pt x="362" y="104"/>
                  </a:lnTo>
                  <a:lnTo>
                    <a:pt x="359" y="108"/>
                  </a:lnTo>
                  <a:lnTo>
                    <a:pt x="358" y="113"/>
                  </a:lnTo>
                  <a:lnTo>
                    <a:pt x="355" y="117"/>
                  </a:lnTo>
                  <a:lnTo>
                    <a:pt x="351" y="121"/>
                  </a:lnTo>
                  <a:lnTo>
                    <a:pt x="348" y="124"/>
                  </a:lnTo>
                  <a:lnTo>
                    <a:pt x="344" y="128"/>
                  </a:lnTo>
                  <a:lnTo>
                    <a:pt x="339" y="132"/>
                  </a:lnTo>
                  <a:lnTo>
                    <a:pt x="334" y="136"/>
                  </a:lnTo>
                  <a:lnTo>
                    <a:pt x="324" y="143"/>
                  </a:lnTo>
                  <a:lnTo>
                    <a:pt x="311" y="148"/>
                  </a:lnTo>
                  <a:lnTo>
                    <a:pt x="299" y="155"/>
                  </a:lnTo>
                  <a:lnTo>
                    <a:pt x="285" y="158"/>
                  </a:lnTo>
                  <a:lnTo>
                    <a:pt x="270" y="164"/>
                  </a:lnTo>
                  <a:lnTo>
                    <a:pt x="254" y="166"/>
                  </a:lnTo>
                  <a:lnTo>
                    <a:pt x="236" y="170"/>
                  </a:lnTo>
                  <a:lnTo>
                    <a:pt x="219" y="172"/>
                  </a:lnTo>
                  <a:lnTo>
                    <a:pt x="201" y="173"/>
                  </a:lnTo>
                  <a:lnTo>
                    <a:pt x="183" y="174"/>
                  </a:lnTo>
                  <a:lnTo>
                    <a:pt x="163" y="173"/>
                  </a:lnTo>
                  <a:lnTo>
                    <a:pt x="145" y="172"/>
                  </a:lnTo>
                  <a:lnTo>
                    <a:pt x="128" y="170"/>
                  </a:lnTo>
                  <a:lnTo>
                    <a:pt x="111" y="166"/>
                  </a:lnTo>
                  <a:lnTo>
                    <a:pt x="95" y="164"/>
                  </a:lnTo>
                  <a:lnTo>
                    <a:pt x="79" y="158"/>
                  </a:lnTo>
                  <a:lnTo>
                    <a:pt x="65" y="155"/>
                  </a:lnTo>
                  <a:lnTo>
                    <a:pt x="53" y="148"/>
                  </a:lnTo>
                  <a:lnTo>
                    <a:pt x="40" y="143"/>
                  </a:lnTo>
                  <a:lnTo>
                    <a:pt x="30" y="136"/>
                  </a:lnTo>
                  <a:lnTo>
                    <a:pt x="25" y="132"/>
                  </a:lnTo>
                  <a:lnTo>
                    <a:pt x="21" y="128"/>
                  </a:lnTo>
                  <a:lnTo>
                    <a:pt x="16" y="124"/>
                  </a:lnTo>
                  <a:lnTo>
                    <a:pt x="14" y="121"/>
                  </a:lnTo>
                  <a:lnTo>
                    <a:pt x="9" y="117"/>
                  </a:lnTo>
                  <a:lnTo>
                    <a:pt x="7" y="113"/>
                  </a:lnTo>
                  <a:lnTo>
                    <a:pt x="5" y="108"/>
                  </a:lnTo>
                  <a:lnTo>
                    <a:pt x="2" y="104"/>
                  </a:lnTo>
                  <a:lnTo>
                    <a:pt x="1" y="100"/>
                  </a:lnTo>
                  <a:lnTo>
                    <a:pt x="0" y="96"/>
                  </a:lnTo>
                  <a:lnTo>
                    <a:pt x="0" y="91"/>
                  </a:lnTo>
                  <a:lnTo>
                    <a:pt x="0" y="87"/>
                  </a:lnTo>
                </a:path>
              </a:pathLst>
            </a:custGeom>
            <a:noFill/>
            <a:ln w="17463">
              <a:solidFill>
                <a:srgbClr val="41719C"/>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grpSp>
      <p:sp>
        <p:nvSpPr>
          <p:cNvPr id="167" name="TextBox 166">
            <a:extLst>
              <a:ext uri="{FF2B5EF4-FFF2-40B4-BE49-F238E27FC236}">
                <a16:creationId xmlns:a16="http://schemas.microsoft.com/office/drawing/2014/main" xmlns="" id="{6FB3EEF8-B323-D02B-8C3B-22BFEA17EEF4}"/>
              </a:ext>
            </a:extLst>
          </p:cNvPr>
          <p:cNvSpPr txBox="1"/>
          <p:nvPr/>
        </p:nvSpPr>
        <p:spPr>
          <a:xfrm>
            <a:off x="825500" y="4833421"/>
            <a:ext cx="7861299" cy="338554"/>
          </a:xfrm>
          <a:prstGeom prst="rect">
            <a:avLst/>
          </a:prstGeom>
          <a:noFill/>
        </p:spPr>
        <p:txBody>
          <a:bodyPr wrap="square">
            <a:spAutoFit/>
          </a:bodyPr>
          <a:lstStyle/>
          <a:p>
            <a:r>
              <a:rPr lang="en-ZA" sz="1600">
                <a:effectLst/>
                <a:latin typeface="Arial" panose="020B0604020202020204" pitchFamily="34" charset="0"/>
                <a:ea typeface="Calibri" panose="020F0502020204030204" pitchFamily="34" charset="0"/>
                <a:cs typeface="Arial" panose="020B0604020202020204" pitchFamily="34" charset="0"/>
              </a:rPr>
              <a:t>The ten</a:t>
            </a:r>
            <a:r>
              <a:rPr lang="en-ZA" sz="1600">
                <a:latin typeface="Arial" panose="020B0604020202020204" pitchFamily="34" charset="0"/>
                <a:ea typeface="Calibri" panose="020F0502020204030204" pitchFamily="34" charset="0"/>
                <a:cs typeface="Arial" panose="020B0604020202020204" pitchFamily="34" charset="0"/>
              </a:rPr>
              <a:t> Annual Targets are only measurable in Q4. </a:t>
            </a:r>
            <a:r>
              <a:rPr lang="en-ZA" sz="1600">
                <a:effectLst/>
                <a:latin typeface="Arial" panose="020B0604020202020204" pitchFamily="34" charset="0"/>
                <a:ea typeface="Calibri" panose="020F0502020204030204" pitchFamily="34" charset="0"/>
                <a:cs typeface="Arial" panose="020B0604020202020204" pitchFamily="34" charset="0"/>
              </a:rPr>
              <a:t> </a:t>
            </a:r>
            <a:endParaRPr lang="en-ZA" sz="1600"/>
          </a:p>
        </p:txBody>
      </p:sp>
      <p:sp>
        <p:nvSpPr>
          <p:cNvPr id="14" name="Rectangle 78">
            <a:extLst>
              <a:ext uri="{FF2B5EF4-FFF2-40B4-BE49-F238E27FC236}">
                <a16:creationId xmlns:a16="http://schemas.microsoft.com/office/drawing/2014/main" xmlns="" id="{E06F1D99-7817-2D60-940F-40A201C69B88}"/>
              </a:ext>
            </a:extLst>
          </p:cNvPr>
          <p:cNvSpPr>
            <a:spLocks noChangeArrowheads="1"/>
          </p:cNvSpPr>
          <p:nvPr/>
        </p:nvSpPr>
        <p:spPr bwMode="auto">
          <a:xfrm>
            <a:off x="2039816" y="3755130"/>
            <a:ext cx="1240019"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a:solidFill>
                  <a:srgbClr val="000000"/>
                </a:solidFill>
              </a:rPr>
              <a:t>Annual Targets</a:t>
            </a:r>
            <a:r>
              <a:rPr kumimoji="0" lang="en-US" altLang="en-US" sz="1400" b="0" i="0" u="none" strike="noStrike" cap="none" normalizeH="0" baseline="0">
                <a:ln>
                  <a:noFill/>
                </a:ln>
                <a:solidFill>
                  <a:srgbClr val="000000"/>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1" name="Rectangle 82">
            <a:extLst>
              <a:ext uri="{FF2B5EF4-FFF2-40B4-BE49-F238E27FC236}">
                <a16:creationId xmlns:a16="http://schemas.microsoft.com/office/drawing/2014/main" xmlns="" id="{42D4E7D4-3091-0CAF-1B42-AE574E8864CB}"/>
              </a:ext>
            </a:extLst>
          </p:cNvPr>
          <p:cNvSpPr>
            <a:spLocks noChangeArrowheads="1"/>
          </p:cNvSpPr>
          <p:nvPr/>
        </p:nvSpPr>
        <p:spPr bwMode="auto">
          <a:xfrm>
            <a:off x="7574875" y="3775849"/>
            <a:ext cx="248466"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400" b="0" i="0" u="none" strike="noStrike" cap="none" normalizeH="0" baseline="0">
                <a:ln>
                  <a:noFill/>
                </a:ln>
                <a:solidFill>
                  <a:srgbClr val="000000"/>
                </a:solidFill>
                <a:effectLst/>
                <a:latin typeface="Arial" panose="020B0604020202020204" pitchFamily="34" charset="0"/>
              </a:rPr>
              <a:t>n/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2" name="Freeform 158">
            <a:extLst>
              <a:ext uri="{FF2B5EF4-FFF2-40B4-BE49-F238E27FC236}">
                <a16:creationId xmlns:a16="http://schemas.microsoft.com/office/drawing/2014/main" xmlns="" id="{091F106F-BAB7-288F-7F7C-006F232864B1}"/>
              </a:ext>
            </a:extLst>
          </p:cNvPr>
          <p:cNvSpPr>
            <a:spLocks/>
          </p:cNvSpPr>
          <p:nvPr/>
        </p:nvSpPr>
        <p:spPr bwMode="auto">
          <a:xfrm>
            <a:off x="1170704" y="3715711"/>
            <a:ext cx="581025" cy="276225"/>
          </a:xfrm>
          <a:custGeom>
            <a:avLst/>
            <a:gdLst>
              <a:gd name="T0" fmla="*/ 0 w 366"/>
              <a:gd name="T1" fmla="*/ 82 h 174"/>
              <a:gd name="T2" fmla="*/ 1 w 366"/>
              <a:gd name="T3" fmla="*/ 73 h 174"/>
              <a:gd name="T4" fmla="*/ 5 w 366"/>
              <a:gd name="T5" fmla="*/ 65 h 174"/>
              <a:gd name="T6" fmla="*/ 10 w 366"/>
              <a:gd name="T7" fmla="*/ 57 h 174"/>
              <a:gd name="T8" fmla="*/ 17 w 366"/>
              <a:gd name="T9" fmla="*/ 49 h 174"/>
              <a:gd name="T10" fmla="*/ 25 w 366"/>
              <a:gd name="T11" fmla="*/ 41 h 174"/>
              <a:gd name="T12" fmla="*/ 40 w 366"/>
              <a:gd name="T13" fmla="*/ 31 h 174"/>
              <a:gd name="T14" fmla="*/ 66 w 366"/>
              <a:gd name="T15" fmla="*/ 19 h 174"/>
              <a:gd name="T16" fmla="*/ 95 w 366"/>
              <a:gd name="T17" fmla="*/ 9 h 174"/>
              <a:gd name="T18" fmla="*/ 128 w 366"/>
              <a:gd name="T19" fmla="*/ 3 h 174"/>
              <a:gd name="T20" fmla="*/ 163 w 366"/>
              <a:gd name="T21" fmla="*/ 0 h 174"/>
              <a:gd name="T22" fmla="*/ 201 w 366"/>
              <a:gd name="T23" fmla="*/ 0 h 174"/>
              <a:gd name="T24" fmla="*/ 236 w 366"/>
              <a:gd name="T25" fmla="*/ 3 h 174"/>
              <a:gd name="T26" fmla="*/ 270 w 366"/>
              <a:gd name="T27" fmla="*/ 9 h 174"/>
              <a:gd name="T28" fmla="*/ 299 w 366"/>
              <a:gd name="T29" fmla="*/ 19 h 174"/>
              <a:gd name="T30" fmla="*/ 324 w 366"/>
              <a:gd name="T31" fmla="*/ 31 h 174"/>
              <a:gd name="T32" fmla="*/ 340 w 366"/>
              <a:gd name="T33" fmla="*/ 41 h 174"/>
              <a:gd name="T34" fmla="*/ 348 w 366"/>
              <a:gd name="T35" fmla="*/ 49 h 174"/>
              <a:gd name="T36" fmla="*/ 355 w 366"/>
              <a:gd name="T37" fmla="*/ 57 h 174"/>
              <a:gd name="T38" fmla="*/ 359 w 366"/>
              <a:gd name="T39" fmla="*/ 65 h 174"/>
              <a:gd name="T40" fmla="*/ 363 w 366"/>
              <a:gd name="T41" fmla="*/ 73 h 174"/>
              <a:gd name="T42" fmla="*/ 365 w 366"/>
              <a:gd name="T43" fmla="*/ 82 h 174"/>
              <a:gd name="T44" fmla="*/ 365 w 366"/>
              <a:gd name="T45" fmla="*/ 90 h 174"/>
              <a:gd name="T46" fmla="*/ 363 w 366"/>
              <a:gd name="T47" fmla="*/ 100 h 174"/>
              <a:gd name="T48" fmla="*/ 359 w 366"/>
              <a:gd name="T49" fmla="*/ 108 h 174"/>
              <a:gd name="T50" fmla="*/ 355 w 366"/>
              <a:gd name="T51" fmla="*/ 117 h 174"/>
              <a:gd name="T52" fmla="*/ 348 w 366"/>
              <a:gd name="T53" fmla="*/ 124 h 174"/>
              <a:gd name="T54" fmla="*/ 340 w 366"/>
              <a:gd name="T55" fmla="*/ 131 h 174"/>
              <a:gd name="T56" fmla="*/ 324 w 366"/>
              <a:gd name="T57" fmla="*/ 142 h 174"/>
              <a:gd name="T58" fmla="*/ 299 w 366"/>
              <a:gd name="T59" fmla="*/ 154 h 174"/>
              <a:gd name="T60" fmla="*/ 270 w 366"/>
              <a:gd name="T61" fmla="*/ 163 h 174"/>
              <a:gd name="T62" fmla="*/ 236 w 366"/>
              <a:gd name="T63" fmla="*/ 170 h 174"/>
              <a:gd name="T64" fmla="*/ 201 w 366"/>
              <a:gd name="T65" fmla="*/ 173 h 174"/>
              <a:gd name="T66" fmla="*/ 163 w 366"/>
              <a:gd name="T67" fmla="*/ 173 h 174"/>
              <a:gd name="T68" fmla="*/ 128 w 366"/>
              <a:gd name="T69" fmla="*/ 170 h 174"/>
              <a:gd name="T70" fmla="*/ 95 w 366"/>
              <a:gd name="T71" fmla="*/ 163 h 174"/>
              <a:gd name="T72" fmla="*/ 66 w 366"/>
              <a:gd name="T73" fmla="*/ 154 h 174"/>
              <a:gd name="T74" fmla="*/ 40 w 366"/>
              <a:gd name="T75" fmla="*/ 142 h 174"/>
              <a:gd name="T76" fmla="*/ 25 w 366"/>
              <a:gd name="T77" fmla="*/ 131 h 174"/>
              <a:gd name="T78" fmla="*/ 17 w 366"/>
              <a:gd name="T79" fmla="*/ 124 h 174"/>
              <a:gd name="T80" fmla="*/ 10 w 366"/>
              <a:gd name="T81" fmla="*/ 117 h 174"/>
              <a:gd name="T82" fmla="*/ 5 w 366"/>
              <a:gd name="T83" fmla="*/ 108 h 174"/>
              <a:gd name="T84" fmla="*/ 1 w 366"/>
              <a:gd name="T85" fmla="*/ 100 h 174"/>
              <a:gd name="T86" fmla="*/ 0 w 366"/>
              <a:gd name="T87" fmla="*/ 9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6" h="174">
                <a:moveTo>
                  <a:pt x="0" y="86"/>
                </a:moveTo>
                <a:lnTo>
                  <a:pt x="0" y="82"/>
                </a:lnTo>
                <a:lnTo>
                  <a:pt x="0" y="77"/>
                </a:lnTo>
                <a:lnTo>
                  <a:pt x="1" y="73"/>
                </a:lnTo>
                <a:lnTo>
                  <a:pt x="3" y="69"/>
                </a:lnTo>
                <a:lnTo>
                  <a:pt x="5" y="65"/>
                </a:lnTo>
                <a:lnTo>
                  <a:pt x="7" y="61"/>
                </a:lnTo>
                <a:lnTo>
                  <a:pt x="10" y="57"/>
                </a:lnTo>
                <a:lnTo>
                  <a:pt x="14" y="53"/>
                </a:lnTo>
                <a:lnTo>
                  <a:pt x="17" y="49"/>
                </a:lnTo>
                <a:lnTo>
                  <a:pt x="21" y="45"/>
                </a:lnTo>
                <a:lnTo>
                  <a:pt x="25" y="41"/>
                </a:lnTo>
                <a:lnTo>
                  <a:pt x="31" y="37"/>
                </a:lnTo>
                <a:lnTo>
                  <a:pt x="40" y="31"/>
                </a:lnTo>
                <a:lnTo>
                  <a:pt x="53" y="25"/>
                </a:lnTo>
                <a:lnTo>
                  <a:pt x="66" y="19"/>
                </a:lnTo>
                <a:lnTo>
                  <a:pt x="79" y="15"/>
                </a:lnTo>
                <a:lnTo>
                  <a:pt x="95" y="9"/>
                </a:lnTo>
                <a:lnTo>
                  <a:pt x="112" y="7"/>
                </a:lnTo>
                <a:lnTo>
                  <a:pt x="128" y="3"/>
                </a:lnTo>
                <a:lnTo>
                  <a:pt x="145" y="1"/>
                </a:lnTo>
                <a:lnTo>
                  <a:pt x="163" y="0"/>
                </a:lnTo>
                <a:lnTo>
                  <a:pt x="183" y="0"/>
                </a:lnTo>
                <a:lnTo>
                  <a:pt x="201" y="0"/>
                </a:lnTo>
                <a:lnTo>
                  <a:pt x="219" y="1"/>
                </a:lnTo>
                <a:lnTo>
                  <a:pt x="236" y="3"/>
                </a:lnTo>
                <a:lnTo>
                  <a:pt x="254" y="7"/>
                </a:lnTo>
                <a:lnTo>
                  <a:pt x="270" y="9"/>
                </a:lnTo>
                <a:lnTo>
                  <a:pt x="285" y="15"/>
                </a:lnTo>
                <a:lnTo>
                  <a:pt x="299" y="19"/>
                </a:lnTo>
                <a:lnTo>
                  <a:pt x="312" y="25"/>
                </a:lnTo>
                <a:lnTo>
                  <a:pt x="324" y="31"/>
                </a:lnTo>
                <a:lnTo>
                  <a:pt x="334" y="37"/>
                </a:lnTo>
                <a:lnTo>
                  <a:pt x="340" y="41"/>
                </a:lnTo>
                <a:lnTo>
                  <a:pt x="344" y="45"/>
                </a:lnTo>
                <a:lnTo>
                  <a:pt x="348" y="49"/>
                </a:lnTo>
                <a:lnTo>
                  <a:pt x="351" y="53"/>
                </a:lnTo>
                <a:lnTo>
                  <a:pt x="355" y="57"/>
                </a:lnTo>
                <a:lnTo>
                  <a:pt x="358" y="61"/>
                </a:lnTo>
                <a:lnTo>
                  <a:pt x="359" y="65"/>
                </a:lnTo>
                <a:lnTo>
                  <a:pt x="362" y="69"/>
                </a:lnTo>
                <a:lnTo>
                  <a:pt x="363" y="73"/>
                </a:lnTo>
                <a:lnTo>
                  <a:pt x="365" y="77"/>
                </a:lnTo>
                <a:lnTo>
                  <a:pt x="365" y="82"/>
                </a:lnTo>
                <a:lnTo>
                  <a:pt x="366" y="86"/>
                </a:lnTo>
                <a:lnTo>
                  <a:pt x="365" y="90"/>
                </a:lnTo>
                <a:lnTo>
                  <a:pt x="365" y="96"/>
                </a:lnTo>
                <a:lnTo>
                  <a:pt x="363" y="100"/>
                </a:lnTo>
                <a:lnTo>
                  <a:pt x="362" y="104"/>
                </a:lnTo>
                <a:lnTo>
                  <a:pt x="359" y="108"/>
                </a:lnTo>
                <a:lnTo>
                  <a:pt x="358" y="113"/>
                </a:lnTo>
                <a:lnTo>
                  <a:pt x="355" y="117"/>
                </a:lnTo>
                <a:lnTo>
                  <a:pt x="351" y="121"/>
                </a:lnTo>
                <a:lnTo>
                  <a:pt x="348" y="124"/>
                </a:lnTo>
                <a:lnTo>
                  <a:pt x="344" y="128"/>
                </a:lnTo>
                <a:lnTo>
                  <a:pt x="340" y="131"/>
                </a:lnTo>
                <a:lnTo>
                  <a:pt x="334" y="135"/>
                </a:lnTo>
                <a:lnTo>
                  <a:pt x="324" y="142"/>
                </a:lnTo>
                <a:lnTo>
                  <a:pt x="312" y="147"/>
                </a:lnTo>
                <a:lnTo>
                  <a:pt x="299" y="154"/>
                </a:lnTo>
                <a:lnTo>
                  <a:pt x="285" y="158"/>
                </a:lnTo>
                <a:lnTo>
                  <a:pt x="270" y="163"/>
                </a:lnTo>
                <a:lnTo>
                  <a:pt x="254" y="166"/>
                </a:lnTo>
                <a:lnTo>
                  <a:pt x="236" y="170"/>
                </a:lnTo>
                <a:lnTo>
                  <a:pt x="219" y="171"/>
                </a:lnTo>
                <a:lnTo>
                  <a:pt x="201" y="173"/>
                </a:lnTo>
                <a:lnTo>
                  <a:pt x="183" y="174"/>
                </a:lnTo>
                <a:lnTo>
                  <a:pt x="163" y="173"/>
                </a:lnTo>
                <a:lnTo>
                  <a:pt x="145" y="171"/>
                </a:lnTo>
                <a:lnTo>
                  <a:pt x="128" y="170"/>
                </a:lnTo>
                <a:lnTo>
                  <a:pt x="112" y="166"/>
                </a:lnTo>
                <a:lnTo>
                  <a:pt x="95" y="163"/>
                </a:lnTo>
                <a:lnTo>
                  <a:pt x="79" y="158"/>
                </a:lnTo>
                <a:lnTo>
                  <a:pt x="66" y="154"/>
                </a:lnTo>
                <a:lnTo>
                  <a:pt x="53" y="147"/>
                </a:lnTo>
                <a:lnTo>
                  <a:pt x="40" y="142"/>
                </a:lnTo>
                <a:lnTo>
                  <a:pt x="31" y="135"/>
                </a:lnTo>
                <a:lnTo>
                  <a:pt x="25" y="131"/>
                </a:lnTo>
                <a:lnTo>
                  <a:pt x="21" y="128"/>
                </a:lnTo>
                <a:lnTo>
                  <a:pt x="17" y="124"/>
                </a:lnTo>
                <a:lnTo>
                  <a:pt x="14" y="121"/>
                </a:lnTo>
                <a:lnTo>
                  <a:pt x="10" y="117"/>
                </a:lnTo>
                <a:lnTo>
                  <a:pt x="7" y="113"/>
                </a:lnTo>
                <a:lnTo>
                  <a:pt x="5" y="108"/>
                </a:lnTo>
                <a:lnTo>
                  <a:pt x="3" y="104"/>
                </a:lnTo>
                <a:lnTo>
                  <a:pt x="1" y="100"/>
                </a:lnTo>
                <a:lnTo>
                  <a:pt x="0" y="96"/>
                </a:lnTo>
                <a:lnTo>
                  <a:pt x="0" y="90"/>
                </a:lnTo>
                <a:lnTo>
                  <a:pt x="0" y="86"/>
                </a:lnTo>
                <a:close/>
              </a:path>
            </a:pathLst>
          </a:custGeom>
          <a:solidFill>
            <a:schemeClr val="bg1"/>
          </a:solidFill>
          <a:ln>
            <a:solidFill>
              <a:schemeClr val="bg1">
                <a:lumMod val="75000"/>
              </a:schemeClr>
            </a:solidFill>
          </a:ln>
        </p:spPr>
        <p:txBody>
          <a:bodyPr vert="horz" wrap="square" lIns="91440" tIns="45720" rIns="91440" bIns="45720" numCol="1" anchor="t" anchorCtr="0" compatLnSpc="1">
            <a:prstTxWarp prst="textNoShape">
              <a:avLst/>
            </a:prstTxWarp>
          </a:bodyPr>
          <a:lstStyle/>
          <a:p>
            <a:endParaRPr lang="en-ZA"/>
          </a:p>
        </p:txBody>
      </p:sp>
    </p:spTree>
    <p:extLst>
      <p:ext uri="{BB962C8B-B14F-4D97-AF65-F5344CB8AC3E}">
        <p14:creationId xmlns:p14="http://schemas.microsoft.com/office/powerpoint/2010/main" xmlns="" val="115489543"/>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5</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615576"/>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421969" y="-30754"/>
            <a:ext cx="843721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a:t>
            </a:r>
            <a:endParaRPr lang="en-ZA" sz="3600">
              <a:solidFill>
                <a:prstClr val="white"/>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xmlns="" id="{DC64AE6B-7112-3D0F-8897-112B64C692A1}"/>
              </a:ext>
            </a:extLst>
          </p:cNvPr>
          <p:cNvSpPr>
            <a:spLocks noChangeArrowheads="1"/>
          </p:cNvSpPr>
          <p:nvPr/>
        </p:nvSpPr>
        <p:spPr bwMode="auto">
          <a:xfrm flipV="1">
            <a:off x="673625" y="1165223"/>
            <a:ext cx="7949968"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12" name="Table 11">
            <a:extLst>
              <a:ext uri="{FF2B5EF4-FFF2-40B4-BE49-F238E27FC236}">
                <a16:creationId xmlns:a16="http://schemas.microsoft.com/office/drawing/2014/main" xmlns="" id="{05CED494-7F50-CBAD-E78A-C932E41B4519}"/>
              </a:ext>
            </a:extLst>
          </p:cNvPr>
          <p:cNvGraphicFramePr>
            <a:graphicFrameLocks noGrp="1"/>
          </p:cNvGraphicFramePr>
          <p:nvPr/>
        </p:nvGraphicFramePr>
        <p:xfrm>
          <a:off x="0" y="615577"/>
          <a:ext cx="9143998" cy="6105896"/>
        </p:xfrm>
        <a:graphic>
          <a:graphicData uri="http://schemas.openxmlformats.org/drawingml/2006/table">
            <a:tbl>
              <a:tblPr/>
              <a:tblGrid>
                <a:gridCol w="989351">
                  <a:extLst>
                    <a:ext uri="{9D8B030D-6E8A-4147-A177-3AD203B41FA5}">
                      <a16:colId xmlns:a16="http://schemas.microsoft.com/office/drawing/2014/main" xmlns="" val="3916598143"/>
                    </a:ext>
                  </a:extLst>
                </a:gridCol>
                <a:gridCol w="719528">
                  <a:extLst>
                    <a:ext uri="{9D8B030D-6E8A-4147-A177-3AD203B41FA5}">
                      <a16:colId xmlns:a16="http://schemas.microsoft.com/office/drawing/2014/main" xmlns="" val="2637254140"/>
                    </a:ext>
                  </a:extLst>
                </a:gridCol>
                <a:gridCol w="704537">
                  <a:extLst>
                    <a:ext uri="{9D8B030D-6E8A-4147-A177-3AD203B41FA5}">
                      <a16:colId xmlns:a16="http://schemas.microsoft.com/office/drawing/2014/main" xmlns="" val="1219628764"/>
                    </a:ext>
                  </a:extLst>
                </a:gridCol>
                <a:gridCol w="719528">
                  <a:extLst>
                    <a:ext uri="{9D8B030D-6E8A-4147-A177-3AD203B41FA5}">
                      <a16:colId xmlns:a16="http://schemas.microsoft.com/office/drawing/2014/main" xmlns="" val="1677412862"/>
                    </a:ext>
                  </a:extLst>
                </a:gridCol>
                <a:gridCol w="569626">
                  <a:extLst>
                    <a:ext uri="{9D8B030D-6E8A-4147-A177-3AD203B41FA5}">
                      <a16:colId xmlns:a16="http://schemas.microsoft.com/office/drawing/2014/main" xmlns="" val="3816063191"/>
                    </a:ext>
                  </a:extLst>
                </a:gridCol>
                <a:gridCol w="719528">
                  <a:extLst>
                    <a:ext uri="{9D8B030D-6E8A-4147-A177-3AD203B41FA5}">
                      <a16:colId xmlns:a16="http://schemas.microsoft.com/office/drawing/2014/main" xmlns="" val="4125855551"/>
                    </a:ext>
                  </a:extLst>
                </a:gridCol>
                <a:gridCol w="674558">
                  <a:extLst>
                    <a:ext uri="{9D8B030D-6E8A-4147-A177-3AD203B41FA5}">
                      <a16:colId xmlns:a16="http://schemas.microsoft.com/office/drawing/2014/main" xmlns="" val="134497221"/>
                    </a:ext>
                  </a:extLst>
                </a:gridCol>
                <a:gridCol w="454077">
                  <a:extLst>
                    <a:ext uri="{9D8B030D-6E8A-4147-A177-3AD203B41FA5}">
                      <a16:colId xmlns:a16="http://schemas.microsoft.com/office/drawing/2014/main" xmlns="" val="2694472600"/>
                    </a:ext>
                  </a:extLst>
                </a:gridCol>
                <a:gridCol w="715156">
                  <a:extLst>
                    <a:ext uri="{9D8B030D-6E8A-4147-A177-3AD203B41FA5}">
                      <a16:colId xmlns:a16="http://schemas.microsoft.com/office/drawing/2014/main" xmlns="" val="3869742516"/>
                    </a:ext>
                  </a:extLst>
                </a:gridCol>
                <a:gridCol w="599606">
                  <a:extLst>
                    <a:ext uri="{9D8B030D-6E8A-4147-A177-3AD203B41FA5}">
                      <a16:colId xmlns:a16="http://schemas.microsoft.com/office/drawing/2014/main" xmlns="" val="2984041819"/>
                    </a:ext>
                  </a:extLst>
                </a:gridCol>
                <a:gridCol w="524656">
                  <a:extLst>
                    <a:ext uri="{9D8B030D-6E8A-4147-A177-3AD203B41FA5}">
                      <a16:colId xmlns:a16="http://schemas.microsoft.com/office/drawing/2014/main" xmlns="" val="1795278193"/>
                    </a:ext>
                  </a:extLst>
                </a:gridCol>
                <a:gridCol w="629587">
                  <a:extLst>
                    <a:ext uri="{9D8B030D-6E8A-4147-A177-3AD203B41FA5}">
                      <a16:colId xmlns:a16="http://schemas.microsoft.com/office/drawing/2014/main" xmlns="" val="815533321"/>
                    </a:ext>
                  </a:extLst>
                </a:gridCol>
                <a:gridCol w="614596">
                  <a:extLst>
                    <a:ext uri="{9D8B030D-6E8A-4147-A177-3AD203B41FA5}">
                      <a16:colId xmlns:a16="http://schemas.microsoft.com/office/drawing/2014/main" xmlns="" val="622269373"/>
                    </a:ext>
                  </a:extLst>
                </a:gridCol>
                <a:gridCol w="509664">
                  <a:extLst>
                    <a:ext uri="{9D8B030D-6E8A-4147-A177-3AD203B41FA5}">
                      <a16:colId xmlns:a16="http://schemas.microsoft.com/office/drawing/2014/main" xmlns="" val="1062890652"/>
                    </a:ext>
                  </a:extLst>
                </a:gridCol>
              </a:tblGrid>
              <a:tr h="241583">
                <a:tc gridSpan="14">
                  <a:txBody>
                    <a:bodyPr/>
                    <a:lstStyle/>
                    <a:p>
                      <a:pPr algn="ctr" fontAlgn="ctr"/>
                      <a:r>
                        <a:rPr lang="en-ZA" sz="900" b="1" i="0" u="none" strike="noStrike">
                          <a:solidFill>
                            <a:srgbClr val="2A2A2A"/>
                          </a:solidFill>
                          <a:effectLst/>
                          <a:latin typeface="Arial" panose="020B0604020202020204" pitchFamily="34" charset="0"/>
                        </a:rPr>
                        <a:t>CUSTOMER PERSPECTIVE</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750580744"/>
                  </a:ext>
                </a:extLst>
              </a:tr>
              <a:tr h="521812">
                <a:tc>
                  <a:txBody>
                    <a:bodyPr/>
                    <a:lstStyle/>
                    <a:p>
                      <a:pPr algn="ctr" fontAlgn="ctr"/>
                      <a:endParaRPr lang="en-ZA" sz="900" b="1" i="0" u="none" strike="noStrike">
                        <a:solidFill>
                          <a:srgbClr val="2A2A2A"/>
                        </a:solidFill>
                        <a:effectLst/>
                        <a:latin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ZA" sz="900" b="1" i="0" u="none" strike="noStrike">
                          <a:solidFill>
                            <a:srgbClr val="2A2A2A"/>
                          </a:solidFill>
                          <a:effectLst/>
                          <a:latin typeface="Arial" panose="020B0604020202020204" pitchFamily="34" charset="0"/>
                        </a:rPr>
                        <a:t>Annual Target 2022-2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gridSpan="3">
                  <a:txBody>
                    <a:bodyPr/>
                    <a:lstStyle/>
                    <a:p>
                      <a:pPr algn="ctr" fontAlgn="ctr"/>
                      <a:r>
                        <a:rPr lang="en-ZA" sz="900" b="1" i="0" u="none" strike="noStrike">
                          <a:solidFill>
                            <a:srgbClr val="2A2A2A"/>
                          </a:solidFill>
                          <a:effectLst/>
                          <a:latin typeface="Arial" panose="020B0604020202020204" pitchFamily="34" charset="0"/>
                        </a:rPr>
                        <a:t>Q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2A2A2A"/>
                          </a:solidFill>
                          <a:effectLst/>
                          <a:latin typeface="Arial" panose="020B0604020202020204" pitchFamily="34" charset="0"/>
                        </a:rPr>
                        <a:t>Q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2A2A2A"/>
                          </a:solidFill>
                          <a:effectLst/>
                          <a:latin typeface="Arial" panose="020B0604020202020204" pitchFamily="34" charset="0"/>
                        </a:rPr>
                        <a:t>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2A2A2A"/>
                          </a:solidFill>
                          <a:effectLst/>
                          <a:latin typeface="Arial" panose="020B0604020202020204" pitchFamily="34" charset="0"/>
                        </a:rPr>
                        <a:t>YTD (Q1-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145579814"/>
                  </a:ext>
                </a:extLst>
              </a:tr>
              <a:tr h="496045">
                <a:tc>
                  <a:txBody>
                    <a:bodyPr/>
                    <a:lstStyle/>
                    <a:p>
                      <a:pPr algn="l" fontAlgn="ctr"/>
                      <a:r>
                        <a:rPr lang="en-ZA" sz="900" b="1" i="0" u="none" strike="noStrike">
                          <a:solidFill>
                            <a:srgbClr val="2A2A2A"/>
                          </a:solidFill>
                          <a:effectLst/>
                          <a:latin typeface="Arial" panose="020B0604020202020204" pitchFamily="34" charset="0"/>
                        </a:rPr>
                        <a:t>OUTPUT INDICATORS</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S</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Actual</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Actual</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Actual</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YTD 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YTD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YTD %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xmlns="" val="2537628271"/>
                  </a:ext>
                </a:extLst>
              </a:tr>
              <a:tr h="720774">
                <a:tc>
                  <a:txBody>
                    <a:bodyPr/>
                    <a:lstStyle/>
                    <a:p>
                      <a:pPr algn="l" fontAlgn="t"/>
                      <a:r>
                        <a:rPr lang="en-US" sz="900" b="0" i="0" u="none" strike="noStrike">
                          <a:solidFill>
                            <a:srgbClr val="000000"/>
                          </a:solidFill>
                          <a:effectLst/>
                          <a:latin typeface="Arial" panose="020B0604020202020204" pitchFamily="34" charset="0"/>
                        </a:rPr>
                        <a:t>Value of approvals to SMMEs &amp; Co-operatives </a:t>
                      </a:r>
                      <a:r>
                        <a:rPr lang="en-US" sz="900" b="0" i="1" u="none" strike="noStrike">
                          <a:solidFill>
                            <a:srgbClr val="000000"/>
                          </a:solidFill>
                          <a:effectLst/>
                          <a:latin typeface="Arial" panose="020B0604020202020204" pitchFamily="34" charset="0"/>
                        </a:rPr>
                        <a:t> </a:t>
                      </a:r>
                      <a:r>
                        <a:rPr lang="en-US" sz="900" b="0" i="0" u="none" strike="noStrike">
                          <a:solidFill>
                            <a:srgbClr val="000000"/>
                          </a:solidFill>
                          <a:effectLst/>
                          <a:latin typeface="Arial" panose="020B0604020202020204" pitchFamily="34" charset="0"/>
                        </a:rPr>
                        <a:t>(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2 233 33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46 66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354 2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7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70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36 66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6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70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249 46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3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1 786 66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 040 32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5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22584003"/>
                  </a:ext>
                </a:extLst>
              </a:tr>
              <a:tr h="720774">
                <a:tc>
                  <a:txBody>
                    <a:bodyPr/>
                    <a:lstStyle/>
                    <a:p>
                      <a:pPr algn="l" fontAlgn="t"/>
                      <a:r>
                        <a:rPr lang="en-US" sz="900" b="0" i="0" u="none" strike="noStrike">
                          <a:solidFill>
                            <a:srgbClr val="000000"/>
                          </a:solidFill>
                          <a:effectLst/>
                          <a:latin typeface="Arial" panose="020B0604020202020204" pitchFamily="34" charset="0"/>
                        </a:rPr>
                        <a:t>Value of disbursements to SMMEs &amp; Co-operatives  (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2 003 79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00 75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591 57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4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01 13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56 74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01 13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549 99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9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1 603 03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 798 31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1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09554837"/>
                  </a:ext>
                </a:extLst>
              </a:tr>
              <a:tr h="521812">
                <a:tc>
                  <a:txBody>
                    <a:bodyPr/>
                    <a:lstStyle/>
                    <a:p>
                      <a:pPr algn="l" fontAlgn="t"/>
                      <a:r>
                        <a:rPr lang="en-US" sz="900" b="0" i="0" u="none" strike="noStrike">
                          <a:solidFill>
                            <a:srgbClr val="000000"/>
                          </a:solidFill>
                          <a:effectLst/>
                          <a:latin typeface="Arial" panose="020B0604020202020204" pitchFamily="34" charset="0"/>
                        </a:rPr>
                        <a:t>Number of SMMEs and Cooperatives Financed</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84 831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900" b="0" i="0" u="none" strike="noStrike">
                          <a:solidFill>
                            <a:srgbClr val="000000"/>
                          </a:solidFill>
                          <a:effectLst/>
                          <a:latin typeface="Arial" panose="020B0604020202020204" pitchFamily="34" charset="0"/>
                        </a:rPr>
                        <a:t> 16 967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 8 355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4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25 449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58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2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25 449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238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9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67 866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 38 039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5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274162521"/>
                  </a:ext>
                </a:extLst>
              </a:tr>
              <a:tr h="720774">
                <a:tc>
                  <a:txBody>
                    <a:bodyPr/>
                    <a:lstStyle/>
                    <a:p>
                      <a:pPr algn="l" fontAlgn="t"/>
                      <a:r>
                        <a:rPr lang="en-US" sz="900" b="0" i="0" u="none" strike="noStrike">
                          <a:solidFill>
                            <a:srgbClr val="000000"/>
                          </a:solidFill>
                          <a:effectLst/>
                          <a:latin typeface="Arial" panose="020B0604020202020204" pitchFamily="34" charset="0"/>
                        </a:rPr>
                        <a:t>Number of Jobs Facilitated and sustained </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 104 968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ZA" sz="900" b="0" i="0" u="none" strike="noStrike">
                          <a:solidFill>
                            <a:srgbClr val="000000"/>
                          </a:solidFill>
                          <a:effectLst/>
                          <a:latin typeface="Arial" panose="020B0604020202020204" pitchFamily="34" charset="0"/>
                        </a:rPr>
                        <a:t> 20 994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 19 995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9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1 491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 15 554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4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1 490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2815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8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83 975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 63 702 </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7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362950181"/>
                  </a:ext>
                </a:extLst>
              </a:tr>
              <a:tr h="720774">
                <a:tc>
                  <a:txBody>
                    <a:bodyPr/>
                    <a:lstStyle/>
                    <a:p>
                      <a:pPr algn="l" fontAlgn="t"/>
                      <a:r>
                        <a:rPr lang="en-US" sz="900" b="0" i="0" u="none" strike="noStrike">
                          <a:solidFill>
                            <a:srgbClr val="000000"/>
                          </a:solidFill>
                          <a:effectLst/>
                          <a:latin typeface="Arial" panose="020B0604020202020204" pitchFamily="34" charset="0"/>
                        </a:rPr>
                        <a:t>Disbursements to black-owned enterprises (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1 402 65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80 53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72 20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6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20 79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565 42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3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20 79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491 71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11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1 122 12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 529 3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3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36125271"/>
                  </a:ext>
                </a:extLst>
              </a:tr>
              <a:tr h="720774">
                <a:tc>
                  <a:txBody>
                    <a:bodyPr/>
                    <a:lstStyle/>
                    <a:p>
                      <a:pPr algn="l" fontAlgn="t"/>
                      <a:r>
                        <a:rPr lang="en-US" sz="900" b="0" i="0" u="none" strike="noStrike">
                          <a:solidFill>
                            <a:srgbClr val="000000"/>
                          </a:solidFill>
                          <a:effectLst/>
                          <a:latin typeface="Arial" panose="020B0604020202020204" pitchFamily="34" charset="0"/>
                        </a:rPr>
                        <a:t>Disbursements to women-owned enterprises (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801 51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60 30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94 69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2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40 45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10 65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8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40 45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230 79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9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641 21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36 15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9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25133247"/>
                  </a:ext>
                </a:extLst>
              </a:tr>
              <a:tr h="720774">
                <a:tc>
                  <a:txBody>
                    <a:bodyPr/>
                    <a:lstStyle/>
                    <a:p>
                      <a:pPr algn="l" fontAlgn="t"/>
                      <a:r>
                        <a:rPr lang="en-US" sz="900" b="0" i="0" u="none" strike="noStrike">
                          <a:solidFill>
                            <a:srgbClr val="000000"/>
                          </a:solidFill>
                          <a:effectLst/>
                          <a:latin typeface="Arial" panose="020B0604020202020204" pitchFamily="34" charset="0"/>
                        </a:rPr>
                        <a:t>Disbursements to youth-owned enterprises (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601 13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20 22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26 91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80 3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57 05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80 3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132 22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7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480 91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16 19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292061653"/>
                  </a:ext>
                </a:extLst>
              </a:tr>
            </a:tbl>
          </a:graphicData>
        </a:graphic>
      </p:graphicFrame>
    </p:spTree>
    <p:extLst>
      <p:ext uri="{BB962C8B-B14F-4D97-AF65-F5344CB8AC3E}">
        <p14:creationId xmlns:p14="http://schemas.microsoft.com/office/powerpoint/2010/main" xmlns="" val="1197020361"/>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6</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615576"/>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421969" y="-30754"/>
            <a:ext cx="843721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a:t>
            </a:r>
            <a:endParaRPr lang="en-ZA" sz="3600">
              <a:solidFill>
                <a:prstClr val="white"/>
              </a:solidFill>
              <a:latin typeface="Arial" panose="020B0604020202020204" pitchFamily="34" charset="0"/>
              <a:cs typeface="Arial" panose="020B0604020202020204" pitchFamily="34" charset="0"/>
            </a:endParaRPr>
          </a:p>
        </p:txBody>
      </p:sp>
      <p:pic>
        <p:nvPicPr>
          <p:cNvPr id="4" name="Picture 12">
            <a:extLst>
              <a:ext uri="{FF2B5EF4-FFF2-40B4-BE49-F238E27FC236}">
                <a16:creationId xmlns:a16="http://schemas.microsoft.com/office/drawing/2014/main" xmlns="" id="{F504B992-1A40-4938-5505-438F1F062061}"/>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6" name="Picture 5" descr="Logo&#10;&#10;Description automatically generated">
            <a:extLst>
              <a:ext uri="{FF2B5EF4-FFF2-40B4-BE49-F238E27FC236}">
                <a16:creationId xmlns:a16="http://schemas.microsoft.com/office/drawing/2014/main" xmlns="" id="{0B0AAD79-2361-6B78-2869-91308DE1489F}"/>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3" name="Picture 12" descr="Logo&#10;&#10;Description automatically generated">
            <a:extLst>
              <a:ext uri="{FF2B5EF4-FFF2-40B4-BE49-F238E27FC236}">
                <a16:creationId xmlns:a16="http://schemas.microsoft.com/office/drawing/2014/main" xmlns="" id="{B83D7844-61DF-B504-F656-B0C2C56814A4}"/>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4" name="Straight Connector 13">
            <a:extLst>
              <a:ext uri="{FF2B5EF4-FFF2-40B4-BE49-F238E27FC236}">
                <a16:creationId xmlns:a16="http://schemas.microsoft.com/office/drawing/2014/main" xmlns="" id="{F97FD666-294D-E364-E7EF-C25D530A034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xmlns="" id="{DC64AE6B-7112-3D0F-8897-112B64C692A1}"/>
              </a:ext>
            </a:extLst>
          </p:cNvPr>
          <p:cNvSpPr>
            <a:spLocks noChangeArrowheads="1"/>
          </p:cNvSpPr>
          <p:nvPr/>
        </p:nvSpPr>
        <p:spPr bwMode="auto">
          <a:xfrm flipV="1">
            <a:off x="673625" y="1165223"/>
            <a:ext cx="7949968"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graphicFrame>
        <p:nvGraphicFramePr>
          <p:cNvPr id="12" name="Table 11">
            <a:extLst>
              <a:ext uri="{FF2B5EF4-FFF2-40B4-BE49-F238E27FC236}">
                <a16:creationId xmlns:a16="http://schemas.microsoft.com/office/drawing/2014/main" xmlns="" id="{05CED494-7F50-CBAD-E78A-C932E41B4519}"/>
              </a:ext>
            </a:extLst>
          </p:cNvPr>
          <p:cNvGraphicFramePr>
            <a:graphicFrameLocks noGrp="1"/>
          </p:cNvGraphicFramePr>
          <p:nvPr>
            <p:extLst>
              <p:ext uri="{D42A27DB-BD31-4B8C-83A1-F6EECF244321}">
                <p14:modId xmlns:p14="http://schemas.microsoft.com/office/powerpoint/2010/main" xmlns="" val="3092885366"/>
              </p:ext>
            </p:extLst>
          </p:nvPr>
        </p:nvGraphicFramePr>
        <p:xfrm>
          <a:off x="0" y="615576"/>
          <a:ext cx="9143998" cy="5202185"/>
        </p:xfrm>
        <a:graphic>
          <a:graphicData uri="http://schemas.openxmlformats.org/drawingml/2006/table">
            <a:tbl>
              <a:tblPr/>
              <a:tblGrid>
                <a:gridCol w="1149844">
                  <a:extLst>
                    <a:ext uri="{9D8B030D-6E8A-4147-A177-3AD203B41FA5}">
                      <a16:colId xmlns:a16="http://schemas.microsoft.com/office/drawing/2014/main" xmlns="" val="3916598143"/>
                    </a:ext>
                  </a:extLst>
                </a:gridCol>
                <a:gridCol w="633986">
                  <a:extLst>
                    <a:ext uri="{9D8B030D-6E8A-4147-A177-3AD203B41FA5}">
                      <a16:colId xmlns:a16="http://schemas.microsoft.com/office/drawing/2014/main" xmlns="" val="2637254140"/>
                    </a:ext>
                  </a:extLst>
                </a:gridCol>
                <a:gridCol w="794478">
                  <a:extLst>
                    <a:ext uri="{9D8B030D-6E8A-4147-A177-3AD203B41FA5}">
                      <a16:colId xmlns:a16="http://schemas.microsoft.com/office/drawing/2014/main" xmlns="" val="1219628764"/>
                    </a:ext>
                  </a:extLst>
                </a:gridCol>
                <a:gridCol w="629587">
                  <a:extLst>
                    <a:ext uri="{9D8B030D-6E8A-4147-A177-3AD203B41FA5}">
                      <a16:colId xmlns:a16="http://schemas.microsoft.com/office/drawing/2014/main" xmlns="" val="1677412862"/>
                    </a:ext>
                  </a:extLst>
                </a:gridCol>
                <a:gridCol w="659567">
                  <a:extLst>
                    <a:ext uri="{9D8B030D-6E8A-4147-A177-3AD203B41FA5}">
                      <a16:colId xmlns:a16="http://schemas.microsoft.com/office/drawing/2014/main" xmlns="" val="3816063191"/>
                    </a:ext>
                  </a:extLst>
                </a:gridCol>
                <a:gridCol w="599607">
                  <a:extLst>
                    <a:ext uri="{9D8B030D-6E8A-4147-A177-3AD203B41FA5}">
                      <a16:colId xmlns:a16="http://schemas.microsoft.com/office/drawing/2014/main" xmlns="" val="4125855551"/>
                    </a:ext>
                  </a:extLst>
                </a:gridCol>
                <a:gridCol w="515586">
                  <a:extLst>
                    <a:ext uri="{9D8B030D-6E8A-4147-A177-3AD203B41FA5}">
                      <a16:colId xmlns:a16="http://schemas.microsoft.com/office/drawing/2014/main" xmlns="" val="134497221"/>
                    </a:ext>
                  </a:extLst>
                </a:gridCol>
                <a:gridCol w="568078">
                  <a:extLst>
                    <a:ext uri="{9D8B030D-6E8A-4147-A177-3AD203B41FA5}">
                      <a16:colId xmlns:a16="http://schemas.microsoft.com/office/drawing/2014/main" xmlns="" val="2694472600"/>
                    </a:ext>
                  </a:extLst>
                </a:gridCol>
                <a:gridCol w="568078">
                  <a:extLst>
                    <a:ext uri="{9D8B030D-6E8A-4147-A177-3AD203B41FA5}">
                      <a16:colId xmlns:a16="http://schemas.microsoft.com/office/drawing/2014/main" xmlns="" val="3869742516"/>
                    </a:ext>
                  </a:extLst>
                </a:gridCol>
                <a:gridCol w="568078">
                  <a:extLst>
                    <a:ext uri="{9D8B030D-6E8A-4147-A177-3AD203B41FA5}">
                      <a16:colId xmlns:a16="http://schemas.microsoft.com/office/drawing/2014/main" xmlns="" val="2984041819"/>
                    </a:ext>
                  </a:extLst>
                </a:gridCol>
                <a:gridCol w="568078">
                  <a:extLst>
                    <a:ext uri="{9D8B030D-6E8A-4147-A177-3AD203B41FA5}">
                      <a16:colId xmlns:a16="http://schemas.microsoft.com/office/drawing/2014/main" xmlns="" val="1795278193"/>
                    </a:ext>
                  </a:extLst>
                </a:gridCol>
                <a:gridCol w="629677">
                  <a:extLst>
                    <a:ext uri="{9D8B030D-6E8A-4147-A177-3AD203B41FA5}">
                      <a16:colId xmlns:a16="http://schemas.microsoft.com/office/drawing/2014/main" xmlns="" val="815533321"/>
                    </a:ext>
                  </a:extLst>
                </a:gridCol>
                <a:gridCol w="629677">
                  <a:extLst>
                    <a:ext uri="{9D8B030D-6E8A-4147-A177-3AD203B41FA5}">
                      <a16:colId xmlns:a16="http://schemas.microsoft.com/office/drawing/2014/main" xmlns="" val="622269373"/>
                    </a:ext>
                  </a:extLst>
                </a:gridCol>
                <a:gridCol w="629677">
                  <a:extLst>
                    <a:ext uri="{9D8B030D-6E8A-4147-A177-3AD203B41FA5}">
                      <a16:colId xmlns:a16="http://schemas.microsoft.com/office/drawing/2014/main" xmlns="" val="1062890652"/>
                    </a:ext>
                  </a:extLst>
                </a:gridCol>
              </a:tblGrid>
              <a:tr h="194232">
                <a:tc gridSpan="14">
                  <a:txBody>
                    <a:bodyPr/>
                    <a:lstStyle/>
                    <a:p>
                      <a:pPr algn="ctr" fontAlgn="ctr"/>
                      <a:r>
                        <a:rPr lang="en-ZA" sz="900" b="1" i="0" u="none" strike="noStrike">
                          <a:solidFill>
                            <a:srgbClr val="2A2A2A"/>
                          </a:solidFill>
                          <a:effectLst/>
                          <a:latin typeface="Arial" panose="020B0604020202020204" pitchFamily="34" charset="0"/>
                        </a:rPr>
                        <a:t>CUSTOMER PERSPECTIVE</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750580744"/>
                  </a:ext>
                </a:extLst>
              </a:tr>
              <a:tr h="398821">
                <a:tc>
                  <a:txBody>
                    <a:bodyPr/>
                    <a:lstStyle/>
                    <a:p>
                      <a:pPr algn="ctr" fontAlgn="ctr"/>
                      <a:endParaRPr lang="en-ZA" sz="900" b="1" i="0" u="none" strike="noStrike">
                        <a:solidFill>
                          <a:srgbClr val="2A2A2A"/>
                        </a:solidFill>
                        <a:effectLst/>
                        <a:latin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ctr" fontAlgn="ctr"/>
                      <a:r>
                        <a:rPr lang="en-ZA" sz="900" b="1" i="0" u="none" strike="noStrike">
                          <a:solidFill>
                            <a:srgbClr val="2A2A2A"/>
                          </a:solidFill>
                          <a:effectLst/>
                          <a:latin typeface="Arial" panose="020B0604020202020204" pitchFamily="34" charset="0"/>
                        </a:rPr>
                        <a:t>Annual Target 2022-2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gridSpan="3">
                  <a:txBody>
                    <a:bodyPr/>
                    <a:lstStyle/>
                    <a:p>
                      <a:pPr algn="ctr" fontAlgn="ctr"/>
                      <a:r>
                        <a:rPr lang="en-ZA" sz="900" b="1" i="0" u="none" strike="noStrike">
                          <a:solidFill>
                            <a:srgbClr val="2A2A2A"/>
                          </a:solidFill>
                          <a:effectLst/>
                          <a:latin typeface="Arial" panose="020B0604020202020204" pitchFamily="34" charset="0"/>
                        </a:rPr>
                        <a:t>Q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2A2A2A"/>
                          </a:solidFill>
                          <a:effectLst/>
                          <a:latin typeface="Arial" panose="020B0604020202020204" pitchFamily="34" charset="0"/>
                        </a:rPr>
                        <a:t>Q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2A2A2A"/>
                          </a:solidFill>
                          <a:effectLst/>
                          <a:latin typeface="Arial" panose="020B0604020202020204" pitchFamily="34" charset="0"/>
                        </a:rPr>
                        <a:t>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2A2A2A"/>
                          </a:solidFill>
                          <a:effectLst/>
                          <a:latin typeface="Arial" panose="020B0604020202020204" pitchFamily="34" charset="0"/>
                        </a:rPr>
                        <a:t>YTD (Q1-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145579814"/>
                  </a:ext>
                </a:extLst>
              </a:tr>
              <a:tr h="398821">
                <a:tc>
                  <a:txBody>
                    <a:bodyPr/>
                    <a:lstStyle/>
                    <a:p>
                      <a:pPr algn="l" fontAlgn="ctr"/>
                      <a:r>
                        <a:rPr lang="en-ZA" sz="900" b="1" i="0" u="none" strike="noStrike">
                          <a:solidFill>
                            <a:srgbClr val="2A2A2A"/>
                          </a:solidFill>
                          <a:effectLst/>
                          <a:latin typeface="Arial" panose="020B0604020202020204" pitchFamily="34" charset="0"/>
                        </a:rPr>
                        <a:t>OUTPUT INDICATORS</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S</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Actual</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Actual</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Actual</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YTD Target</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YTD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tc>
                  <a:txBody>
                    <a:bodyPr/>
                    <a:lstStyle/>
                    <a:p>
                      <a:pPr algn="l" fontAlgn="ctr"/>
                      <a:r>
                        <a:rPr lang="en-ZA" sz="900" b="1" i="0" u="none" strike="noStrike">
                          <a:solidFill>
                            <a:srgbClr val="2A2A2A"/>
                          </a:solidFill>
                          <a:effectLst/>
                          <a:latin typeface="Arial" panose="020B0604020202020204" pitchFamily="34" charset="0"/>
                        </a:rPr>
                        <a:t>YTD % Achieved</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xmlns="" val="2537628271"/>
                  </a:ext>
                </a:extLst>
              </a:tr>
              <a:tr h="760184">
                <a:tc>
                  <a:txBody>
                    <a:bodyPr/>
                    <a:lstStyle/>
                    <a:p>
                      <a:pPr algn="l" fontAlgn="t"/>
                      <a:r>
                        <a:rPr lang="en-US" sz="900" b="0" i="0" u="none" strike="noStrike">
                          <a:solidFill>
                            <a:srgbClr val="000000"/>
                          </a:solidFill>
                          <a:effectLst/>
                          <a:latin typeface="Arial" panose="020B0604020202020204" pitchFamily="34" charset="0"/>
                        </a:rPr>
                        <a:t>Disbursements to enterprises owned by entrepreneurs with disabilities (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140 26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8 05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4 08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5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2 08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 76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2 08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14 48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3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112 21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35 33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27918880"/>
                  </a:ext>
                </a:extLst>
              </a:tr>
              <a:tr h="579502">
                <a:tc>
                  <a:txBody>
                    <a:bodyPr/>
                    <a:lstStyle/>
                    <a:p>
                      <a:pPr algn="l" fontAlgn="t"/>
                      <a:r>
                        <a:rPr lang="en-US" sz="900" b="0" i="0" u="none" strike="noStrike">
                          <a:solidFill>
                            <a:srgbClr val="000000"/>
                          </a:solidFill>
                          <a:effectLst/>
                          <a:latin typeface="Arial" panose="020B0604020202020204" pitchFamily="34" charset="0"/>
                        </a:rPr>
                        <a:t>Disbursements to township-based enterprises (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500 94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00 19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66 69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6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50 28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31 05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50 28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118 59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7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400 75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416 34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4716820"/>
                  </a:ext>
                </a:extLst>
              </a:tr>
              <a:tr h="760184">
                <a:tc>
                  <a:txBody>
                    <a:bodyPr/>
                    <a:lstStyle/>
                    <a:p>
                      <a:pPr algn="l" fontAlgn="t"/>
                      <a:r>
                        <a:rPr lang="en-US" sz="900" b="0" i="0" u="none" strike="noStrike">
                          <a:solidFill>
                            <a:srgbClr val="000000"/>
                          </a:solidFill>
                          <a:effectLst/>
                          <a:latin typeface="Arial" panose="020B0604020202020204" pitchFamily="34" charset="0"/>
                        </a:rPr>
                        <a:t>Disbursements to enterprises located in rural towns and villages (R'00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 801 51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60 30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195 84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2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40 45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55 47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240 45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203 71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8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R641 21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R655 03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14964958"/>
                  </a:ext>
                </a:extLst>
              </a:tr>
              <a:tr h="476750">
                <a:tc>
                  <a:txBody>
                    <a:bodyPr/>
                    <a:lstStyle/>
                    <a:p>
                      <a:pPr algn="l" fontAlgn="t"/>
                      <a:r>
                        <a:rPr lang="en-ZA" sz="900" b="0" i="0" u="none" strike="noStrike">
                          <a:solidFill>
                            <a:srgbClr val="000000"/>
                          </a:solidFill>
                          <a:effectLst/>
                          <a:latin typeface="Arial" panose="020B0604020202020204" pitchFamily="34" charset="0"/>
                        </a:rPr>
                        <a:t>Number of leads generated</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2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2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43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4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47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13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8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47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58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86041225"/>
                  </a:ext>
                </a:extLst>
              </a:tr>
              <a:tr h="406120">
                <a:tc>
                  <a:txBody>
                    <a:bodyPr/>
                    <a:lstStyle/>
                    <a:p>
                      <a:pPr algn="l" fontAlgn="t"/>
                      <a:r>
                        <a:rPr lang="en-ZA" sz="900" b="0" i="0" u="none" strike="noStrike">
                          <a:solidFill>
                            <a:srgbClr val="000000"/>
                          </a:solidFill>
                          <a:effectLst/>
                          <a:latin typeface="Arial" panose="020B0604020202020204" pitchFamily="34" charset="0"/>
                        </a:rPr>
                        <a:t>Annual brand visibility index</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ZA" sz="900" b="0" i="0" u="none" strike="noStrike">
                          <a:solidFill>
                            <a:srgbClr val="000000"/>
                          </a:solidFill>
                          <a:effectLst/>
                          <a:latin typeface="Arial" panose="020B0604020202020204" pitchFamily="34" charset="0"/>
                        </a:rPr>
                        <a:t>50% brand visibility index</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a:solidFill>
                          <a:srgbClr val="000000"/>
                        </a:solidFill>
                        <a:effectLst/>
                        <a:latin typeface="Arial" panose="020B0604020202020204" pitchFamily="34" charset="0"/>
                      </a:endParaRP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28246134"/>
                  </a:ext>
                </a:extLst>
              </a:tr>
              <a:tr h="579502">
                <a:tc>
                  <a:txBody>
                    <a:bodyPr/>
                    <a:lstStyle/>
                    <a:p>
                      <a:pPr algn="l" fontAlgn="t"/>
                      <a:r>
                        <a:rPr lang="en-US" sz="900" b="0" i="0" u="none" strike="noStrike">
                          <a:solidFill>
                            <a:srgbClr val="000000"/>
                          </a:solidFill>
                          <a:effectLst/>
                          <a:latin typeface="Arial" panose="020B0604020202020204" pitchFamily="34" charset="0"/>
                        </a:rPr>
                        <a:t>Annual customer satisfaction index rating</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83% customer satisfaction index rating</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a:solidFill>
                          <a:srgbClr val="000000"/>
                        </a:solidFill>
                        <a:effectLst/>
                        <a:latin typeface="Arial" panose="020B0604020202020204" pitchFamily="34" charset="0"/>
                      </a:endParaRP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77032362"/>
                  </a:ext>
                </a:extLst>
              </a:tr>
              <a:tr h="579502">
                <a:tc>
                  <a:txBody>
                    <a:bodyPr/>
                    <a:lstStyle/>
                    <a:p>
                      <a:pPr algn="l" fontAlgn="t"/>
                      <a:r>
                        <a:rPr lang="en-ZA" sz="900" b="0" i="0" u="none" strike="noStrike">
                          <a:solidFill>
                            <a:srgbClr val="000000"/>
                          </a:solidFill>
                          <a:effectLst/>
                          <a:latin typeface="Arial" panose="020B0604020202020204" pitchFamily="34" charset="0"/>
                        </a:rPr>
                        <a:t>Enhanced risk</a:t>
                      </a:r>
                      <a:br>
                        <a:rPr lang="en-ZA" sz="900" b="0" i="0" u="none" strike="noStrike">
                          <a:solidFill>
                            <a:srgbClr val="000000"/>
                          </a:solidFill>
                          <a:effectLst/>
                          <a:latin typeface="Arial" panose="020B0604020202020204" pitchFamily="34" charset="0"/>
                        </a:rPr>
                      </a:br>
                      <a:r>
                        <a:rPr lang="en-ZA" sz="900" b="0" i="0" u="none" strike="noStrike">
                          <a:solidFill>
                            <a:srgbClr val="000000"/>
                          </a:solidFill>
                          <a:effectLst/>
                          <a:latin typeface="Arial" panose="020B0604020202020204" pitchFamily="34" charset="0"/>
                        </a:rPr>
                        <a:t>maturity</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Maintain level 3 risk</a:t>
                      </a:r>
                      <a:br>
                        <a:rPr lang="en-US" sz="900" b="0" i="0" u="none" strike="noStrike">
                          <a:solidFill>
                            <a:srgbClr val="000000"/>
                          </a:solidFill>
                          <a:effectLst/>
                          <a:latin typeface="Arial" panose="020B0604020202020204" pitchFamily="34" charset="0"/>
                        </a:rPr>
                      </a:br>
                      <a:r>
                        <a:rPr lang="en-US" sz="900" b="0" i="0" u="none" strike="noStrike">
                          <a:solidFill>
                            <a:srgbClr val="000000"/>
                          </a:solidFill>
                          <a:effectLst/>
                          <a:latin typeface="Arial" panose="020B0604020202020204" pitchFamily="34" charset="0"/>
                        </a:rPr>
                        <a:t>maturity</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a:solidFill>
                          <a:srgbClr val="000000"/>
                        </a:solidFill>
                        <a:effectLst/>
                        <a:latin typeface="Arial" panose="020B0604020202020204" pitchFamily="34" charset="0"/>
                      </a:endParaRP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01174592"/>
                  </a:ext>
                </a:extLst>
              </a:tr>
            </a:tbl>
          </a:graphicData>
        </a:graphic>
      </p:graphicFrame>
    </p:spTree>
    <p:extLst>
      <p:ext uri="{BB962C8B-B14F-4D97-AF65-F5344CB8AC3E}">
        <p14:creationId xmlns:p14="http://schemas.microsoft.com/office/powerpoint/2010/main" xmlns="" val="422146643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7</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85072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cont.)</a:t>
            </a:r>
            <a:endParaRPr lang="en-ZA" sz="3600">
              <a:solidFill>
                <a:prstClr val="white"/>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xmlns="" id="{0D3481B4-75FF-3E72-1464-1E5A2B49DE57}"/>
              </a:ext>
            </a:extLst>
          </p:cNvPr>
          <p:cNvGraphicFramePr>
            <a:graphicFrameLocks noGrp="1"/>
          </p:cNvGraphicFramePr>
          <p:nvPr>
            <p:extLst>
              <p:ext uri="{D42A27DB-BD31-4B8C-83A1-F6EECF244321}">
                <p14:modId xmlns:p14="http://schemas.microsoft.com/office/powerpoint/2010/main" xmlns="" val="1360836024"/>
              </p:ext>
            </p:extLst>
          </p:nvPr>
        </p:nvGraphicFramePr>
        <p:xfrm>
          <a:off x="1" y="845135"/>
          <a:ext cx="9143997" cy="5876340"/>
        </p:xfrm>
        <a:graphic>
          <a:graphicData uri="http://schemas.openxmlformats.org/drawingml/2006/table">
            <a:tbl>
              <a:tblPr/>
              <a:tblGrid>
                <a:gridCol w="1323733">
                  <a:extLst>
                    <a:ext uri="{9D8B030D-6E8A-4147-A177-3AD203B41FA5}">
                      <a16:colId xmlns:a16="http://schemas.microsoft.com/office/drawing/2014/main" xmlns="" val="3572130779"/>
                    </a:ext>
                  </a:extLst>
                </a:gridCol>
                <a:gridCol w="654968">
                  <a:extLst>
                    <a:ext uri="{9D8B030D-6E8A-4147-A177-3AD203B41FA5}">
                      <a16:colId xmlns:a16="http://schemas.microsoft.com/office/drawing/2014/main" xmlns="" val="2496159980"/>
                    </a:ext>
                  </a:extLst>
                </a:gridCol>
                <a:gridCol w="734518">
                  <a:extLst>
                    <a:ext uri="{9D8B030D-6E8A-4147-A177-3AD203B41FA5}">
                      <a16:colId xmlns:a16="http://schemas.microsoft.com/office/drawing/2014/main" xmlns="" val="3488465983"/>
                    </a:ext>
                  </a:extLst>
                </a:gridCol>
                <a:gridCol w="629587">
                  <a:extLst>
                    <a:ext uri="{9D8B030D-6E8A-4147-A177-3AD203B41FA5}">
                      <a16:colId xmlns:a16="http://schemas.microsoft.com/office/drawing/2014/main" xmlns="" val="70918593"/>
                    </a:ext>
                  </a:extLst>
                </a:gridCol>
                <a:gridCol w="584616">
                  <a:extLst>
                    <a:ext uri="{9D8B030D-6E8A-4147-A177-3AD203B41FA5}">
                      <a16:colId xmlns:a16="http://schemas.microsoft.com/office/drawing/2014/main" xmlns="" val="2177283802"/>
                    </a:ext>
                  </a:extLst>
                </a:gridCol>
                <a:gridCol w="689547">
                  <a:extLst>
                    <a:ext uri="{9D8B030D-6E8A-4147-A177-3AD203B41FA5}">
                      <a16:colId xmlns:a16="http://schemas.microsoft.com/office/drawing/2014/main" xmlns="" val="432427805"/>
                    </a:ext>
                  </a:extLst>
                </a:gridCol>
                <a:gridCol w="644578">
                  <a:extLst>
                    <a:ext uri="{9D8B030D-6E8A-4147-A177-3AD203B41FA5}">
                      <a16:colId xmlns:a16="http://schemas.microsoft.com/office/drawing/2014/main" xmlns="" val="1737395121"/>
                    </a:ext>
                  </a:extLst>
                </a:gridCol>
                <a:gridCol w="614596">
                  <a:extLst>
                    <a:ext uri="{9D8B030D-6E8A-4147-A177-3AD203B41FA5}">
                      <a16:colId xmlns:a16="http://schemas.microsoft.com/office/drawing/2014/main" xmlns="" val="1450319110"/>
                    </a:ext>
                  </a:extLst>
                </a:gridCol>
                <a:gridCol w="659567">
                  <a:extLst>
                    <a:ext uri="{9D8B030D-6E8A-4147-A177-3AD203B41FA5}">
                      <a16:colId xmlns:a16="http://schemas.microsoft.com/office/drawing/2014/main" xmlns="" val="3392743513"/>
                    </a:ext>
                  </a:extLst>
                </a:gridCol>
                <a:gridCol w="729060">
                  <a:extLst>
                    <a:ext uri="{9D8B030D-6E8A-4147-A177-3AD203B41FA5}">
                      <a16:colId xmlns:a16="http://schemas.microsoft.com/office/drawing/2014/main" xmlns="" val="777937894"/>
                    </a:ext>
                  </a:extLst>
                </a:gridCol>
                <a:gridCol w="437304">
                  <a:extLst>
                    <a:ext uri="{9D8B030D-6E8A-4147-A177-3AD203B41FA5}">
                      <a16:colId xmlns:a16="http://schemas.microsoft.com/office/drawing/2014/main" xmlns="" val="3590891679"/>
                    </a:ext>
                  </a:extLst>
                </a:gridCol>
                <a:gridCol w="480641">
                  <a:extLst>
                    <a:ext uri="{9D8B030D-6E8A-4147-A177-3AD203B41FA5}">
                      <a16:colId xmlns:a16="http://schemas.microsoft.com/office/drawing/2014/main" xmlns="" val="2315595239"/>
                    </a:ext>
                  </a:extLst>
                </a:gridCol>
                <a:gridCol w="480641">
                  <a:extLst>
                    <a:ext uri="{9D8B030D-6E8A-4147-A177-3AD203B41FA5}">
                      <a16:colId xmlns:a16="http://schemas.microsoft.com/office/drawing/2014/main" xmlns="" val="2874280053"/>
                    </a:ext>
                  </a:extLst>
                </a:gridCol>
                <a:gridCol w="480641">
                  <a:extLst>
                    <a:ext uri="{9D8B030D-6E8A-4147-A177-3AD203B41FA5}">
                      <a16:colId xmlns:a16="http://schemas.microsoft.com/office/drawing/2014/main" xmlns="" val="280223891"/>
                    </a:ext>
                  </a:extLst>
                </a:gridCol>
              </a:tblGrid>
              <a:tr h="266028">
                <a:tc gridSpan="14">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FINANCIAL PERSPECTIVE </a:t>
                      </a:r>
                    </a:p>
                  </a:txBody>
                  <a:tcPr marL="3082" marR="3082" marT="3082" marB="22192"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2948501129"/>
                  </a:ext>
                </a:extLst>
              </a:tr>
              <a:tr h="266028">
                <a:tc>
                  <a:txBody>
                    <a:bodyPr/>
                    <a:lstStyle/>
                    <a:p>
                      <a:pPr algn="l" fontAlgn="ctr"/>
                      <a:endParaRPr lang="en-ZA" sz="900" b="1"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endParaRPr lang="en-ZA" sz="900" b="1"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Q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Q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YTD (Q1-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315409887"/>
                  </a:ext>
                </a:extLst>
              </a:tr>
              <a:tr h="531417">
                <a:tc>
                  <a:txBody>
                    <a:bodyPr/>
                    <a:lstStyle/>
                    <a:p>
                      <a:pPr algn="l" fontAlgn="b"/>
                      <a:endParaRPr lang="en-ZA" sz="900" b="1"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S</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YTD 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YTD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YTD %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xmlns="" val="3958582981"/>
                  </a:ext>
                </a:extLst>
              </a:tr>
              <a:tr h="1296927">
                <a:tc>
                  <a:txBody>
                    <a:bodyPr/>
                    <a:lstStyle/>
                    <a:p>
                      <a:pPr algn="l" fontAlgn="t"/>
                      <a:r>
                        <a:rPr lang="en-US" sz="900" b="0" i="0" u="none" strike="noStrike">
                          <a:solidFill>
                            <a:srgbClr val="000000"/>
                          </a:solidFill>
                          <a:effectLst/>
                          <a:latin typeface="Arial" panose="020B0604020202020204" pitchFamily="34" charset="0"/>
                          <a:cs typeface="Arial" panose="020B0604020202020204" pitchFamily="34" charset="0"/>
                        </a:rPr>
                        <a:t>Cost to income ratio (excluding impairments on loans, advances, and KCG claims provision I/S movement relating to the SSSP and Autobody programme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2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2,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10420232"/>
                  </a:ext>
                </a:extLst>
              </a:tr>
              <a:tr h="472711">
                <a:tc>
                  <a:txBody>
                    <a:bodyPr/>
                    <a:lstStyle/>
                    <a:p>
                      <a:pPr algn="l" fontAlgn="t"/>
                      <a:r>
                        <a:rPr lang="en-US" sz="900" b="0" i="0" u="none" strike="noStrike">
                          <a:solidFill>
                            <a:srgbClr val="000000"/>
                          </a:solidFill>
                          <a:effectLst/>
                          <a:latin typeface="Arial" panose="020B0604020202020204" pitchFamily="34" charset="0"/>
                          <a:cs typeface="Arial" panose="020B0604020202020204" pitchFamily="34" charset="0"/>
                        </a:rPr>
                        <a:t>Rand value of additional capital raised</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R85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N/A</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R25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R15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R60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R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R85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R15 0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26078729"/>
                  </a:ext>
                </a:extLst>
              </a:tr>
              <a:tr h="690886">
                <a:tc>
                  <a:txBody>
                    <a:bodyPr/>
                    <a:lstStyle/>
                    <a:p>
                      <a:pPr algn="l" fontAlgn="t"/>
                      <a:r>
                        <a:rPr lang="en-US" sz="900" b="0" i="0" u="none" strike="noStrike">
                          <a:solidFill>
                            <a:srgbClr val="000000"/>
                          </a:solidFill>
                          <a:effectLst/>
                          <a:latin typeface="Arial" panose="020B0604020202020204" pitchFamily="34" charset="0"/>
                          <a:cs typeface="Arial" panose="020B0604020202020204" pitchFamily="34" charset="0"/>
                        </a:rPr>
                        <a:t>Cost to income ratio (excluding repairs and maintenance)</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1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5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1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7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1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1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88018523"/>
                  </a:ext>
                </a:extLst>
              </a:tr>
              <a:tr h="690886">
                <a:tc>
                  <a:txBody>
                    <a:bodyPr/>
                    <a:lstStyle/>
                    <a:p>
                      <a:pPr algn="l" fontAlgn="t"/>
                      <a:r>
                        <a:rPr lang="en-US" sz="900" b="0" i="0" u="none" strike="noStrike">
                          <a:solidFill>
                            <a:srgbClr val="000000"/>
                          </a:solidFill>
                          <a:effectLst/>
                          <a:latin typeface="Arial" panose="020B0604020202020204" pitchFamily="34" charset="0"/>
                          <a:cs typeface="Arial" panose="020B0604020202020204" pitchFamily="34" charset="0"/>
                        </a:rPr>
                        <a:t>Lettable area vacancy rate (target 1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63431429"/>
                  </a:ext>
                </a:extLst>
              </a:tr>
              <a:tr h="690886">
                <a:tc>
                  <a:txBody>
                    <a:bodyPr/>
                    <a:lstStyle/>
                    <a:p>
                      <a:pPr algn="l" fontAlgn="t"/>
                      <a:r>
                        <a:rPr lang="en-ZA" sz="900" b="0" i="0" u="none" strike="noStrike">
                          <a:solidFill>
                            <a:srgbClr val="000000"/>
                          </a:solidFill>
                          <a:effectLst/>
                          <a:latin typeface="Arial" panose="020B0604020202020204" pitchFamily="34" charset="0"/>
                          <a:cs typeface="Arial" panose="020B0604020202020204" pitchFamily="34" charset="0"/>
                        </a:rPr>
                        <a:t>Rental collections rate</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2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7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9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7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8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599894748"/>
                  </a:ext>
                </a:extLst>
              </a:tr>
              <a:tr h="606042">
                <a:tc>
                  <a:txBody>
                    <a:bodyPr/>
                    <a:lstStyle/>
                    <a:p>
                      <a:pPr algn="l" fontAlgn="b"/>
                      <a:r>
                        <a:rPr lang="en-US" sz="900" b="0" i="0" u="none" strike="noStrike">
                          <a:solidFill>
                            <a:srgbClr val="000000"/>
                          </a:solidFill>
                          <a:effectLst/>
                          <a:latin typeface="Arial" panose="020B0604020202020204" pitchFamily="34" charset="0"/>
                          <a:cs typeface="Arial" panose="020B0604020202020204" pitchFamily="34" charset="0"/>
                        </a:rPr>
                        <a:t>The ratio of emergency repairs to preventative repairs and maintenance</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5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en-US" sz="900" b="0" i="0" u="none" strike="noStrike">
                          <a:solidFill>
                            <a:srgbClr val="000000"/>
                          </a:solidFill>
                          <a:effectLst/>
                          <a:latin typeface="Arial" panose="020B0604020202020204" pitchFamily="34" charset="0"/>
                          <a:cs typeface="Arial" panose="020B0604020202020204" pitchFamily="34" charset="0"/>
                        </a:rPr>
                        <a:t>To be reported in Q2</a:t>
                      </a:r>
                      <a:endParaRPr lang="en-ZA" sz="900" b="0"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5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3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5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5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97689698"/>
                  </a:ext>
                </a:extLst>
              </a:tr>
              <a:tr h="364529">
                <a:tc>
                  <a:txBody>
                    <a:bodyPr/>
                    <a:lstStyle/>
                    <a:p>
                      <a:pPr algn="l" fontAlgn="t"/>
                      <a:r>
                        <a:rPr lang="en-ZA" sz="900" b="0" i="0" u="none" strike="noStrike">
                          <a:solidFill>
                            <a:srgbClr val="000000"/>
                          </a:solidFill>
                          <a:effectLst/>
                          <a:latin typeface="Arial" panose="020B0604020202020204" pitchFamily="34" charset="0"/>
                          <a:cs typeface="Arial" panose="020B0604020202020204" pitchFamily="34" charset="0"/>
                        </a:rPr>
                        <a:t>KCG capital leverage ratio</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2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2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2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3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2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4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2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4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59191532"/>
                  </a:ext>
                </a:extLst>
              </a:tr>
            </a:tbl>
          </a:graphicData>
        </a:graphic>
      </p:graphicFrame>
    </p:spTree>
    <p:extLst>
      <p:ext uri="{BB962C8B-B14F-4D97-AF65-F5344CB8AC3E}">
        <p14:creationId xmlns:p14="http://schemas.microsoft.com/office/powerpoint/2010/main" xmlns="" val="355876711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8</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85072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cont.)</a:t>
            </a:r>
            <a:endParaRPr lang="en-ZA" sz="3600">
              <a:solidFill>
                <a:prstClr val="white"/>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xmlns="" id="{0D3481B4-75FF-3E72-1464-1E5A2B49DE57}"/>
              </a:ext>
            </a:extLst>
          </p:cNvPr>
          <p:cNvGraphicFramePr>
            <a:graphicFrameLocks noGrp="1"/>
          </p:cNvGraphicFramePr>
          <p:nvPr>
            <p:extLst>
              <p:ext uri="{D42A27DB-BD31-4B8C-83A1-F6EECF244321}">
                <p14:modId xmlns:p14="http://schemas.microsoft.com/office/powerpoint/2010/main" xmlns="" val="3403543100"/>
              </p:ext>
            </p:extLst>
          </p:nvPr>
        </p:nvGraphicFramePr>
        <p:xfrm>
          <a:off x="0" y="823890"/>
          <a:ext cx="9143997" cy="3178484"/>
        </p:xfrm>
        <a:graphic>
          <a:graphicData uri="http://schemas.openxmlformats.org/drawingml/2006/table">
            <a:tbl>
              <a:tblPr/>
              <a:tblGrid>
                <a:gridCol w="1323733">
                  <a:extLst>
                    <a:ext uri="{9D8B030D-6E8A-4147-A177-3AD203B41FA5}">
                      <a16:colId xmlns:a16="http://schemas.microsoft.com/office/drawing/2014/main" xmlns="" val="3572130779"/>
                    </a:ext>
                  </a:extLst>
                </a:gridCol>
                <a:gridCol w="550037">
                  <a:extLst>
                    <a:ext uri="{9D8B030D-6E8A-4147-A177-3AD203B41FA5}">
                      <a16:colId xmlns:a16="http://schemas.microsoft.com/office/drawing/2014/main" xmlns="" val="2496159980"/>
                    </a:ext>
                  </a:extLst>
                </a:gridCol>
                <a:gridCol w="554637">
                  <a:extLst>
                    <a:ext uri="{9D8B030D-6E8A-4147-A177-3AD203B41FA5}">
                      <a16:colId xmlns:a16="http://schemas.microsoft.com/office/drawing/2014/main" xmlns="" val="3488465983"/>
                    </a:ext>
                  </a:extLst>
                </a:gridCol>
                <a:gridCol w="569626">
                  <a:extLst>
                    <a:ext uri="{9D8B030D-6E8A-4147-A177-3AD203B41FA5}">
                      <a16:colId xmlns:a16="http://schemas.microsoft.com/office/drawing/2014/main" xmlns="" val="2871401122"/>
                    </a:ext>
                  </a:extLst>
                </a:gridCol>
                <a:gridCol w="599606">
                  <a:extLst>
                    <a:ext uri="{9D8B030D-6E8A-4147-A177-3AD203B41FA5}">
                      <a16:colId xmlns:a16="http://schemas.microsoft.com/office/drawing/2014/main" xmlns="" val="3970389165"/>
                    </a:ext>
                  </a:extLst>
                </a:gridCol>
                <a:gridCol w="554636">
                  <a:extLst>
                    <a:ext uri="{9D8B030D-6E8A-4147-A177-3AD203B41FA5}">
                      <a16:colId xmlns:a16="http://schemas.microsoft.com/office/drawing/2014/main" xmlns="" val="1241502817"/>
                    </a:ext>
                  </a:extLst>
                </a:gridCol>
                <a:gridCol w="659568">
                  <a:extLst>
                    <a:ext uri="{9D8B030D-6E8A-4147-A177-3AD203B41FA5}">
                      <a16:colId xmlns:a16="http://schemas.microsoft.com/office/drawing/2014/main" xmlns="" val="513210346"/>
                    </a:ext>
                  </a:extLst>
                </a:gridCol>
                <a:gridCol w="599606">
                  <a:extLst>
                    <a:ext uri="{9D8B030D-6E8A-4147-A177-3AD203B41FA5}">
                      <a16:colId xmlns:a16="http://schemas.microsoft.com/office/drawing/2014/main" xmlns="" val="3289126924"/>
                    </a:ext>
                  </a:extLst>
                </a:gridCol>
                <a:gridCol w="674558">
                  <a:extLst>
                    <a:ext uri="{9D8B030D-6E8A-4147-A177-3AD203B41FA5}">
                      <a16:colId xmlns:a16="http://schemas.microsoft.com/office/drawing/2014/main" xmlns="" val="2450748375"/>
                    </a:ext>
                  </a:extLst>
                </a:gridCol>
                <a:gridCol w="704537">
                  <a:extLst>
                    <a:ext uri="{9D8B030D-6E8A-4147-A177-3AD203B41FA5}">
                      <a16:colId xmlns:a16="http://schemas.microsoft.com/office/drawing/2014/main" xmlns="" val="4037045783"/>
                    </a:ext>
                  </a:extLst>
                </a:gridCol>
                <a:gridCol w="629587">
                  <a:extLst>
                    <a:ext uri="{9D8B030D-6E8A-4147-A177-3AD203B41FA5}">
                      <a16:colId xmlns:a16="http://schemas.microsoft.com/office/drawing/2014/main" xmlns="" val="472089725"/>
                    </a:ext>
                  </a:extLst>
                </a:gridCol>
                <a:gridCol w="524656">
                  <a:extLst>
                    <a:ext uri="{9D8B030D-6E8A-4147-A177-3AD203B41FA5}">
                      <a16:colId xmlns:a16="http://schemas.microsoft.com/office/drawing/2014/main" xmlns="" val="3324244245"/>
                    </a:ext>
                  </a:extLst>
                </a:gridCol>
                <a:gridCol w="524656">
                  <a:extLst>
                    <a:ext uri="{9D8B030D-6E8A-4147-A177-3AD203B41FA5}">
                      <a16:colId xmlns:a16="http://schemas.microsoft.com/office/drawing/2014/main" xmlns="" val="2874280053"/>
                    </a:ext>
                  </a:extLst>
                </a:gridCol>
                <a:gridCol w="674554">
                  <a:extLst>
                    <a:ext uri="{9D8B030D-6E8A-4147-A177-3AD203B41FA5}">
                      <a16:colId xmlns:a16="http://schemas.microsoft.com/office/drawing/2014/main" xmlns="" val="280223891"/>
                    </a:ext>
                  </a:extLst>
                </a:gridCol>
              </a:tblGrid>
              <a:tr h="289205">
                <a:tc gridSpan="14">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FINANCIAL PERSPECTIVE </a:t>
                      </a:r>
                    </a:p>
                  </a:txBody>
                  <a:tcPr marL="3082" marR="3082" marT="3082" marB="22192"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lnL w="12700" cmpd="sng">
                      <a:noFill/>
                      <a:prstDash val="solid"/>
                    </a:lnL>
                  </a:tcPr>
                </a:tc>
                <a:tc hMerge="1">
                  <a:txBody>
                    <a:bodyPr/>
                    <a:lstStyle/>
                    <a:p>
                      <a:endParaRPr lang="en-ZA"/>
                    </a:p>
                  </a:txBody>
                  <a:tcPr/>
                </a:tc>
                <a:extLst>
                  <a:ext uri="{0D108BD9-81ED-4DB2-BD59-A6C34878D82A}">
                    <a16:rowId xmlns:a16="http://schemas.microsoft.com/office/drawing/2014/main" xmlns="" val="2948501129"/>
                  </a:ext>
                </a:extLst>
              </a:tr>
              <a:tr h="289205">
                <a:tc>
                  <a:txBody>
                    <a:bodyPr/>
                    <a:lstStyle/>
                    <a:p>
                      <a:pPr algn="l" fontAlgn="ctr"/>
                      <a:endParaRPr lang="en-ZA" sz="900" b="1"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endParaRPr lang="en-ZA" sz="900" b="1"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Q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Q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cs typeface="Arial" panose="020B0604020202020204" pitchFamily="34" charset="0"/>
                        </a:rPr>
                        <a:t>YTD (Q1-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lnL w="6350" cap="flat" cmpd="sng" algn="ctr">
                      <a:solidFill>
                        <a:srgbClr val="000000"/>
                      </a:solidFill>
                      <a:prstDash val="solid"/>
                      <a:round/>
                      <a:headEnd type="none" w="med" len="med"/>
                      <a:tailEnd type="none" w="med" len="med"/>
                    </a:lnL>
                  </a:tcPr>
                </a:tc>
                <a:tc hMerge="1">
                  <a:txBody>
                    <a:bodyPr/>
                    <a:lstStyle/>
                    <a:p>
                      <a:endParaRPr lang="en-ZA"/>
                    </a:p>
                  </a:txBody>
                  <a:tcPr/>
                </a:tc>
                <a:extLst>
                  <a:ext uri="{0D108BD9-81ED-4DB2-BD59-A6C34878D82A}">
                    <a16:rowId xmlns:a16="http://schemas.microsoft.com/office/drawing/2014/main" xmlns="" val="1315409887"/>
                  </a:ext>
                </a:extLst>
              </a:tr>
              <a:tr h="577717">
                <a:tc>
                  <a:txBody>
                    <a:bodyPr/>
                    <a:lstStyle/>
                    <a:p>
                      <a:pPr algn="l" fontAlgn="b"/>
                      <a:endParaRPr lang="en-ZA" sz="900" b="1"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s</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YTD 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YTD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cs typeface="Arial" panose="020B0604020202020204" pitchFamily="34" charset="0"/>
                        </a:rPr>
                        <a:t>YTD %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xmlns="" val="3958582981"/>
                  </a:ext>
                </a:extLst>
              </a:tr>
              <a:tr h="577717">
                <a:tc>
                  <a:txBody>
                    <a:bodyPr/>
                    <a:lstStyle/>
                    <a:p>
                      <a:pPr algn="l" fontAlgn="b"/>
                      <a:r>
                        <a:rPr lang="en-US" sz="900" b="0" i="0" u="none" strike="noStrike">
                          <a:solidFill>
                            <a:srgbClr val="000000"/>
                          </a:solidFill>
                          <a:effectLst/>
                          <a:latin typeface="Arial" panose="020B0604020202020204" pitchFamily="34" charset="0"/>
                          <a:cs typeface="Arial" panose="020B0604020202020204" pitchFamily="34" charset="0"/>
                        </a:rPr>
                        <a:t>Percentage growth in revenue (excl. grant income and MTEF)</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0">
                  <a:txBody>
                    <a:bodyPr/>
                    <a:lstStyle/>
                    <a:p>
                      <a:pPr algn="l" fontAlgn="b"/>
                      <a:r>
                        <a:rPr lang="en-ZA" sz="900" b="0" i="0" u="none" strike="noStrike">
                          <a:solidFill>
                            <a:srgbClr val="000000"/>
                          </a:solidFill>
                          <a:effectLst/>
                          <a:latin typeface="Arial" panose="020B0604020202020204" pitchFamily="34" charset="0"/>
                          <a:cs typeface="Arial" panose="020B0604020202020204" pitchFamily="34" charset="0"/>
                        </a:rPr>
                        <a:t>Annual Measuremen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ctr" fontAlgn="ctr"/>
                      <a:endParaRPr lang="en-ZA" sz="900" b="0"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en-ZA" sz="900" b="0" i="0" u="none" strike="noStrike">
                        <a:solidFill>
                          <a:srgbClr val="000000"/>
                        </a:solidFill>
                        <a:effectLst/>
                        <a:latin typeface="Arial" panose="020B0604020202020204" pitchFamily="34" charset="0"/>
                        <a:cs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920517700"/>
                  </a:ext>
                </a:extLst>
              </a:tr>
              <a:tr h="759146">
                <a:tc>
                  <a:txBody>
                    <a:bodyPr/>
                    <a:lstStyle/>
                    <a:p>
                      <a:pPr algn="l" fontAlgn="t"/>
                      <a:r>
                        <a:rPr lang="en-US" sz="900" b="0" i="0" u="none" strike="noStrike">
                          <a:solidFill>
                            <a:srgbClr val="000000"/>
                          </a:solidFill>
                          <a:effectLst/>
                          <a:latin typeface="Arial" panose="020B0604020202020204" pitchFamily="34" charset="0"/>
                          <a:cs typeface="Arial" panose="020B0604020202020204" pitchFamily="34" charset="0"/>
                        </a:rPr>
                        <a:t>Accumulated Impairment provision as a percentage of total loans and advance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9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3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11544121"/>
                  </a:ext>
                </a:extLst>
              </a:tr>
              <a:tr h="289205">
                <a:tc>
                  <a:txBody>
                    <a:bodyPr/>
                    <a:lstStyle/>
                    <a:p>
                      <a:pPr algn="l" fontAlgn="t"/>
                      <a:r>
                        <a:rPr lang="en-ZA" sz="900" b="0" i="0" u="none" strike="noStrike">
                          <a:solidFill>
                            <a:srgbClr val="000000"/>
                          </a:solidFill>
                          <a:effectLst/>
                          <a:latin typeface="Arial" panose="020B0604020202020204" pitchFamily="34" charset="0"/>
                          <a:cs typeface="Arial" panose="020B0604020202020204" pitchFamily="34" charset="0"/>
                        </a:rPr>
                        <a:t>Portfolio at Risk</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10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9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9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678261469"/>
                  </a:ext>
                </a:extLst>
              </a:tr>
              <a:tr h="396289">
                <a:tc>
                  <a:txBody>
                    <a:bodyPr/>
                    <a:lstStyle/>
                    <a:p>
                      <a:pPr algn="l" fontAlgn="t"/>
                      <a:r>
                        <a:rPr lang="en-ZA" sz="900" b="0" i="0" u="none" strike="noStrike">
                          <a:solidFill>
                            <a:srgbClr val="000000"/>
                          </a:solidFill>
                          <a:effectLst/>
                          <a:latin typeface="Arial" panose="020B0604020202020204" pitchFamily="34" charset="0"/>
                          <a:cs typeface="Arial" panose="020B0604020202020204" pitchFamily="34" charset="0"/>
                        </a:rPr>
                        <a:t>Collections rate (all-in-cash collection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6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7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47,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5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7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9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8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79%</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cs typeface="Arial" panose="020B0604020202020204" pitchFamily="34" charset="0"/>
                        </a:rPr>
                        <a:t>9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68707290"/>
                  </a:ext>
                </a:extLst>
              </a:tr>
            </a:tbl>
          </a:graphicData>
        </a:graphic>
      </p:graphicFrame>
      <p:pic>
        <p:nvPicPr>
          <p:cNvPr id="4" name="Picture 12">
            <a:extLst>
              <a:ext uri="{FF2B5EF4-FFF2-40B4-BE49-F238E27FC236}">
                <a16:creationId xmlns:a16="http://schemas.microsoft.com/office/drawing/2014/main" xmlns="" id="{270B9F74-F884-3D96-64E8-0D69FB4C6257}"/>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9DCCB19A-425D-CDCA-6DC2-9EA7B6730CDA}"/>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CE0E5534-F05D-8DDF-69B7-9A92D8985733}"/>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9" name="Straight Connector 8">
            <a:extLst>
              <a:ext uri="{FF2B5EF4-FFF2-40B4-BE49-F238E27FC236}">
                <a16:creationId xmlns:a16="http://schemas.microsoft.com/office/drawing/2014/main" xmlns="" id="{23F96524-70C7-2CCC-CA32-B922F51221CA}"/>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30052263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9</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05517"/>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0"/>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cont.)</a:t>
            </a:r>
            <a:endParaRPr lang="en-ZA" sz="3600">
              <a:solidFill>
                <a:prstClr val="white"/>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a16="http://schemas.microsoft.com/office/drawing/2014/main" xmlns="" id="{C656ADD2-DEEC-313A-D7CE-8C87D2AB5909}"/>
              </a:ext>
            </a:extLst>
          </p:cNvPr>
          <p:cNvGraphicFramePr>
            <a:graphicFrameLocks noGrp="1"/>
          </p:cNvGraphicFramePr>
          <p:nvPr>
            <p:extLst>
              <p:ext uri="{D42A27DB-BD31-4B8C-83A1-F6EECF244321}">
                <p14:modId xmlns:p14="http://schemas.microsoft.com/office/powerpoint/2010/main" xmlns="" val="2388500055"/>
              </p:ext>
            </p:extLst>
          </p:nvPr>
        </p:nvGraphicFramePr>
        <p:xfrm>
          <a:off x="0" y="646333"/>
          <a:ext cx="9144002" cy="5710016"/>
        </p:xfrm>
        <a:graphic>
          <a:graphicData uri="http://schemas.openxmlformats.org/drawingml/2006/table">
            <a:tbl>
              <a:tblPr/>
              <a:tblGrid>
                <a:gridCol w="1289154">
                  <a:extLst>
                    <a:ext uri="{9D8B030D-6E8A-4147-A177-3AD203B41FA5}">
                      <a16:colId xmlns:a16="http://schemas.microsoft.com/office/drawing/2014/main" xmlns="" val="4078851396"/>
                    </a:ext>
                  </a:extLst>
                </a:gridCol>
                <a:gridCol w="1079292">
                  <a:extLst>
                    <a:ext uri="{9D8B030D-6E8A-4147-A177-3AD203B41FA5}">
                      <a16:colId xmlns:a16="http://schemas.microsoft.com/office/drawing/2014/main" xmlns="" val="963756934"/>
                    </a:ext>
                  </a:extLst>
                </a:gridCol>
                <a:gridCol w="674557">
                  <a:extLst>
                    <a:ext uri="{9D8B030D-6E8A-4147-A177-3AD203B41FA5}">
                      <a16:colId xmlns:a16="http://schemas.microsoft.com/office/drawing/2014/main" xmlns="" val="521123661"/>
                    </a:ext>
                  </a:extLst>
                </a:gridCol>
                <a:gridCol w="629587">
                  <a:extLst>
                    <a:ext uri="{9D8B030D-6E8A-4147-A177-3AD203B41FA5}">
                      <a16:colId xmlns:a16="http://schemas.microsoft.com/office/drawing/2014/main" xmlns="" val="1134645044"/>
                    </a:ext>
                  </a:extLst>
                </a:gridCol>
                <a:gridCol w="674558">
                  <a:extLst>
                    <a:ext uri="{9D8B030D-6E8A-4147-A177-3AD203B41FA5}">
                      <a16:colId xmlns:a16="http://schemas.microsoft.com/office/drawing/2014/main" xmlns="" val="3709216422"/>
                    </a:ext>
                  </a:extLst>
                </a:gridCol>
                <a:gridCol w="524655">
                  <a:extLst>
                    <a:ext uri="{9D8B030D-6E8A-4147-A177-3AD203B41FA5}">
                      <a16:colId xmlns:a16="http://schemas.microsoft.com/office/drawing/2014/main" xmlns="" val="3970500186"/>
                    </a:ext>
                  </a:extLst>
                </a:gridCol>
                <a:gridCol w="508661">
                  <a:extLst>
                    <a:ext uri="{9D8B030D-6E8A-4147-A177-3AD203B41FA5}">
                      <a16:colId xmlns:a16="http://schemas.microsoft.com/office/drawing/2014/main" xmlns="" val="3443935521"/>
                    </a:ext>
                  </a:extLst>
                </a:gridCol>
                <a:gridCol w="515744">
                  <a:extLst>
                    <a:ext uri="{9D8B030D-6E8A-4147-A177-3AD203B41FA5}">
                      <a16:colId xmlns:a16="http://schemas.microsoft.com/office/drawing/2014/main" xmlns="" val="2753909959"/>
                    </a:ext>
                  </a:extLst>
                </a:gridCol>
                <a:gridCol w="515744">
                  <a:extLst>
                    <a:ext uri="{9D8B030D-6E8A-4147-A177-3AD203B41FA5}">
                      <a16:colId xmlns:a16="http://schemas.microsoft.com/office/drawing/2014/main" xmlns="" val="2200655865"/>
                    </a:ext>
                  </a:extLst>
                </a:gridCol>
                <a:gridCol w="515744">
                  <a:extLst>
                    <a:ext uri="{9D8B030D-6E8A-4147-A177-3AD203B41FA5}">
                      <a16:colId xmlns:a16="http://schemas.microsoft.com/office/drawing/2014/main" xmlns="" val="2191972164"/>
                    </a:ext>
                  </a:extLst>
                </a:gridCol>
                <a:gridCol w="515744">
                  <a:extLst>
                    <a:ext uri="{9D8B030D-6E8A-4147-A177-3AD203B41FA5}">
                      <a16:colId xmlns:a16="http://schemas.microsoft.com/office/drawing/2014/main" xmlns="" val="3947323024"/>
                    </a:ext>
                  </a:extLst>
                </a:gridCol>
                <a:gridCol w="566854">
                  <a:extLst>
                    <a:ext uri="{9D8B030D-6E8A-4147-A177-3AD203B41FA5}">
                      <a16:colId xmlns:a16="http://schemas.microsoft.com/office/drawing/2014/main" xmlns="" val="1847517657"/>
                    </a:ext>
                  </a:extLst>
                </a:gridCol>
                <a:gridCol w="566854">
                  <a:extLst>
                    <a:ext uri="{9D8B030D-6E8A-4147-A177-3AD203B41FA5}">
                      <a16:colId xmlns:a16="http://schemas.microsoft.com/office/drawing/2014/main" xmlns="" val="2911504505"/>
                    </a:ext>
                  </a:extLst>
                </a:gridCol>
                <a:gridCol w="566854">
                  <a:extLst>
                    <a:ext uri="{9D8B030D-6E8A-4147-A177-3AD203B41FA5}">
                      <a16:colId xmlns:a16="http://schemas.microsoft.com/office/drawing/2014/main" xmlns="" val="1429932339"/>
                    </a:ext>
                  </a:extLst>
                </a:gridCol>
              </a:tblGrid>
              <a:tr h="219621">
                <a:tc gridSpan="14">
                  <a:txBody>
                    <a:bodyPr/>
                    <a:lstStyle/>
                    <a:p>
                      <a:pPr algn="ctr" fontAlgn="ctr"/>
                      <a:r>
                        <a:rPr lang="en-ZA" sz="900" b="1" i="0" u="none" strike="noStrike">
                          <a:solidFill>
                            <a:srgbClr val="000000"/>
                          </a:solidFill>
                          <a:effectLst/>
                          <a:latin typeface="Arial" panose="020B0604020202020204" pitchFamily="34" charset="0"/>
                        </a:rPr>
                        <a:t>BUSINESS PROCESS PERSPECTIVE</a:t>
                      </a:r>
                    </a:p>
                  </a:txBody>
                  <a:tcPr marL="3082" marR="3082" marT="3082" marB="22192"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lnL w="12700" cmpd="sng">
                      <a:noFill/>
                      <a:prstDash val="solid"/>
                    </a:ln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163822689"/>
                  </a:ext>
                </a:extLst>
              </a:tr>
              <a:tr h="219621">
                <a:tc>
                  <a:txBody>
                    <a:bodyPr/>
                    <a:lstStyle/>
                    <a:p>
                      <a:pPr algn="ctr" fontAlgn="ctr"/>
                      <a:endParaRPr lang="en-ZA" sz="900" b="1" i="0" u="none" strike="noStrike">
                        <a:solidFill>
                          <a:srgbClr val="000000"/>
                        </a:solidFill>
                        <a:effectLst/>
                        <a:latin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endParaRPr lang="en-ZA" sz="900" b="1" i="0" u="none" strike="noStrike">
                        <a:solidFill>
                          <a:srgbClr val="000000"/>
                        </a:solidFill>
                        <a:effectLst/>
                        <a:latin typeface="Arial" panose="020B0604020202020204" pitchFamily="34" charset="0"/>
                      </a:endParaRP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gridSpan="3">
                  <a:txBody>
                    <a:bodyPr/>
                    <a:lstStyle/>
                    <a:p>
                      <a:pPr algn="ctr" fontAlgn="ctr"/>
                      <a:r>
                        <a:rPr lang="en-ZA" sz="900" b="1" i="0" u="none" strike="noStrike">
                          <a:solidFill>
                            <a:srgbClr val="000000"/>
                          </a:solidFill>
                          <a:effectLst/>
                          <a:latin typeface="Arial" panose="020B0604020202020204" pitchFamily="34" charset="0"/>
                        </a:rPr>
                        <a:t>Q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rPr>
                        <a:t>Q2</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lnL w="6350" cap="flat" cmpd="sng" algn="ctr">
                      <a:solidFill>
                        <a:srgbClr val="000000"/>
                      </a:solidFill>
                      <a:prstDash val="solid"/>
                      <a:round/>
                      <a:headEnd type="none" w="med" len="med"/>
                      <a:tailEnd type="none" w="med" len="med"/>
                    </a:lnL>
                  </a:tcPr>
                </a:tc>
                <a:tc gridSpan="3">
                  <a:txBody>
                    <a:bodyPr/>
                    <a:lstStyle/>
                    <a:p>
                      <a:pPr algn="ctr" fontAlgn="ctr"/>
                      <a:r>
                        <a:rPr lang="en-ZA" sz="900" b="1" i="0" u="none" strike="noStrike">
                          <a:solidFill>
                            <a:srgbClr val="000000"/>
                          </a:solidFill>
                          <a:effectLst/>
                          <a:latin typeface="Arial" panose="020B0604020202020204" pitchFamily="34" charset="0"/>
                        </a:rPr>
                        <a:t>Q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tc gridSpan="3">
                  <a:txBody>
                    <a:bodyPr/>
                    <a:lstStyle/>
                    <a:p>
                      <a:pPr algn="ctr" fontAlgn="ctr"/>
                      <a:r>
                        <a:rPr lang="en-ZA" sz="900" b="1" i="0" u="none" strike="noStrike">
                          <a:solidFill>
                            <a:srgbClr val="000000"/>
                          </a:solidFill>
                          <a:effectLst/>
                          <a:latin typeface="Arial" panose="020B0604020202020204" pitchFamily="34" charset="0"/>
                        </a:rPr>
                        <a:t>YTD (Q1-Q3)</a:t>
                      </a:r>
                    </a:p>
                  </a:txBody>
                  <a:tcPr marL="3082" marR="3082" marT="3082" marB="22192"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3096136120"/>
                  </a:ext>
                </a:extLst>
              </a:tr>
              <a:tr h="336663">
                <a:tc>
                  <a:txBody>
                    <a:bodyPr/>
                    <a:lstStyle/>
                    <a:p>
                      <a:pPr algn="l" fontAlgn="b"/>
                      <a:endParaRPr lang="en-ZA" sz="900" b="1" i="0" u="none" strike="noStrike">
                        <a:solidFill>
                          <a:srgbClr val="000000"/>
                        </a:solidFill>
                        <a:effectLst/>
                        <a:latin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endParaRPr lang="en-ZA" sz="900" b="1" i="0" u="none" strike="noStrike">
                        <a:solidFill>
                          <a:srgbClr val="000000"/>
                        </a:solidFill>
                        <a:effectLst/>
                        <a:latin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Actual</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YTD Target</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YTD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b"/>
                      <a:r>
                        <a:rPr lang="en-ZA" sz="900" b="1" i="0" u="none" strike="noStrike">
                          <a:solidFill>
                            <a:srgbClr val="000000"/>
                          </a:solidFill>
                          <a:effectLst/>
                          <a:latin typeface="Arial" panose="020B0604020202020204" pitchFamily="34" charset="0"/>
                        </a:rPr>
                        <a:t>YTD % Achieved</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xmlns="" val="930981023"/>
                  </a:ext>
                </a:extLst>
              </a:tr>
              <a:tr h="570363">
                <a:tc>
                  <a:txBody>
                    <a:bodyPr/>
                    <a:lstStyle/>
                    <a:p>
                      <a:pPr algn="l" fontAlgn="t"/>
                      <a:r>
                        <a:rPr lang="en-US" sz="900" b="0" i="0" u="none" strike="noStrike">
                          <a:solidFill>
                            <a:srgbClr val="000000"/>
                          </a:solidFill>
                          <a:effectLst/>
                          <a:latin typeface="Arial" panose="020B0604020202020204" pitchFamily="34" charset="0"/>
                        </a:rPr>
                        <a:t>Turnaround time for Direct Lending (day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3</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7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89%</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63</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63%</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4</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74%</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702905575"/>
                  </a:ext>
                </a:extLst>
              </a:tr>
              <a:tr h="490794">
                <a:tc>
                  <a:txBody>
                    <a:bodyPr/>
                    <a:lstStyle/>
                    <a:p>
                      <a:pPr algn="l" fontAlgn="b"/>
                      <a:r>
                        <a:rPr lang="en-US" sz="900" b="0" i="0" u="none" strike="noStrike">
                          <a:solidFill>
                            <a:srgbClr val="000000"/>
                          </a:solidFill>
                          <a:effectLst/>
                          <a:latin typeface="Arial" panose="020B0604020202020204" pitchFamily="34" charset="0"/>
                        </a:rPr>
                        <a:t>Turnaround time for Wholesale Lending (days)</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7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79%</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61</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9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29</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19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5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3</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104%</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13273922"/>
                  </a:ext>
                </a:extLst>
              </a:tr>
              <a:tr h="920587">
                <a:tc>
                  <a:txBody>
                    <a:bodyPr/>
                    <a:lstStyle/>
                    <a:p>
                      <a:pPr algn="l" fontAlgn="t"/>
                      <a:r>
                        <a:rPr lang="en-US" sz="900" b="0" i="0" u="none" strike="noStrike">
                          <a:solidFill>
                            <a:srgbClr val="000000"/>
                          </a:solidFill>
                          <a:effectLst/>
                          <a:latin typeface="Arial" panose="020B0604020202020204" pitchFamily="34" charset="0"/>
                        </a:rPr>
                        <a:t>100% automation of the sefa loan origination proces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100% automation of business assessment, PIM/WR and disbursement processe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en-ZA"/>
                    </a:p>
                  </a:txBody>
                  <a:tcPr/>
                </a:tc>
                <a:tc hMerge="1">
                  <a:txBody>
                    <a:bodyPr/>
                    <a:lstStyle/>
                    <a:p>
                      <a:endParaRPr lang="en-ZA"/>
                    </a:p>
                  </a:txBody>
                  <a:tcPr>
                    <a:lnL w="6350" cap="flat" cmpd="sng" algn="ctr">
                      <a:solidFill>
                        <a:srgbClr val="000000"/>
                      </a:solidFill>
                      <a:prstDash val="solid"/>
                      <a:round/>
                      <a:headEnd type="none" w="med" len="med"/>
                      <a:tailEnd type="none" w="med" len="med"/>
                    </a:lnL>
                    <a:lnT w="6350" cap="flat" cmpd="sng" algn="ctr">
                      <a:solidFill>
                        <a:srgbClr val="000000"/>
                      </a:solidFill>
                      <a:prstDash val="solid"/>
                      <a:round/>
                      <a:headEnd type="none" w="med" len="med"/>
                      <a:tailEnd type="none" w="med" len="med"/>
                    </a:lnT>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a:solidFill>
                          <a:srgbClr val="000000"/>
                        </a:solidFill>
                        <a:effectLst/>
                        <a:latin typeface="Arial" panose="020B0604020202020204" pitchFamily="34" charset="0"/>
                      </a:endParaRP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21570879"/>
                  </a:ext>
                </a:extLst>
              </a:tr>
              <a:tr h="800513">
                <a:tc>
                  <a:txBody>
                    <a:bodyPr/>
                    <a:lstStyle/>
                    <a:p>
                      <a:pPr algn="l" fontAlgn="b"/>
                      <a:endParaRPr lang="en-ZA" sz="900" b="0" i="0" u="none" strike="noStrike">
                        <a:solidFill>
                          <a:srgbClr val="000000"/>
                        </a:solidFill>
                        <a:effectLst/>
                        <a:latin typeface="Arial" panose="020B0604020202020204" pitchFamily="34" charset="0"/>
                      </a:endParaRP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en-US" sz="900" b="0" i="0" u="none" strike="noStrike">
                          <a:solidFill>
                            <a:srgbClr val="000000"/>
                          </a:solidFill>
                          <a:effectLst/>
                          <a:latin typeface="Arial" panose="020B0604020202020204" pitchFamily="34" charset="0"/>
                        </a:rPr>
                        <a:t>Phase one implementation of Enterprise Content Manag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11">
                  <a:txBody>
                    <a:bodyPr/>
                    <a:lstStyle/>
                    <a:p>
                      <a:pPr algn="ctr" fontAlgn="t"/>
                      <a:r>
                        <a:rPr lang="en-ZA" sz="900" b="0" i="0" u="none" strike="noStrike">
                          <a:solidFill>
                            <a:srgbClr val="000000"/>
                          </a:solidFill>
                          <a:effectLst/>
                          <a:latin typeface="Arial" panose="020B0604020202020204" pitchFamily="34" charset="0"/>
                        </a:rPr>
                        <a:t>Annual Measurement</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ZA"/>
                    </a:p>
                  </a:txBody>
                  <a:tcPr/>
                </a:tc>
                <a:tc hMerge="1">
                  <a:txBody>
                    <a:bodyPr/>
                    <a:lstStyle/>
                    <a:p>
                      <a:endParaRPr lang="en-ZA"/>
                    </a:p>
                  </a:txBody>
                  <a:tcPr/>
                </a:tc>
                <a:tc hMerge="1">
                  <a:txBody>
                    <a:bodyPr/>
                    <a:lstStyle/>
                    <a:p>
                      <a:endParaRPr lang="en-ZA"/>
                    </a:p>
                  </a:txBody>
                  <a:tcPr>
                    <a:lnL w="6350" cap="flat" cmpd="sng" algn="ctr">
                      <a:solidFill>
                        <a:srgbClr val="000000"/>
                      </a:solidFill>
                      <a:prstDash val="solid"/>
                      <a:round/>
                      <a:headEnd type="none" w="med" len="med"/>
                      <a:tailEnd type="none" w="med" len="med"/>
                    </a:lnL>
                  </a:tcPr>
                </a:tc>
                <a:tc hMerge="1">
                  <a:txBody>
                    <a:bodyPr/>
                    <a:lstStyle/>
                    <a:p>
                      <a:endParaRPr lang="en-ZA"/>
                    </a:p>
                  </a:txBody>
                  <a:tcPr/>
                </a:tc>
                <a:tc hMerge="1">
                  <a:txBody>
                    <a:bodyPr/>
                    <a:lstStyle/>
                    <a:p>
                      <a:endParaRPr lang="en-ZA"/>
                    </a:p>
                  </a:txBody>
                  <a:tcPr>
                    <a:lnL w="6350" cap="flat" cmpd="sng" algn="ctr">
                      <a:solidFill>
                        <a:srgbClr val="000000"/>
                      </a:solidFill>
                      <a:prstDash val="solid"/>
                      <a:round/>
                      <a:headEnd type="none" w="med" len="med"/>
                      <a:tailEnd type="none" w="med" len="med"/>
                    </a:ln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a:txBody>
                    <a:bodyPr/>
                    <a:lstStyle/>
                    <a:p>
                      <a:pPr algn="l" fontAlgn="t"/>
                      <a:endParaRPr lang="en-ZA" sz="900" b="0" i="0" u="none" strike="noStrike">
                        <a:solidFill>
                          <a:srgbClr val="000000"/>
                        </a:solidFill>
                        <a:effectLst/>
                        <a:latin typeface="Arial" panose="020B0604020202020204" pitchFamily="34" charset="0"/>
                      </a:endParaRP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592121141"/>
                  </a:ext>
                </a:extLst>
              </a:tr>
              <a:tr h="700447">
                <a:tc>
                  <a:txBody>
                    <a:bodyPr/>
                    <a:lstStyle/>
                    <a:p>
                      <a:pPr algn="l" fontAlgn="t"/>
                      <a:r>
                        <a:rPr lang="en-US" sz="900" b="0" i="0" u="none" strike="noStrike">
                          <a:solidFill>
                            <a:srgbClr val="000000"/>
                          </a:solidFill>
                          <a:effectLst/>
                          <a:latin typeface="Arial" panose="020B0604020202020204" pitchFamily="34" charset="0"/>
                        </a:rPr>
                        <a:t>Number of client and funding partner interventions</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16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13%</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0</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15</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38%</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42</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6</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14%</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t"/>
                      <a:r>
                        <a:rPr lang="en-ZA" sz="900" b="0" i="0" u="none" strike="noStrike">
                          <a:solidFill>
                            <a:srgbClr val="000000"/>
                          </a:solidFill>
                          <a:effectLst/>
                          <a:latin typeface="Arial" panose="020B0604020202020204" pitchFamily="34" charset="0"/>
                        </a:rPr>
                        <a:t>122</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26</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ZA" sz="900" b="0" i="0" u="none" strike="noStrike">
                          <a:solidFill>
                            <a:srgbClr val="000000"/>
                          </a:solidFill>
                          <a:effectLst/>
                          <a:latin typeface="Arial" panose="020B0604020202020204" pitchFamily="34" charset="0"/>
                        </a:rPr>
                        <a:t>21%</a:t>
                      </a:r>
                    </a:p>
                  </a:txBody>
                  <a:tcPr marL="3082" marR="3082" marT="3082" marB="22192">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0493618"/>
                  </a:ext>
                </a:extLst>
              </a:tr>
              <a:tr h="490794">
                <a:tc>
                  <a:txBody>
                    <a:bodyPr/>
                    <a:lstStyle/>
                    <a:p>
                      <a:pPr algn="l" fontAlgn="b"/>
                      <a:r>
                        <a:rPr lang="en-US" sz="900" b="0" i="0" u="none" strike="noStrike">
                          <a:solidFill>
                            <a:srgbClr val="000000"/>
                          </a:solidFill>
                          <a:effectLst/>
                          <a:latin typeface="Arial" panose="020B0604020202020204" pitchFamily="34" charset="0"/>
                        </a:rPr>
                        <a:t>Number of sefa clients improving turnover by 5%</a:t>
                      </a:r>
                    </a:p>
                  </a:txBody>
                  <a:tcPr marL="3082" marR="3082" marT="3082" marB="22192"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0 clients</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7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8</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2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7</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7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2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2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91%</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42018196"/>
                  </a:ext>
                </a:extLst>
              </a:tr>
              <a:tr h="960613">
                <a:tc>
                  <a:txBody>
                    <a:bodyPr/>
                    <a:lstStyle/>
                    <a:p>
                      <a:pPr algn="l" fontAlgn="ctr"/>
                      <a:r>
                        <a:rPr lang="en-ZA" sz="900" b="0" i="0" u="none" strike="noStrike">
                          <a:solidFill>
                            <a:srgbClr val="000000"/>
                          </a:solidFill>
                          <a:effectLst/>
                          <a:latin typeface="Arial" panose="020B0604020202020204" pitchFamily="34" charset="0"/>
                        </a:rPr>
                        <a:t>Blended first default rate</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3%</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0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4,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115%</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0CECE"/>
                    </a:solidFill>
                  </a:tcPr>
                </a:tc>
                <a:tc>
                  <a:txBody>
                    <a:bodyPr/>
                    <a:lstStyle/>
                    <a:p>
                      <a:pPr algn="ctr" fontAlgn="ctr"/>
                      <a:r>
                        <a:rPr lang="en-ZA" sz="900" b="0" i="0" u="none" strike="noStrike">
                          <a:solidFill>
                            <a:srgbClr val="000000"/>
                          </a:solidFill>
                          <a:effectLst/>
                          <a:latin typeface="Arial" panose="020B0604020202020204" pitchFamily="34" charset="0"/>
                        </a:rPr>
                        <a:t>6%</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4%</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ZA" sz="900" b="0" i="0" u="none" strike="noStrike">
                          <a:solidFill>
                            <a:srgbClr val="000000"/>
                          </a:solidFill>
                          <a:effectLst/>
                          <a:latin typeface="Arial" panose="020B0604020202020204" pitchFamily="34" charset="0"/>
                        </a:rPr>
                        <a:t>150%</a:t>
                      </a:r>
                    </a:p>
                  </a:txBody>
                  <a:tcPr marL="3082" marR="3082" marT="3082" marB="22192"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00756571"/>
                  </a:ext>
                </a:extLst>
              </a:tr>
            </a:tbl>
          </a:graphicData>
        </a:graphic>
      </p:graphicFrame>
    </p:spTree>
    <p:extLst>
      <p:ext uri="{BB962C8B-B14F-4D97-AF65-F5344CB8AC3E}">
        <p14:creationId xmlns:p14="http://schemas.microsoft.com/office/powerpoint/2010/main" xmlns="" val="239090875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 unknown"/>
  <p:tag name="AS_RELEASE_DATE" val="2020.09.30"/>
  <p:tag name="AS_TITLE" val="Aspose.Slides for Java"/>
  <p:tag name="AS_VERSION" val="20.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Xr0VaR5DEu6ShdHbxz0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34LOUfoEegb2.KBULu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knsGFZ3EEiZHfxo17V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1eQ_uM7m0yVrDnKLBSl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qNAs_xukCos_EkCF.8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1eQ_uM7m0yVrDnKLBSl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knsGFZ3EEiZHfxo17V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u34LOUfoEegb2.KBULu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z7XitH6kEOjHU7NVCgy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JanpTA7CEaaNDhajd2PJ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pitchFamily="34" charset="0"/>
        <a:cs typeface="Arial" pitchFamily="34" charset="0"/>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pitchFamily="34" charset="0"/>
        <a:cs typeface="Arial" pitchFamily="34" charset="0"/>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dlc_DocId xmlns="d08ff5b7-0c7b-40ec-921f-e7f67b75cfeb">PDNDAYJCVQFE-738648898-2234</_dlc_DocId>
    <_dlc_DocIdUrl xmlns="d08ff5b7-0c7b-40ec-921f-e7f67b75cfeb">
      <Url>https://sefa.sharepoint.com/sites/Archive/HOME/CEOoffice/spru/businessplanning/_layouts/15/DocIdRedir.aspx?ID=PDNDAYJCVQFE-738648898-2234</Url>
      <Description>PDNDAYJCVQFE-738648898-2234</Description>
    </_dlc_DocIdUrl>
    <SharedWithUsers xmlns="d08ff5b7-0c7b-40ec-921f-e7f67b75cfeb">
      <UserInfo>
        <DisplayName>Alroy Dirks</DisplayName>
        <AccountId>15</AccountId>
        <AccountType/>
      </UserInfo>
      <UserInfo>
        <DisplayName>Likeleli Makaulule</DisplayName>
        <AccountId>268</AccountId>
        <AccountType/>
      </UserInfo>
      <UserInfo>
        <DisplayName>Carel  Wolfaardt</DisplayName>
        <AccountId>470</AccountId>
        <AccountType/>
      </UserInfo>
      <UserInfo>
        <DisplayName>Meera Jeram</DisplayName>
        <AccountId>2528</AccountId>
        <AccountType/>
      </UserInfo>
      <UserInfo>
        <DisplayName>Mxolisi Matshamba</DisplayName>
        <AccountId>3284</AccountId>
        <AccountType/>
      </UserInfo>
      <UserInfo>
        <DisplayName>David Jeffery</DisplayName>
        <AccountId>629</AccountId>
        <AccountType/>
      </UserInfo>
      <UserInfo>
        <DisplayName>Eric Kwadjo</DisplayName>
        <AccountId>53</AccountId>
        <AccountType/>
      </UserInfo>
      <UserInfo>
        <DisplayName>Boitumelo Nkaelang</DisplayName>
        <AccountId>44</AccountId>
        <AccountType/>
      </UserInfo>
    </SharedWithUsers>
    <lcf76f155ced4ddcb4097134ff3c332f xmlns="3af46d47-b44a-4c17-a14d-a7059cb28e08">
      <Terms xmlns="http://schemas.microsoft.com/office/infopath/2007/PartnerControls"/>
    </lcf76f155ced4ddcb4097134ff3c332f>
    <TaxCatchAll xmlns="d08ff5b7-0c7b-40ec-921f-e7f67b75cfeb" xsi:nil="true"/>
  </documentManagement>
</p:properties>
</file>

<file path=customXml/item2.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3.xml><?xml version="1.0" encoding="utf-8"?>
<ct:contentTypeSchema xmlns:ct="http://schemas.microsoft.com/office/2006/metadata/contentType" xmlns:ma="http://schemas.microsoft.com/office/2006/metadata/properties/metaAttributes" ct:_="" ma:_="" ma:contentTypeName="Document" ma:contentTypeID="0x010100DAABB49166E61544A0D5FA24D5F7F129" ma:contentTypeVersion="60" ma:contentTypeDescription="Create a new document." ma:contentTypeScope="" ma:versionID="e5cf3d67aa48aadadb679f269e620341">
  <xsd:schema xmlns:xsd="http://www.w3.org/2001/XMLSchema" xmlns:xs="http://www.w3.org/2001/XMLSchema" xmlns:p="http://schemas.microsoft.com/office/2006/metadata/properties" xmlns:ns1="http://schemas.microsoft.com/sharepoint/v3" xmlns:ns2="d08ff5b7-0c7b-40ec-921f-e7f67b75cfeb" xmlns:ns3="56eabca3-763f-47c5-ac1a-92ae4b27dd0d" xmlns:ns4="3af46d47-b44a-4c17-a14d-a7059cb28e08" targetNamespace="http://schemas.microsoft.com/office/2006/metadata/properties" ma:root="true" ma:fieldsID="fb8fbd7366d5607b2f7a824479acf0ed" ns1:_="" ns2:_="" ns3:_="" ns4:_="">
    <xsd:import namespace="http://schemas.microsoft.com/sharepoint/v3"/>
    <xsd:import namespace="d08ff5b7-0c7b-40ec-921f-e7f67b75cfeb"/>
    <xsd:import namespace="56eabca3-763f-47c5-ac1a-92ae4b27dd0d"/>
    <xsd:import namespace="3af46d47-b44a-4c17-a14d-a7059cb28e08"/>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1:_ip_UnifiedCompliancePolicyProperties" minOccurs="0"/>
                <xsd:element ref="ns1:_ip_UnifiedCompliancePolicyUIAction"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lcf76f155ced4ddcb4097134ff3c332f" minOccurs="0"/>
                <xsd:element ref="ns2:TaxCatchAll"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8ff5b7-0c7b-40ec-921f-e7f67b75cfe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TaxCatchAll" ma:index="25" nillable="true" ma:displayName="Taxonomy Catch All Column" ma:hidden="true" ma:list="{a7345114-3dc0-49fe-9adb-6a70f7dce2cd}" ma:internalName="TaxCatchAll" ma:showField="CatchAllData" ma:web="d08ff5b7-0c7b-40ec-921f-e7f67b75cfe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6eabca3-763f-47c5-ac1a-92ae4b27dd0d"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f46d47-b44a-4c17-a14d-a7059cb28e08" elementFormDefault="qualified">
    <xsd:import namespace="http://schemas.microsoft.com/office/2006/documentManagement/types"/>
    <xsd:import namespace="http://schemas.microsoft.com/office/infopath/2007/PartnerControls"/>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a8eab1ee-4d69-4f36-961c-025e272745c9" ma:termSetId="09814cd3-568e-fe90-9814-8d621ff8fb84" ma:anchorId="fba54fb3-c3e1-fe81-a776-ca4b69148c4d" ma:open="true" ma:isKeyword="false">
      <xsd:complexType>
        <xsd:sequence>
          <xsd:element ref="pc:Terms" minOccurs="0" maxOccurs="1"/>
        </xsd:sequence>
      </xsd:complexType>
    </xsd:element>
    <xsd:element name="MediaServiceDateTaken" ma:index="2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487F509-238C-445D-9470-DD0AB517E6E8}">
  <ds:schemaRefs>
    <ds:schemaRef ds:uri="http://www.w3.org/XML/1998/namespace"/>
    <ds:schemaRef ds:uri="http://schemas.microsoft.com/office/2006/documentManagement/types"/>
    <ds:schemaRef ds:uri="http://purl.org/dc/elements/1.1/"/>
    <ds:schemaRef ds:uri="56eabca3-763f-47c5-ac1a-92ae4b27dd0d"/>
    <ds:schemaRef ds:uri="d08ff5b7-0c7b-40ec-921f-e7f67b75cfeb"/>
    <ds:schemaRef ds:uri="http://schemas.microsoft.com/office/2006/metadata/properties"/>
    <ds:schemaRef ds:uri="http://purl.org/dc/dcmitype/"/>
    <ds:schemaRef ds:uri="http://purl.org/dc/terms/"/>
    <ds:schemaRef ds:uri="http://schemas.microsoft.com/office/infopath/2007/PartnerControls"/>
    <ds:schemaRef ds:uri="http://schemas.openxmlformats.org/package/2006/metadata/core-properties"/>
    <ds:schemaRef ds:uri="3af46d47-b44a-4c17-a14d-a7059cb28e08"/>
    <ds:schemaRef ds:uri="http://schemas.microsoft.com/sharepoint/v3"/>
  </ds:schemaRefs>
</ds:datastoreItem>
</file>

<file path=customXml/itemProps2.xml><?xml version="1.0" encoding="utf-8"?>
<ds:datastoreItem xmlns:ds="http://schemas.openxmlformats.org/officeDocument/2006/customXml" ds:itemID="{E27F8BCF-90F9-4102-B65D-1C53BD1D3096}">
  <ds:schemaRefs>
    <ds:schemaRef ds:uri="http://schemas.microsoft.com/sharepoint/events"/>
  </ds:schemaRefs>
</ds:datastoreItem>
</file>

<file path=customXml/itemProps3.xml><?xml version="1.0" encoding="utf-8"?>
<ds:datastoreItem xmlns:ds="http://schemas.openxmlformats.org/officeDocument/2006/customXml" ds:itemID="{5F3A96B0-3868-4A3E-B99F-F0A46DFBB2B9}">
  <ds:schemaRefs>
    <ds:schemaRef ds:uri="3af46d47-b44a-4c17-a14d-a7059cb28e08"/>
    <ds:schemaRef ds:uri="56eabca3-763f-47c5-ac1a-92ae4b27dd0d"/>
    <ds:schemaRef ds:uri="d08ff5b7-0c7b-40ec-921f-e7f67b75cf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23A48907-F151-4ADF-8135-0B16EBE7642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532</TotalTime>
  <Words>4006</Words>
  <Application>Microsoft Office PowerPoint</Application>
  <PresentationFormat>On-screen Show (4:3)</PresentationFormat>
  <Paragraphs>1059</Paragraphs>
  <Slides>35</Slides>
  <Notes>22</Notes>
  <HiddenSlides>0</HiddenSlides>
  <MMClips>0</MMClips>
  <ScaleCrop>false</ScaleCrop>
  <HeadingPairs>
    <vt:vector size="4" baseType="variant">
      <vt:variant>
        <vt:lpstr>Theme</vt:lpstr>
      </vt:variant>
      <vt:variant>
        <vt:i4>2</vt:i4>
      </vt:variant>
      <vt:variant>
        <vt:lpstr>Slide Titles</vt:lpstr>
      </vt:variant>
      <vt:variant>
        <vt:i4>35</vt:i4>
      </vt:variant>
    </vt:vector>
  </HeadingPairs>
  <TitlesOfParts>
    <vt:vector size="37" baseType="lpstr">
      <vt:lpstr>Office Theme</vt:lpstr>
      <vt:lpstr>1_Office Them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Slide 30</vt:lpstr>
      <vt:lpstr>Slide 31</vt:lpstr>
      <vt:lpstr>Slide 32</vt:lpstr>
      <vt:lpstr>Slide 33</vt:lpstr>
      <vt:lpstr>Slide 34</vt:lpstr>
      <vt:lpstr>Slide 3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ntswalo Hlongwane-NO</dc:creator>
  <cp:lastModifiedBy>USER</cp:lastModifiedBy>
  <cp:revision>5</cp:revision>
  <cp:lastPrinted>2023-01-26T11:42:39Z</cp:lastPrinted>
  <dcterms:created xsi:type="dcterms:W3CDTF">2021-04-07T19:18:07Z</dcterms:created>
  <dcterms:modified xsi:type="dcterms:W3CDTF">2023-03-22T12:21: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ABB49166E61544A0D5FA24D5F7F129</vt:lpwstr>
  </property>
  <property fmtid="{D5CDD505-2E9C-101B-9397-08002B2CF9AE}" pid="3" name="_dlc_DocIdItemGuid">
    <vt:lpwstr>c3b232ee-39ea-4db1-a63b-2e5a96e99ccb</vt:lpwstr>
  </property>
  <property fmtid="{D5CDD505-2E9C-101B-9397-08002B2CF9AE}" pid="4" name="MediaServiceImageTags">
    <vt:lpwstr/>
  </property>
</Properties>
</file>